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7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8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9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0.xml" ContentType="application/vnd.openxmlformats-officedocument.theme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heme/theme11.xml" ContentType="application/vnd.openxmlformats-officedocument.theme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73" r:id="rId2"/>
    <p:sldMasterId id="2147483692" r:id="rId3"/>
    <p:sldMasterId id="2147483728" r:id="rId4"/>
    <p:sldMasterId id="2147483734" r:id="rId5"/>
    <p:sldMasterId id="2147483756" r:id="rId6"/>
    <p:sldMasterId id="2147483776" r:id="rId7"/>
    <p:sldMasterId id="2147483796" r:id="rId8"/>
    <p:sldMasterId id="2147483816" r:id="rId9"/>
    <p:sldMasterId id="2147483836" r:id="rId10"/>
    <p:sldMasterId id="2147483855" r:id="rId11"/>
    <p:sldMasterId id="2147483903" r:id="rId12"/>
    <p:sldMasterId id="2147483916" r:id="rId13"/>
  </p:sldMasterIdLst>
  <p:notesMasterIdLst>
    <p:notesMasterId r:id="rId43"/>
  </p:notesMasterIdLst>
  <p:sldIdLst>
    <p:sldId id="377" r:id="rId14"/>
    <p:sldId id="389" r:id="rId15"/>
    <p:sldId id="383" r:id="rId16"/>
    <p:sldId id="375" r:id="rId17"/>
    <p:sldId id="403" r:id="rId18"/>
    <p:sldId id="386" r:id="rId19"/>
    <p:sldId id="387" r:id="rId20"/>
    <p:sldId id="378" r:id="rId21"/>
    <p:sldId id="257" r:id="rId22"/>
    <p:sldId id="416" r:id="rId23"/>
    <p:sldId id="393" r:id="rId24"/>
    <p:sldId id="339" r:id="rId25"/>
    <p:sldId id="328" r:id="rId26"/>
    <p:sldId id="410" r:id="rId27"/>
    <p:sldId id="411" r:id="rId28"/>
    <p:sldId id="336" r:id="rId29"/>
    <p:sldId id="376" r:id="rId30"/>
    <p:sldId id="258" r:id="rId31"/>
    <p:sldId id="402" r:id="rId32"/>
    <p:sldId id="335" r:id="rId33"/>
    <p:sldId id="334" r:id="rId34"/>
    <p:sldId id="388" r:id="rId35"/>
    <p:sldId id="384" r:id="rId36"/>
    <p:sldId id="338" r:id="rId37"/>
    <p:sldId id="404" r:id="rId38"/>
    <p:sldId id="374" r:id="rId39"/>
    <p:sldId id="413" r:id="rId40"/>
    <p:sldId id="412" r:id="rId41"/>
    <p:sldId id="415" r:id="rId42"/>
  </p:sldIdLst>
  <p:sldSz cx="12192000" cy="6858000"/>
  <p:notesSz cx="6881813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FF9900"/>
    <a:srgbClr val="FF5050"/>
    <a:srgbClr val="B982D5"/>
    <a:srgbClr val="CB3D55"/>
    <a:srgbClr val="0036A2"/>
    <a:srgbClr val="37894B"/>
    <a:srgbClr val="EBF6FF"/>
    <a:srgbClr val="CDEAFF"/>
    <a:srgbClr val="E6E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37112" autoAdjust="0"/>
  </p:normalViewPr>
  <p:slideViewPr>
    <p:cSldViewPr snapToGrid="0" showGuides="1">
      <p:cViewPr varScale="1">
        <p:scale>
          <a:sx n="101" d="100"/>
          <a:sy n="101" d="100"/>
        </p:scale>
        <p:origin x="138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slide" Target="slides/slide16.xml"/><Relationship Id="rId41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9575446481157632E-2"/>
          <c:y val="2.4235078947472503E-2"/>
          <c:w val="0.92172489874323826"/>
          <c:h val="0.47529625900905553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USA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dLbl>
              <c:idx val="0"/>
              <c:layout>
                <c:manualLayout>
                  <c:x val="7.1921749136938749E-3"/>
                  <c:y val="-4.7437475473792547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0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FB5E-49BC-BE77-640C90CFF4F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4384349827387802E-2"/>
                  <c:y val="-4.18565960062875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101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B5E-49BC-BE77-640C90CFF4F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5.7537399309551211E-3"/>
                  <c:y val="-3.627571653878255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2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FB5E-49BC-BE77-640C90CFF4F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4.3153049482162354E-3"/>
                  <c:y val="-3.3485276805029995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4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FB5E-49BC-BE77-640C90CFF4F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d-ID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SUDAH TL</c:v>
                </c:pt>
                <c:pt idx="1">
                  <c:v>BELUM TL</c:v>
                </c:pt>
                <c:pt idx="2">
                  <c:v>TIDAK TERBUKTI</c:v>
                </c:pt>
                <c:pt idx="3">
                  <c:v>PENSIUN/APS/DIBERHENTIKAN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3</c:v>
                </c:pt>
                <c:pt idx="1">
                  <c:v>25</c:v>
                </c:pt>
                <c:pt idx="2">
                  <c:v>0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B5E-49BC-BE77-640C90CFF4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shape val="box"/>
        <c:axId val="388261912"/>
        <c:axId val="388264264"/>
        <c:axId val="0"/>
      </c:bar3DChart>
      <c:catAx>
        <c:axId val="38826191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d-ID"/>
          </a:p>
        </c:txPr>
        <c:crossAx val="388264264"/>
        <c:crosses val="autoZero"/>
        <c:auto val="1"/>
        <c:lblAlgn val="ctr"/>
        <c:lblOffset val="100"/>
        <c:noMultiLvlLbl val="0"/>
      </c:catAx>
      <c:valAx>
        <c:axId val="3882642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d-ID"/>
          </a:p>
        </c:txPr>
        <c:crossAx val="388261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d-ID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d-ID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8102" y="0"/>
            <a:ext cx="2982119" cy="466434"/>
          </a:xfrm>
          <a:prstGeom prst="rect">
            <a:avLst/>
          </a:prstGeom>
        </p:spPr>
        <p:txBody>
          <a:bodyPr vert="horz" lIns="92446" tIns="46223" rIns="92446" bIns="46223" rtlCol="0"/>
          <a:lstStyle>
            <a:lvl1pPr algn="r">
              <a:defRPr sz="1200"/>
            </a:lvl1pPr>
          </a:lstStyle>
          <a:p>
            <a:fld id="{4AAAF045-FEF6-43EA-9CDC-C84FC3F85E9C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40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46" tIns="46223" rIns="92446" bIns="4622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182" y="4473892"/>
            <a:ext cx="5505450" cy="3660458"/>
          </a:xfrm>
          <a:prstGeom prst="rect">
            <a:avLst/>
          </a:prstGeom>
        </p:spPr>
        <p:txBody>
          <a:bodyPr vert="horz" lIns="92446" tIns="46223" rIns="92446" bIns="4622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8102" y="8829967"/>
            <a:ext cx="2982119" cy="466433"/>
          </a:xfrm>
          <a:prstGeom prst="rect">
            <a:avLst/>
          </a:prstGeom>
        </p:spPr>
        <p:txBody>
          <a:bodyPr vert="horz" lIns="92446" tIns="46223" rIns="92446" bIns="46223" rtlCol="0" anchor="b"/>
          <a:lstStyle>
            <a:lvl1pPr algn="r">
              <a:defRPr sz="1200"/>
            </a:lvl1pPr>
          </a:lstStyle>
          <a:p>
            <a:fld id="{652F1279-6CE4-4169-83D3-4483097B690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5899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2F1279-6CE4-4169-83D3-4483097B690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1146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65558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8273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44" name="Google Shape;144;p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036448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&lt;a </a:t>
            </a:r>
            <a:r>
              <a:rPr lang="en-US" dirty="0" err="1"/>
              <a:t>href</a:t>
            </a:r>
            <a:r>
              <a:rPr lang="en-US" dirty="0"/>
              <a:t>='https://www.freepik.com/vectors/computer-cartoon'&gt;Computer cartoon vector created by </a:t>
            </a:r>
            <a:r>
              <a:rPr lang="en-US" dirty="0" err="1"/>
              <a:t>jcomp</a:t>
            </a:r>
            <a:r>
              <a:rPr lang="en-US" dirty="0"/>
              <a:t> - www.freepik.com&lt;/a&gt;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0C9D3F4-A502-44E8-B667-324FCE92CE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82879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8bc00f6a12_0_2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8bc00f6a12_0_2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2948908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1" name="Google Shape;1081;g8bc00f6a12_0_2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082" name="Google Shape;1082;g8bc00f6a12_0_23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221991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g"/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Master" Target="../slideMasters/slideMaster11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8993242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36620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0C347B-AB7B-426F-93AA-EC6FBBBA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3ED931D-7A99-4E43-865B-4176EBD10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7FF467C-75D8-4B26-A530-F4CBDF83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80B0A-B9CC-43C8-AB48-060BB0E9F7BF}" type="datetimeFigureOut">
              <a:rPr lang="en-ID" smtClean="0"/>
              <a:t>10/1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DADD590-6329-4800-AEC8-F336A7A71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AFF455E-8305-4DF5-8A22-FB40B1BA5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7297647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60684188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594445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66592209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xmlns="" id="{F9F6BDD4-7721-44CF-91F3-7CAE909EE602}"/>
              </a:ext>
            </a:extLst>
          </p:cNvPr>
          <p:cNvSpPr/>
          <p:nvPr userDrawn="1"/>
        </p:nvSpPr>
        <p:spPr>
          <a:xfrm>
            <a:off x="718009" y="2502725"/>
            <a:ext cx="2597468" cy="372554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4" name="Picture Placeholder 35">
            <a:extLst>
              <a:ext uri="{FF2B5EF4-FFF2-40B4-BE49-F238E27FC236}">
                <a16:creationId xmlns:a16="http://schemas.microsoft.com/office/drawing/2014/main" xmlns="" id="{87EED819-4DFF-4ACB-9C5A-985600DC80E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430839" y="2701273"/>
            <a:ext cx="1769276" cy="1769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2" name="Rectangle 5">
            <a:extLst>
              <a:ext uri="{FF2B5EF4-FFF2-40B4-BE49-F238E27FC236}">
                <a16:creationId xmlns:a16="http://schemas.microsoft.com/office/drawing/2014/main" xmlns="" id="{36801B2B-581B-4308-B935-05A673D630F3}"/>
              </a:ext>
            </a:extLst>
          </p:cNvPr>
          <p:cNvSpPr/>
          <p:nvPr userDrawn="1"/>
        </p:nvSpPr>
        <p:spPr>
          <a:xfrm>
            <a:off x="4400423" y="2497512"/>
            <a:ext cx="2597468" cy="37255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3" name="Picture Placeholder 35">
            <a:extLst>
              <a:ext uri="{FF2B5EF4-FFF2-40B4-BE49-F238E27FC236}">
                <a16:creationId xmlns:a16="http://schemas.microsoft.com/office/drawing/2014/main" xmlns="" id="{3A92A66F-6989-43ED-82F9-1FB2FEE0A26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113254" y="2696061"/>
            <a:ext cx="1769276" cy="1769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0" name="Rectangle 5">
            <a:extLst>
              <a:ext uri="{FF2B5EF4-FFF2-40B4-BE49-F238E27FC236}">
                <a16:creationId xmlns:a16="http://schemas.microsoft.com/office/drawing/2014/main" xmlns="" id="{F9440317-419B-48AA-A067-2D5D7C14C1BF}"/>
              </a:ext>
            </a:extLst>
          </p:cNvPr>
          <p:cNvSpPr/>
          <p:nvPr userDrawn="1"/>
        </p:nvSpPr>
        <p:spPr>
          <a:xfrm>
            <a:off x="8082839" y="2492301"/>
            <a:ext cx="2597468" cy="37255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21" name="Picture Placeholder 35">
            <a:extLst>
              <a:ext uri="{FF2B5EF4-FFF2-40B4-BE49-F238E27FC236}">
                <a16:creationId xmlns:a16="http://schemas.microsoft.com/office/drawing/2014/main" xmlns="" id="{AEF16489-F6D4-4782-89CC-60842B33794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9795669" y="2690849"/>
            <a:ext cx="1769276" cy="1769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8718583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그림 개체 틀 7">
            <a:extLst>
              <a:ext uri="{FF2B5EF4-FFF2-40B4-BE49-F238E27FC236}">
                <a16:creationId xmlns:a16="http://schemas.microsoft.com/office/drawing/2014/main" xmlns="" id="{0FDC951B-4827-4746-8C43-F73A37D3D2D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" y="0"/>
            <a:ext cx="5604529" cy="6858000"/>
          </a:xfrm>
          <a:custGeom>
            <a:avLst/>
            <a:gdLst>
              <a:gd name="connsiteX0" fmla="*/ 0 w 5604529"/>
              <a:gd name="connsiteY0" fmla="*/ 0 h 6858000"/>
              <a:gd name="connsiteX1" fmla="*/ 4271478 w 5604529"/>
              <a:gd name="connsiteY1" fmla="*/ 0 h 6858000"/>
              <a:gd name="connsiteX2" fmla="*/ 4273236 w 5604529"/>
              <a:gd name="connsiteY2" fmla="*/ 0 h 6858000"/>
              <a:gd name="connsiteX3" fmla="*/ 4273236 w 5604529"/>
              <a:gd name="connsiteY3" fmla="*/ 1845 h 6858000"/>
              <a:gd name="connsiteX4" fmla="*/ 4285285 w 5604529"/>
              <a:gd name="connsiteY4" fmla="*/ 14484 h 6858000"/>
              <a:gd name="connsiteX5" fmla="*/ 5604529 w 5604529"/>
              <a:gd name="connsiteY5" fmla="*/ 3429000 h 6858000"/>
              <a:gd name="connsiteX6" fmla="*/ 4285285 w 5604529"/>
              <a:gd name="connsiteY6" fmla="*/ 6843518 h 6858000"/>
              <a:gd name="connsiteX7" fmla="*/ 4273236 w 5604529"/>
              <a:gd name="connsiteY7" fmla="*/ 6856156 h 6858000"/>
              <a:gd name="connsiteX8" fmla="*/ 4273236 w 5604529"/>
              <a:gd name="connsiteY8" fmla="*/ 6858000 h 6858000"/>
              <a:gd name="connsiteX9" fmla="*/ 4271478 w 5604529"/>
              <a:gd name="connsiteY9" fmla="*/ 6858000 h 6858000"/>
              <a:gd name="connsiteX10" fmla="*/ 0 w 5604529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604529" h="6858000">
                <a:moveTo>
                  <a:pt x="0" y="0"/>
                </a:moveTo>
                <a:lnTo>
                  <a:pt x="4271478" y="0"/>
                </a:lnTo>
                <a:lnTo>
                  <a:pt x="4273236" y="0"/>
                </a:lnTo>
                <a:lnTo>
                  <a:pt x="4273236" y="1845"/>
                </a:lnTo>
                <a:lnTo>
                  <a:pt x="4285285" y="14484"/>
                </a:lnTo>
                <a:cubicBezTo>
                  <a:pt x="5104954" y="916319"/>
                  <a:pt x="5604529" y="2114320"/>
                  <a:pt x="5604529" y="3429000"/>
                </a:cubicBezTo>
                <a:cubicBezTo>
                  <a:pt x="5604529" y="4743682"/>
                  <a:pt x="5104954" y="5941681"/>
                  <a:pt x="4285285" y="6843518"/>
                </a:cubicBezTo>
                <a:lnTo>
                  <a:pt x="4273236" y="6856156"/>
                </a:lnTo>
                <a:lnTo>
                  <a:pt x="4273236" y="6858000"/>
                </a:lnTo>
                <a:lnTo>
                  <a:pt x="427147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6" name="자유형: 도형 5">
            <a:extLst>
              <a:ext uri="{FF2B5EF4-FFF2-40B4-BE49-F238E27FC236}">
                <a16:creationId xmlns:a16="http://schemas.microsoft.com/office/drawing/2014/main" xmlns="" id="{CCB937F8-6809-4438-860D-0569869EC10E}"/>
              </a:ext>
            </a:extLst>
          </p:cNvPr>
          <p:cNvSpPr/>
          <p:nvPr userDrawn="1"/>
        </p:nvSpPr>
        <p:spPr>
          <a:xfrm rot="5400000">
            <a:off x="2049432" y="2663451"/>
            <a:ext cx="6474953" cy="1531100"/>
          </a:xfrm>
          <a:custGeom>
            <a:avLst/>
            <a:gdLst>
              <a:gd name="connsiteX0" fmla="*/ 1211925 w 2423855"/>
              <a:gd name="connsiteY0" fmla="*/ 0 h 573157"/>
              <a:gd name="connsiteX1" fmla="*/ 2421989 w 2423855"/>
              <a:gd name="connsiteY1" fmla="*/ 570662 h 573157"/>
              <a:gd name="connsiteX2" fmla="*/ 2423855 w 2423855"/>
              <a:gd name="connsiteY2" fmla="*/ 573157 h 573157"/>
              <a:gd name="connsiteX3" fmla="*/ 2356638 w 2423855"/>
              <a:gd name="connsiteY3" fmla="*/ 512067 h 573157"/>
              <a:gd name="connsiteX4" fmla="*/ 1211924 w 2423855"/>
              <a:gd name="connsiteY4" fmla="*/ 101125 h 573157"/>
              <a:gd name="connsiteX5" fmla="*/ 67210 w 2423855"/>
              <a:gd name="connsiteY5" fmla="*/ 512067 h 573157"/>
              <a:gd name="connsiteX6" fmla="*/ 0 w 2423855"/>
              <a:gd name="connsiteY6" fmla="*/ 573152 h 573157"/>
              <a:gd name="connsiteX7" fmla="*/ 1861 w 2423855"/>
              <a:gd name="connsiteY7" fmla="*/ 570662 h 573157"/>
              <a:gd name="connsiteX8" fmla="*/ 1211925 w 2423855"/>
              <a:gd name="connsiteY8" fmla="*/ 0 h 57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23855" h="573157">
                <a:moveTo>
                  <a:pt x="1211925" y="0"/>
                </a:moveTo>
                <a:cubicBezTo>
                  <a:pt x="1699088" y="0"/>
                  <a:pt x="2134367" y="222145"/>
                  <a:pt x="2421989" y="570662"/>
                </a:cubicBezTo>
                <a:lnTo>
                  <a:pt x="2423855" y="573157"/>
                </a:lnTo>
                <a:lnTo>
                  <a:pt x="2356638" y="512067"/>
                </a:lnTo>
                <a:cubicBezTo>
                  <a:pt x="2045561" y="255343"/>
                  <a:pt x="1646752" y="101125"/>
                  <a:pt x="1211924" y="101125"/>
                </a:cubicBezTo>
                <a:cubicBezTo>
                  <a:pt x="777096" y="101125"/>
                  <a:pt x="378287" y="255343"/>
                  <a:pt x="67210" y="512067"/>
                </a:cubicBezTo>
                <a:lnTo>
                  <a:pt x="0" y="573152"/>
                </a:lnTo>
                <a:lnTo>
                  <a:pt x="1861" y="570662"/>
                </a:lnTo>
                <a:cubicBezTo>
                  <a:pt x="289483" y="222145"/>
                  <a:pt x="724762" y="0"/>
                  <a:pt x="1211925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ko-KR" altLang="en-US" sz="1400"/>
          </a:p>
        </p:txBody>
      </p:sp>
    </p:spTree>
    <p:extLst>
      <p:ext uri="{BB962C8B-B14F-4D97-AF65-F5344CB8AC3E}">
        <p14:creationId xmlns:p14="http://schemas.microsoft.com/office/powerpoint/2010/main" val="339463697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080741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타원 1">
            <a:extLst>
              <a:ext uri="{FF2B5EF4-FFF2-40B4-BE49-F238E27FC236}">
                <a16:creationId xmlns:a16="http://schemas.microsoft.com/office/drawing/2014/main" xmlns="" id="{66A02148-4E08-45FA-B410-739D2D230151}"/>
              </a:ext>
            </a:extLst>
          </p:cNvPr>
          <p:cNvSpPr/>
          <p:nvPr userDrawn="1"/>
        </p:nvSpPr>
        <p:spPr>
          <a:xfrm>
            <a:off x="4695731" y="2028731"/>
            <a:ext cx="2800539" cy="280053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innerShdw blurRad="114300">
              <a:prstClr val="black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 dirty="0"/>
          </a:p>
        </p:txBody>
      </p:sp>
      <p:sp>
        <p:nvSpPr>
          <p:cNvPr id="2" name="그림 개체 틀 3">
            <a:extLst>
              <a:ext uri="{FF2B5EF4-FFF2-40B4-BE49-F238E27FC236}">
                <a16:creationId xmlns:a16="http://schemas.microsoft.com/office/drawing/2014/main" xmlns="" id="{52249887-6DCE-47D2-92B6-232DD0DD244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343275" y="676275"/>
            <a:ext cx="5505451" cy="5505451"/>
          </a:xfrm>
          <a:custGeom>
            <a:avLst/>
            <a:gdLst>
              <a:gd name="connsiteX0" fmla="*/ 2752725 w 5505450"/>
              <a:gd name="connsiteY0" fmla="*/ 1356818 h 5505450"/>
              <a:gd name="connsiteX1" fmla="*/ 1356818 w 5505450"/>
              <a:gd name="connsiteY1" fmla="*/ 2752725 h 5505450"/>
              <a:gd name="connsiteX2" fmla="*/ 2752725 w 5505450"/>
              <a:gd name="connsiteY2" fmla="*/ 4148632 h 5505450"/>
              <a:gd name="connsiteX3" fmla="*/ 4148632 w 5505450"/>
              <a:gd name="connsiteY3" fmla="*/ 2752725 h 5505450"/>
              <a:gd name="connsiteX4" fmla="*/ 2752725 w 5505450"/>
              <a:gd name="connsiteY4" fmla="*/ 1356818 h 5505450"/>
              <a:gd name="connsiteX5" fmla="*/ 2752725 w 5505450"/>
              <a:gd name="connsiteY5" fmla="*/ 0 h 5505450"/>
              <a:gd name="connsiteX6" fmla="*/ 5505450 w 5505450"/>
              <a:gd name="connsiteY6" fmla="*/ 2752725 h 5505450"/>
              <a:gd name="connsiteX7" fmla="*/ 2752725 w 5505450"/>
              <a:gd name="connsiteY7" fmla="*/ 5505450 h 5505450"/>
              <a:gd name="connsiteX8" fmla="*/ 0 w 5505450"/>
              <a:gd name="connsiteY8" fmla="*/ 2752725 h 5505450"/>
              <a:gd name="connsiteX9" fmla="*/ 2752725 w 5505450"/>
              <a:gd name="connsiteY9" fmla="*/ 0 h 5505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505450" h="5505450">
                <a:moveTo>
                  <a:pt x="2752725" y="1356818"/>
                </a:moveTo>
                <a:cubicBezTo>
                  <a:pt x="1981787" y="1356818"/>
                  <a:pt x="1356818" y="1981787"/>
                  <a:pt x="1356818" y="2752725"/>
                </a:cubicBezTo>
                <a:cubicBezTo>
                  <a:pt x="1356818" y="3523663"/>
                  <a:pt x="1981787" y="4148632"/>
                  <a:pt x="2752725" y="4148632"/>
                </a:cubicBezTo>
                <a:cubicBezTo>
                  <a:pt x="3523663" y="4148632"/>
                  <a:pt x="4148632" y="3523663"/>
                  <a:pt x="4148632" y="2752725"/>
                </a:cubicBezTo>
                <a:cubicBezTo>
                  <a:pt x="4148632" y="1981787"/>
                  <a:pt x="3523663" y="1356818"/>
                  <a:pt x="2752725" y="1356818"/>
                </a:cubicBezTo>
                <a:close/>
                <a:moveTo>
                  <a:pt x="2752725" y="0"/>
                </a:moveTo>
                <a:cubicBezTo>
                  <a:pt x="4273013" y="0"/>
                  <a:pt x="5505450" y="1232437"/>
                  <a:pt x="5505450" y="2752725"/>
                </a:cubicBezTo>
                <a:cubicBezTo>
                  <a:pt x="5505450" y="4273013"/>
                  <a:pt x="4273013" y="5505450"/>
                  <a:pt x="2752725" y="5505450"/>
                </a:cubicBezTo>
                <a:cubicBezTo>
                  <a:pt x="1232437" y="5505450"/>
                  <a:pt x="0" y="4273013"/>
                  <a:pt x="0" y="2752725"/>
                </a:cubicBezTo>
                <a:cubicBezTo>
                  <a:pt x="0" y="1232437"/>
                  <a:pt x="1232437" y="0"/>
                  <a:pt x="275272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35259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024508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D6D91A3-B04D-4069-9A9E-AEFAA6DDFCF0}"/>
              </a:ext>
            </a:extLst>
          </p:cNvPr>
          <p:cNvSpPr/>
          <p:nvPr userDrawn="1"/>
        </p:nvSpPr>
        <p:spPr>
          <a:xfrm>
            <a:off x="2" y="0"/>
            <a:ext cx="8100391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023A8095-3FDE-4C32-9FFD-9823377F8AF5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4611757" y="1162879"/>
            <a:ext cx="7580243" cy="453224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BE8C1F5C-192F-43AE-9B93-9A4C91D7CE9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 rot="20585984">
            <a:off x="3080926" y="3887571"/>
            <a:ext cx="2253284" cy="2389344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582C7C59-FDF9-46DF-BE98-363BC3321E23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 rot="1034171">
            <a:off x="878942" y="3883311"/>
            <a:ext cx="2253284" cy="2389344"/>
          </a:xfrm>
          <a:prstGeom prst="rect">
            <a:avLst/>
          </a:prstGeom>
          <a:solidFill>
            <a:schemeClr val="bg1">
              <a:lumMod val="95000"/>
            </a:schemeClr>
          </a:solidFill>
          <a:ln w="50800"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1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303862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4EA604A-1015-4952-8EE1-CCE52EC0E000}"/>
              </a:ext>
            </a:extLst>
          </p:cNvPr>
          <p:cNvGrpSpPr/>
          <p:nvPr userDrawn="1"/>
        </p:nvGrpSpPr>
        <p:grpSpPr>
          <a:xfrm>
            <a:off x="3095066" y="1780191"/>
            <a:ext cx="6001871" cy="3297621"/>
            <a:chOff x="-548507" y="477868"/>
            <a:chExt cx="11570449" cy="6357177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39EEB588-97F3-4BF3-B3B2-294329E14315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79AC13C8-EB64-4309-9F83-DE884AB194A4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90A07D5B-242A-465B-B3D3-285BCC724958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CF5AF579-3200-4645-9B4A-C34A0B00A828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4BBA6078-E1D1-4C14-AE2A-562D30932050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40F2DB06-6191-4D99-A246-B0F044EEB6D4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xmlns="" id="{E0B2AB32-6E87-4708-AD26-26A3474DFD68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xmlns="" id="{44A0B59C-D502-416F-87A9-4FFE2F84014E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CEDAEF2E-9E44-473D-B13F-ABD8FD196480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xmlns="" id="{77A63B6A-A2C7-42FA-A975-B2C3DBEA0A1D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/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xmlns="" id="{425CD56A-8303-4E00-957E-0BF842A3B05F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442D482D-A042-4240-A15D-1E65B56B30D2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xmlns="" id="{736F31BD-D2C3-4C53-B8E6-33C74563614F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909755" y="1947860"/>
            <a:ext cx="4372493" cy="26694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xmlns="" id="{9D8BBD3D-237B-4299-A310-B537C2DF7C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96492805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95714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1">
            <a:extLst>
              <a:ext uri="{FF2B5EF4-FFF2-40B4-BE49-F238E27FC236}">
                <a16:creationId xmlns:a16="http://schemas.microsoft.com/office/drawing/2014/main" xmlns="" id="{5B881C3E-C950-4D68-922A-406718DA8F79}"/>
              </a:ext>
            </a:extLst>
          </p:cNvPr>
          <p:cNvSpPr/>
          <p:nvPr userDrawn="1"/>
        </p:nvSpPr>
        <p:spPr>
          <a:xfrm>
            <a:off x="0" y="1534178"/>
            <a:ext cx="12192000" cy="262867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400"/>
          </a:p>
        </p:txBody>
      </p:sp>
      <p:grpSp>
        <p:nvGrpSpPr>
          <p:cNvPr id="3" name="Group 11">
            <a:extLst>
              <a:ext uri="{FF2B5EF4-FFF2-40B4-BE49-F238E27FC236}">
                <a16:creationId xmlns:a16="http://schemas.microsoft.com/office/drawing/2014/main" xmlns="" id="{95D19A6A-2D5F-41E9-9D62-208AFD92323A}"/>
              </a:ext>
            </a:extLst>
          </p:cNvPr>
          <p:cNvGrpSpPr/>
          <p:nvPr userDrawn="1"/>
        </p:nvGrpSpPr>
        <p:grpSpPr>
          <a:xfrm>
            <a:off x="3132731" y="1364009"/>
            <a:ext cx="5926540" cy="3569007"/>
            <a:chOff x="4098364" y="1571764"/>
            <a:chExt cx="7301609" cy="4397082"/>
          </a:xfrm>
        </p:grpSpPr>
        <p:grpSp>
          <p:nvGrpSpPr>
            <p:cNvPr id="4" name="Graphic 55">
              <a:extLst>
                <a:ext uri="{FF2B5EF4-FFF2-40B4-BE49-F238E27FC236}">
                  <a16:creationId xmlns:a16="http://schemas.microsoft.com/office/drawing/2014/main" xmlns="" id="{1A1253F8-8155-44CE-A6CE-879B69AADEA5}"/>
                </a:ext>
              </a:extLst>
            </p:cNvPr>
            <p:cNvGrpSpPr/>
            <p:nvPr/>
          </p:nvGrpSpPr>
          <p:grpSpPr>
            <a:xfrm>
              <a:off x="4910815" y="1571764"/>
              <a:ext cx="5616422" cy="3644404"/>
              <a:chOff x="5769768" y="3217068"/>
              <a:chExt cx="651510" cy="422754"/>
            </a:xfrm>
          </p:grpSpPr>
          <p:sp>
            <p:nvSpPr>
              <p:cNvPr id="29" name="Freeform: Shape 37">
                <a:extLst>
                  <a:ext uri="{FF2B5EF4-FFF2-40B4-BE49-F238E27FC236}">
                    <a16:creationId xmlns:a16="http://schemas.microsoft.com/office/drawing/2014/main" xmlns="" id="{7A49830E-8512-4F62-808C-7F43BAB9D97B}"/>
                  </a:ext>
                </a:extLst>
              </p:cNvPr>
              <p:cNvSpPr/>
              <p:nvPr/>
            </p:nvSpPr>
            <p:spPr>
              <a:xfrm>
                <a:off x="5769768" y="3217068"/>
                <a:ext cx="647700" cy="419100"/>
              </a:xfrm>
              <a:custGeom>
                <a:avLst/>
                <a:gdLst>
                  <a:gd name="connsiteX0" fmla="*/ 639604 w 647700"/>
                  <a:gd name="connsiteY0" fmla="*/ 417671 h 419100"/>
                  <a:gd name="connsiteX1" fmla="*/ 14764 w 647700"/>
                  <a:gd name="connsiteY1" fmla="*/ 417671 h 419100"/>
                  <a:gd name="connsiteX2" fmla="*/ 7144 w 647700"/>
                  <a:gd name="connsiteY2" fmla="*/ 410051 h 419100"/>
                  <a:gd name="connsiteX3" fmla="*/ 7144 w 647700"/>
                  <a:gd name="connsiteY3" fmla="*/ 38576 h 419100"/>
                  <a:gd name="connsiteX4" fmla="*/ 37624 w 647700"/>
                  <a:gd name="connsiteY4" fmla="*/ 7144 h 419100"/>
                  <a:gd name="connsiteX5" fmla="*/ 616744 w 647700"/>
                  <a:gd name="connsiteY5" fmla="*/ 7144 h 419100"/>
                  <a:gd name="connsiteX6" fmla="*/ 647224 w 647700"/>
                  <a:gd name="connsiteY6" fmla="*/ 37624 h 419100"/>
                  <a:gd name="connsiteX7" fmla="*/ 647224 w 647700"/>
                  <a:gd name="connsiteY7" fmla="*/ 409099 h 419100"/>
                  <a:gd name="connsiteX8" fmla="*/ 639604 w 647700"/>
                  <a:gd name="connsiteY8" fmla="*/ 417671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7700" h="419100">
                    <a:moveTo>
                      <a:pt x="639604" y="417671"/>
                    </a:moveTo>
                    <a:lnTo>
                      <a:pt x="14764" y="417671"/>
                    </a:lnTo>
                    <a:cubicBezTo>
                      <a:pt x="10954" y="417671"/>
                      <a:pt x="7144" y="413861"/>
                      <a:pt x="7144" y="410051"/>
                    </a:cubicBezTo>
                    <a:lnTo>
                      <a:pt x="7144" y="38576"/>
                    </a:lnTo>
                    <a:cubicBezTo>
                      <a:pt x="7144" y="20479"/>
                      <a:pt x="20479" y="7144"/>
                      <a:pt x="37624" y="7144"/>
                    </a:cubicBezTo>
                    <a:lnTo>
                      <a:pt x="616744" y="7144"/>
                    </a:lnTo>
                    <a:cubicBezTo>
                      <a:pt x="633889" y="7144"/>
                      <a:pt x="647224" y="20479"/>
                      <a:pt x="647224" y="37624"/>
                    </a:cubicBezTo>
                    <a:lnTo>
                      <a:pt x="647224" y="409099"/>
                    </a:lnTo>
                    <a:cubicBezTo>
                      <a:pt x="647224" y="413861"/>
                      <a:pt x="643414" y="417671"/>
                      <a:pt x="639604" y="417671"/>
                    </a:cubicBezTo>
                    <a:close/>
                  </a:path>
                </a:pathLst>
              </a:custGeom>
              <a:solidFill>
                <a:srgbClr val="80808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  <p:sp>
            <p:nvSpPr>
              <p:cNvPr id="30" name="Freeform: Shape 38">
                <a:extLst>
                  <a:ext uri="{FF2B5EF4-FFF2-40B4-BE49-F238E27FC236}">
                    <a16:creationId xmlns:a16="http://schemas.microsoft.com/office/drawing/2014/main" xmlns="" id="{B9F2936A-927A-4A6B-83E6-12505C62B97E}"/>
                  </a:ext>
                </a:extLst>
              </p:cNvPr>
              <p:cNvSpPr/>
              <p:nvPr/>
            </p:nvSpPr>
            <p:spPr>
              <a:xfrm>
                <a:off x="5773578" y="3220722"/>
                <a:ext cx="647700" cy="419100"/>
              </a:xfrm>
              <a:custGeom>
                <a:avLst/>
                <a:gdLst>
                  <a:gd name="connsiteX0" fmla="*/ 631984 w 647700"/>
                  <a:gd name="connsiteY0" fmla="*/ 412909 h 419100"/>
                  <a:gd name="connsiteX1" fmla="*/ 14764 w 647700"/>
                  <a:gd name="connsiteY1" fmla="*/ 412909 h 419100"/>
                  <a:gd name="connsiteX2" fmla="*/ 7144 w 647700"/>
                  <a:gd name="connsiteY2" fmla="*/ 405289 h 419100"/>
                  <a:gd name="connsiteX3" fmla="*/ 7144 w 647700"/>
                  <a:gd name="connsiteY3" fmla="*/ 34766 h 419100"/>
                  <a:gd name="connsiteX4" fmla="*/ 34766 w 647700"/>
                  <a:gd name="connsiteY4" fmla="*/ 7144 h 419100"/>
                  <a:gd name="connsiteX5" fmla="*/ 612934 w 647700"/>
                  <a:gd name="connsiteY5" fmla="*/ 7144 h 419100"/>
                  <a:gd name="connsiteX6" fmla="*/ 640556 w 647700"/>
                  <a:gd name="connsiteY6" fmla="*/ 34766 h 419100"/>
                  <a:gd name="connsiteX7" fmla="*/ 640556 w 647700"/>
                  <a:gd name="connsiteY7" fmla="*/ 405289 h 419100"/>
                  <a:gd name="connsiteX8" fmla="*/ 631984 w 647700"/>
                  <a:gd name="connsiteY8" fmla="*/ 412909 h 419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7700" h="419100">
                    <a:moveTo>
                      <a:pt x="631984" y="412909"/>
                    </a:moveTo>
                    <a:lnTo>
                      <a:pt x="14764" y="412909"/>
                    </a:lnTo>
                    <a:cubicBezTo>
                      <a:pt x="10954" y="412909"/>
                      <a:pt x="7144" y="409099"/>
                      <a:pt x="7144" y="405289"/>
                    </a:cubicBezTo>
                    <a:lnTo>
                      <a:pt x="7144" y="34766"/>
                    </a:lnTo>
                    <a:cubicBezTo>
                      <a:pt x="7144" y="19526"/>
                      <a:pt x="19526" y="7144"/>
                      <a:pt x="34766" y="7144"/>
                    </a:cubicBezTo>
                    <a:lnTo>
                      <a:pt x="612934" y="7144"/>
                    </a:lnTo>
                    <a:cubicBezTo>
                      <a:pt x="628174" y="7144"/>
                      <a:pt x="640556" y="19526"/>
                      <a:pt x="640556" y="34766"/>
                    </a:cubicBezTo>
                    <a:lnTo>
                      <a:pt x="640556" y="405289"/>
                    </a:lnTo>
                    <a:cubicBezTo>
                      <a:pt x="639604" y="410051"/>
                      <a:pt x="635794" y="412909"/>
                      <a:pt x="631984" y="412909"/>
                    </a:cubicBezTo>
                    <a:close/>
                  </a:path>
                </a:pathLst>
              </a:custGeom>
              <a:solidFill>
                <a:srgbClr val="33333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400"/>
              </a:p>
            </p:txBody>
          </p:sp>
        </p:grpSp>
        <p:sp>
          <p:nvSpPr>
            <p:cNvPr id="5" name="Freeform: Shape 13">
              <a:extLst>
                <a:ext uri="{FF2B5EF4-FFF2-40B4-BE49-F238E27FC236}">
                  <a16:creationId xmlns:a16="http://schemas.microsoft.com/office/drawing/2014/main" xmlns="" id="{CD7FC7E1-54E2-4031-947B-E1237438A0A0}"/>
                </a:ext>
              </a:extLst>
            </p:cNvPr>
            <p:cNvSpPr/>
            <p:nvPr/>
          </p:nvSpPr>
          <p:spPr>
            <a:xfrm>
              <a:off x="5130280" y="1781416"/>
              <a:ext cx="5163280" cy="3278273"/>
            </a:xfrm>
            <a:custGeom>
              <a:avLst/>
              <a:gdLst>
                <a:gd name="connsiteX0" fmla="*/ 7144 w 600075"/>
                <a:gd name="connsiteY0" fmla="*/ 7144 h 381000"/>
                <a:gd name="connsiteX1" fmla="*/ 597694 w 600075"/>
                <a:gd name="connsiteY1" fmla="*/ 7144 h 381000"/>
                <a:gd name="connsiteX2" fmla="*/ 597694 w 600075"/>
                <a:gd name="connsiteY2" fmla="*/ 376714 h 381000"/>
                <a:gd name="connsiteX3" fmla="*/ 7144 w 600075"/>
                <a:gd name="connsiteY3" fmla="*/ 376714 h 381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00075" h="381000">
                  <a:moveTo>
                    <a:pt x="7144" y="7144"/>
                  </a:moveTo>
                  <a:lnTo>
                    <a:pt x="597694" y="7144"/>
                  </a:lnTo>
                  <a:lnTo>
                    <a:pt x="597694" y="376714"/>
                  </a:lnTo>
                  <a:lnTo>
                    <a:pt x="7144" y="376714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6" name="Freeform: Shape 14">
              <a:extLst>
                <a:ext uri="{FF2B5EF4-FFF2-40B4-BE49-F238E27FC236}">
                  <a16:creationId xmlns:a16="http://schemas.microsoft.com/office/drawing/2014/main" xmlns="" id="{38394E38-347B-4E2F-983C-4D0581D02AA8}"/>
                </a:ext>
              </a:extLst>
            </p:cNvPr>
            <p:cNvSpPr/>
            <p:nvPr/>
          </p:nvSpPr>
          <p:spPr>
            <a:xfrm>
              <a:off x="5210103" y="5108863"/>
              <a:ext cx="4999367" cy="245870"/>
            </a:xfrm>
            <a:custGeom>
              <a:avLst/>
              <a:gdLst>
                <a:gd name="connsiteX0" fmla="*/ 553174 w 581025"/>
                <a:gd name="connsiteY0" fmla="*/ 7144 h 28575"/>
                <a:gd name="connsiteX1" fmla="*/ 574129 w 581025"/>
                <a:gd name="connsiteY1" fmla="*/ 23336 h 28575"/>
                <a:gd name="connsiteX2" fmla="*/ 574129 w 581025"/>
                <a:gd name="connsiteY2" fmla="*/ 30004 h 28575"/>
                <a:gd name="connsiteX3" fmla="*/ 19774 w 581025"/>
                <a:gd name="connsiteY3" fmla="*/ 30004 h 28575"/>
                <a:gd name="connsiteX4" fmla="*/ 8344 w 581025"/>
                <a:gd name="connsiteY4" fmla="*/ 26194 h 28575"/>
                <a:gd name="connsiteX5" fmla="*/ 35014 w 581025"/>
                <a:gd name="connsiteY5" fmla="*/ 7144 h 28575"/>
                <a:gd name="connsiteX6" fmla="*/ 553174 w 581025"/>
                <a:gd name="connsiteY6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81025" h="28575">
                  <a:moveTo>
                    <a:pt x="553174" y="7144"/>
                  </a:moveTo>
                  <a:cubicBezTo>
                    <a:pt x="553174" y="7144"/>
                    <a:pt x="566509" y="16669"/>
                    <a:pt x="574129" y="23336"/>
                  </a:cubicBezTo>
                  <a:cubicBezTo>
                    <a:pt x="581749" y="30004"/>
                    <a:pt x="574129" y="30004"/>
                    <a:pt x="574129" y="30004"/>
                  </a:cubicBezTo>
                  <a:cubicBezTo>
                    <a:pt x="574129" y="30004"/>
                    <a:pt x="37871" y="30004"/>
                    <a:pt x="19774" y="30004"/>
                  </a:cubicBezTo>
                  <a:cubicBezTo>
                    <a:pt x="1676" y="30004"/>
                    <a:pt x="8344" y="26194"/>
                    <a:pt x="8344" y="26194"/>
                  </a:cubicBezTo>
                  <a:lnTo>
                    <a:pt x="35014" y="7144"/>
                  </a:lnTo>
                  <a:lnTo>
                    <a:pt x="553174" y="7144"/>
                  </a:lnTo>
                  <a:close/>
                </a:path>
              </a:pathLst>
            </a:custGeom>
            <a:solidFill>
              <a:srgbClr val="32333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7" name="Freeform: Shape 15">
              <a:extLst>
                <a:ext uri="{FF2B5EF4-FFF2-40B4-BE49-F238E27FC236}">
                  <a16:creationId xmlns:a16="http://schemas.microsoft.com/office/drawing/2014/main" xmlns="" id="{1B0D60D2-3A3F-49F1-A438-D5167B4781D8}"/>
                </a:ext>
              </a:extLst>
            </p:cNvPr>
            <p:cNvSpPr/>
            <p:nvPr/>
          </p:nvSpPr>
          <p:spPr>
            <a:xfrm>
              <a:off x="5403495" y="5242756"/>
              <a:ext cx="4589582" cy="81957"/>
            </a:xfrm>
            <a:custGeom>
              <a:avLst/>
              <a:gdLst>
                <a:gd name="connsiteX0" fmla="*/ 538318 w 533400"/>
                <a:gd name="connsiteY0" fmla="*/ 3965 h 0"/>
                <a:gd name="connsiteX1" fmla="*/ 3965 w 533400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400">
                  <a:moveTo>
                    <a:pt x="538318" y="3965"/>
                  </a:moveTo>
                  <a:lnTo>
                    <a:pt x="3965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8" name="Freeform: Shape 16">
              <a:extLst>
                <a:ext uri="{FF2B5EF4-FFF2-40B4-BE49-F238E27FC236}">
                  <a16:creationId xmlns:a16="http://schemas.microsoft.com/office/drawing/2014/main" xmlns="" id="{B64679F7-106E-4954-A073-AA53483B9231}"/>
                </a:ext>
              </a:extLst>
            </p:cNvPr>
            <p:cNvSpPr/>
            <p:nvPr/>
          </p:nvSpPr>
          <p:spPr>
            <a:xfrm>
              <a:off x="5469061" y="5201782"/>
              <a:ext cx="4507626" cy="81957"/>
            </a:xfrm>
            <a:custGeom>
              <a:avLst/>
              <a:gdLst>
                <a:gd name="connsiteX0" fmla="*/ 3965 w 523875"/>
                <a:gd name="connsiteY0" fmla="*/ 3965 h 0"/>
                <a:gd name="connsiteX1" fmla="*/ 524031 w 523875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23875">
                  <a:moveTo>
                    <a:pt x="3965" y="3965"/>
                  </a:moveTo>
                  <a:lnTo>
                    <a:pt x="524031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9" name="Freeform: Shape 17">
              <a:extLst>
                <a:ext uri="{FF2B5EF4-FFF2-40B4-BE49-F238E27FC236}">
                  <a16:creationId xmlns:a16="http://schemas.microsoft.com/office/drawing/2014/main" xmlns="" id="{48869693-3ABE-415F-9709-AE08846BC372}"/>
                </a:ext>
              </a:extLst>
            </p:cNvPr>
            <p:cNvSpPr/>
            <p:nvPr/>
          </p:nvSpPr>
          <p:spPr>
            <a:xfrm>
              <a:off x="5354321" y="5291930"/>
              <a:ext cx="4753496" cy="81957"/>
            </a:xfrm>
            <a:custGeom>
              <a:avLst/>
              <a:gdLst>
                <a:gd name="connsiteX0" fmla="*/ 550701 w 552450"/>
                <a:gd name="connsiteY0" fmla="*/ 3965 h 0"/>
                <a:gd name="connsiteX1" fmla="*/ 3965 w 552450"/>
                <a:gd name="connsiteY1" fmla="*/ 3965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52450">
                  <a:moveTo>
                    <a:pt x="550701" y="3965"/>
                  </a:moveTo>
                  <a:lnTo>
                    <a:pt x="3965" y="3965"/>
                  </a:lnTo>
                </a:path>
              </a:pathLst>
            </a:custGeom>
            <a:ln w="5287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0" name="Freeform: Shape 18">
              <a:extLst>
                <a:ext uri="{FF2B5EF4-FFF2-40B4-BE49-F238E27FC236}">
                  <a16:creationId xmlns:a16="http://schemas.microsoft.com/office/drawing/2014/main" xmlns="" id="{8C4A92C0-EA71-4274-811A-006D33D6D2FA}"/>
                </a:ext>
              </a:extLst>
            </p:cNvPr>
            <p:cNvSpPr/>
            <p:nvPr/>
          </p:nvSpPr>
          <p:spPr>
            <a:xfrm>
              <a:off x="5424729" y="5180579"/>
              <a:ext cx="4343712" cy="81957"/>
            </a:xfrm>
            <a:custGeom>
              <a:avLst/>
              <a:gdLst>
                <a:gd name="connsiteX0" fmla="*/ 1586 w 504825"/>
                <a:gd name="connsiteY0" fmla="*/ 1586 h 0"/>
                <a:gd name="connsiteX1" fmla="*/ 511173 w 504825"/>
                <a:gd name="connsiteY1" fmla="*/ 1586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04825">
                  <a:moveTo>
                    <a:pt x="1586" y="1586"/>
                  </a:moveTo>
                  <a:lnTo>
                    <a:pt x="511173" y="1586"/>
                  </a:lnTo>
                </a:path>
              </a:pathLst>
            </a:custGeom>
            <a:ln w="2115" cap="rnd">
              <a:solidFill>
                <a:srgbClr val="FFFFFF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1" name="Freeform: Shape 19">
              <a:extLst>
                <a:ext uri="{FF2B5EF4-FFF2-40B4-BE49-F238E27FC236}">
                  <a16:creationId xmlns:a16="http://schemas.microsoft.com/office/drawing/2014/main" xmlns="" id="{FDA5CE57-6F52-4898-BBD1-7EAE1C977249}"/>
                </a:ext>
              </a:extLst>
            </p:cNvPr>
            <p:cNvSpPr/>
            <p:nvPr/>
          </p:nvSpPr>
          <p:spPr>
            <a:xfrm>
              <a:off x="5269602" y="5117063"/>
              <a:ext cx="4917410" cy="245870"/>
            </a:xfrm>
            <a:custGeom>
              <a:avLst/>
              <a:gdLst>
                <a:gd name="connsiteX0" fmla="*/ 32861 w 571500"/>
                <a:gd name="connsiteY0" fmla="*/ 7144 h 28575"/>
                <a:gd name="connsiteX1" fmla="*/ 7144 w 571500"/>
                <a:gd name="connsiteY1" fmla="*/ 26194 h 28575"/>
                <a:gd name="connsiteX2" fmla="*/ 566261 w 571500"/>
                <a:gd name="connsiteY2" fmla="*/ 26194 h 28575"/>
                <a:gd name="connsiteX3" fmla="*/ 541496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32861" y="7144"/>
                  </a:moveTo>
                  <a:lnTo>
                    <a:pt x="7144" y="26194"/>
                  </a:lnTo>
                  <a:lnTo>
                    <a:pt x="566261" y="26194"/>
                  </a:lnTo>
                  <a:lnTo>
                    <a:pt x="541496" y="7144"/>
                  </a:lnTo>
                  <a:close/>
                </a:path>
              </a:pathLst>
            </a:custGeom>
            <a:solidFill>
              <a:srgbClr val="323334">
                <a:alpha val="56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2" name="Freeform: Shape 20">
              <a:extLst>
                <a:ext uri="{FF2B5EF4-FFF2-40B4-BE49-F238E27FC236}">
                  <a16:creationId xmlns:a16="http://schemas.microsoft.com/office/drawing/2014/main" xmlns="" id="{8FEDC985-5118-4B4B-B34D-6D4C47E267D3}"/>
                </a:ext>
              </a:extLst>
            </p:cNvPr>
            <p:cNvSpPr/>
            <p:nvPr/>
          </p:nvSpPr>
          <p:spPr>
            <a:xfrm>
              <a:off x="4105815" y="5559062"/>
              <a:ext cx="7294158" cy="409784"/>
            </a:xfrm>
            <a:custGeom>
              <a:avLst/>
              <a:gdLst>
                <a:gd name="connsiteX0" fmla="*/ 842486 w 847725"/>
                <a:gd name="connsiteY0" fmla="*/ 30069 h 47625"/>
                <a:gd name="connsiteX1" fmla="*/ 830104 w 847725"/>
                <a:gd name="connsiteY1" fmla="*/ 44357 h 47625"/>
                <a:gd name="connsiteX2" fmla="*/ 41434 w 847725"/>
                <a:gd name="connsiteY2" fmla="*/ 44357 h 47625"/>
                <a:gd name="connsiteX3" fmla="*/ 20479 w 847725"/>
                <a:gd name="connsiteY3" fmla="*/ 43404 h 47625"/>
                <a:gd name="connsiteX4" fmla="*/ 7144 w 847725"/>
                <a:gd name="connsiteY4" fmla="*/ 29117 h 47625"/>
                <a:gd name="connsiteX5" fmla="*/ 7144 w 847725"/>
                <a:gd name="connsiteY5" fmla="*/ 9114 h 47625"/>
                <a:gd name="connsiteX6" fmla="*/ 9049 w 847725"/>
                <a:gd name="connsiteY6" fmla="*/ 9114 h 47625"/>
                <a:gd name="connsiteX7" fmla="*/ 27146 w 847725"/>
                <a:gd name="connsiteY7" fmla="*/ 9114 h 47625"/>
                <a:gd name="connsiteX8" fmla="*/ 752951 w 847725"/>
                <a:gd name="connsiteY8" fmla="*/ 7209 h 47625"/>
                <a:gd name="connsiteX9" fmla="*/ 842486 w 847725"/>
                <a:gd name="connsiteY9" fmla="*/ 7209 h 47625"/>
                <a:gd name="connsiteX10" fmla="*/ 842486 w 847725"/>
                <a:gd name="connsiteY10" fmla="*/ 7209 h 47625"/>
                <a:gd name="connsiteX11" fmla="*/ 842486 w 847725"/>
                <a:gd name="connsiteY11" fmla="*/ 30069 h 476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47725" h="47625">
                  <a:moveTo>
                    <a:pt x="842486" y="30069"/>
                  </a:moveTo>
                  <a:cubicBezTo>
                    <a:pt x="842486" y="44357"/>
                    <a:pt x="830104" y="44357"/>
                    <a:pt x="830104" y="44357"/>
                  </a:cubicBezTo>
                  <a:cubicBezTo>
                    <a:pt x="830104" y="44357"/>
                    <a:pt x="71914" y="44357"/>
                    <a:pt x="41434" y="44357"/>
                  </a:cubicBezTo>
                  <a:cubicBezTo>
                    <a:pt x="31909" y="44357"/>
                    <a:pt x="25241" y="44357"/>
                    <a:pt x="20479" y="43404"/>
                  </a:cubicBezTo>
                  <a:cubicBezTo>
                    <a:pt x="12859" y="42452"/>
                    <a:pt x="7144" y="36737"/>
                    <a:pt x="7144" y="29117"/>
                  </a:cubicBezTo>
                  <a:lnTo>
                    <a:pt x="7144" y="9114"/>
                  </a:lnTo>
                  <a:lnTo>
                    <a:pt x="9049" y="9114"/>
                  </a:lnTo>
                  <a:lnTo>
                    <a:pt x="27146" y="9114"/>
                  </a:lnTo>
                  <a:lnTo>
                    <a:pt x="752951" y="7209"/>
                  </a:lnTo>
                  <a:lnTo>
                    <a:pt x="842486" y="7209"/>
                  </a:lnTo>
                  <a:lnTo>
                    <a:pt x="842486" y="7209"/>
                  </a:lnTo>
                  <a:cubicBezTo>
                    <a:pt x="841534" y="6257"/>
                    <a:pt x="842486" y="15782"/>
                    <a:pt x="842486" y="30069"/>
                  </a:cubicBezTo>
                  <a:close/>
                </a:path>
              </a:pathLst>
            </a:custGeom>
            <a:solidFill>
              <a:srgbClr val="66666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3" name="Freeform: Shape 21">
              <a:extLst>
                <a:ext uri="{FF2B5EF4-FFF2-40B4-BE49-F238E27FC236}">
                  <a16:creationId xmlns:a16="http://schemas.microsoft.com/office/drawing/2014/main" xmlns="" id="{9C604340-C651-4D4A-92A9-63FCC85BB73A}"/>
                </a:ext>
              </a:extLst>
            </p:cNvPr>
            <p:cNvSpPr/>
            <p:nvPr/>
          </p:nvSpPr>
          <p:spPr>
            <a:xfrm>
              <a:off x="4098364" y="5051498"/>
              <a:ext cx="7294158" cy="655655"/>
            </a:xfrm>
            <a:custGeom>
              <a:avLst/>
              <a:gdLst>
                <a:gd name="connsiteX0" fmla="*/ 827161 w 847725"/>
                <a:gd name="connsiteY0" fmla="*/ 70009 h 76200"/>
                <a:gd name="connsiteX1" fmla="*/ 753818 w 847725"/>
                <a:gd name="connsiteY1" fmla="*/ 70009 h 76200"/>
                <a:gd name="connsiteX2" fmla="*/ 24203 w 847725"/>
                <a:gd name="connsiteY2" fmla="*/ 70009 h 76200"/>
                <a:gd name="connsiteX3" fmla="*/ 17535 w 847725"/>
                <a:gd name="connsiteY3" fmla="*/ 70009 h 76200"/>
                <a:gd name="connsiteX4" fmla="*/ 8010 w 847725"/>
                <a:gd name="connsiteY4" fmla="*/ 67151 h 76200"/>
                <a:gd name="connsiteX5" fmla="*/ 13725 w 847725"/>
                <a:gd name="connsiteY5" fmla="*/ 58579 h 76200"/>
                <a:gd name="connsiteX6" fmla="*/ 97545 w 847725"/>
                <a:gd name="connsiteY6" fmla="*/ 9049 h 76200"/>
                <a:gd name="connsiteX7" fmla="*/ 101355 w 847725"/>
                <a:gd name="connsiteY7" fmla="*/ 7144 h 76200"/>
                <a:gd name="connsiteX8" fmla="*/ 739531 w 847725"/>
                <a:gd name="connsiteY8" fmla="*/ 7144 h 76200"/>
                <a:gd name="connsiteX9" fmla="*/ 742388 w 847725"/>
                <a:gd name="connsiteY9" fmla="*/ 8096 h 76200"/>
                <a:gd name="connsiteX10" fmla="*/ 746198 w 847725"/>
                <a:gd name="connsiteY10" fmla="*/ 9049 h 76200"/>
                <a:gd name="connsiteX11" fmla="*/ 747150 w 847725"/>
                <a:gd name="connsiteY11" fmla="*/ 9049 h 76200"/>
                <a:gd name="connsiteX12" fmla="*/ 757628 w 847725"/>
                <a:gd name="connsiteY12" fmla="*/ 14764 h 76200"/>
                <a:gd name="connsiteX13" fmla="*/ 840496 w 847725"/>
                <a:gd name="connsiteY13" fmla="*/ 62389 h 76200"/>
                <a:gd name="connsiteX14" fmla="*/ 842400 w 847725"/>
                <a:gd name="connsiteY14" fmla="*/ 65246 h 76200"/>
                <a:gd name="connsiteX15" fmla="*/ 827161 w 847725"/>
                <a:gd name="connsiteY15" fmla="*/ 70009 h 76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847725" h="76200">
                  <a:moveTo>
                    <a:pt x="827161" y="70009"/>
                  </a:moveTo>
                  <a:cubicBezTo>
                    <a:pt x="823350" y="70009"/>
                    <a:pt x="795728" y="70009"/>
                    <a:pt x="753818" y="70009"/>
                  </a:cubicBezTo>
                  <a:cubicBezTo>
                    <a:pt x="566175" y="70009"/>
                    <a:pt x="85163" y="70009"/>
                    <a:pt x="24203" y="70009"/>
                  </a:cubicBezTo>
                  <a:cubicBezTo>
                    <a:pt x="20393" y="70009"/>
                    <a:pt x="17535" y="70009"/>
                    <a:pt x="17535" y="70009"/>
                  </a:cubicBezTo>
                  <a:cubicBezTo>
                    <a:pt x="17535" y="70009"/>
                    <a:pt x="10868" y="70009"/>
                    <a:pt x="8010" y="67151"/>
                  </a:cubicBezTo>
                  <a:cubicBezTo>
                    <a:pt x="6105" y="65246"/>
                    <a:pt x="7058" y="63341"/>
                    <a:pt x="13725" y="58579"/>
                  </a:cubicBezTo>
                  <a:cubicBezTo>
                    <a:pt x="27060" y="49054"/>
                    <a:pt x="82305" y="17621"/>
                    <a:pt x="97545" y="9049"/>
                  </a:cubicBezTo>
                  <a:cubicBezTo>
                    <a:pt x="100403" y="8096"/>
                    <a:pt x="101355" y="7144"/>
                    <a:pt x="101355" y="7144"/>
                  </a:cubicBezTo>
                  <a:lnTo>
                    <a:pt x="739531" y="7144"/>
                  </a:lnTo>
                  <a:cubicBezTo>
                    <a:pt x="739531" y="7144"/>
                    <a:pt x="740483" y="7144"/>
                    <a:pt x="742388" y="8096"/>
                  </a:cubicBezTo>
                  <a:cubicBezTo>
                    <a:pt x="743340" y="8096"/>
                    <a:pt x="744293" y="9049"/>
                    <a:pt x="746198" y="9049"/>
                  </a:cubicBezTo>
                  <a:cubicBezTo>
                    <a:pt x="746198" y="9049"/>
                    <a:pt x="746198" y="9049"/>
                    <a:pt x="747150" y="9049"/>
                  </a:cubicBezTo>
                  <a:cubicBezTo>
                    <a:pt x="750008" y="10001"/>
                    <a:pt x="753818" y="11906"/>
                    <a:pt x="757628" y="14764"/>
                  </a:cubicBezTo>
                  <a:cubicBezTo>
                    <a:pt x="770963" y="23336"/>
                    <a:pt x="840496" y="62389"/>
                    <a:pt x="840496" y="62389"/>
                  </a:cubicBezTo>
                  <a:cubicBezTo>
                    <a:pt x="840496" y="62389"/>
                    <a:pt x="842400" y="63341"/>
                    <a:pt x="842400" y="65246"/>
                  </a:cubicBezTo>
                  <a:cubicBezTo>
                    <a:pt x="844306" y="67151"/>
                    <a:pt x="842400" y="70009"/>
                    <a:pt x="827161" y="70009"/>
                  </a:cubicBezTo>
                  <a:close/>
                </a:path>
              </a:pathLst>
            </a:custGeom>
            <a:solidFill>
              <a:srgbClr val="9DA4A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4" name="Freeform: Shape 22">
              <a:extLst>
                <a:ext uri="{FF2B5EF4-FFF2-40B4-BE49-F238E27FC236}">
                  <a16:creationId xmlns:a16="http://schemas.microsoft.com/office/drawing/2014/main" xmlns="" id="{2705AC0B-2425-40FB-B143-6D7B17E937EE}"/>
                </a:ext>
              </a:extLst>
            </p:cNvPr>
            <p:cNvSpPr/>
            <p:nvPr/>
          </p:nvSpPr>
          <p:spPr>
            <a:xfrm>
              <a:off x="6803481" y="5354734"/>
              <a:ext cx="1868616" cy="245870"/>
            </a:xfrm>
            <a:custGeom>
              <a:avLst/>
              <a:gdLst>
                <a:gd name="connsiteX0" fmla="*/ 23187 w 209550"/>
                <a:gd name="connsiteY0" fmla="*/ 7144 h 28575"/>
                <a:gd name="connsiteX1" fmla="*/ 12710 w 209550"/>
                <a:gd name="connsiteY1" fmla="*/ 12859 h 28575"/>
                <a:gd name="connsiteX2" fmla="*/ 7947 w 209550"/>
                <a:gd name="connsiteY2" fmla="*/ 19526 h 28575"/>
                <a:gd name="connsiteX3" fmla="*/ 21282 w 209550"/>
                <a:gd name="connsiteY3" fmla="*/ 25241 h 28575"/>
                <a:gd name="connsiteX4" fmla="*/ 111770 w 209550"/>
                <a:gd name="connsiteY4" fmla="*/ 25241 h 28575"/>
                <a:gd name="connsiteX5" fmla="*/ 111770 w 209550"/>
                <a:gd name="connsiteY5" fmla="*/ 25241 h 28575"/>
                <a:gd name="connsiteX6" fmla="*/ 195590 w 209550"/>
                <a:gd name="connsiteY6" fmla="*/ 25241 h 28575"/>
                <a:gd name="connsiteX7" fmla="*/ 208925 w 209550"/>
                <a:gd name="connsiteY7" fmla="*/ 19526 h 28575"/>
                <a:gd name="connsiteX8" fmla="*/ 204162 w 209550"/>
                <a:gd name="connsiteY8" fmla="*/ 12859 h 28575"/>
                <a:gd name="connsiteX9" fmla="*/ 193685 w 209550"/>
                <a:gd name="connsiteY9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09550" h="28575">
                  <a:moveTo>
                    <a:pt x="23187" y="7144"/>
                  </a:moveTo>
                  <a:cubicBezTo>
                    <a:pt x="19377" y="7144"/>
                    <a:pt x="15567" y="9049"/>
                    <a:pt x="12710" y="12859"/>
                  </a:cubicBezTo>
                  <a:lnTo>
                    <a:pt x="7947" y="19526"/>
                  </a:lnTo>
                  <a:cubicBezTo>
                    <a:pt x="7947" y="19526"/>
                    <a:pt x="2232" y="26194"/>
                    <a:pt x="21282" y="25241"/>
                  </a:cubicBezTo>
                  <a:cubicBezTo>
                    <a:pt x="30807" y="25241"/>
                    <a:pt x="72717" y="25241"/>
                    <a:pt x="111770" y="25241"/>
                  </a:cubicBezTo>
                  <a:lnTo>
                    <a:pt x="111770" y="25241"/>
                  </a:lnTo>
                  <a:cubicBezTo>
                    <a:pt x="148917" y="25241"/>
                    <a:pt x="187017" y="25241"/>
                    <a:pt x="195590" y="25241"/>
                  </a:cubicBezTo>
                  <a:cubicBezTo>
                    <a:pt x="213687" y="26194"/>
                    <a:pt x="208925" y="19526"/>
                    <a:pt x="208925" y="19526"/>
                  </a:cubicBezTo>
                  <a:lnTo>
                    <a:pt x="204162" y="12859"/>
                  </a:lnTo>
                  <a:cubicBezTo>
                    <a:pt x="202257" y="9049"/>
                    <a:pt x="198447" y="7144"/>
                    <a:pt x="193685" y="7144"/>
                  </a:cubicBezTo>
                </a:path>
              </a:pathLst>
            </a:custGeom>
            <a:solidFill>
              <a:srgbClr val="70757B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5" name="Freeform: Shape 23">
              <a:extLst>
                <a:ext uri="{FF2B5EF4-FFF2-40B4-BE49-F238E27FC236}">
                  <a16:creationId xmlns:a16="http://schemas.microsoft.com/office/drawing/2014/main" xmlns="" id="{85C268CE-434C-4649-9D09-EDF424B9BCA3}"/>
                </a:ext>
              </a:extLst>
            </p:cNvPr>
            <p:cNvSpPr/>
            <p:nvPr/>
          </p:nvSpPr>
          <p:spPr>
            <a:xfrm>
              <a:off x="5179454" y="5125255"/>
              <a:ext cx="4917410" cy="245870"/>
            </a:xfrm>
            <a:custGeom>
              <a:avLst/>
              <a:gdLst>
                <a:gd name="connsiteX0" fmla="*/ 566261 w 571500"/>
                <a:gd name="connsiteY0" fmla="*/ 30004 h 28575"/>
                <a:gd name="connsiteX1" fmla="*/ 7144 w 571500"/>
                <a:gd name="connsiteY1" fmla="*/ 30004 h 28575"/>
                <a:gd name="connsiteX2" fmla="*/ 28099 w 571500"/>
                <a:gd name="connsiteY2" fmla="*/ 7144 h 28575"/>
                <a:gd name="connsiteX3" fmla="*/ 543401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566261" y="30004"/>
                  </a:moveTo>
                  <a:lnTo>
                    <a:pt x="7144" y="30004"/>
                  </a:lnTo>
                  <a:lnTo>
                    <a:pt x="28099" y="7144"/>
                  </a:lnTo>
                  <a:lnTo>
                    <a:pt x="543401" y="7144"/>
                  </a:lnTo>
                  <a:close/>
                </a:path>
              </a:pathLst>
            </a:custGeom>
            <a:solidFill>
              <a:srgbClr val="575A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6" name="Freeform: Shape 24">
              <a:extLst>
                <a:ext uri="{FF2B5EF4-FFF2-40B4-BE49-F238E27FC236}">
                  <a16:creationId xmlns:a16="http://schemas.microsoft.com/office/drawing/2014/main" xmlns="" id="{9BDD0917-3844-4226-AEA4-C6EE7F364C83}"/>
                </a:ext>
              </a:extLst>
            </p:cNvPr>
            <p:cNvSpPr/>
            <p:nvPr/>
          </p:nvSpPr>
          <p:spPr>
            <a:xfrm>
              <a:off x="5146671" y="5125255"/>
              <a:ext cx="4917410" cy="245870"/>
            </a:xfrm>
            <a:custGeom>
              <a:avLst/>
              <a:gdLst>
                <a:gd name="connsiteX0" fmla="*/ 571024 w 571500"/>
                <a:gd name="connsiteY0" fmla="*/ 30004 h 28575"/>
                <a:gd name="connsiteX1" fmla="*/ 7144 w 571500"/>
                <a:gd name="connsiteY1" fmla="*/ 30004 h 28575"/>
                <a:gd name="connsiteX2" fmla="*/ 28099 w 571500"/>
                <a:gd name="connsiteY2" fmla="*/ 7144 h 28575"/>
                <a:gd name="connsiteX3" fmla="*/ 548164 w 571500"/>
                <a:gd name="connsiteY3" fmla="*/ 7144 h 28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71500" h="28575">
                  <a:moveTo>
                    <a:pt x="571024" y="30004"/>
                  </a:moveTo>
                  <a:lnTo>
                    <a:pt x="7144" y="30004"/>
                  </a:lnTo>
                  <a:lnTo>
                    <a:pt x="28099" y="7144"/>
                  </a:lnTo>
                  <a:lnTo>
                    <a:pt x="548164" y="7144"/>
                  </a:lnTo>
                  <a:close/>
                </a:path>
              </a:pathLst>
            </a:custGeom>
            <a:solidFill>
              <a:srgbClr val="575A5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7" name="Freeform: Shape 25">
              <a:extLst>
                <a:ext uri="{FF2B5EF4-FFF2-40B4-BE49-F238E27FC236}">
                  <a16:creationId xmlns:a16="http://schemas.microsoft.com/office/drawing/2014/main" xmlns="" id="{A28283EF-8464-4B20-A525-1159F40A3BD1}"/>
                </a:ext>
              </a:extLst>
            </p:cNvPr>
            <p:cNvSpPr/>
            <p:nvPr/>
          </p:nvSpPr>
          <p:spPr>
            <a:xfrm>
              <a:off x="7022398" y="1844838"/>
              <a:ext cx="3271162" cy="3198464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/>
            </a:p>
          </p:txBody>
        </p:sp>
        <p:grpSp>
          <p:nvGrpSpPr>
            <p:cNvPr id="18" name="Group 26">
              <a:extLst>
                <a:ext uri="{FF2B5EF4-FFF2-40B4-BE49-F238E27FC236}">
                  <a16:creationId xmlns:a16="http://schemas.microsoft.com/office/drawing/2014/main" xmlns="" id="{766538D7-BA23-4B48-B914-B16A33C8B379}"/>
                </a:ext>
              </a:extLst>
            </p:cNvPr>
            <p:cNvGrpSpPr/>
            <p:nvPr/>
          </p:nvGrpSpPr>
          <p:grpSpPr>
            <a:xfrm>
              <a:off x="5370712" y="5206368"/>
              <a:ext cx="4572000" cy="149296"/>
              <a:chOff x="5370712" y="5206368"/>
              <a:chExt cx="4572000" cy="149296"/>
            </a:xfrm>
          </p:grpSpPr>
          <p:sp>
            <p:nvSpPr>
              <p:cNvPr id="25" name="Rectangle 33">
                <a:extLst>
                  <a:ext uri="{FF2B5EF4-FFF2-40B4-BE49-F238E27FC236}">
                    <a16:creationId xmlns:a16="http://schemas.microsoft.com/office/drawing/2014/main" xmlns="" id="{1977EA51-5010-479E-949D-906C67B83441}"/>
                  </a:ext>
                </a:extLst>
              </p:cNvPr>
              <p:cNvSpPr/>
              <p:nvPr/>
            </p:nvSpPr>
            <p:spPr>
              <a:xfrm>
                <a:off x="5370712" y="5337376"/>
                <a:ext cx="457200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26" name="Rectangle 34">
                <a:extLst>
                  <a:ext uri="{FF2B5EF4-FFF2-40B4-BE49-F238E27FC236}">
                    <a16:creationId xmlns:a16="http://schemas.microsoft.com/office/drawing/2014/main" xmlns="" id="{513E2DFF-5359-492A-B0FC-A801DE8B35B0}"/>
                  </a:ext>
                </a:extLst>
              </p:cNvPr>
              <p:cNvSpPr/>
              <p:nvPr/>
            </p:nvSpPr>
            <p:spPr>
              <a:xfrm>
                <a:off x="5416432" y="5293706"/>
                <a:ext cx="448056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27" name="Rectangle 35">
                <a:extLst>
                  <a:ext uri="{FF2B5EF4-FFF2-40B4-BE49-F238E27FC236}">
                    <a16:creationId xmlns:a16="http://schemas.microsoft.com/office/drawing/2014/main" xmlns="" id="{AE72057C-914B-4BF9-8194-BD037EC9DCB0}"/>
                  </a:ext>
                </a:extLst>
              </p:cNvPr>
              <p:cNvSpPr/>
              <p:nvPr/>
            </p:nvSpPr>
            <p:spPr>
              <a:xfrm>
                <a:off x="5462152" y="5250037"/>
                <a:ext cx="438912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28" name="Rectangle 36">
                <a:extLst>
                  <a:ext uri="{FF2B5EF4-FFF2-40B4-BE49-F238E27FC236}">
                    <a16:creationId xmlns:a16="http://schemas.microsoft.com/office/drawing/2014/main" xmlns="" id="{15FD5D14-3A6E-4E8E-AD33-A9FF9D8BC56F}"/>
                  </a:ext>
                </a:extLst>
              </p:cNvPr>
              <p:cNvSpPr/>
              <p:nvPr/>
            </p:nvSpPr>
            <p:spPr>
              <a:xfrm>
                <a:off x="5507872" y="5206368"/>
                <a:ext cx="4297680" cy="1828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19" name="Group 27">
              <a:extLst>
                <a:ext uri="{FF2B5EF4-FFF2-40B4-BE49-F238E27FC236}">
                  <a16:creationId xmlns:a16="http://schemas.microsoft.com/office/drawing/2014/main" xmlns="" id="{2B46E634-A837-4264-BB08-771EA7DF4E20}"/>
                </a:ext>
              </a:extLst>
            </p:cNvPr>
            <p:cNvGrpSpPr/>
            <p:nvPr/>
          </p:nvGrpSpPr>
          <p:grpSpPr>
            <a:xfrm>
              <a:off x="7661590" y="1698465"/>
              <a:ext cx="114873" cy="114873"/>
              <a:chOff x="7627525" y="1132589"/>
              <a:chExt cx="234846" cy="234846"/>
            </a:xfrm>
          </p:grpSpPr>
          <p:sp>
            <p:nvSpPr>
              <p:cNvPr id="22" name="Oval 30">
                <a:extLst>
                  <a:ext uri="{FF2B5EF4-FFF2-40B4-BE49-F238E27FC236}">
                    <a16:creationId xmlns:a16="http://schemas.microsoft.com/office/drawing/2014/main" xmlns="" id="{897EC1F8-E2F8-402C-8079-CAE69CC92DE3}"/>
                  </a:ext>
                </a:extLst>
              </p:cNvPr>
              <p:cNvSpPr/>
              <p:nvPr/>
            </p:nvSpPr>
            <p:spPr>
              <a:xfrm>
                <a:off x="7627525" y="1132589"/>
                <a:ext cx="234846" cy="234846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23" name="Oval 31">
                <a:extLst>
                  <a:ext uri="{FF2B5EF4-FFF2-40B4-BE49-F238E27FC236}">
                    <a16:creationId xmlns:a16="http://schemas.microsoft.com/office/drawing/2014/main" xmlns="" id="{9F58A939-E080-4CBF-9142-030963C8BF66}"/>
                  </a:ext>
                </a:extLst>
              </p:cNvPr>
              <p:cNvSpPr/>
              <p:nvPr/>
            </p:nvSpPr>
            <p:spPr>
              <a:xfrm>
                <a:off x="7656971" y="1162035"/>
                <a:ext cx="175955" cy="175955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  <p:sp>
            <p:nvSpPr>
              <p:cNvPr id="24" name="Oval 32">
                <a:extLst>
                  <a:ext uri="{FF2B5EF4-FFF2-40B4-BE49-F238E27FC236}">
                    <a16:creationId xmlns:a16="http://schemas.microsoft.com/office/drawing/2014/main" xmlns="" id="{FBD641BD-719D-473B-A570-055E2B0B3562}"/>
                  </a:ext>
                </a:extLst>
              </p:cNvPr>
              <p:cNvSpPr/>
              <p:nvPr/>
            </p:nvSpPr>
            <p:spPr>
              <a:xfrm>
                <a:off x="7683825" y="1188889"/>
                <a:ext cx="122247" cy="122247"/>
              </a:xfrm>
              <a:prstGeom prst="ellipse">
                <a:avLst/>
              </a:prstGeom>
              <a:solidFill>
                <a:schemeClr val="bg1">
                  <a:lumMod val="50000"/>
                  <a:alpha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sp>
          <p:nvSpPr>
            <p:cNvPr id="20" name="Rectangle: Rounded Corners 28">
              <a:extLst>
                <a:ext uri="{FF2B5EF4-FFF2-40B4-BE49-F238E27FC236}">
                  <a16:creationId xmlns:a16="http://schemas.microsoft.com/office/drawing/2014/main" xmlns="" id="{83704563-8A67-46CE-982E-9C4B2C5314ED}"/>
                </a:ext>
              </a:extLst>
            </p:cNvPr>
            <p:cNvSpPr/>
            <p:nvPr/>
          </p:nvSpPr>
          <p:spPr>
            <a:xfrm>
              <a:off x="7370377" y="5752599"/>
              <a:ext cx="748642" cy="88504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1" name="Oval 29">
              <a:extLst>
                <a:ext uri="{FF2B5EF4-FFF2-40B4-BE49-F238E27FC236}">
                  <a16:creationId xmlns:a16="http://schemas.microsoft.com/office/drawing/2014/main" xmlns="" id="{A88CA8B0-93EA-4055-BB65-BC37FFFEB07A}"/>
                </a:ext>
              </a:extLst>
            </p:cNvPr>
            <p:cNvSpPr/>
            <p:nvPr/>
          </p:nvSpPr>
          <p:spPr>
            <a:xfrm>
              <a:off x="7133919" y="5752598"/>
              <a:ext cx="101303" cy="101303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  <p:sp>
        <p:nvSpPr>
          <p:cNvPr id="31" name="Picture Placeholder 35">
            <a:extLst>
              <a:ext uri="{FF2B5EF4-FFF2-40B4-BE49-F238E27FC236}">
                <a16:creationId xmlns:a16="http://schemas.microsoft.com/office/drawing/2014/main" xmlns="" id="{F69440D4-11CB-4B0F-B581-1A8AF6BB0C2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83616" y="1582796"/>
            <a:ext cx="4177605" cy="2581712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2" name="Text Placeholder 9">
            <a:extLst>
              <a:ext uri="{FF2B5EF4-FFF2-40B4-BE49-F238E27FC236}">
                <a16:creationId xmlns:a16="http://schemas.microsoft.com/office/drawing/2014/main" xmlns="" id="{948B1D88-E397-4FF3-9D80-769A86816F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4025847992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1885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xmlns="" id="{A2462059-8C4C-4109-8AC5-2B3BE0B08D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34308" y="1617572"/>
            <a:ext cx="3622856" cy="3622856"/>
          </a:xfrm>
          <a:custGeom>
            <a:avLst/>
            <a:gdLst>
              <a:gd name="connsiteX0" fmla="*/ 1711572 w 3423144"/>
              <a:gd name="connsiteY0" fmla="*/ 0 h 3423144"/>
              <a:gd name="connsiteX1" fmla="*/ 3423144 w 3423144"/>
              <a:gd name="connsiteY1" fmla="*/ 1711572 h 3423144"/>
              <a:gd name="connsiteX2" fmla="*/ 1711572 w 3423144"/>
              <a:gd name="connsiteY2" fmla="*/ 3423144 h 3423144"/>
              <a:gd name="connsiteX3" fmla="*/ 0 w 3423144"/>
              <a:gd name="connsiteY3" fmla="*/ 1711572 h 3423144"/>
              <a:gd name="connsiteX4" fmla="*/ 1711572 w 3423144"/>
              <a:gd name="connsiteY4" fmla="*/ 0 h 34231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23144" h="3423144">
                <a:moveTo>
                  <a:pt x="1711572" y="0"/>
                </a:moveTo>
                <a:cubicBezTo>
                  <a:pt x="2656847" y="0"/>
                  <a:pt x="3423144" y="766297"/>
                  <a:pt x="3423144" y="1711572"/>
                </a:cubicBezTo>
                <a:cubicBezTo>
                  <a:pt x="3423144" y="2656847"/>
                  <a:pt x="2656847" y="3423144"/>
                  <a:pt x="1711572" y="3423144"/>
                </a:cubicBezTo>
                <a:cubicBezTo>
                  <a:pt x="766297" y="3423144"/>
                  <a:pt x="0" y="2656847"/>
                  <a:pt x="0" y="1711572"/>
                </a:cubicBezTo>
                <a:cubicBezTo>
                  <a:pt x="0" y="766297"/>
                  <a:pt x="766297" y="0"/>
                  <a:pt x="171157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0615146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2236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>
            <a:extLst>
              <a:ext uri="{FF2B5EF4-FFF2-40B4-BE49-F238E27FC236}">
                <a16:creationId xmlns:a16="http://schemas.microsoft.com/office/drawing/2014/main" xmlns="" id="{48EAA062-5AE2-40D3-9A37-7CF7B2E5EB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15440"/>
            <a:ext cx="12192000" cy="710877"/>
          </a:xfrm>
          <a:prstGeom prst="rect">
            <a:avLst/>
          </a:prstGeom>
        </p:spPr>
        <p:txBody>
          <a:bodyPr lIns="144000" anchor="ctr">
            <a:noAutofit/>
          </a:bodyPr>
          <a:lstStyle>
            <a:lvl1pPr algn="ctr">
              <a:defRPr sz="48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Images &amp; Contents</a:t>
            </a:r>
            <a:endParaRPr lang="ko-KR" altLang="en-US" dirty="0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3F9C75A7-1DDB-49EF-A3EF-A0A321A928F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3" y="1124744"/>
            <a:ext cx="7055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22777310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664110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9885287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3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353849101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3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3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4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2178464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74830917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0841161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65770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480206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2412611C-8F42-4A88-BF2C-3F14A15A3A2D}"/>
              </a:ext>
            </a:extLst>
          </p:cNvPr>
          <p:cNvSpPr/>
          <p:nvPr userDrawn="1"/>
        </p:nvSpPr>
        <p:spPr>
          <a:xfrm>
            <a:off x="4200072" y="1086699"/>
            <a:ext cx="3290634" cy="216024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96E1EE68-F749-4414-A326-ABFB18D5E9AF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5002832" y="352527"/>
            <a:ext cx="1685114" cy="1755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53346C86-7BD4-4931-8982-4954A955A0D2}"/>
              </a:ext>
            </a:extLst>
          </p:cNvPr>
          <p:cNvSpPr/>
          <p:nvPr userDrawn="1"/>
        </p:nvSpPr>
        <p:spPr>
          <a:xfrm>
            <a:off x="7997604" y="1086699"/>
            <a:ext cx="3290634" cy="216024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4938B100-7DB2-4283-A72B-BFBB92152E89}"/>
              </a:ext>
            </a:extLst>
          </p:cNvPr>
          <p:cNvSpPr>
            <a:spLocks noGrp="1"/>
          </p:cNvSpPr>
          <p:nvPr>
            <p:ph type="pic" idx="24" hasCustomPrompt="1"/>
          </p:nvPr>
        </p:nvSpPr>
        <p:spPr>
          <a:xfrm>
            <a:off x="8800364" y="352527"/>
            <a:ext cx="1685114" cy="1755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C2A0F9E1-604E-4D14-8F49-BC5799DEC58C}"/>
              </a:ext>
            </a:extLst>
          </p:cNvPr>
          <p:cNvSpPr/>
          <p:nvPr userDrawn="1"/>
        </p:nvSpPr>
        <p:spPr>
          <a:xfrm>
            <a:off x="4200072" y="4248150"/>
            <a:ext cx="3290634" cy="216024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xmlns="" id="{F14D57A3-AC8C-481C-AFAC-A9FCFB199B2D}"/>
              </a:ext>
            </a:extLst>
          </p:cNvPr>
          <p:cNvSpPr>
            <a:spLocks noGrp="1"/>
          </p:cNvSpPr>
          <p:nvPr>
            <p:ph type="pic" idx="25" hasCustomPrompt="1"/>
          </p:nvPr>
        </p:nvSpPr>
        <p:spPr>
          <a:xfrm>
            <a:off x="5002832" y="3513978"/>
            <a:ext cx="1685114" cy="1755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ECC6AC5-F655-4421-A219-B2F76C6CA2FD}"/>
              </a:ext>
            </a:extLst>
          </p:cNvPr>
          <p:cNvSpPr/>
          <p:nvPr userDrawn="1"/>
        </p:nvSpPr>
        <p:spPr>
          <a:xfrm>
            <a:off x="7997604" y="4248150"/>
            <a:ext cx="3290634" cy="2160240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xmlns="" id="{BA2332AA-B2D0-4A28-A218-73EE3FE44954}"/>
              </a:ext>
            </a:extLst>
          </p:cNvPr>
          <p:cNvSpPr>
            <a:spLocks noGrp="1"/>
          </p:cNvSpPr>
          <p:nvPr>
            <p:ph type="pic" idx="26" hasCustomPrompt="1"/>
          </p:nvPr>
        </p:nvSpPr>
        <p:spPr>
          <a:xfrm>
            <a:off x="8800364" y="3513978"/>
            <a:ext cx="1685114" cy="17550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5862704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Picture Placeholder 162">
            <a:extLst>
              <a:ext uri="{FF2B5EF4-FFF2-40B4-BE49-F238E27FC236}">
                <a16:creationId xmlns:a16="http://schemas.microsoft.com/office/drawing/2014/main" xmlns="" id="{8824B83C-4516-440E-B27E-09F0426F6C97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1" y="2"/>
            <a:ext cx="12191999" cy="6877477"/>
          </a:xfrm>
          <a:custGeom>
            <a:avLst/>
            <a:gdLst>
              <a:gd name="connsiteX0" fmla="*/ 11053396 w 12191999"/>
              <a:gd name="connsiteY0" fmla="*/ 5847975 h 6877477"/>
              <a:gd name="connsiteX1" fmla="*/ 12034143 w 12191999"/>
              <a:gd name="connsiteY1" fmla="*/ 6828722 h 6877477"/>
              <a:gd name="connsiteX2" fmla="*/ 11985388 w 12191999"/>
              <a:gd name="connsiteY2" fmla="*/ 6877477 h 6877477"/>
              <a:gd name="connsiteX3" fmla="*/ 10121403 w 12191999"/>
              <a:gd name="connsiteY3" fmla="*/ 6877477 h 6877477"/>
              <a:gd name="connsiteX4" fmla="*/ 10072648 w 12191999"/>
              <a:gd name="connsiteY4" fmla="*/ 6828722 h 6877477"/>
              <a:gd name="connsiteX5" fmla="*/ 12182376 w 12191999"/>
              <a:gd name="connsiteY5" fmla="*/ 4716808 h 6877477"/>
              <a:gd name="connsiteX6" fmla="*/ 12191999 w 12191999"/>
              <a:gd name="connsiteY6" fmla="*/ 4726431 h 6877477"/>
              <a:gd name="connsiteX7" fmla="*/ 12191999 w 12191999"/>
              <a:gd name="connsiteY7" fmla="*/ 6668679 h 6877477"/>
              <a:gd name="connsiteX8" fmla="*/ 12182376 w 12191999"/>
              <a:gd name="connsiteY8" fmla="*/ 6678302 h 6877477"/>
              <a:gd name="connsiteX9" fmla="*/ 11201628 w 12191999"/>
              <a:gd name="connsiteY9" fmla="*/ 5697555 h 6877477"/>
              <a:gd name="connsiteX10" fmla="*/ 9949130 w 12191999"/>
              <a:gd name="connsiteY10" fmla="*/ 4716808 h 6877477"/>
              <a:gd name="connsiteX11" fmla="*/ 10929877 w 12191999"/>
              <a:gd name="connsiteY11" fmla="*/ 5697555 h 6877477"/>
              <a:gd name="connsiteX12" fmla="*/ 9949130 w 12191999"/>
              <a:gd name="connsiteY12" fmla="*/ 6678302 h 6877477"/>
              <a:gd name="connsiteX13" fmla="*/ 8968382 w 12191999"/>
              <a:gd name="connsiteY13" fmla="*/ 5697555 h 6877477"/>
              <a:gd name="connsiteX14" fmla="*/ 11053396 w 12191999"/>
              <a:gd name="connsiteY14" fmla="*/ 3580491 h 6877477"/>
              <a:gd name="connsiteX15" fmla="*/ 12034143 w 12191999"/>
              <a:gd name="connsiteY15" fmla="*/ 4561237 h 6877477"/>
              <a:gd name="connsiteX16" fmla="*/ 11053396 w 12191999"/>
              <a:gd name="connsiteY16" fmla="*/ 5541984 h 6877477"/>
              <a:gd name="connsiteX17" fmla="*/ 10072648 w 12191999"/>
              <a:gd name="connsiteY17" fmla="*/ 4561237 h 6877477"/>
              <a:gd name="connsiteX18" fmla="*/ 8844864 w 12191999"/>
              <a:gd name="connsiteY18" fmla="*/ 3580491 h 6877477"/>
              <a:gd name="connsiteX19" fmla="*/ 9825611 w 12191999"/>
              <a:gd name="connsiteY19" fmla="*/ 4561237 h 6877477"/>
              <a:gd name="connsiteX20" fmla="*/ 8844864 w 12191999"/>
              <a:gd name="connsiteY20" fmla="*/ 5541984 h 6877477"/>
              <a:gd name="connsiteX21" fmla="*/ 7864116 w 12191999"/>
              <a:gd name="connsiteY21" fmla="*/ 4561237 h 6877477"/>
              <a:gd name="connsiteX22" fmla="*/ 10739 w 12191999"/>
              <a:gd name="connsiteY22" fmla="*/ 3580491 h 6877477"/>
              <a:gd name="connsiteX23" fmla="*/ 991485 w 12191999"/>
              <a:gd name="connsiteY23" fmla="*/ 4561237 h 6877477"/>
              <a:gd name="connsiteX24" fmla="*/ 10739 w 12191999"/>
              <a:gd name="connsiteY24" fmla="*/ 5541984 h 6877477"/>
              <a:gd name="connsiteX25" fmla="*/ 0 w 12191999"/>
              <a:gd name="connsiteY25" fmla="*/ 5531245 h 6877477"/>
              <a:gd name="connsiteX26" fmla="*/ 0 w 12191999"/>
              <a:gd name="connsiteY26" fmla="*/ 3591230 h 6877477"/>
              <a:gd name="connsiteX27" fmla="*/ 1115005 w 12191999"/>
              <a:gd name="connsiteY27" fmla="*/ 2448297 h 6877477"/>
              <a:gd name="connsiteX28" fmla="*/ 2095752 w 12191999"/>
              <a:gd name="connsiteY28" fmla="*/ 3429042 h 6877477"/>
              <a:gd name="connsiteX29" fmla="*/ 1115005 w 12191999"/>
              <a:gd name="connsiteY29" fmla="*/ 4409788 h 6877477"/>
              <a:gd name="connsiteX30" fmla="*/ 134258 w 12191999"/>
              <a:gd name="connsiteY30" fmla="*/ 3429042 h 6877477"/>
              <a:gd name="connsiteX31" fmla="*/ 12182376 w 12191999"/>
              <a:gd name="connsiteY31" fmla="*/ 2448295 h 6877477"/>
              <a:gd name="connsiteX32" fmla="*/ 12191999 w 12191999"/>
              <a:gd name="connsiteY32" fmla="*/ 2457918 h 6877477"/>
              <a:gd name="connsiteX33" fmla="*/ 12191999 w 12191999"/>
              <a:gd name="connsiteY33" fmla="*/ 4400165 h 6877477"/>
              <a:gd name="connsiteX34" fmla="*/ 12182376 w 12191999"/>
              <a:gd name="connsiteY34" fmla="*/ 4409788 h 6877477"/>
              <a:gd name="connsiteX35" fmla="*/ 11201628 w 12191999"/>
              <a:gd name="connsiteY35" fmla="*/ 3429042 h 6877477"/>
              <a:gd name="connsiteX36" fmla="*/ 9949130 w 12191999"/>
              <a:gd name="connsiteY36" fmla="*/ 2448295 h 6877477"/>
              <a:gd name="connsiteX37" fmla="*/ 10929877 w 12191999"/>
              <a:gd name="connsiteY37" fmla="*/ 3429042 h 6877477"/>
              <a:gd name="connsiteX38" fmla="*/ 9949130 w 12191999"/>
              <a:gd name="connsiteY38" fmla="*/ 4409788 h 6877477"/>
              <a:gd name="connsiteX39" fmla="*/ 8968382 w 12191999"/>
              <a:gd name="connsiteY39" fmla="*/ 3429042 h 6877477"/>
              <a:gd name="connsiteX40" fmla="*/ 7740598 w 12191999"/>
              <a:gd name="connsiteY40" fmla="*/ 2448295 h 6877477"/>
              <a:gd name="connsiteX41" fmla="*/ 8721345 w 12191999"/>
              <a:gd name="connsiteY41" fmla="*/ 3429042 h 6877477"/>
              <a:gd name="connsiteX42" fmla="*/ 7740598 w 12191999"/>
              <a:gd name="connsiteY42" fmla="*/ 4409788 h 6877477"/>
              <a:gd name="connsiteX43" fmla="*/ 6759852 w 12191999"/>
              <a:gd name="connsiteY43" fmla="*/ 3429042 h 6877477"/>
              <a:gd name="connsiteX44" fmla="*/ 11053396 w 12191999"/>
              <a:gd name="connsiteY44" fmla="*/ 1313009 h 6877477"/>
              <a:gd name="connsiteX45" fmla="*/ 12034143 w 12191999"/>
              <a:gd name="connsiteY45" fmla="*/ 2293756 h 6877477"/>
              <a:gd name="connsiteX46" fmla="*/ 11053396 w 12191999"/>
              <a:gd name="connsiteY46" fmla="*/ 3274502 h 6877477"/>
              <a:gd name="connsiteX47" fmla="*/ 10072648 w 12191999"/>
              <a:gd name="connsiteY47" fmla="*/ 2293756 h 6877477"/>
              <a:gd name="connsiteX48" fmla="*/ 8844864 w 12191999"/>
              <a:gd name="connsiteY48" fmla="*/ 1313009 h 6877477"/>
              <a:gd name="connsiteX49" fmla="*/ 9825611 w 12191999"/>
              <a:gd name="connsiteY49" fmla="*/ 2293756 h 6877477"/>
              <a:gd name="connsiteX50" fmla="*/ 8844864 w 12191999"/>
              <a:gd name="connsiteY50" fmla="*/ 3274503 h 6877477"/>
              <a:gd name="connsiteX51" fmla="*/ 7864116 w 12191999"/>
              <a:gd name="connsiteY51" fmla="*/ 2293756 h 6877477"/>
              <a:gd name="connsiteX52" fmla="*/ 6636337 w 12191999"/>
              <a:gd name="connsiteY52" fmla="*/ 1313009 h 6877477"/>
              <a:gd name="connsiteX53" fmla="*/ 7617079 w 12191999"/>
              <a:gd name="connsiteY53" fmla="*/ 2293756 h 6877477"/>
              <a:gd name="connsiteX54" fmla="*/ 6636337 w 12191999"/>
              <a:gd name="connsiteY54" fmla="*/ 3274503 h 6877477"/>
              <a:gd name="connsiteX55" fmla="*/ 5655588 w 12191999"/>
              <a:gd name="connsiteY55" fmla="*/ 2293756 h 6877477"/>
              <a:gd name="connsiteX56" fmla="*/ 2219273 w 12191999"/>
              <a:gd name="connsiteY56" fmla="*/ 1313009 h 6877477"/>
              <a:gd name="connsiteX57" fmla="*/ 3200020 w 12191999"/>
              <a:gd name="connsiteY57" fmla="*/ 2293756 h 6877477"/>
              <a:gd name="connsiteX58" fmla="*/ 2219273 w 12191999"/>
              <a:gd name="connsiteY58" fmla="*/ 3274503 h 6877477"/>
              <a:gd name="connsiteX59" fmla="*/ 1238524 w 12191999"/>
              <a:gd name="connsiteY59" fmla="*/ 2293756 h 6877477"/>
              <a:gd name="connsiteX60" fmla="*/ 10741 w 12191999"/>
              <a:gd name="connsiteY60" fmla="*/ 1313009 h 6877477"/>
              <a:gd name="connsiteX61" fmla="*/ 991488 w 12191999"/>
              <a:gd name="connsiteY61" fmla="*/ 2293756 h 6877477"/>
              <a:gd name="connsiteX62" fmla="*/ 10741 w 12191999"/>
              <a:gd name="connsiteY62" fmla="*/ 3274503 h 6877477"/>
              <a:gd name="connsiteX63" fmla="*/ 0 w 12191999"/>
              <a:gd name="connsiteY63" fmla="*/ 3263761 h 6877477"/>
              <a:gd name="connsiteX64" fmla="*/ 0 w 12191999"/>
              <a:gd name="connsiteY64" fmla="*/ 1323750 h 6877477"/>
              <a:gd name="connsiteX65" fmla="*/ 7740598 w 12191999"/>
              <a:gd name="connsiteY65" fmla="*/ 179783 h 6877477"/>
              <a:gd name="connsiteX66" fmla="*/ 8721345 w 12191999"/>
              <a:gd name="connsiteY66" fmla="*/ 1160530 h 6877477"/>
              <a:gd name="connsiteX67" fmla="*/ 7740598 w 12191999"/>
              <a:gd name="connsiteY67" fmla="*/ 2141277 h 6877477"/>
              <a:gd name="connsiteX68" fmla="*/ 6759852 w 12191999"/>
              <a:gd name="connsiteY68" fmla="*/ 1160530 h 6877477"/>
              <a:gd name="connsiteX69" fmla="*/ 5532073 w 12191999"/>
              <a:gd name="connsiteY69" fmla="*/ 179783 h 6877477"/>
              <a:gd name="connsiteX70" fmla="*/ 6512819 w 12191999"/>
              <a:gd name="connsiteY70" fmla="*/ 1160530 h 6877477"/>
              <a:gd name="connsiteX71" fmla="*/ 5532073 w 12191999"/>
              <a:gd name="connsiteY71" fmla="*/ 2141277 h 6877477"/>
              <a:gd name="connsiteX72" fmla="*/ 4551324 w 12191999"/>
              <a:gd name="connsiteY72" fmla="*/ 1160530 h 6877477"/>
              <a:gd name="connsiteX73" fmla="*/ 3323540 w 12191999"/>
              <a:gd name="connsiteY73" fmla="*/ 179783 h 6877477"/>
              <a:gd name="connsiteX74" fmla="*/ 4304287 w 12191999"/>
              <a:gd name="connsiteY74" fmla="*/ 1160530 h 6877477"/>
              <a:gd name="connsiteX75" fmla="*/ 3323540 w 12191999"/>
              <a:gd name="connsiteY75" fmla="*/ 2141277 h 6877477"/>
              <a:gd name="connsiteX76" fmla="*/ 2342792 w 12191999"/>
              <a:gd name="connsiteY76" fmla="*/ 1160530 h 6877477"/>
              <a:gd name="connsiteX77" fmla="*/ 1115008 w 12191999"/>
              <a:gd name="connsiteY77" fmla="*/ 179783 h 6877477"/>
              <a:gd name="connsiteX78" fmla="*/ 2095755 w 12191999"/>
              <a:gd name="connsiteY78" fmla="*/ 1160530 h 6877477"/>
              <a:gd name="connsiteX79" fmla="*/ 1115008 w 12191999"/>
              <a:gd name="connsiteY79" fmla="*/ 2141277 h 6877477"/>
              <a:gd name="connsiteX80" fmla="*/ 134260 w 12191999"/>
              <a:gd name="connsiteY80" fmla="*/ 1160530 h 6877477"/>
              <a:gd name="connsiteX81" fmla="*/ 12182376 w 12191999"/>
              <a:gd name="connsiteY81" fmla="*/ 179782 h 6877477"/>
              <a:gd name="connsiteX82" fmla="*/ 12191999 w 12191999"/>
              <a:gd name="connsiteY82" fmla="*/ 189405 h 6877477"/>
              <a:gd name="connsiteX83" fmla="*/ 12191999 w 12191999"/>
              <a:gd name="connsiteY83" fmla="*/ 2131652 h 6877477"/>
              <a:gd name="connsiteX84" fmla="*/ 12182376 w 12191999"/>
              <a:gd name="connsiteY84" fmla="*/ 2141275 h 6877477"/>
              <a:gd name="connsiteX85" fmla="*/ 11201628 w 12191999"/>
              <a:gd name="connsiteY85" fmla="*/ 1160529 h 6877477"/>
              <a:gd name="connsiteX86" fmla="*/ 9949130 w 12191999"/>
              <a:gd name="connsiteY86" fmla="*/ 179782 h 6877477"/>
              <a:gd name="connsiteX87" fmla="*/ 10929877 w 12191999"/>
              <a:gd name="connsiteY87" fmla="*/ 1160530 h 6877477"/>
              <a:gd name="connsiteX88" fmla="*/ 9949130 w 12191999"/>
              <a:gd name="connsiteY88" fmla="*/ 2141275 h 6877477"/>
              <a:gd name="connsiteX89" fmla="*/ 8968382 w 12191999"/>
              <a:gd name="connsiteY89" fmla="*/ 1160530 h 6877477"/>
              <a:gd name="connsiteX90" fmla="*/ 10098921 w 12191999"/>
              <a:gd name="connsiteY90" fmla="*/ 0 h 6877477"/>
              <a:gd name="connsiteX91" fmla="*/ 12007870 w 12191999"/>
              <a:gd name="connsiteY91" fmla="*/ 0 h 6877477"/>
              <a:gd name="connsiteX92" fmla="*/ 12034143 w 12191999"/>
              <a:gd name="connsiteY92" fmla="*/ 26273 h 6877477"/>
              <a:gd name="connsiteX93" fmla="*/ 11053396 w 12191999"/>
              <a:gd name="connsiteY93" fmla="*/ 1007020 h 6877477"/>
              <a:gd name="connsiteX94" fmla="*/ 10072648 w 12191999"/>
              <a:gd name="connsiteY94" fmla="*/ 26273 h 6877477"/>
              <a:gd name="connsiteX95" fmla="*/ 7890389 w 12191999"/>
              <a:gd name="connsiteY95" fmla="*/ 0 h 6877477"/>
              <a:gd name="connsiteX96" fmla="*/ 9799338 w 12191999"/>
              <a:gd name="connsiteY96" fmla="*/ 0 h 6877477"/>
              <a:gd name="connsiteX97" fmla="*/ 9825611 w 12191999"/>
              <a:gd name="connsiteY97" fmla="*/ 26273 h 6877477"/>
              <a:gd name="connsiteX98" fmla="*/ 8844864 w 12191999"/>
              <a:gd name="connsiteY98" fmla="*/ 1007020 h 6877477"/>
              <a:gd name="connsiteX99" fmla="*/ 7864116 w 12191999"/>
              <a:gd name="connsiteY99" fmla="*/ 26273 h 6877477"/>
              <a:gd name="connsiteX100" fmla="*/ 5681864 w 12191999"/>
              <a:gd name="connsiteY100" fmla="*/ 0 h 6877477"/>
              <a:gd name="connsiteX101" fmla="*/ 7590806 w 12191999"/>
              <a:gd name="connsiteY101" fmla="*/ 0 h 6877477"/>
              <a:gd name="connsiteX102" fmla="*/ 7617079 w 12191999"/>
              <a:gd name="connsiteY102" fmla="*/ 26273 h 6877477"/>
              <a:gd name="connsiteX103" fmla="*/ 6636339 w 12191999"/>
              <a:gd name="connsiteY103" fmla="*/ 1007020 h 6877477"/>
              <a:gd name="connsiteX104" fmla="*/ 5655591 w 12191999"/>
              <a:gd name="connsiteY104" fmla="*/ 26273 h 6877477"/>
              <a:gd name="connsiteX105" fmla="*/ 3473334 w 12191999"/>
              <a:gd name="connsiteY105" fmla="*/ 0 h 6877477"/>
              <a:gd name="connsiteX106" fmla="*/ 5382281 w 12191999"/>
              <a:gd name="connsiteY106" fmla="*/ 0 h 6877477"/>
              <a:gd name="connsiteX107" fmla="*/ 5408554 w 12191999"/>
              <a:gd name="connsiteY107" fmla="*/ 26274 h 6877477"/>
              <a:gd name="connsiteX108" fmla="*/ 4427806 w 12191999"/>
              <a:gd name="connsiteY108" fmla="*/ 1007020 h 6877477"/>
              <a:gd name="connsiteX109" fmla="*/ 3447060 w 12191999"/>
              <a:gd name="connsiteY109" fmla="*/ 26274 h 6877477"/>
              <a:gd name="connsiteX110" fmla="*/ 1264801 w 12191999"/>
              <a:gd name="connsiteY110" fmla="*/ 0 h 6877477"/>
              <a:gd name="connsiteX111" fmla="*/ 3173749 w 12191999"/>
              <a:gd name="connsiteY111" fmla="*/ 0 h 6877477"/>
              <a:gd name="connsiteX112" fmla="*/ 3200023 w 12191999"/>
              <a:gd name="connsiteY112" fmla="*/ 26274 h 6877477"/>
              <a:gd name="connsiteX113" fmla="*/ 2219276 w 12191999"/>
              <a:gd name="connsiteY113" fmla="*/ 1007020 h 6877477"/>
              <a:gd name="connsiteX114" fmla="*/ 1238527 w 12191999"/>
              <a:gd name="connsiteY114" fmla="*/ 26274 h 6877477"/>
              <a:gd name="connsiteX115" fmla="*/ 0 w 12191999"/>
              <a:gd name="connsiteY115" fmla="*/ 0 h 6877477"/>
              <a:gd name="connsiteX116" fmla="*/ 965216 w 12191999"/>
              <a:gd name="connsiteY116" fmla="*/ 0 h 6877477"/>
              <a:gd name="connsiteX117" fmla="*/ 991490 w 12191999"/>
              <a:gd name="connsiteY117" fmla="*/ 26274 h 6877477"/>
              <a:gd name="connsiteX118" fmla="*/ 10744 w 12191999"/>
              <a:gd name="connsiteY118" fmla="*/ 1007021 h 6877477"/>
              <a:gd name="connsiteX119" fmla="*/ 0 w 12191999"/>
              <a:gd name="connsiteY119" fmla="*/ 996277 h 68774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12191999" h="6877477">
                <a:moveTo>
                  <a:pt x="11053396" y="5847975"/>
                </a:moveTo>
                <a:lnTo>
                  <a:pt x="12034143" y="6828722"/>
                </a:lnTo>
                <a:lnTo>
                  <a:pt x="11985388" y="6877477"/>
                </a:lnTo>
                <a:lnTo>
                  <a:pt x="10121403" y="6877477"/>
                </a:lnTo>
                <a:lnTo>
                  <a:pt x="10072648" y="6828722"/>
                </a:lnTo>
                <a:close/>
                <a:moveTo>
                  <a:pt x="12182376" y="4716808"/>
                </a:moveTo>
                <a:lnTo>
                  <a:pt x="12191999" y="4726431"/>
                </a:lnTo>
                <a:lnTo>
                  <a:pt x="12191999" y="6668679"/>
                </a:lnTo>
                <a:lnTo>
                  <a:pt x="12182376" y="6678302"/>
                </a:lnTo>
                <a:lnTo>
                  <a:pt x="11201628" y="5697555"/>
                </a:lnTo>
                <a:close/>
                <a:moveTo>
                  <a:pt x="9949130" y="4716808"/>
                </a:moveTo>
                <a:lnTo>
                  <a:pt x="10929877" y="5697555"/>
                </a:lnTo>
                <a:lnTo>
                  <a:pt x="9949130" y="6678302"/>
                </a:lnTo>
                <a:lnTo>
                  <a:pt x="8968382" y="5697555"/>
                </a:lnTo>
                <a:close/>
                <a:moveTo>
                  <a:pt x="11053396" y="3580491"/>
                </a:moveTo>
                <a:lnTo>
                  <a:pt x="12034143" y="4561237"/>
                </a:lnTo>
                <a:lnTo>
                  <a:pt x="11053396" y="5541984"/>
                </a:lnTo>
                <a:lnTo>
                  <a:pt x="10072648" y="4561237"/>
                </a:lnTo>
                <a:close/>
                <a:moveTo>
                  <a:pt x="8844864" y="3580491"/>
                </a:moveTo>
                <a:lnTo>
                  <a:pt x="9825611" y="4561237"/>
                </a:lnTo>
                <a:lnTo>
                  <a:pt x="8844864" y="5541984"/>
                </a:lnTo>
                <a:lnTo>
                  <a:pt x="7864116" y="4561237"/>
                </a:lnTo>
                <a:close/>
                <a:moveTo>
                  <a:pt x="10739" y="3580491"/>
                </a:moveTo>
                <a:lnTo>
                  <a:pt x="991485" y="4561237"/>
                </a:lnTo>
                <a:lnTo>
                  <a:pt x="10739" y="5541984"/>
                </a:lnTo>
                <a:lnTo>
                  <a:pt x="0" y="5531245"/>
                </a:lnTo>
                <a:lnTo>
                  <a:pt x="0" y="3591230"/>
                </a:lnTo>
                <a:close/>
                <a:moveTo>
                  <a:pt x="1115005" y="2448297"/>
                </a:moveTo>
                <a:lnTo>
                  <a:pt x="2095752" y="3429042"/>
                </a:lnTo>
                <a:lnTo>
                  <a:pt x="1115005" y="4409788"/>
                </a:lnTo>
                <a:lnTo>
                  <a:pt x="134258" y="3429042"/>
                </a:lnTo>
                <a:close/>
                <a:moveTo>
                  <a:pt x="12182376" y="2448295"/>
                </a:moveTo>
                <a:lnTo>
                  <a:pt x="12191999" y="2457918"/>
                </a:lnTo>
                <a:lnTo>
                  <a:pt x="12191999" y="4400165"/>
                </a:lnTo>
                <a:lnTo>
                  <a:pt x="12182376" y="4409788"/>
                </a:lnTo>
                <a:lnTo>
                  <a:pt x="11201628" y="3429042"/>
                </a:lnTo>
                <a:close/>
                <a:moveTo>
                  <a:pt x="9949130" y="2448295"/>
                </a:moveTo>
                <a:lnTo>
                  <a:pt x="10929877" y="3429042"/>
                </a:lnTo>
                <a:lnTo>
                  <a:pt x="9949130" y="4409788"/>
                </a:lnTo>
                <a:lnTo>
                  <a:pt x="8968382" y="3429042"/>
                </a:lnTo>
                <a:close/>
                <a:moveTo>
                  <a:pt x="7740598" y="2448295"/>
                </a:moveTo>
                <a:lnTo>
                  <a:pt x="8721345" y="3429042"/>
                </a:lnTo>
                <a:lnTo>
                  <a:pt x="7740598" y="4409788"/>
                </a:lnTo>
                <a:lnTo>
                  <a:pt x="6759852" y="3429042"/>
                </a:lnTo>
                <a:close/>
                <a:moveTo>
                  <a:pt x="11053396" y="1313009"/>
                </a:moveTo>
                <a:lnTo>
                  <a:pt x="12034143" y="2293756"/>
                </a:lnTo>
                <a:lnTo>
                  <a:pt x="11053396" y="3274502"/>
                </a:lnTo>
                <a:lnTo>
                  <a:pt x="10072648" y="2293756"/>
                </a:lnTo>
                <a:close/>
                <a:moveTo>
                  <a:pt x="8844864" y="1313009"/>
                </a:moveTo>
                <a:lnTo>
                  <a:pt x="9825611" y="2293756"/>
                </a:lnTo>
                <a:lnTo>
                  <a:pt x="8844864" y="3274503"/>
                </a:lnTo>
                <a:lnTo>
                  <a:pt x="7864116" y="2293756"/>
                </a:lnTo>
                <a:close/>
                <a:moveTo>
                  <a:pt x="6636337" y="1313009"/>
                </a:moveTo>
                <a:lnTo>
                  <a:pt x="7617079" y="2293756"/>
                </a:lnTo>
                <a:lnTo>
                  <a:pt x="6636337" y="3274503"/>
                </a:lnTo>
                <a:lnTo>
                  <a:pt x="5655588" y="2293756"/>
                </a:lnTo>
                <a:close/>
                <a:moveTo>
                  <a:pt x="2219273" y="1313009"/>
                </a:moveTo>
                <a:lnTo>
                  <a:pt x="3200020" y="2293756"/>
                </a:lnTo>
                <a:lnTo>
                  <a:pt x="2219273" y="3274503"/>
                </a:lnTo>
                <a:lnTo>
                  <a:pt x="1238524" y="2293756"/>
                </a:lnTo>
                <a:close/>
                <a:moveTo>
                  <a:pt x="10741" y="1313009"/>
                </a:moveTo>
                <a:lnTo>
                  <a:pt x="991488" y="2293756"/>
                </a:lnTo>
                <a:lnTo>
                  <a:pt x="10741" y="3274503"/>
                </a:lnTo>
                <a:lnTo>
                  <a:pt x="0" y="3263761"/>
                </a:lnTo>
                <a:lnTo>
                  <a:pt x="0" y="1323750"/>
                </a:lnTo>
                <a:close/>
                <a:moveTo>
                  <a:pt x="7740598" y="179783"/>
                </a:moveTo>
                <a:lnTo>
                  <a:pt x="8721345" y="1160530"/>
                </a:lnTo>
                <a:lnTo>
                  <a:pt x="7740598" y="2141277"/>
                </a:lnTo>
                <a:lnTo>
                  <a:pt x="6759852" y="1160530"/>
                </a:lnTo>
                <a:close/>
                <a:moveTo>
                  <a:pt x="5532073" y="179783"/>
                </a:moveTo>
                <a:lnTo>
                  <a:pt x="6512819" y="1160530"/>
                </a:lnTo>
                <a:lnTo>
                  <a:pt x="5532073" y="2141277"/>
                </a:lnTo>
                <a:lnTo>
                  <a:pt x="4551324" y="1160530"/>
                </a:lnTo>
                <a:close/>
                <a:moveTo>
                  <a:pt x="3323540" y="179783"/>
                </a:moveTo>
                <a:lnTo>
                  <a:pt x="4304287" y="1160530"/>
                </a:lnTo>
                <a:lnTo>
                  <a:pt x="3323540" y="2141277"/>
                </a:lnTo>
                <a:lnTo>
                  <a:pt x="2342792" y="1160530"/>
                </a:lnTo>
                <a:close/>
                <a:moveTo>
                  <a:pt x="1115008" y="179783"/>
                </a:moveTo>
                <a:lnTo>
                  <a:pt x="2095755" y="1160530"/>
                </a:lnTo>
                <a:lnTo>
                  <a:pt x="1115008" y="2141277"/>
                </a:lnTo>
                <a:lnTo>
                  <a:pt x="134260" y="1160530"/>
                </a:lnTo>
                <a:close/>
                <a:moveTo>
                  <a:pt x="12182376" y="179782"/>
                </a:moveTo>
                <a:lnTo>
                  <a:pt x="12191999" y="189405"/>
                </a:lnTo>
                <a:lnTo>
                  <a:pt x="12191999" y="2131652"/>
                </a:lnTo>
                <a:lnTo>
                  <a:pt x="12182376" y="2141275"/>
                </a:lnTo>
                <a:lnTo>
                  <a:pt x="11201628" y="1160529"/>
                </a:lnTo>
                <a:close/>
                <a:moveTo>
                  <a:pt x="9949130" y="179782"/>
                </a:moveTo>
                <a:lnTo>
                  <a:pt x="10929877" y="1160530"/>
                </a:lnTo>
                <a:lnTo>
                  <a:pt x="9949130" y="2141275"/>
                </a:lnTo>
                <a:lnTo>
                  <a:pt x="8968382" y="1160530"/>
                </a:lnTo>
                <a:close/>
                <a:moveTo>
                  <a:pt x="10098921" y="0"/>
                </a:moveTo>
                <a:lnTo>
                  <a:pt x="12007870" y="0"/>
                </a:lnTo>
                <a:lnTo>
                  <a:pt x="12034143" y="26273"/>
                </a:lnTo>
                <a:lnTo>
                  <a:pt x="11053396" y="1007020"/>
                </a:lnTo>
                <a:lnTo>
                  <a:pt x="10072648" y="26273"/>
                </a:lnTo>
                <a:close/>
                <a:moveTo>
                  <a:pt x="7890389" y="0"/>
                </a:moveTo>
                <a:lnTo>
                  <a:pt x="9799338" y="0"/>
                </a:lnTo>
                <a:lnTo>
                  <a:pt x="9825611" y="26273"/>
                </a:lnTo>
                <a:lnTo>
                  <a:pt x="8844864" y="1007020"/>
                </a:lnTo>
                <a:lnTo>
                  <a:pt x="7864116" y="26273"/>
                </a:lnTo>
                <a:close/>
                <a:moveTo>
                  <a:pt x="5681864" y="0"/>
                </a:moveTo>
                <a:lnTo>
                  <a:pt x="7590806" y="0"/>
                </a:lnTo>
                <a:lnTo>
                  <a:pt x="7617079" y="26273"/>
                </a:lnTo>
                <a:lnTo>
                  <a:pt x="6636339" y="1007020"/>
                </a:lnTo>
                <a:lnTo>
                  <a:pt x="5655591" y="26273"/>
                </a:lnTo>
                <a:close/>
                <a:moveTo>
                  <a:pt x="3473334" y="0"/>
                </a:moveTo>
                <a:lnTo>
                  <a:pt x="5382281" y="0"/>
                </a:lnTo>
                <a:lnTo>
                  <a:pt x="5408554" y="26274"/>
                </a:lnTo>
                <a:lnTo>
                  <a:pt x="4427806" y="1007020"/>
                </a:lnTo>
                <a:lnTo>
                  <a:pt x="3447060" y="26274"/>
                </a:lnTo>
                <a:close/>
                <a:moveTo>
                  <a:pt x="1264801" y="0"/>
                </a:moveTo>
                <a:lnTo>
                  <a:pt x="3173749" y="0"/>
                </a:lnTo>
                <a:lnTo>
                  <a:pt x="3200023" y="26274"/>
                </a:lnTo>
                <a:lnTo>
                  <a:pt x="2219276" y="1007020"/>
                </a:lnTo>
                <a:lnTo>
                  <a:pt x="1238527" y="26274"/>
                </a:lnTo>
                <a:close/>
                <a:moveTo>
                  <a:pt x="0" y="0"/>
                </a:moveTo>
                <a:lnTo>
                  <a:pt x="965216" y="0"/>
                </a:lnTo>
                <a:lnTo>
                  <a:pt x="991490" y="26274"/>
                </a:lnTo>
                <a:lnTo>
                  <a:pt x="10744" y="1007021"/>
                </a:lnTo>
                <a:lnTo>
                  <a:pt x="0" y="99627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96463976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759119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2634E82-9DE3-4223-A15F-5A164AD987FB}"/>
              </a:ext>
            </a:extLst>
          </p:cNvPr>
          <p:cNvSpPr/>
          <p:nvPr userDrawn="1"/>
        </p:nvSpPr>
        <p:spPr>
          <a:xfrm>
            <a:off x="502468" y="884977"/>
            <a:ext cx="11187065" cy="508804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</a:endParaRPr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9FAEA46E-E59A-4542-8B95-8481B55D178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791108" y="1155269"/>
            <a:ext cx="3188298" cy="45474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4776272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961110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ame 1">
            <a:extLst>
              <a:ext uri="{FF2B5EF4-FFF2-40B4-BE49-F238E27FC236}">
                <a16:creationId xmlns:a16="http://schemas.microsoft.com/office/drawing/2014/main" xmlns="" id="{E7E1C366-622C-4258-9753-26AABF54CF12}"/>
              </a:ext>
            </a:extLst>
          </p:cNvPr>
          <p:cNvSpPr/>
          <p:nvPr userDrawn="1"/>
        </p:nvSpPr>
        <p:spPr>
          <a:xfrm>
            <a:off x="6842775" y="1777038"/>
            <a:ext cx="4572000" cy="3200400"/>
          </a:xfrm>
          <a:prstGeom prst="frame">
            <a:avLst>
              <a:gd name="adj1" fmla="val 21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Frame 2">
            <a:extLst>
              <a:ext uri="{FF2B5EF4-FFF2-40B4-BE49-F238E27FC236}">
                <a16:creationId xmlns:a16="http://schemas.microsoft.com/office/drawing/2014/main" xmlns="" id="{E37D4E8D-7F93-45C0-8383-A68159D02D5D}"/>
              </a:ext>
            </a:extLst>
          </p:cNvPr>
          <p:cNvSpPr/>
          <p:nvPr userDrawn="1"/>
        </p:nvSpPr>
        <p:spPr>
          <a:xfrm>
            <a:off x="777225" y="1757238"/>
            <a:ext cx="4572000" cy="3200400"/>
          </a:xfrm>
          <a:prstGeom prst="frame">
            <a:avLst>
              <a:gd name="adj1" fmla="val 216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그림 개체 틀 6">
            <a:extLst>
              <a:ext uri="{FF2B5EF4-FFF2-40B4-BE49-F238E27FC236}">
                <a16:creationId xmlns:a16="http://schemas.microsoft.com/office/drawing/2014/main" xmlns="" id="{07AAD900-5C8A-46EE-8F3F-276E7A823B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95958" y="1585866"/>
            <a:ext cx="45720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576000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ko-KR" altLang="en-US" sz="1200" baseline="0">
                <a:latin typeface="+mn-lt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ko-KR" dirty="0"/>
              <a:t>Insert Your Image</a:t>
            </a:r>
            <a:endParaRPr lang="ko-KR" altLang="en-US" dirty="0"/>
          </a:p>
          <a:p>
            <a:pPr marL="0" lvl="0" indent="0" algn="ctr">
              <a:buNone/>
            </a:pPr>
            <a:endParaRPr lang="ko-KR" altLang="en-US" dirty="0"/>
          </a:p>
        </p:txBody>
      </p:sp>
      <p:sp>
        <p:nvSpPr>
          <p:cNvPr id="5" name="그림 개체 틀 6">
            <a:extLst>
              <a:ext uri="{FF2B5EF4-FFF2-40B4-BE49-F238E27FC236}">
                <a16:creationId xmlns:a16="http://schemas.microsoft.com/office/drawing/2014/main" xmlns="" id="{3D697A47-3CD1-4E96-9516-FDE670F5631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24043" y="1585866"/>
            <a:ext cx="4572000" cy="32004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tIns="576000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ko-KR" altLang="en-US" sz="1200" baseline="0">
                <a:latin typeface="+mn-lt"/>
              </a:defRPr>
            </a:lvl1pPr>
          </a:lstStyle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altLang="ko-KR" dirty="0"/>
              <a:t>Insert Your Image</a:t>
            </a:r>
            <a:endParaRPr lang="ko-KR" altLang="en-US" dirty="0"/>
          </a:p>
          <a:p>
            <a:pPr marL="0" lvl="0" indent="0" algn="ctr">
              <a:buNone/>
            </a:pPr>
            <a:endParaRPr lang="ko-KR" altLang="en-US" dirty="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xmlns="" id="{0E0CAB57-9982-4553-B1D9-4D6CC85D7E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403594742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5259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960406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436E6B0-0030-4C24-AF1C-09B7BB3C4770}"/>
              </a:ext>
            </a:extLst>
          </p:cNvPr>
          <p:cNvSpPr/>
          <p:nvPr userDrawn="1"/>
        </p:nvSpPr>
        <p:spPr>
          <a:xfrm>
            <a:off x="0" y="474066"/>
            <a:ext cx="11704301" cy="590986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9">
            <a:extLst>
              <a:ext uri="{FF2B5EF4-FFF2-40B4-BE49-F238E27FC236}">
                <a16:creationId xmlns:a16="http://schemas.microsoft.com/office/drawing/2014/main" xmlns="" id="{418006F3-E488-44A0-A59A-E1D3B860060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23314" cy="6858000"/>
          </a:xfrm>
          <a:custGeom>
            <a:avLst/>
            <a:gdLst>
              <a:gd name="connsiteX0" fmla="*/ 0 w 6923314"/>
              <a:gd name="connsiteY0" fmla="*/ 0 h 6858000"/>
              <a:gd name="connsiteX1" fmla="*/ 5208814 w 6923314"/>
              <a:gd name="connsiteY1" fmla="*/ 0 h 6858000"/>
              <a:gd name="connsiteX2" fmla="*/ 6923314 w 6923314"/>
              <a:gd name="connsiteY2" fmla="*/ 6858000 h 6858000"/>
              <a:gd name="connsiteX3" fmla="*/ 1305197 w 6923314"/>
              <a:gd name="connsiteY3" fmla="*/ 6858000 h 6858000"/>
              <a:gd name="connsiteX4" fmla="*/ 0 w 6923314"/>
              <a:gd name="connsiteY4" fmla="*/ 16372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3314" h="6858000">
                <a:moveTo>
                  <a:pt x="0" y="0"/>
                </a:moveTo>
                <a:lnTo>
                  <a:pt x="5208814" y="0"/>
                </a:lnTo>
                <a:lnTo>
                  <a:pt x="6923314" y="6858000"/>
                </a:lnTo>
                <a:lnTo>
                  <a:pt x="1305197" y="6858000"/>
                </a:lnTo>
                <a:lnTo>
                  <a:pt x="0" y="16372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1495467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4540283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Rectangle 68">
            <a:extLst>
              <a:ext uri="{FF2B5EF4-FFF2-40B4-BE49-F238E27FC236}">
                <a16:creationId xmlns:a16="http://schemas.microsoft.com/office/drawing/2014/main" xmlns="" id="{4388469D-CBAC-4278-96C5-9EBCCAF5DD50}"/>
              </a:ext>
            </a:extLst>
          </p:cNvPr>
          <p:cNvSpPr/>
          <p:nvPr userDrawn="1"/>
        </p:nvSpPr>
        <p:spPr>
          <a:xfrm>
            <a:off x="6096000" y="837246"/>
            <a:ext cx="6096000" cy="259175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4DE17AA3-92FD-4003-9A41-EC77EF819880}"/>
              </a:ext>
            </a:extLst>
          </p:cNvPr>
          <p:cNvGrpSpPr/>
          <p:nvPr userDrawn="1"/>
        </p:nvGrpSpPr>
        <p:grpSpPr>
          <a:xfrm>
            <a:off x="1058291" y="3689597"/>
            <a:ext cx="2892793" cy="3168403"/>
            <a:chOff x="1058291" y="3689597"/>
            <a:chExt cx="2892793" cy="3168403"/>
          </a:xfrm>
        </p:grpSpPr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xmlns="" id="{5AC033FD-1852-40D6-99E3-EAE0920A5C2F}"/>
                </a:ext>
              </a:extLst>
            </p:cNvPr>
            <p:cNvSpPr/>
            <p:nvPr userDrawn="1"/>
          </p:nvSpPr>
          <p:spPr>
            <a:xfrm>
              <a:off x="1062769" y="3689597"/>
              <a:ext cx="2885112" cy="3168403"/>
            </a:xfrm>
            <a:custGeom>
              <a:avLst/>
              <a:gdLst>
                <a:gd name="connsiteX0" fmla="*/ 380827 w 2885112"/>
                <a:gd name="connsiteY0" fmla="*/ 0 h 3168403"/>
                <a:gd name="connsiteX1" fmla="*/ 2504286 w 2885112"/>
                <a:gd name="connsiteY1" fmla="*/ 0 h 3168403"/>
                <a:gd name="connsiteX2" fmla="*/ 2885112 w 2885112"/>
                <a:gd name="connsiteY2" fmla="*/ 376422 h 3168403"/>
                <a:gd name="connsiteX3" fmla="*/ 2885112 w 2885112"/>
                <a:gd name="connsiteY3" fmla="*/ 3168403 h 3168403"/>
                <a:gd name="connsiteX4" fmla="*/ 0 w 2885112"/>
                <a:gd name="connsiteY4" fmla="*/ 3168403 h 3168403"/>
                <a:gd name="connsiteX5" fmla="*/ 0 w 2885112"/>
                <a:gd name="connsiteY5" fmla="*/ 376422 h 3168403"/>
                <a:gd name="connsiteX6" fmla="*/ 380827 w 2885112"/>
                <a:gd name="connsiteY6" fmla="*/ 0 h 3168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85112" h="3168403">
                  <a:moveTo>
                    <a:pt x="380827" y="0"/>
                  </a:moveTo>
                  <a:lnTo>
                    <a:pt x="2504286" y="0"/>
                  </a:lnTo>
                  <a:cubicBezTo>
                    <a:pt x="2714606" y="0"/>
                    <a:pt x="2885112" y="168534"/>
                    <a:pt x="2885112" y="376422"/>
                  </a:cubicBezTo>
                  <a:lnTo>
                    <a:pt x="2885112" y="3168403"/>
                  </a:lnTo>
                  <a:lnTo>
                    <a:pt x="0" y="3168403"/>
                  </a:lnTo>
                  <a:lnTo>
                    <a:pt x="0" y="376422"/>
                  </a:lnTo>
                  <a:cubicBezTo>
                    <a:pt x="57" y="168534"/>
                    <a:pt x="170506" y="0"/>
                    <a:pt x="380827" y="0"/>
                  </a:cubicBezTo>
                  <a:close/>
                </a:path>
              </a:pathLst>
            </a:custGeom>
            <a:solidFill>
              <a:srgbClr val="D0D4D8"/>
            </a:solidFill>
            <a:ln w="672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xmlns="" id="{60E7AE36-51DF-4A4D-95F3-D16AA8913353}"/>
                </a:ext>
              </a:extLst>
            </p:cNvPr>
            <p:cNvSpPr/>
            <p:nvPr userDrawn="1"/>
          </p:nvSpPr>
          <p:spPr>
            <a:xfrm>
              <a:off x="1101424" y="3719878"/>
              <a:ext cx="2807801" cy="3138121"/>
            </a:xfrm>
            <a:custGeom>
              <a:avLst/>
              <a:gdLst>
                <a:gd name="connsiteX0" fmla="*/ 379798 w 2807801"/>
                <a:gd name="connsiteY0" fmla="*/ 0 h 3138121"/>
                <a:gd name="connsiteX1" fmla="*/ 2428003 w 2807801"/>
                <a:gd name="connsiteY1" fmla="*/ 0 h 3138121"/>
                <a:gd name="connsiteX2" fmla="*/ 2807801 w 2807801"/>
                <a:gd name="connsiteY2" fmla="*/ 376422 h 3138121"/>
                <a:gd name="connsiteX3" fmla="*/ 2807801 w 2807801"/>
                <a:gd name="connsiteY3" fmla="*/ 3138121 h 3138121"/>
                <a:gd name="connsiteX4" fmla="*/ 0 w 2807801"/>
                <a:gd name="connsiteY4" fmla="*/ 3138121 h 3138121"/>
                <a:gd name="connsiteX5" fmla="*/ 0 w 2807801"/>
                <a:gd name="connsiteY5" fmla="*/ 376422 h 3138121"/>
                <a:gd name="connsiteX6" fmla="*/ 379798 w 2807801"/>
                <a:gd name="connsiteY6" fmla="*/ 0 h 31381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7801" h="3138121">
                  <a:moveTo>
                    <a:pt x="379798" y="0"/>
                  </a:moveTo>
                  <a:lnTo>
                    <a:pt x="2428003" y="0"/>
                  </a:lnTo>
                  <a:cubicBezTo>
                    <a:pt x="2637756" y="0"/>
                    <a:pt x="2807801" y="168533"/>
                    <a:pt x="2807801" y="376422"/>
                  </a:cubicBezTo>
                  <a:lnTo>
                    <a:pt x="2807801" y="3138121"/>
                  </a:lnTo>
                  <a:lnTo>
                    <a:pt x="0" y="3138121"/>
                  </a:lnTo>
                  <a:lnTo>
                    <a:pt x="0" y="376422"/>
                  </a:lnTo>
                  <a:cubicBezTo>
                    <a:pt x="0" y="168533"/>
                    <a:pt x="170045" y="0"/>
                    <a:pt x="379798" y="0"/>
                  </a:cubicBezTo>
                  <a:close/>
                </a:path>
              </a:pathLst>
            </a:custGeom>
            <a:solidFill>
              <a:srgbClr val="070808"/>
            </a:solidFill>
            <a:ln w="672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24" name="Graphic 2">
              <a:extLst>
                <a:ext uri="{FF2B5EF4-FFF2-40B4-BE49-F238E27FC236}">
                  <a16:creationId xmlns:a16="http://schemas.microsoft.com/office/drawing/2014/main" xmlns="" id="{063AE936-DFE4-4DD0-A62C-1EAE232B97BD}"/>
                </a:ext>
              </a:extLst>
            </p:cNvPr>
            <p:cNvSpPr/>
            <p:nvPr/>
          </p:nvSpPr>
          <p:spPr>
            <a:xfrm>
              <a:off x="1058801" y="4510882"/>
              <a:ext cx="20187" cy="196716"/>
            </a:xfrm>
            <a:custGeom>
              <a:avLst/>
              <a:gdLst>
                <a:gd name="connsiteX0" fmla="*/ 15158 w 23982"/>
                <a:gd name="connsiteY0" fmla="*/ 233697 h 233697"/>
                <a:gd name="connsiteX1" fmla="*/ 0 w 23982"/>
                <a:gd name="connsiteY1" fmla="*/ 233697 h 233697"/>
                <a:gd name="connsiteX2" fmla="*/ 0 w 23982"/>
                <a:gd name="connsiteY2" fmla="*/ 0 h 233697"/>
                <a:gd name="connsiteX3" fmla="*/ 15158 w 23982"/>
                <a:gd name="connsiteY3" fmla="*/ 0 h 233697"/>
                <a:gd name="connsiteX4" fmla="*/ 23983 w 23982"/>
                <a:gd name="connsiteY4" fmla="*/ 8825 h 233697"/>
                <a:gd name="connsiteX5" fmla="*/ 23983 w 23982"/>
                <a:gd name="connsiteY5" fmla="*/ 224805 h 233697"/>
                <a:gd name="connsiteX6" fmla="*/ 15158 w 23982"/>
                <a:gd name="connsiteY6" fmla="*/ 233697 h 23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3982" h="233697">
                  <a:moveTo>
                    <a:pt x="15158" y="233697"/>
                  </a:moveTo>
                  <a:lnTo>
                    <a:pt x="0" y="233697"/>
                  </a:lnTo>
                  <a:lnTo>
                    <a:pt x="0" y="0"/>
                  </a:lnTo>
                  <a:lnTo>
                    <a:pt x="15158" y="0"/>
                  </a:lnTo>
                  <a:cubicBezTo>
                    <a:pt x="20008" y="0"/>
                    <a:pt x="23983" y="3975"/>
                    <a:pt x="23983" y="8825"/>
                  </a:cubicBezTo>
                  <a:lnTo>
                    <a:pt x="23983" y="224805"/>
                  </a:lnTo>
                  <a:cubicBezTo>
                    <a:pt x="23983" y="229723"/>
                    <a:pt x="20008" y="233697"/>
                    <a:pt x="15158" y="233697"/>
                  </a:cubicBezTo>
                  <a:close/>
                </a:path>
              </a:pathLst>
            </a:custGeom>
            <a:solidFill>
              <a:srgbClr val="364551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Graphic 2">
              <a:extLst>
                <a:ext uri="{FF2B5EF4-FFF2-40B4-BE49-F238E27FC236}">
                  <a16:creationId xmlns:a16="http://schemas.microsoft.com/office/drawing/2014/main" xmlns="" id="{88C0DAA8-A60D-4797-A50D-3B59489A8922}"/>
                </a:ext>
              </a:extLst>
            </p:cNvPr>
            <p:cNvSpPr/>
            <p:nvPr/>
          </p:nvSpPr>
          <p:spPr>
            <a:xfrm>
              <a:off x="1058801" y="4932953"/>
              <a:ext cx="28182" cy="392355"/>
            </a:xfrm>
            <a:custGeom>
              <a:avLst/>
              <a:gdLst>
                <a:gd name="connsiteX0" fmla="*/ 24656 w 33481"/>
                <a:gd name="connsiteY0" fmla="*/ 466115 h 466115"/>
                <a:gd name="connsiteX1" fmla="*/ 10105 w 33481"/>
                <a:gd name="connsiteY1" fmla="*/ 466115 h 466115"/>
                <a:gd name="connsiteX2" fmla="*/ 0 w 33481"/>
                <a:gd name="connsiteY2" fmla="*/ 456010 h 466115"/>
                <a:gd name="connsiteX3" fmla="*/ 0 w 33481"/>
                <a:gd name="connsiteY3" fmla="*/ 10105 h 466115"/>
                <a:gd name="connsiteX4" fmla="*/ 10105 w 33481"/>
                <a:gd name="connsiteY4" fmla="*/ 0 h 466115"/>
                <a:gd name="connsiteX5" fmla="*/ 24656 w 33481"/>
                <a:gd name="connsiteY5" fmla="*/ 0 h 466115"/>
                <a:gd name="connsiteX6" fmla="*/ 33482 w 33481"/>
                <a:gd name="connsiteY6" fmla="*/ 8825 h 466115"/>
                <a:gd name="connsiteX7" fmla="*/ 33482 w 33481"/>
                <a:gd name="connsiteY7" fmla="*/ 457223 h 466115"/>
                <a:gd name="connsiteX8" fmla="*/ 24656 w 33481"/>
                <a:gd name="connsiteY8" fmla="*/ 466115 h 4661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81" h="466115">
                  <a:moveTo>
                    <a:pt x="24656" y="466115"/>
                  </a:moveTo>
                  <a:lnTo>
                    <a:pt x="10105" y="466115"/>
                  </a:lnTo>
                  <a:cubicBezTo>
                    <a:pt x="4514" y="466115"/>
                    <a:pt x="0" y="461601"/>
                    <a:pt x="0" y="456010"/>
                  </a:cubicBezTo>
                  <a:lnTo>
                    <a:pt x="0" y="10105"/>
                  </a:lnTo>
                  <a:cubicBezTo>
                    <a:pt x="0" y="4514"/>
                    <a:pt x="4514" y="0"/>
                    <a:pt x="10105" y="0"/>
                  </a:cubicBezTo>
                  <a:lnTo>
                    <a:pt x="24656" y="0"/>
                  </a:lnTo>
                  <a:cubicBezTo>
                    <a:pt x="29507" y="0"/>
                    <a:pt x="33482" y="3975"/>
                    <a:pt x="33482" y="8825"/>
                  </a:cubicBezTo>
                  <a:lnTo>
                    <a:pt x="33482" y="457223"/>
                  </a:lnTo>
                  <a:cubicBezTo>
                    <a:pt x="33482" y="462140"/>
                    <a:pt x="29507" y="466115"/>
                    <a:pt x="24656" y="466115"/>
                  </a:cubicBezTo>
                  <a:close/>
                </a:path>
              </a:pathLst>
            </a:custGeom>
            <a:solidFill>
              <a:srgbClr val="364551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Graphic 2">
              <a:extLst>
                <a:ext uri="{FF2B5EF4-FFF2-40B4-BE49-F238E27FC236}">
                  <a16:creationId xmlns:a16="http://schemas.microsoft.com/office/drawing/2014/main" xmlns="" id="{9E936F18-65C6-44D9-8BE4-E13C62005A59}"/>
                </a:ext>
              </a:extLst>
            </p:cNvPr>
            <p:cNvSpPr/>
            <p:nvPr/>
          </p:nvSpPr>
          <p:spPr>
            <a:xfrm>
              <a:off x="1058858" y="4961137"/>
              <a:ext cx="15935" cy="328560"/>
            </a:xfrm>
            <a:custGeom>
              <a:avLst/>
              <a:gdLst>
                <a:gd name="connsiteX0" fmla="*/ 17650 w 18930"/>
                <a:gd name="connsiteY0" fmla="*/ 390327 h 390326"/>
                <a:gd name="connsiteX1" fmla="*/ 1886 w 18930"/>
                <a:gd name="connsiteY1" fmla="*/ 390327 h 390326"/>
                <a:gd name="connsiteX2" fmla="*/ 0 w 18930"/>
                <a:gd name="connsiteY2" fmla="*/ 388440 h 390326"/>
                <a:gd name="connsiteX3" fmla="*/ 0 w 18930"/>
                <a:gd name="connsiteY3" fmla="*/ 1886 h 390326"/>
                <a:gd name="connsiteX4" fmla="*/ 1886 w 18930"/>
                <a:gd name="connsiteY4" fmla="*/ 0 h 390326"/>
                <a:gd name="connsiteX5" fmla="*/ 17650 w 18930"/>
                <a:gd name="connsiteY5" fmla="*/ 0 h 390326"/>
                <a:gd name="connsiteX6" fmla="*/ 18930 w 18930"/>
                <a:gd name="connsiteY6" fmla="*/ 1280 h 390326"/>
                <a:gd name="connsiteX7" fmla="*/ 18930 w 18930"/>
                <a:gd name="connsiteY7" fmla="*/ 389047 h 390326"/>
                <a:gd name="connsiteX8" fmla="*/ 17650 w 18930"/>
                <a:gd name="connsiteY8" fmla="*/ 390327 h 39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30" h="390326">
                  <a:moveTo>
                    <a:pt x="17650" y="390327"/>
                  </a:moveTo>
                  <a:lnTo>
                    <a:pt x="1886" y="390327"/>
                  </a:lnTo>
                  <a:cubicBezTo>
                    <a:pt x="808" y="390327"/>
                    <a:pt x="0" y="389451"/>
                    <a:pt x="0" y="388440"/>
                  </a:cubicBezTo>
                  <a:lnTo>
                    <a:pt x="0" y="1886"/>
                  </a:lnTo>
                  <a:cubicBezTo>
                    <a:pt x="0" y="808"/>
                    <a:pt x="876" y="0"/>
                    <a:pt x="1886" y="0"/>
                  </a:cubicBezTo>
                  <a:lnTo>
                    <a:pt x="17650" y="0"/>
                  </a:lnTo>
                  <a:cubicBezTo>
                    <a:pt x="18324" y="0"/>
                    <a:pt x="18930" y="539"/>
                    <a:pt x="18930" y="1280"/>
                  </a:cubicBezTo>
                  <a:lnTo>
                    <a:pt x="18930" y="389047"/>
                  </a:lnTo>
                  <a:cubicBezTo>
                    <a:pt x="18930" y="389788"/>
                    <a:pt x="18324" y="390327"/>
                    <a:pt x="17650" y="390327"/>
                  </a:cubicBezTo>
                  <a:close/>
                </a:path>
              </a:pathLst>
            </a:custGeom>
            <a:solidFill>
              <a:srgbClr val="FAFDFF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Graphic 2">
              <a:extLst>
                <a:ext uri="{FF2B5EF4-FFF2-40B4-BE49-F238E27FC236}">
                  <a16:creationId xmlns:a16="http://schemas.microsoft.com/office/drawing/2014/main" xmlns="" id="{CDE1CBFD-B36F-4476-AD66-FE5689C99FEA}"/>
                </a:ext>
              </a:extLst>
            </p:cNvPr>
            <p:cNvSpPr/>
            <p:nvPr/>
          </p:nvSpPr>
          <p:spPr>
            <a:xfrm>
              <a:off x="1058291" y="5456869"/>
              <a:ext cx="28182" cy="392355"/>
            </a:xfrm>
            <a:custGeom>
              <a:avLst/>
              <a:gdLst>
                <a:gd name="connsiteX0" fmla="*/ 24656 w 33481"/>
                <a:gd name="connsiteY0" fmla="*/ 466115 h 466114"/>
                <a:gd name="connsiteX1" fmla="*/ 10105 w 33481"/>
                <a:gd name="connsiteY1" fmla="*/ 466115 h 466114"/>
                <a:gd name="connsiteX2" fmla="*/ 0 w 33481"/>
                <a:gd name="connsiteY2" fmla="*/ 456010 h 466114"/>
                <a:gd name="connsiteX3" fmla="*/ 0 w 33481"/>
                <a:gd name="connsiteY3" fmla="*/ 10105 h 466114"/>
                <a:gd name="connsiteX4" fmla="*/ 10105 w 33481"/>
                <a:gd name="connsiteY4" fmla="*/ 0 h 466114"/>
                <a:gd name="connsiteX5" fmla="*/ 24656 w 33481"/>
                <a:gd name="connsiteY5" fmla="*/ 0 h 466114"/>
                <a:gd name="connsiteX6" fmla="*/ 33482 w 33481"/>
                <a:gd name="connsiteY6" fmla="*/ 8825 h 466114"/>
                <a:gd name="connsiteX7" fmla="*/ 33482 w 33481"/>
                <a:gd name="connsiteY7" fmla="*/ 457222 h 466114"/>
                <a:gd name="connsiteX8" fmla="*/ 24656 w 33481"/>
                <a:gd name="connsiteY8" fmla="*/ 466115 h 46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81" h="466114">
                  <a:moveTo>
                    <a:pt x="24656" y="466115"/>
                  </a:moveTo>
                  <a:lnTo>
                    <a:pt x="10105" y="466115"/>
                  </a:lnTo>
                  <a:cubicBezTo>
                    <a:pt x="4514" y="466115"/>
                    <a:pt x="0" y="461601"/>
                    <a:pt x="0" y="456010"/>
                  </a:cubicBezTo>
                  <a:lnTo>
                    <a:pt x="0" y="10105"/>
                  </a:lnTo>
                  <a:cubicBezTo>
                    <a:pt x="0" y="4514"/>
                    <a:pt x="4514" y="0"/>
                    <a:pt x="10105" y="0"/>
                  </a:cubicBezTo>
                  <a:lnTo>
                    <a:pt x="24656" y="0"/>
                  </a:lnTo>
                  <a:cubicBezTo>
                    <a:pt x="29507" y="0"/>
                    <a:pt x="33482" y="3975"/>
                    <a:pt x="33482" y="8825"/>
                  </a:cubicBezTo>
                  <a:lnTo>
                    <a:pt x="33482" y="457222"/>
                  </a:lnTo>
                  <a:cubicBezTo>
                    <a:pt x="33482" y="462208"/>
                    <a:pt x="29507" y="466115"/>
                    <a:pt x="24656" y="466115"/>
                  </a:cubicBezTo>
                  <a:close/>
                </a:path>
              </a:pathLst>
            </a:custGeom>
            <a:solidFill>
              <a:srgbClr val="364551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Graphic 2">
              <a:extLst>
                <a:ext uri="{FF2B5EF4-FFF2-40B4-BE49-F238E27FC236}">
                  <a16:creationId xmlns:a16="http://schemas.microsoft.com/office/drawing/2014/main" xmlns="" id="{54A97323-642E-4873-8ECB-8C82C47BBCE7}"/>
                </a:ext>
              </a:extLst>
            </p:cNvPr>
            <p:cNvSpPr/>
            <p:nvPr/>
          </p:nvSpPr>
          <p:spPr>
            <a:xfrm>
              <a:off x="1058291" y="5485053"/>
              <a:ext cx="15935" cy="328560"/>
            </a:xfrm>
            <a:custGeom>
              <a:avLst/>
              <a:gdLst>
                <a:gd name="connsiteX0" fmla="*/ 17718 w 18930"/>
                <a:gd name="connsiteY0" fmla="*/ 390327 h 390326"/>
                <a:gd name="connsiteX1" fmla="*/ 1886 w 18930"/>
                <a:gd name="connsiteY1" fmla="*/ 390327 h 390326"/>
                <a:gd name="connsiteX2" fmla="*/ 0 w 18930"/>
                <a:gd name="connsiteY2" fmla="*/ 388440 h 390326"/>
                <a:gd name="connsiteX3" fmla="*/ 0 w 18930"/>
                <a:gd name="connsiteY3" fmla="*/ 1886 h 390326"/>
                <a:gd name="connsiteX4" fmla="*/ 1886 w 18930"/>
                <a:gd name="connsiteY4" fmla="*/ 0 h 390326"/>
                <a:gd name="connsiteX5" fmla="*/ 17650 w 18930"/>
                <a:gd name="connsiteY5" fmla="*/ 0 h 390326"/>
                <a:gd name="connsiteX6" fmla="*/ 18930 w 18930"/>
                <a:gd name="connsiteY6" fmla="*/ 1280 h 390326"/>
                <a:gd name="connsiteX7" fmla="*/ 18930 w 18930"/>
                <a:gd name="connsiteY7" fmla="*/ 389047 h 390326"/>
                <a:gd name="connsiteX8" fmla="*/ 17718 w 18930"/>
                <a:gd name="connsiteY8" fmla="*/ 390327 h 39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30" h="390326">
                  <a:moveTo>
                    <a:pt x="17718" y="390327"/>
                  </a:moveTo>
                  <a:lnTo>
                    <a:pt x="1886" y="390327"/>
                  </a:lnTo>
                  <a:cubicBezTo>
                    <a:pt x="808" y="390327"/>
                    <a:pt x="0" y="389451"/>
                    <a:pt x="0" y="388440"/>
                  </a:cubicBezTo>
                  <a:lnTo>
                    <a:pt x="0" y="1886"/>
                  </a:lnTo>
                  <a:cubicBezTo>
                    <a:pt x="0" y="808"/>
                    <a:pt x="876" y="0"/>
                    <a:pt x="1886" y="0"/>
                  </a:cubicBezTo>
                  <a:lnTo>
                    <a:pt x="17650" y="0"/>
                  </a:lnTo>
                  <a:cubicBezTo>
                    <a:pt x="18324" y="0"/>
                    <a:pt x="18930" y="539"/>
                    <a:pt x="18930" y="1280"/>
                  </a:cubicBezTo>
                  <a:lnTo>
                    <a:pt x="18930" y="389047"/>
                  </a:lnTo>
                  <a:cubicBezTo>
                    <a:pt x="18930" y="389788"/>
                    <a:pt x="18391" y="390327"/>
                    <a:pt x="17718" y="390327"/>
                  </a:cubicBezTo>
                  <a:close/>
                </a:path>
              </a:pathLst>
            </a:custGeom>
            <a:solidFill>
              <a:srgbClr val="FAFDFF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Graphic 2">
              <a:extLst>
                <a:ext uri="{FF2B5EF4-FFF2-40B4-BE49-F238E27FC236}">
                  <a16:creationId xmlns:a16="http://schemas.microsoft.com/office/drawing/2014/main" xmlns="" id="{E6FC4392-B579-420D-977D-05F6BAF6A444}"/>
                </a:ext>
              </a:extLst>
            </p:cNvPr>
            <p:cNvSpPr/>
            <p:nvPr/>
          </p:nvSpPr>
          <p:spPr>
            <a:xfrm>
              <a:off x="3922902" y="5064570"/>
              <a:ext cx="28182" cy="635005"/>
            </a:xfrm>
            <a:custGeom>
              <a:avLst/>
              <a:gdLst>
                <a:gd name="connsiteX0" fmla="*/ 24656 w 33481"/>
                <a:gd name="connsiteY0" fmla="*/ 754380 h 754380"/>
                <a:gd name="connsiteX1" fmla="*/ 10105 w 33481"/>
                <a:gd name="connsiteY1" fmla="*/ 754380 h 754380"/>
                <a:gd name="connsiteX2" fmla="*/ 0 w 33481"/>
                <a:gd name="connsiteY2" fmla="*/ 744275 h 754380"/>
                <a:gd name="connsiteX3" fmla="*/ 0 w 33481"/>
                <a:gd name="connsiteY3" fmla="*/ 10105 h 754380"/>
                <a:gd name="connsiteX4" fmla="*/ 10105 w 33481"/>
                <a:gd name="connsiteY4" fmla="*/ 0 h 754380"/>
                <a:gd name="connsiteX5" fmla="*/ 24656 w 33481"/>
                <a:gd name="connsiteY5" fmla="*/ 0 h 754380"/>
                <a:gd name="connsiteX6" fmla="*/ 33482 w 33481"/>
                <a:gd name="connsiteY6" fmla="*/ 8825 h 754380"/>
                <a:gd name="connsiteX7" fmla="*/ 33482 w 33481"/>
                <a:gd name="connsiteY7" fmla="*/ 745555 h 754380"/>
                <a:gd name="connsiteX8" fmla="*/ 24656 w 33481"/>
                <a:gd name="connsiteY8" fmla="*/ 754380 h 754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481" h="754380">
                  <a:moveTo>
                    <a:pt x="24656" y="754380"/>
                  </a:moveTo>
                  <a:lnTo>
                    <a:pt x="10105" y="754380"/>
                  </a:lnTo>
                  <a:cubicBezTo>
                    <a:pt x="4514" y="754380"/>
                    <a:pt x="0" y="749866"/>
                    <a:pt x="0" y="744275"/>
                  </a:cubicBezTo>
                  <a:lnTo>
                    <a:pt x="0" y="10105"/>
                  </a:lnTo>
                  <a:cubicBezTo>
                    <a:pt x="0" y="4514"/>
                    <a:pt x="4514" y="0"/>
                    <a:pt x="10105" y="0"/>
                  </a:cubicBezTo>
                  <a:lnTo>
                    <a:pt x="24656" y="0"/>
                  </a:lnTo>
                  <a:cubicBezTo>
                    <a:pt x="29507" y="0"/>
                    <a:pt x="33482" y="3975"/>
                    <a:pt x="33482" y="8825"/>
                  </a:cubicBezTo>
                  <a:lnTo>
                    <a:pt x="33482" y="745555"/>
                  </a:lnTo>
                  <a:cubicBezTo>
                    <a:pt x="33482" y="750405"/>
                    <a:pt x="29507" y="754380"/>
                    <a:pt x="24656" y="754380"/>
                  </a:cubicBezTo>
                  <a:close/>
                </a:path>
              </a:pathLst>
            </a:custGeom>
            <a:solidFill>
              <a:srgbClr val="8A9096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0" name="Graphic 2">
              <a:extLst>
                <a:ext uri="{FF2B5EF4-FFF2-40B4-BE49-F238E27FC236}">
                  <a16:creationId xmlns:a16="http://schemas.microsoft.com/office/drawing/2014/main" xmlns="" id="{213C0B4A-1837-4C1B-8D1B-BC1615210485}"/>
                </a:ext>
              </a:extLst>
            </p:cNvPr>
            <p:cNvSpPr/>
            <p:nvPr/>
          </p:nvSpPr>
          <p:spPr>
            <a:xfrm>
              <a:off x="3935149" y="5110218"/>
              <a:ext cx="15935" cy="531742"/>
            </a:xfrm>
            <a:custGeom>
              <a:avLst/>
              <a:gdLst>
                <a:gd name="connsiteX0" fmla="*/ 17650 w 18930"/>
                <a:gd name="connsiteY0" fmla="*/ 631704 h 631704"/>
                <a:gd name="connsiteX1" fmla="*/ 1886 w 18930"/>
                <a:gd name="connsiteY1" fmla="*/ 631704 h 631704"/>
                <a:gd name="connsiteX2" fmla="*/ 0 w 18930"/>
                <a:gd name="connsiteY2" fmla="*/ 629818 h 631704"/>
                <a:gd name="connsiteX3" fmla="*/ 0 w 18930"/>
                <a:gd name="connsiteY3" fmla="*/ 1886 h 631704"/>
                <a:gd name="connsiteX4" fmla="*/ 1886 w 18930"/>
                <a:gd name="connsiteY4" fmla="*/ 0 h 631704"/>
                <a:gd name="connsiteX5" fmla="*/ 17650 w 18930"/>
                <a:gd name="connsiteY5" fmla="*/ 0 h 631704"/>
                <a:gd name="connsiteX6" fmla="*/ 18930 w 18930"/>
                <a:gd name="connsiteY6" fmla="*/ 1280 h 631704"/>
                <a:gd name="connsiteX7" fmla="*/ 18930 w 18930"/>
                <a:gd name="connsiteY7" fmla="*/ 630491 h 631704"/>
                <a:gd name="connsiteX8" fmla="*/ 17650 w 18930"/>
                <a:gd name="connsiteY8" fmla="*/ 631704 h 631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30" h="631704">
                  <a:moveTo>
                    <a:pt x="17650" y="631704"/>
                  </a:moveTo>
                  <a:lnTo>
                    <a:pt x="1886" y="631704"/>
                  </a:lnTo>
                  <a:cubicBezTo>
                    <a:pt x="808" y="631704"/>
                    <a:pt x="0" y="630828"/>
                    <a:pt x="0" y="629818"/>
                  </a:cubicBezTo>
                  <a:lnTo>
                    <a:pt x="0" y="1886"/>
                  </a:lnTo>
                  <a:cubicBezTo>
                    <a:pt x="0" y="808"/>
                    <a:pt x="876" y="0"/>
                    <a:pt x="1886" y="0"/>
                  </a:cubicBezTo>
                  <a:lnTo>
                    <a:pt x="17650" y="0"/>
                  </a:lnTo>
                  <a:cubicBezTo>
                    <a:pt x="18324" y="0"/>
                    <a:pt x="18930" y="539"/>
                    <a:pt x="18930" y="1280"/>
                  </a:cubicBezTo>
                  <a:lnTo>
                    <a:pt x="18930" y="630491"/>
                  </a:lnTo>
                  <a:cubicBezTo>
                    <a:pt x="18863" y="631098"/>
                    <a:pt x="18324" y="631704"/>
                    <a:pt x="17650" y="631704"/>
                  </a:cubicBezTo>
                  <a:close/>
                </a:path>
              </a:pathLst>
            </a:custGeom>
            <a:solidFill>
              <a:srgbClr val="4A4C4D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31" name="Graphic 2">
              <a:extLst>
                <a:ext uri="{FF2B5EF4-FFF2-40B4-BE49-F238E27FC236}">
                  <a16:creationId xmlns:a16="http://schemas.microsoft.com/office/drawing/2014/main" xmlns="" id="{DFD69AD1-88C6-4D8A-BB4E-CE2C94AF1EBC}"/>
                </a:ext>
              </a:extLst>
            </p:cNvPr>
            <p:cNvSpPr/>
            <p:nvPr/>
          </p:nvSpPr>
          <p:spPr>
            <a:xfrm>
              <a:off x="3928288" y="6392988"/>
              <a:ext cx="22796" cy="435170"/>
            </a:xfrm>
            <a:custGeom>
              <a:avLst/>
              <a:gdLst>
                <a:gd name="connsiteX0" fmla="*/ 18257 w 27081"/>
                <a:gd name="connsiteY0" fmla="*/ 516977 h 516977"/>
                <a:gd name="connsiteX1" fmla="*/ 10105 w 27081"/>
                <a:gd name="connsiteY1" fmla="*/ 516977 h 516977"/>
                <a:gd name="connsiteX2" fmla="*/ 0 w 27081"/>
                <a:gd name="connsiteY2" fmla="*/ 506872 h 516977"/>
                <a:gd name="connsiteX3" fmla="*/ 0 w 27081"/>
                <a:gd name="connsiteY3" fmla="*/ 10105 h 516977"/>
                <a:gd name="connsiteX4" fmla="*/ 10105 w 27081"/>
                <a:gd name="connsiteY4" fmla="*/ 0 h 516977"/>
                <a:gd name="connsiteX5" fmla="*/ 18257 w 27081"/>
                <a:gd name="connsiteY5" fmla="*/ 0 h 516977"/>
                <a:gd name="connsiteX6" fmla="*/ 27082 w 27081"/>
                <a:gd name="connsiteY6" fmla="*/ 8825 h 516977"/>
                <a:gd name="connsiteX7" fmla="*/ 27082 w 27081"/>
                <a:gd name="connsiteY7" fmla="*/ 508152 h 516977"/>
                <a:gd name="connsiteX8" fmla="*/ 18257 w 27081"/>
                <a:gd name="connsiteY8" fmla="*/ 516977 h 516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081" h="516977">
                  <a:moveTo>
                    <a:pt x="18257" y="516977"/>
                  </a:moveTo>
                  <a:lnTo>
                    <a:pt x="10105" y="516977"/>
                  </a:lnTo>
                  <a:cubicBezTo>
                    <a:pt x="4514" y="516977"/>
                    <a:pt x="0" y="512464"/>
                    <a:pt x="0" y="506872"/>
                  </a:cubicBezTo>
                  <a:lnTo>
                    <a:pt x="0" y="10105"/>
                  </a:lnTo>
                  <a:cubicBezTo>
                    <a:pt x="0" y="4514"/>
                    <a:pt x="4514" y="0"/>
                    <a:pt x="10105" y="0"/>
                  </a:cubicBezTo>
                  <a:lnTo>
                    <a:pt x="18257" y="0"/>
                  </a:lnTo>
                  <a:cubicBezTo>
                    <a:pt x="23107" y="0"/>
                    <a:pt x="27082" y="3975"/>
                    <a:pt x="27082" y="8825"/>
                  </a:cubicBezTo>
                  <a:lnTo>
                    <a:pt x="27082" y="508152"/>
                  </a:lnTo>
                  <a:cubicBezTo>
                    <a:pt x="27082" y="513003"/>
                    <a:pt x="23107" y="516977"/>
                    <a:pt x="18257" y="516977"/>
                  </a:cubicBezTo>
                  <a:close/>
                </a:path>
              </a:pathLst>
            </a:custGeom>
            <a:solidFill>
              <a:srgbClr val="8A9096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Graphic 2">
              <a:extLst>
                <a:ext uri="{FF2B5EF4-FFF2-40B4-BE49-F238E27FC236}">
                  <a16:creationId xmlns:a16="http://schemas.microsoft.com/office/drawing/2014/main" xmlns="" id="{4747B958-0380-4C5F-8DEC-8D7F6B25907D}"/>
                </a:ext>
              </a:extLst>
            </p:cNvPr>
            <p:cNvSpPr/>
            <p:nvPr/>
          </p:nvSpPr>
          <p:spPr>
            <a:xfrm>
              <a:off x="3938156" y="6424233"/>
              <a:ext cx="12928" cy="364399"/>
            </a:xfrm>
            <a:custGeom>
              <a:avLst/>
              <a:gdLst>
                <a:gd name="connsiteX0" fmla="*/ 14080 w 15359"/>
                <a:gd name="connsiteY0" fmla="*/ 432903 h 432902"/>
                <a:gd name="connsiteX1" fmla="*/ 1886 w 15359"/>
                <a:gd name="connsiteY1" fmla="*/ 432903 h 432902"/>
                <a:gd name="connsiteX2" fmla="*/ 0 w 15359"/>
                <a:gd name="connsiteY2" fmla="*/ 431016 h 432902"/>
                <a:gd name="connsiteX3" fmla="*/ 0 w 15359"/>
                <a:gd name="connsiteY3" fmla="*/ 1886 h 432902"/>
                <a:gd name="connsiteX4" fmla="*/ 1886 w 15359"/>
                <a:gd name="connsiteY4" fmla="*/ 0 h 432902"/>
                <a:gd name="connsiteX5" fmla="*/ 14080 w 15359"/>
                <a:gd name="connsiteY5" fmla="*/ 0 h 432902"/>
                <a:gd name="connsiteX6" fmla="*/ 15360 w 15359"/>
                <a:gd name="connsiteY6" fmla="*/ 1280 h 432902"/>
                <a:gd name="connsiteX7" fmla="*/ 15360 w 15359"/>
                <a:gd name="connsiteY7" fmla="*/ 431690 h 432902"/>
                <a:gd name="connsiteX8" fmla="*/ 14080 w 15359"/>
                <a:gd name="connsiteY8" fmla="*/ 432903 h 4329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359" h="432902">
                  <a:moveTo>
                    <a:pt x="14080" y="432903"/>
                  </a:moveTo>
                  <a:lnTo>
                    <a:pt x="1886" y="432903"/>
                  </a:lnTo>
                  <a:cubicBezTo>
                    <a:pt x="808" y="432903"/>
                    <a:pt x="0" y="432027"/>
                    <a:pt x="0" y="431016"/>
                  </a:cubicBezTo>
                  <a:lnTo>
                    <a:pt x="0" y="1886"/>
                  </a:lnTo>
                  <a:cubicBezTo>
                    <a:pt x="0" y="808"/>
                    <a:pt x="876" y="0"/>
                    <a:pt x="1886" y="0"/>
                  </a:cubicBezTo>
                  <a:lnTo>
                    <a:pt x="14080" y="0"/>
                  </a:lnTo>
                  <a:cubicBezTo>
                    <a:pt x="14753" y="0"/>
                    <a:pt x="15360" y="539"/>
                    <a:pt x="15360" y="1280"/>
                  </a:cubicBezTo>
                  <a:lnTo>
                    <a:pt x="15360" y="431690"/>
                  </a:lnTo>
                  <a:cubicBezTo>
                    <a:pt x="15360" y="432364"/>
                    <a:pt x="14821" y="432903"/>
                    <a:pt x="14080" y="432903"/>
                  </a:cubicBezTo>
                  <a:close/>
                </a:path>
              </a:pathLst>
            </a:custGeom>
            <a:solidFill>
              <a:srgbClr val="4A4C4D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xmlns="" id="{69006DBA-4DAA-453A-A2AC-FF4A9322F5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78879" y="3808481"/>
              <a:ext cx="134198" cy="134198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xmlns="" id="{23506713-2F55-452F-ABB6-47225E2D89E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987267" y="3816868"/>
              <a:ext cx="117423" cy="117423"/>
            </a:xfrm>
            <a:prstGeom prst="ellipse">
              <a:avLst/>
            </a:prstGeom>
            <a:solidFill>
              <a:srgbClr val="070808"/>
            </a:solidFill>
            <a:ln w="672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xmlns="" id="{5175F06E-27A9-46A4-B02C-A49E59D17DC3}"/>
                </a:ext>
              </a:extLst>
            </p:cNvPr>
            <p:cNvSpPr/>
            <p:nvPr/>
          </p:nvSpPr>
          <p:spPr>
            <a:xfrm>
              <a:off x="3016958" y="3846560"/>
              <a:ext cx="58040" cy="58040"/>
            </a:xfrm>
            <a:prstGeom prst="ellipse">
              <a:avLst/>
            </a:prstGeom>
            <a:solidFill>
              <a:schemeClr val="tx1">
                <a:lumMod val="85000"/>
                <a:lumOff val="15000"/>
              </a:schemeClr>
            </a:solidFill>
            <a:ln w="672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xmlns="" id="{E28FA69B-57D7-4705-A140-F90E5220C72E}"/>
                </a:ext>
              </a:extLst>
            </p:cNvPr>
            <p:cNvSpPr/>
            <p:nvPr/>
          </p:nvSpPr>
          <p:spPr>
            <a:xfrm>
              <a:off x="3030585" y="3860187"/>
              <a:ext cx="30788" cy="30788"/>
            </a:xfrm>
            <a:prstGeom prst="ellipse">
              <a:avLst/>
            </a:prstGeom>
            <a:solidFill>
              <a:srgbClr val="081422"/>
            </a:solidFill>
            <a:ln w="6728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7" name="Graphic 2">
              <a:extLst>
                <a:ext uri="{FF2B5EF4-FFF2-40B4-BE49-F238E27FC236}">
                  <a16:creationId xmlns:a16="http://schemas.microsoft.com/office/drawing/2014/main" xmlns="" id="{80E59088-2E8C-41FA-BAB8-F9EEF100122A}"/>
                </a:ext>
              </a:extLst>
            </p:cNvPr>
            <p:cNvSpPr/>
            <p:nvPr userDrawn="1"/>
          </p:nvSpPr>
          <p:spPr>
            <a:xfrm flipH="1">
              <a:off x="1060804" y="4534334"/>
              <a:ext cx="10717" cy="149811"/>
            </a:xfrm>
            <a:custGeom>
              <a:avLst/>
              <a:gdLst>
                <a:gd name="connsiteX0" fmla="*/ 17650 w 18930"/>
                <a:gd name="connsiteY0" fmla="*/ 390327 h 390326"/>
                <a:gd name="connsiteX1" fmla="*/ 1886 w 18930"/>
                <a:gd name="connsiteY1" fmla="*/ 390327 h 390326"/>
                <a:gd name="connsiteX2" fmla="*/ 0 w 18930"/>
                <a:gd name="connsiteY2" fmla="*/ 388440 h 390326"/>
                <a:gd name="connsiteX3" fmla="*/ 0 w 18930"/>
                <a:gd name="connsiteY3" fmla="*/ 1886 h 390326"/>
                <a:gd name="connsiteX4" fmla="*/ 1886 w 18930"/>
                <a:gd name="connsiteY4" fmla="*/ 0 h 390326"/>
                <a:gd name="connsiteX5" fmla="*/ 17650 w 18930"/>
                <a:gd name="connsiteY5" fmla="*/ 0 h 390326"/>
                <a:gd name="connsiteX6" fmla="*/ 18930 w 18930"/>
                <a:gd name="connsiteY6" fmla="*/ 1280 h 390326"/>
                <a:gd name="connsiteX7" fmla="*/ 18930 w 18930"/>
                <a:gd name="connsiteY7" fmla="*/ 389047 h 390326"/>
                <a:gd name="connsiteX8" fmla="*/ 17650 w 18930"/>
                <a:gd name="connsiteY8" fmla="*/ 390327 h 390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930" h="390326">
                  <a:moveTo>
                    <a:pt x="17650" y="390327"/>
                  </a:moveTo>
                  <a:lnTo>
                    <a:pt x="1886" y="390327"/>
                  </a:lnTo>
                  <a:cubicBezTo>
                    <a:pt x="808" y="390327"/>
                    <a:pt x="0" y="389451"/>
                    <a:pt x="0" y="388440"/>
                  </a:cubicBezTo>
                  <a:lnTo>
                    <a:pt x="0" y="1886"/>
                  </a:lnTo>
                  <a:cubicBezTo>
                    <a:pt x="0" y="808"/>
                    <a:pt x="876" y="0"/>
                    <a:pt x="1886" y="0"/>
                  </a:cubicBezTo>
                  <a:lnTo>
                    <a:pt x="17650" y="0"/>
                  </a:lnTo>
                  <a:cubicBezTo>
                    <a:pt x="18324" y="0"/>
                    <a:pt x="18930" y="539"/>
                    <a:pt x="18930" y="1280"/>
                  </a:cubicBezTo>
                  <a:lnTo>
                    <a:pt x="18930" y="389047"/>
                  </a:lnTo>
                  <a:cubicBezTo>
                    <a:pt x="18930" y="389788"/>
                    <a:pt x="18324" y="390327"/>
                    <a:pt x="17650" y="390327"/>
                  </a:cubicBezTo>
                  <a:close/>
                </a:path>
              </a:pathLst>
            </a:custGeom>
            <a:solidFill>
              <a:srgbClr val="FAFDFF"/>
            </a:solidFill>
            <a:ln w="672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xmlns="" id="{5066A938-5524-4BC2-9E71-604DA7247A54}"/>
              </a:ext>
            </a:extLst>
          </p:cNvPr>
          <p:cNvGrpSpPr/>
          <p:nvPr userDrawn="1"/>
        </p:nvGrpSpPr>
        <p:grpSpPr>
          <a:xfrm>
            <a:off x="8332411" y="0"/>
            <a:ext cx="2885112" cy="2622090"/>
            <a:chOff x="833153" y="6858000"/>
            <a:chExt cx="2885112" cy="2622090"/>
          </a:xfrm>
        </p:grpSpPr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5974D21A-C01F-4B09-AA57-1A00734860AA}"/>
                </a:ext>
              </a:extLst>
            </p:cNvPr>
            <p:cNvSpPr/>
            <p:nvPr/>
          </p:nvSpPr>
          <p:spPr>
            <a:xfrm>
              <a:off x="833153" y="6858000"/>
              <a:ext cx="2885112" cy="2622090"/>
            </a:xfrm>
            <a:custGeom>
              <a:avLst/>
              <a:gdLst>
                <a:gd name="connsiteX0" fmla="*/ 0 w 2885112"/>
                <a:gd name="connsiteY0" fmla="*/ 0 h 2622090"/>
                <a:gd name="connsiteX1" fmla="*/ 2885112 w 2885112"/>
                <a:gd name="connsiteY1" fmla="*/ 0 h 2622090"/>
                <a:gd name="connsiteX2" fmla="*/ 2885112 w 2885112"/>
                <a:gd name="connsiteY2" fmla="*/ 2245726 h 2622090"/>
                <a:gd name="connsiteX3" fmla="*/ 2504286 w 2885112"/>
                <a:gd name="connsiteY3" fmla="*/ 2622090 h 2622090"/>
                <a:gd name="connsiteX4" fmla="*/ 380827 w 2885112"/>
                <a:gd name="connsiteY4" fmla="*/ 2622090 h 2622090"/>
                <a:gd name="connsiteX5" fmla="*/ 0 w 2885112"/>
                <a:gd name="connsiteY5" fmla="*/ 2245668 h 26220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85112" h="2622090">
                  <a:moveTo>
                    <a:pt x="0" y="0"/>
                  </a:moveTo>
                  <a:lnTo>
                    <a:pt x="2885112" y="0"/>
                  </a:lnTo>
                  <a:lnTo>
                    <a:pt x="2885112" y="2245726"/>
                  </a:lnTo>
                  <a:cubicBezTo>
                    <a:pt x="2885055" y="2453556"/>
                    <a:pt x="2714549" y="2622090"/>
                    <a:pt x="2504286" y="2622090"/>
                  </a:cubicBezTo>
                  <a:lnTo>
                    <a:pt x="380827" y="2622090"/>
                  </a:lnTo>
                  <a:cubicBezTo>
                    <a:pt x="170506" y="2622090"/>
                    <a:pt x="0" y="2453556"/>
                    <a:pt x="0" y="2245668"/>
                  </a:cubicBezTo>
                  <a:close/>
                </a:path>
              </a:pathLst>
            </a:custGeom>
            <a:solidFill>
              <a:srgbClr val="D0D4D8"/>
            </a:solidFill>
            <a:ln w="672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xmlns="" id="{1E48AAE3-B835-49A5-9A47-DE6EBCD7733E}"/>
                </a:ext>
              </a:extLst>
            </p:cNvPr>
            <p:cNvSpPr/>
            <p:nvPr/>
          </p:nvSpPr>
          <p:spPr>
            <a:xfrm>
              <a:off x="871808" y="6858000"/>
              <a:ext cx="2807801" cy="2591752"/>
            </a:xfrm>
            <a:custGeom>
              <a:avLst/>
              <a:gdLst>
                <a:gd name="connsiteX0" fmla="*/ 0 w 2807801"/>
                <a:gd name="connsiteY0" fmla="*/ 0 h 2591752"/>
                <a:gd name="connsiteX1" fmla="*/ 2807801 w 2807801"/>
                <a:gd name="connsiteY1" fmla="*/ 0 h 2591752"/>
                <a:gd name="connsiteX2" fmla="*/ 2807801 w 2807801"/>
                <a:gd name="connsiteY2" fmla="*/ 2215388 h 2591752"/>
                <a:gd name="connsiteX3" fmla="*/ 2428061 w 2807801"/>
                <a:gd name="connsiteY3" fmla="*/ 2591752 h 2591752"/>
                <a:gd name="connsiteX4" fmla="*/ 379798 w 2807801"/>
                <a:gd name="connsiteY4" fmla="*/ 2591752 h 2591752"/>
                <a:gd name="connsiteX5" fmla="*/ 0 w 2807801"/>
                <a:gd name="connsiteY5" fmla="*/ 2215332 h 25917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7801" h="2591752">
                  <a:moveTo>
                    <a:pt x="0" y="0"/>
                  </a:moveTo>
                  <a:lnTo>
                    <a:pt x="2807801" y="0"/>
                  </a:lnTo>
                  <a:lnTo>
                    <a:pt x="2807801" y="2215388"/>
                  </a:lnTo>
                  <a:cubicBezTo>
                    <a:pt x="2807801" y="2423218"/>
                    <a:pt x="2637756" y="2591752"/>
                    <a:pt x="2428061" y="2591752"/>
                  </a:cubicBezTo>
                  <a:lnTo>
                    <a:pt x="379798" y="2591752"/>
                  </a:lnTo>
                  <a:cubicBezTo>
                    <a:pt x="170045" y="2591752"/>
                    <a:pt x="0" y="2423218"/>
                    <a:pt x="0" y="2215332"/>
                  </a:cubicBezTo>
                  <a:close/>
                </a:path>
              </a:pathLst>
            </a:custGeom>
            <a:solidFill>
              <a:srgbClr val="070808"/>
            </a:solidFill>
            <a:ln w="6728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</p:grpSp>
      <p:sp>
        <p:nvSpPr>
          <p:cNvPr id="67" name="Picture Placeholder 66">
            <a:extLst>
              <a:ext uri="{FF2B5EF4-FFF2-40B4-BE49-F238E27FC236}">
                <a16:creationId xmlns:a16="http://schemas.microsoft.com/office/drawing/2014/main" xmlns="" id="{28246CD8-4F7B-49F9-A0E7-A3D2C7826A5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438563" y="1"/>
            <a:ext cx="2672808" cy="2493421"/>
          </a:xfrm>
          <a:custGeom>
            <a:avLst/>
            <a:gdLst>
              <a:gd name="connsiteX0" fmla="*/ 0 w 2672808"/>
              <a:gd name="connsiteY0" fmla="*/ 0 h 2493421"/>
              <a:gd name="connsiteX1" fmla="*/ 2672808 w 2672808"/>
              <a:gd name="connsiteY1" fmla="*/ 0 h 2493421"/>
              <a:gd name="connsiteX2" fmla="*/ 2672808 w 2672808"/>
              <a:gd name="connsiteY2" fmla="*/ 2221227 h 2493421"/>
              <a:gd name="connsiteX3" fmla="*/ 2385313 w 2672808"/>
              <a:gd name="connsiteY3" fmla="*/ 2493421 h 2493421"/>
              <a:gd name="connsiteX4" fmla="*/ 287495 w 2672808"/>
              <a:gd name="connsiteY4" fmla="*/ 2493421 h 2493421"/>
              <a:gd name="connsiteX5" fmla="*/ 0 w 2672808"/>
              <a:gd name="connsiteY5" fmla="*/ 2221227 h 249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72808" h="2493421">
                <a:moveTo>
                  <a:pt x="0" y="0"/>
                </a:moveTo>
                <a:lnTo>
                  <a:pt x="2672808" y="0"/>
                </a:lnTo>
                <a:lnTo>
                  <a:pt x="2672808" y="2221227"/>
                </a:lnTo>
                <a:cubicBezTo>
                  <a:pt x="2672808" y="2371557"/>
                  <a:pt x="2544095" y="2493421"/>
                  <a:pt x="2385313" y="2493421"/>
                </a:cubicBezTo>
                <a:lnTo>
                  <a:pt x="287495" y="2493421"/>
                </a:lnTo>
                <a:cubicBezTo>
                  <a:pt x="128714" y="2493421"/>
                  <a:pt x="0" y="2371557"/>
                  <a:pt x="0" y="222122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68" name="Picture Placeholder 67">
            <a:extLst>
              <a:ext uri="{FF2B5EF4-FFF2-40B4-BE49-F238E27FC236}">
                <a16:creationId xmlns:a16="http://schemas.microsoft.com/office/drawing/2014/main" xmlns="" id="{A2ECC6F6-A4A0-4672-8659-27C1C16408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168921" y="3818265"/>
            <a:ext cx="2672808" cy="3039735"/>
          </a:xfrm>
          <a:custGeom>
            <a:avLst/>
            <a:gdLst>
              <a:gd name="connsiteX0" fmla="*/ 287495 w 2672808"/>
              <a:gd name="connsiteY0" fmla="*/ 0 h 3039735"/>
              <a:gd name="connsiteX1" fmla="*/ 542049 w 2672808"/>
              <a:gd name="connsiteY1" fmla="*/ 0 h 3039735"/>
              <a:gd name="connsiteX2" fmla="*/ 566725 w 2672808"/>
              <a:gd name="connsiteY2" fmla="*/ 23363 h 3039735"/>
              <a:gd name="connsiteX3" fmla="*/ 757670 w 2672808"/>
              <a:gd name="connsiteY3" fmla="*/ 204146 h 3039735"/>
              <a:gd name="connsiteX4" fmla="*/ 1903160 w 2672808"/>
              <a:gd name="connsiteY4" fmla="*/ 204146 h 3039735"/>
              <a:gd name="connsiteX5" fmla="*/ 2094105 w 2672808"/>
              <a:gd name="connsiteY5" fmla="*/ 23363 h 3039735"/>
              <a:gd name="connsiteX6" fmla="*/ 2118781 w 2672808"/>
              <a:gd name="connsiteY6" fmla="*/ 0 h 3039735"/>
              <a:gd name="connsiteX7" fmla="*/ 2385313 w 2672808"/>
              <a:gd name="connsiteY7" fmla="*/ 0 h 3039735"/>
              <a:gd name="connsiteX8" fmla="*/ 2672808 w 2672808"/>
              <a:gd name="connsiteY8" fmla="*/ 272193 h 3039735"/>
              <a:gd name="connsiteX9" fmla="*/ 2672808 w 2672808"/>
              <a:gd name="connsiteY9" fmla="*/ 3039735 h 3039735"/>
              <a:gd name="connsiteX10" fmla="*/ 0 w 2672808"/>
              <a:gd name="connsiteY10" fmla="*/ 3039735 h 3039735"/>
              <a:gd name="connsiteX11" fmla="*/ 0 w 2672808"/>
              <a:gd name="connsiteY11" fmla="*/ 272193 h 3039735"/>
              <a:gd name="connsiteX12" fmla="*/ 287495 w 2672808"/>
              <a:gd name="connsiteY12" fmla="*/ 0 h 3039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72808" h="3039735">
                <a:moveTo>
                  <a:pt x="287495" y="0"/>
                </a:moveTo>
                <a:lnTo>
                  <a:pt x="542049" y="0"/>
                </a:lnTo>
                <a:cubicBezTo>
                  <a:pt x="555645" y="0"/>
                  <a:pt x="566725" y="10435"/>
                  <a:pt x="566725" y="23363"/>
                </a:cubicBezTo>
                <a:cubicBezTo>
                  <a:pt x="566725" y="123224"/>
                  <a:pt x="652255" y="204146"/>
                  <a:pt x="757670" y="204146"/>
                </a:cubicBezTo>
                <a:lnTo>
                  <a:pt x="1903160" y="204146"/>
                </a:lnTo>
                <a:cubicBezTo>
                  <a:pt x="2008635" y="204146"/>
                  <a:pt x="2094105" y="123168"/>
                  <a:pt x="2094105" y="23363"/>
                </a:cubicBezTo>
                <a:cubicBezTo>
                  <a:pt x="2094105" y="10491"/>
                  <a:pt x="2105125" y="0"/>
                  <a:pt x="2118781" y="0"/>
                </a:cubicBezTo>
                <a:lnTo>
                  <a:pt x="2385313" y="0"/>
                </a:lnTo>
                <a:cubicBezTo>
                  <a:pt x="2544095" y="0"/>
                  <a:pt x="2672808" y="121864"/>
                  <a:pt x="2672808" y="272193"/>
                </a:cubicBezTo>
                <a:lnTo>
                  <a:pt x="2672808" y="3039735"/>
                </a:lnTo>
                <a:lnTo>
                  <a:pt x="0" y="3039735"/>
                </a:lnTo>
                <a:lnTo>
                  <a:pt x="0" y="272193"/>
                </a:lnTo>
                <a:cubicBezTo>
                  <a:pt x="0" y="121864"/>
                  <a:pt x="128714" y="0"/>
                  <a:pt x="287495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1657923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6036345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DAE6C28-A080-4420-92C4-3AC673E4DAE1}"/>
              </a:ext>
            </a:extLst>
          </p:cNvPr>
          <p:cNvSpPr/>
          <p:nvPr userDrawn="1"/>
        </p:nvSpPr>
        <p:spPr>
          <a:xfrm>
            <a:off x="0" y="2253343"/>
            <a:ext cx="12192000" cy="2351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10">
            <a:extLst>
              <a:ext uri="{FF2B5EF4-FFF2-40B4-BE49-F238E27FC236}">
                <a16:creationId xmlns:a16="http://schemas.microsoft.com/office/drawing/2014/main" xmlns="" id="{DA6378AF-10CF-415A-9A2B-A4DF0CDD2A8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88571" y="1580606"/>
            <a:ext cx="9945150" cy="3696788"/>
          </a:xfrm>
          <a:custGeom>
            <a:avLst/>
            <a:gdLst>
              <a:gd name="connsiteX0" fmla="*/ 8797786 w 9945150"/>
              <a:gd name="connsiteY0" fmla="*/ 343988 h 3696788"/>
              <a:gd name="connsiteX1" fmla="*/ 9945150 w 9945150"/>
              <a:gd name="connsiteY1" fmla="*/ 343988 h 3696788"/>
              <a:gd name="connsiteX2" fmla="*/ 8854411 w 9945150"/>
              <a:gd name="connsiteY2" fmla="*/ 3696788 h 3696788"/>
              <a:gd name="connsiteX3" fmla="*/ 7707047 w 9945150"/>
              <a:gd name="connsiteY3" fmla="*/ 3696788 h 3696788"/>
              <a:gd name="connsiteX4" fmla="*/ 6228770 w 9945150"/>
              <a:gd name="connsiteY4" fmla="*/ 343988 h 3696788"/>
              <a:gd name="connsiteX5" fmla="*/ 7376134 w 9945150"/>
              <a:gd name="connsiteY5" fmla="*/ 343988 h 3696788"/>
              <a:gd name="connsiteX6" fmla="*/ 6285395 w 9945150"/>
              <a:gd name="connsiteY6" fmla="*/ 3696788 h 3696788"/>
              <a:gd name="connsiteX7" fmla="*/ 5138031 w 9945150"/>
              <a:gd name="connsiteY7" fmla="*/ 3696788 h 3696788"/>
              <a:gd name="connsiteX8" fmla="*/ 3659754 w 9945150"/>
              <a:gd name="connsiteY8" fmla="*/ 343988 h 3696788"/>
              <a:gd name="connsiteX9" fmla="*/ 4807118 w 9945150"/>
              <a:gd name="connsiteY9" fmla="*/ 343988 h 3696788"/>
              <a:gd name="connsiteX10" fmla="*/ 3716379 w 9945150"/>
              <a:gd name="connsiteY10" fmla="*/ 3696788 h 3696788"/>
              <a:gd name="connsiteX11" fmla="*/ 2569016 w 9945150"/>
              <a:gd name="connsiteY11" fmla="*/ 3696788 h 3696788"/>
              <a:gd name="connsiteX12" fmla="*/ 1090739 w 9945150"/>
              <a:gd name="connsiteY12" fmla="*/ 343988 h 3696788"/>
              <a:gd name="connsiteX13" fmla="*/ 2238103 w 9945150"/>
              <a:gd name="connsiteY13" fmla="*/ 343988 h 3696788"/>
              <a:gd name="connsiteX14" fmla="*/ 1147364 w 9945150"/>
              <a:gd name="connsiteY14" fmla="*/ 3696788 h 3696788"/>
              <a:gd name="connsiteX15" fmla="*/ 0 w 9945150"/>
              <a:gd name="connsiteY15" fmla="*/ 3696788 h 3696788"/>
              <a:gd name="connsiteX16" fmla="*/ 7635204 w 9945150"/>
              <a:gd name="connsiteY16" fmla="*/ 0 h 3696788"/>
              <a:gd name="connsiteX17" fmla="*/ 8782568 w 9945150"/>
              <a:gd name="connsiteY17" fmla="*/ 0 h 3696788"/>
              <a:gd name="connsiteX18" fmla="*/ 7691829 w 9945150"/>
              <a:gd name="connsiteY18" fmla="*/ 3352800 h 3696788"/>
              <a:gd name="connsiteX19" fmla="*/ 6544465 w 9945150"/>
              <a:gd name="connsiteY19" fmla="*/ 3352800 h 3696788"/>
              <a:gd name="connsiteX20" fmla="*/ 5066188 w 9945150"/>
              <a:gd name="connsiteY20" fmla="*/ 0 h 3696788"/>
              <a:gd name="connsiteX21" fmla="*/ 6213552 w 9945150"/>
              <a:gd name="connsiteY21" fmla="*/ 0 h 3696788"/>
              <a:gd name="connsiteX22" fmla="*/ 5122813 w 9945150"/>
              <a:gd name="connsiteY22" fmla="*/ 3352800 h 3696788"/>
              <a:gd name="connsiteX23" fmla="*/ 3975449 w 9945150"/>
              <a:gd name="connsiteY23" fmla="*/ 3352800 h 3696788"/>
              <a:gd name="connsiteX24" fmla="*/ 2497173 w 9945150"/>
              <a:gd name="connsiteY24" fmla="*/ 0 h 3696788"/>
              <a:gd name="connsiteX25" fmla="*/ 3644536 w 9945150"/>
              <a:gd name="connsiteY25" fmla="*/ 0 h 3696788"/>
              <a:gd name="connsiteX26" fmla="*/ 2553798 w 9945150"/>
              <a:gd name="connsiteY26" fmla="*/ 3352800 h 3696788"/>
              <a:gd name="connsiteX27" fmla="*/ 1406434 w 9945150"/>
              <a:gd name="connsiteY27" fmla="*/ 3352800 h 3696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9945150" h="3696788">
                <a:moveTo>
                  <a:pt x="8797786" y="343988"/>
                </a:moveTo>
                <a:lnTo>
                  <a:pt x="9945150" y="343988"/>
                </a:lnTo>
                <a:lnTo>
                  <a:pt x="8854411" y="3696788"/>
                </a:lnTo>
                <a:lnTo>
                  <a:pt x="7707047" y="3696788"/>
                </a:lnTo>
                <a:close/>
                <a:moveTo>
                  <a:pt x="6228770" y="343988"/>
                </a:moveTo>
                <a:lnTo>
                  <a:pt x="7376134" y="343988"/>
                </a:lnTo>
                <a:lnTo>
                  <a:pt x="6285395" y="3696788"/>
                </a:lnTo>
                <a:lnTo>
                  <a:pt x="5138031" y="3696788"/>
                </a:lnTo>
                <a:close/>
                <a:moveTo>
                  <a:pt x="3659754" y="343988"/>
                </a:moveTo>
                <a:lnTo>
                  <a:pt x="4807118" y="343988"/>
                </a:lnTo>
                <a:lnTo>
                  <a:pt x="3716379" y="3696788"/>
                </a:lnTo>
                <a:lnTo>
                  <a:pt x="2569016" y="3696788"/>
                </a:lnTo>
                <a:close/>
                <a:moveTo>
                  <a:pt x="1090739" y="343988"/>
                </a:moveTo>
                <a:lnTo>
                  <a:pt x="2238103" y="343988"/>
                </a:lnTo>
                <a:lnTo>
                  <a:pt x="1147364" y="3696788"/>
                </a:lnTo>
                <a:lnTo>
                  <a:pt x="0" y="3696788"/>
                </a:lnTo>
                <a:close/>
                <a:moveTo>
                  <a:pt x="7635204" y="0"/>
                </a:moveTo>
                <a:lnTo>
                  <a:pt x="8782568" y="0"/>
                </a:lnTo>
                <a:lnTo>
                  <a:pt x="7691829" y="3352800"/>
                </a:lnTo>
                <a:lnTo>
                  <a:pt x="6544465" y="3352800"/>
                </a:lnTo>
                <a:close/>
                <a:moveTo>
                  <a:pt x="5066188" y="0"/>
                </a:moveTo>
                <a:lnTo>
                  <a:pt x="6213552" y="0"/>
                </a:lnTo>
                <a:lnTo>
                  <a:pt x="5122813" y="3352800"/>
                </a:lnTo>
                <a:lnTo>
                  <a:pt x="3975449" y="3352800"/>
                </a:lnTo>
                <a:close/>
                <a:moveTo>
                  <a:pt x="2497173" y="0"/>
                </a:moveTo>
                <a:lnTo>
                  <a:pt x="3644536" y="0"/>
                </a:lnTo>
                <a:lnTo>
                  <a:pt x="2553798" y="3352800"/>
                </a:lnTo>
                <a:lnTo>
                  <a:pt x="1406434" y="33528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551168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672387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5166701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18638495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155853352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2429632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4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44639275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605898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CE7E3DCA-86D6-4FDC-8410-483D394E8838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903131" y="1820285"/>
            <a:ext cx="2496277" cy="42343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365FC983-D283-482C-B524-538143538611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525365" y="1820285"/>
            <a:ext cx="2496277" cy="42343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xmlns="" id="{13196244-BBC5-47C6-86F5-9A396A60583E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147599" y="1820285"/>
            <a:ext cx="2496277" cy="42343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AC78498C-F5F8-48D1-B226-3366F9FA0B4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769832" y="1820285"/>
            <a:ext cx="2496277" cy="423436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65700549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13">
            <a:extLst>
              <a:ext uri="{FF2B5EF4-FFF2-40B4-BE49-F238E27FC236}">
                <a16:creationId xmlns:a16="http://schemas.microsoft.com/office/drawing/2014/main" xmlns="" id="{A695027E-AB95-49DD-8397-858A506841D3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661437" y="0"/>
            <a:ext cx="6530564" cy="6858000"/>
          </a:xfrm>
          <a:custGeom>
            <a:avLst/>
            <a:gdLst>
              <a:gd name="connsiteX0" fmla="*/ 4044771 w 6530564"/>
              <a:gd name="connsiteY0" fmla="*/ 6093451 h 6858000"/>
              <a:gd name="connsiteX1" fmla="*/ 4045742 w 6530564"/>
              <a:gd name="connsiteY1" fmla="*/ 6095312 h 6858000"/>
              <a:gd name="connsiteX2" fmla="*/ 4035428 w 6530564"/>
              <a:gd name="connsiteY2" fmla="*/ 6095447 h 6858000"/>
              <a:gd name="connsiteX3" fmla="*/ 4044771 w 6530564"/>
              <a:gd name="connsiteY3" fmla="*/ 6093451 h 6858000"/>
              <a:gd name="connsiteX4" fmla="*/ 4313376 w 6530564"/>
              <a:gd name="connsiteY4" fmla="*/ 6001876 h 6858000"/>
              <a:gd name="connsiteX5" fmla="*/ 4333057 w 6530564"/>
              <a:gd name="connsiteY5" fmla="*/ 6002555 h 6858000"/>
              <a:gd name="connsiteX6" fmla="*/ 4334056 w 6530564"/>
              <a:gd name="connsiteY6" fmla="*/ 6007226 h 6858000"/>
              <a:gd name="connsiteX7" fmla="*/ 4335053 w 6530564"/>
              <a:gd name="connsiteY7" fmla="*/ 6011898 h 6858000"/>
              <a:gd name="connsiteX8" fmla="*/ 4253651 w 6530564"/>
              <a:gd name="connsiteY8" fmla="*/ 6019520 h 6858000"/>
              <a:gd name="connsiteX9" fmla="*/ 4308706 w 6530564"/>
              <a:gd name="connsiteY9" fmla="*/ 6002875 h 6858000"/>
              <a:gd name="connsiteX10" fmla="*/ 4371425 w 6530564"/>
              <a:gd name="connsiteY10" fmla="*/ 5999243 h 6858000"/>
              <a:gd name="connsiteX11" fmla="*/ 4381959 w 6530564"/>
              <a:gd name="connsiteY11" fmla="*/ 5999606 h 6858000"/>
              <a:gd name="connsiteX12" fmla="*/ 4343399 w 6530564"/>
              <a:gd name="connsiteY12" fmla="*/ 6005230 h 6858000"/>
              <a:gd name="connsiteX13" fmla="*/ 4348069 w 6530564"/>
              <a:gd name="connsiteY13" fmla="*/ 6004231 h 6858000"/>
              <a:gd name="connsiteX14" fmla="*/ 4352740 w 6530564"/>
              <a:gd name="connsiteY14" fmla="*/ 6003234 h 6858000"/>
              <a:gd name="connsiteX15" fmla="*/ 4371425 w 6530564"/>
              <a:gd name="connsiteY15" fmla="*/ 5999243 h 6858000"/>
              <a:gd name="connsiteX16" fmla="*/ 5313770 w 6530564"/>
              <a:gd name="connsiteY16" fmla="*/ 5992063 h 6858000"/>
              <a:gd name="connsiteX17" fmla="*/ 5303509 w 6530564"/>
              <a:gd name="connsiteY17" fmla="*/ 5995476 h 6858000"/>
              <a:gd name="connsiteX18" fmla="*/ 5304507 w 6530564"/>
              <a:gd name="connsiteY18" fmla="*/ 6000145 h 6858000"/>
              <a:gd name="connsiteX19" fmla="*/ 5254793 w 6530564"/>
              <a:gd name="connsiteY19" fmla="*/ 6024769 h 6858000"/>
              <a:gd name="connsiteX20" fmla="*/ 5317025 w 6530564"/>
              <a:gd name="connsiteY20" fmla="*/ 5995549 h 6858000"/>
              <a:gd name="connsiteX21" fmla="*/ 4434660 w 6530564"/>
              <a:gd name="connsiteY21" fmla="*/ 5991919 h 6858000"/>
              <a:gd name="connsiteX22" fmla="*/ 4395777 w 6530564"/>
              <a:gd name="connsiteY22" fmla="*/ 5998924 h 6858000"/>
              <a:gd name="connsiteX23" fmla="*/ 4391107 w 6530564"/>
              <a:gd name="connsiteY23" fmla="*/ 5999922 h 6858000"/>
              <a:gd name="connsiteX24" fmla="*/ 4381959 w 6530564"/>
              <a:gd name="connsiteY24" fmla="*/ 5999606 h 6858000"/>
              <a:gd name="connsiteX25" fmla="*/ 5563150 w 6530564"/>
              <a:gd name="connsiteY25" fmla="*/ 5743821 h 6858000"/>
              <a:gd name="connsiteX26" fmla="*/ 5562539 w 6530564"/>
              <a:gd name="connsiteY26" fmla="*/ 5744767 h 6858000"/>
              <a:gd name="connsiteX27" fmla="*/ 5557868 w 6530564"/>
              <a:gd name="connsiteY27" fmla="*/ 5745764 h 6858000"/>
              <a:gd name="connsiteX28" fmla="*/ 2418715 w 6530564"/>
              <a:gd name="connsiteY28" fmla="*/ 5683798 h 6858000"/>
              <a:gd name="connsiteX29" fmla="*/ 2423109 w 6530564"/>
              <a:gd name="connsiteY29" fmla="*/ 5687744 h 6858000"/>
              <a:gd name="connsiteX30" fmla="*/ 2419712 w 6530564"/>
              <a:gd name="connsiteY30" fmla="*/ 5688470 h 6858000"/>
              <a:gd name="connsiteX31" fmla="*/ 2418715 w 6530564"/>
              <a:gd name="connsiteY31" fmla="*/ 5683798 h 6858000"/>
              <a:gd name="connsiteX32" fmla="*/ 5855983 w 6530564"/>
              <a:gd name="connsiteY32" fmla="*/ 5403674 h 6858000"/>
              <a:gd name="connsiteX33" fmla="*/ 5851753 w 6530564"/>
              <a:gd name="connsiteY33" fmla="*/ 5406742 h 6858000"/>
              <a:gd name="connsiteX34" fmla="*/ 5851313 w 6530564"/>
              <a:gd name="connsiteY34" fmla="*/ 5404671 h 6858000"/>
              <a:gd name="connsiteX35" fmla="*/ 5855983 w 6530564"/>
              <a:gd name="connsiteY35" fmla="*/ 5403674 h 6858000"/>
              <a:gd name="connsiteX36" fmla="*/ 4512474 w 6530564"/>
              <a:gd name="connsiteY36" fmla="*/ 5165146 h 6858000"/>
              <a:gd name="connsiteX37" fmla="*/ 4513179 w 6530564"/>
              <a:gd name="connsiteY37" fmla="*/ 5165335 h 6858000"/>
              <a:gd name="connsiteX38" fmla="*/ 4508315 w 6530564"/>
              <a:gd name="connsiteY38" fmla="*/ 5167547 h 6858000"/>
              <a:gd name="connsiteX39" fmla="*/ 4512474 w 6530564"/>
              <a:gd name="connsiteY39" fmla="*/ 5165146 h 6858000"/>
              <a:gd name="connsiteX40" fmla="*/ 4373541 w 6530564"/>
              <a:gd name="connsiteY40" fmla="*/ 5128612 h 6858000"/>
              <a:gd name="connsiteX41" fmla="*/ 4362165 w 6530564"/>
              <a:gd name="connsiteY41" fmla="*/ 5131201 h 6858000"/>
              <a:gd name="connsiteX42" fmla="*/ 4370545 w 6530564"/>
              <a:gd name="connsiteY42" fmla="*/ 5130631 h 6858000"/>
              <a:gd name="connsiteX43" fmla="*/ 3626785 w 6530564"/>
              <a:gd name="connsiteY43" fmla="*/ 5124711 h 6858000"/>
              <a:gd name="connsiteX44" fmla="*/ 3639907 w 6530564"/>
              <a:gd name="connsiteY44" fmla="*/ 5128227 h 6858000"/>
              <a:gd name="connsiteX45" fmla="*/ 3629186 w 6530564"/>
              <a:gd name="connsiteY45" fmla="*/ 5128871 h 6858000"/>
              <a:gd name="connsiteX46" fmla="*/ 3625905 w 6530564"/>
              <a:gd name="connsiteY46" fmla="*/ 5127992 h 6858000"/>
              <a:gd name="connsiteX47" fmla="*/ 3622627 w 6530564"/>
              <a:gd name="connsiteY47" fmla="*/ 5127114 h 6858000"/>
              <a:gd name="connsiteX48" fmla="*/ 3619346 w 6530564"/>
              <a:gd name="connsiteY48" fmla="*/ 5126234 h 6858000"/>
              <a:gd name="connsiteX49" fmla="*/ 3626785 w 6530564"/>
              <a:gd name="connsiteY49" fmla="*/ 5124711 h 6858000"/>
              <a:gd name="connsiteX50" fmla="*/ 3360612 w 6530564"/>
              <a:gd name="connsiteY50" fmla="*/ 5081517 h 6858000"/>
              <a:gd name="connsiteX51" fmla="*/ 3363892 w 6530564"/>
              <a:gd name="connsiteY51" fmla="*/ 5082396 h 6858000"/>
              <a:gd name="connsiteX52" fmla="*/ 3359734 w 6530564"/>
              <a:gd name="connsiteY52" fmla="*/ 5084797 h 6858000"/>
              <a:gd name="connsiteX53" fmla="*/ 3360612 w 6530564"/>
              <a:gd name="connsiteY53" fmla="*/ 5081517 h 6858000"/>
              <a:gd name="connsiteX54" fmla="*/ 3200777 w 6530564"/>
              <a:gd name="connsiteY54" fmla="*/ 5049024 h 6858000"/>
              <a:gd name="connsiteX55" fmla="*/ 3203804 w 6530564"/>
              <a:gd name="connsiteY55" fmla="*/ 5050048 h 6858000"/>
              <a:gd name="connsiteX56" fmla="*/ 3200523 w 6530564"/>
              <a:gd name="connsiteY56" fmla="*/ 5049169 h 6858000"/>
              <a:gd name="connsiteX57" fmla="*/ 3219693 w 6530564"/>
              <a:gd name="connsiteY57" fmla="*/ 5047769 h 6858000"/>
              <a:gd name="connsiteX58" fmla="*/ 3228523 w 6530564"/>
              <a:gd name="connsiteY58" fmla="*/ 5049640 h 6858000"/>
              <a:gd name="connsiteX59" fmla="*/ 3230924 w 6530564"/>
              <a:gd name="connsiteY59" fmla="*/ 5053799 h 6858000"/>
              <a:gd name="connsiteX60" fmla="*/ 3234205 w 6530564"/>
              <a:gd name="connsiteY60" fmla="*/ 5054678 h 6858000"/>
              <a:gd name="connsiteX61" fmla="*/ 3236606 w 6530564"/>
              <a:gd name="connsiteY61" fmla="*/ 5058838 h 6858000"/>
              <a:gd name="connsiteX62" fmla="*/ 3239886 w 6530564"/>
              <a:gd name="connsiteY62" fmla="*/ 5059716 h 6858000"/>
              <a:gd name="connsiteX63" fmla="*/ 3240766 w 6530564"/>
              <a:gd name="connsiteY63" fmla="*/ 5056436 h 6858000"/>
              <a:gd name="connsiteX64" fmla="*/ 3267886 w 6530564"/>
              <a:gd name="connsiteY64" fmla="*/ 5060188 h 6858000"/>
              <a:gd name="connsiteX65" fmla="*/ 3267006 w 6530564"/>
              <a:gd name="connsiteY65" fmla="*/ 5063467 h 6858000"/>
              <a:gd name="connsiteX66" fmla="*/ 3273569 w 6530564"/>
              <a:gd name="connsiteY66" fmla="*/ 5065226 h 6858000"/>
              <a:gd name="connsiteX67" fmla="*/ 3276848 w 6530564"/>
              <a:gd name="connsiteY67" fmla="*/ 5066104 h 6858000"/>
              <a:gd name="connsiteX68" fmla="*/ 3308771 w 6530564"/>
              <a:gd name="connsiteY68" fmla="*/ 5078174 h 6858000"/>
              <a:gd name="connsiteX69" fmla="*/ 3309651 w 6530564"/>
              <a:gd name="connsiteY69" fmla="*/ 5074894 h 6858000"/>
              <a:gd name="connsiteX70" fmla="*/ 3312052 w 6530564"/>
              <a:gd name="connsiteY70" fmla="*/ 5079053 h 6858000"/>
              <a:gd name="connsiteX71" fmla="*/ 3316211 w 6530564"/>
              <a:gd name="connsiteY71" fmla="*/ 5076651 h 6858000"/>
              <a:gd name="connsiteX72" fmla="*/ 3335893 w 6530564"/>
              <a:gd name="connsiteY72" fmla="*/ 5081925 h 6858000"/>
              <a:gd name="connsiteX73" fmla="*/ 3346612 w 6530564"/>
              <a:gd name="connsiteY73" fmla="*/ 5081283 h 6858000"/>
              <a:gd name="connsiteX74" fmla="*/ 3349015 w 6530564"/>
              <a:gd name="connsiteY74" fmla="*/ 5085441 h 6858000"/>
              <a:gd name="connsiteX75" fmla="*/ 3354053 w 6530564"/>
              <a:gd name="connsiteY75" fmla="*/ 5079760 h 6858000"/>
              <a:gd name="connsiteX76" fmla="*/ 3353173 w 6530564"/>
              <a:gd name="connsiteY76" fmla="*/ 5083040 h 6858000"/>
              <a:gd name="connsiteX77" fmla="*/ 3356453 w 6530564"/>
              <a:gd name="connsiteY77" fmla="*/ 5083919 h 6858000"/>
              <a:gd name="connsiteX78" fmla="*/ 3359734 w 6530564"/>
              <a:gd name="connsiteY78" fmla="*/ 5084797 h 6858000"/>
              <a:gd name="connsiteX79" fmla="*/ 3363013 w 6530564"/>
              <a:gd name="connsiteY79" fmla="*/ 5085677 h 6858000"/>
              <a:gd name="connsiteX80" fmla="*/ 3366295 w 6530564"/>
              <a:gd name="connsiteY80" fmla="*/ 5086556 h 6858000"/>
              <a:gd name="connsiteX81" fmla="*/ 3371975 w 6530564"/>
              <a:gd name="connsiteY81" fmla="*/ 5091594 h 6858000"/>
              <a:gd name="connsiteX82" fmla="*/ 3379415 w 6530564"/>
              <a:gd name="connsiteY82" fmla="*/ 5090071 h 6858000"/>
              <a:gd name="connsiteX83" fmla="*/ 3398218 w 6530564"/>
              <a:gd name="connsiteY83" fmla="*/ 5098625 h 6858000"/>
              <a:gd name="connsiteX84" fmla="*/ 3338294 w 6530564"/>
              <a:gd name="connsiteY84" fmla="*/ 5086085 h 6858000"/>
              <a:gd name="connsiteX85" fmla="*/ 3309415 w 6530564"/>
              <a:gd name="connsiteY85" fmla="*/ 5088893 h 6858000"/>
              <a:gd name="connsiteX86" fmla="*/ 3275734 w 6530564"/>
              <a:gd name="connsiteY86" fmla="*/ 5083385 h 6858000"/>
              <a:gd name="connsiteX87" fmla="*/ 3221727 w 6530564"/>
              <a:gd name="connsiteY87" fmla="*/ 5061883 h 6858000"/>
              <a:gd name="connsiteX88" fmla="*/ 3225887 w 6530564"/>
              <a:gd name="connsiteY88" fmla="*/ 5059480 h 6858000"/>
              <a:gd name="connsiteX89" fmla="*/ 3222606 w 6530564"/>
              <a:gd name="connsiteY89" fmla="*/ 5058602 h 6858000"/>
              <a:gd name="connsiteX90" fmla="*/ 3210364 w 6530564"/>
              <a:gd name="connsiteY90" fmla="*/ 5051805 h 6858000"/>
              <a:gd name="connsiteX91" fmla="*/ 3207083 w 6530564"/>
              <a:gd name="connsiteY91" fmla="*/ 5050927 h 6858000"/>
              <a:gd name="connsiteX92" fmla="*/ 3207921 w 6530564"/>
              <a:gd name="connsiteY92" fmla="*/ 5047800 h 6858000"/>
              <a:gd name="connsiteX93" fmla="*/ 3213235 w 6530564"/>
              <a:gd name="connsiteY93" fmla="*/ 5049498 h 6858000"/>
              <a:gd name="connsiteX94" fmla="*/ 3219693 w 6530564"/>
              <a:gd name="connsiteY94" fmla="*/ 5047769 h 6858000"/>
              <a:gd name="connsiteX95" fmla="*/ 3204682 w 6530564"/>
              <a:gd name="connsiteY95" fmla="*/ 5046768 h 6858000"/>
              <a:gd name="connsiteX96" fmla="*/ 3207964 w 6530564"/>
              <a:gd name="connsiteY96" fmla="*/ 5047647 h 6858000"/>
              <a:gd name="connsiteX97" fmla="*/ 3207921 w 6530564"/>
              <a:gd name="connsiteY97" fmla="*/ 5047800 h 6858000"/>
              <a:gd name="connsiteX98" fmla="*/ 1727225 w 6530564"/>
              <a:gd name="connsiteY98" fmla="*/ 5030520 h 6858000"/>
              <a:gd name="connsiteX99" fmla="*/ 1725536 w 6530564"/>
              <a:gd name="connsiteY99" fmla="*/ 5030881 h 6858000"/>
              <a:gd name="connsiteX100" fmla="*/ 1727974 w 6530564"/>
              <a:gd name="connsiteY100" fmla="*/ 5034027 h 6858000"/>
              <a:gd name="connsiteX101" fmla="*/ 4899046 w 6530564"/>
              <a:gd name="connsiteY101" fmla="*/ 4955822 h 6858000"/>
              <a:gd name="connsiteX102" fmla="*/ 4902327 w 6530564"/>
              <a:gd name="connsiteY102" fmla="*/ 4956701 h 6858000"/>
              <a:gd name="connsiteX103" fmla="*/ 4898167 w 6530564"/>
              <a:gd name="connsiteY103" fmla="*/ 4959102 h 6858000"/>
              <a:gd name="connsiteX104" fmla="*/ 4899046 w 6530564"/>
              <a:gd name="connsiteY104" fmla="*/ 4955822 h 6858000"/>
              <a:gd name="connsiteX105" fmla="*/ 4909765 w 6530564"/>
              <a:gd name="connsiteY105" fmla="*/ 4955178 h 6858000"/>
              <a:gd name="connsiteX106" fmla="*/ 4908886 w 6530564"/>
              <a:gd name="connsiteY106" fmla="*/ 4958459 h 6858000"/>
              <a:gd name="connsiteX107" fmla="*/ 4904727 w 6530564"/>
              <a:gd name="connsiteY107" fmla="*/ 4960860 h 6858000"/>
              <a:gd name="connsiteX108" fmla="*/ 4886804 w 6530564"/>
              <a:gd name="connsiteY108" fmla="*/ 4949025 h 6858000"/>
              <a:gd name="connsiteX109" fmla="*/ 4885925 w 6530564"/>
              <a:gd name="connsiteY109" fmla="*/ 4952305 h 6858000"/>
              <a:gd name="connsiteX110" fmla="*/ 4882645 w 6530564"/>
              <a:gd name="connsiteY110" fmla="*/ 4951427 h 6858000"/>
              <a:gd name="connsiteX111" fmla="*/ 4886804 w 6530564"/>
              <a:gd name="connsiteY111" fmla="*/ 4949025 h 6858000"/>
              <a:gd name="connsiteX112" fmla="*/ 1904088 w 6530564"/>
              <a:gd name="connsiteY112" fmla="*/ 4943893 h 6858000"/>
              <a:gd name="connsiteX113" fmla="*/ 1909757 w 6530564"/>
              <a:gd name="connsiteY113" fmla="*/ 4947566 h 6858000"/>
              <a:gd name="connsiteX114" fmla="*/ 1905087 w 6530564"/>
              <a:gd name="connsiteY114" fmla="*/ 4948563 h 6858000"/>
              <a:gd name="connsiteX115" fmla="*/ 4977467 w 6530564"/>
              <a:gd name="connsiteY115" fmla="*/ 4879455 h 6858000"/>
              <a:gd name="connsiteX116" fmla="*/ 4858971 w 6530564"/>
              <a:gd name="connsiteY116" fmla="*/ 4948076 h 6858000"/>
              <a:gd name="connsiteX117" fmla="*/ 4660094 w 6530564"/>
              <a:gd name="connsiteY117" fmla="*/ 5042804 h 6858000"/>
              <a:gd name="connsiteX118" fmla="*/ 4444457 w 6530564"/>
              <a:gd name="connsiteY118" fmla="*/ 5112467 h 6858000"/>
              <a:gd name="connsiteX119" fmla="*/ 4389558 w 6530564"/>
              <a:gd name="connsiteY119" fmla="*/ 5124965 h 6858000"/>
              <a:gd name="connsiteX120" fmla="*/ 4383717 w 6530564"/>
              <a:gd name="connsiteY120" fmla="*/ 5128009 h 6858000"/>
              <a:gd name="connsiteX121" fmla="*/ 4343187 w 6530564"/>
              <a:gd name="connsiteY121" fmla="*/ 5140882 h 6858000"/>
              <a:gd name="connsiteX122" fmla="*/ 4339907 w 6530564"/>
              <a:gd name="connsiteY122" fmla="*/ 5140002 h 6858000"/>
              <a:gd name="connsiteX123" fmla="*/ 4336627 w 6530564"/>
              <a:gd name="connsiteY123" fmla="*/ 5139123 h 6858000"/>
              <a:gd name="connsiteX124" fmla="*/ 4335748 w 6530564"/>
              <a:gd name="connsiteY124" fmla="*/ 5142403 h 6858000"/>
              <a:gd name="connsiteX125" fmla="*/ 4317590 w 6530564"/>
              <a:gd name="connsiteY125" fmla="*/ 5144570 h 6858000"/>
              <a:gd name="connsiteX126" fmla="*/ 4314308 w 6530564"/>
              <a:gd name="connsiteY126" fmla="*/ 5143691 h 6858000"/>
              <a:gd name="connsiteX127" fmla="*/ 4310149 w 6530564"/>
              <a:gd name="connsiteY127" fmla="*/ 5146092 h 6858000"/>
              <a:gd name="connsiteX128" fmla="*/ 4313430 w 6530564"/>
              <a:gd name="connsiteY128" fmla="*/ 5146971 h 6858000"/>
              <a:gd name="connsiteX129" fmla="*/ 4271193 w 6530564"/>
              <a:gd name="connsiteY129" fmla="*/ 5160265 h 6858000"/>
              <a:gd name="connsiteX130" fmla="*/ 4272073 w 6530564"/>
              <a:gd name="connsiteY130" fmla="*/ 5156984 h 6858000"/>
              <a:gd name="connsiteX131" fmla="*/ 4268793 w 6530564"/>
              <a:gd name="connsiteY131" fmla="*/ 5156105 h 6858000"/>
              <a:gd name="connsiteX132" fmla="*/ 4264633 w 6530564"/>
              <a:gd name="connsiteY132" fmla="*/ 5158507 h 6858000"/>
              <a:gd name="connsiteX133" fmla="*/ 4263755 w 6530564"/>
              <a:gd name="connsiteY133" fmla="*/ 5161788 h 6858000"/>
              <a:gd name="connsiteX134" fmla="*/ 4260474 w 6530564"/>
              <a:gd name="connsiteY134" fmla="*/ 5160908 h 6858000"/>
              <a:gd name="connsiteX135" fmla="*/ 4239034 w 6530564"/>
              <a:gd name="connsiteY135" fmla="*/ 5162195 h 6858000"/>
              <a:gd name="connsiteX136" fmla="*/ 4233996 w 6530564"/>
              <a:gd name="connsiteY136" fmla="*/ 5167877 h 6858000"/>
              <a:gd name="connsiteX137" fmla="*/ 4226557 w 6530564"/>
              <a:gd name="connsiteY137" fmla="*/ 5169398 h 6858000"/>
              <a:gd name="connsiteX138" fmla="*/ 4224157 w 6530564"/>
              <a:gd name="connsiteY138" fmla="*/ 5165240 h 6858000"/>
              <a:gd name="connsiteX139" fmla="*/ 4219997 w 6530564"/>
              <a:gd name="connsiteY139" fmla="*/ 5167641 h 6858000"/>
              <a:gd name="connsiteX140" fmla="*/ 4215837 w 6530564"/>
              <a:gd name="connsiteY140" fmla="*/ 5170042 h 6858000"/>
              <a:gd name="connsiteX141" fmla="*/ 4181921 w 6530564"/>
              <a:gd name="connsiteY141" fmla="*/ 5178534 h 6858000"/>
              <a:gd name="connsiteX142" fmla="*/ 4195921 w 6530564"/>
              <a:gd name="connsiteY142" fmla="*/ 5178768 h 6858000"/>
              <a:gd name="connsiteX143" fmla="*/ 4211678 w 6530564"/>
              <a:gd name="connsiteY143" fmla="*/ 5172443 h 6858000"/>
              <a:gd name="connsiteX144" fmla="*/ 4214959 w 6530564"/>
              <a:gd name="connsiteY144" fmla="*/ 5173322 h 6858000"/>
              <a:gd name="connsiteX145" fmla="*/ 4218239 w 6530564"/>
              <a:gd name="connsiteY145" fmla="*/ 5174202 h 6858000"/>
              <a:gd name="connsiteX146" fmla="*/ 4225678 w 6530564"/>
              <a:gd name="connsiteY146" fmla="*/ 5172679 h 6858000"/>
              <a:gd name="connsiteX147" fmla="*/ 4256315 w 6530564"/>
              <a:gd name="connsiteY147" fmla="*/ 5163309 h 6858000"/>
              <a:gd name="connsiteX148" fmla="*/ 4262875 w 6530564"/>
              <a:gd name="connsiteY148" fmla="*/ 5165067 h 6858000"/>
              <a:gd name="connsiteX149" fmla="*/ 4266157 w 6530564"/>
              <a:gd name="connsiteY149" fmla="*/ 5165946 h 6858000"/>
              <a:gd name="connsiteX150" fmla="*/ 4272717 w 6530564"/>
              <a:gd name="connsiteY150" fmla="*/ 5167703 h 6858000"/>
              <a:gd name="connsiteX151" fmla="*/ 4273595 w 6530564"/>
              <a:gd name="connsiteY151" fmla="*/ 5164424 h 6858000"/>
              <a:gd name="connsiteX152" fmla="*/ 4274474 w 6530564"/>
              <a:gd name="connsiteY152" fmla="*/ 5161144 h 6858000"/>
              <a:gd name="connsiteX153" fmla="*/ 4290233 w 6530564"/>
              <a:gd name="connsiteY153" fmla="*/ 5154819 h 6858000"/>
              <a:gd name="connsiteX154" fmla="*/ 4312551 w 6530564"/>
              <a:gd name="connsiteY154" fmla="*/ 5150251 h 6858000"/>
              <a:gd name="connsiteX155" fmla="*/ 4315831 w 6530564"/>
              <a:gd name="connsiteY155" fmla="*/ 5151131 h 6858000"/>
              <a:gd name="connsiteX156" fmla="*/ 4319110 w 6530564"/>
              <a:gd name="connsiteY156" fmla="*/ 5152009 h 6858000"/>
              <a:gd name="connsiteX157" fmla="*/ 4334869 w 6530564"/>
              <a:gd name="connsiteY157" fmla="*/ 5145684 h 6858000"/>
              <a:gd name="connsiteX158" fmla="*/ 4330709 w 6530564"/>
              <a:gd name="connsiteY158" fmla="*/ 5148085 h 6858000"/>
              <a:gd name="connsiteX159" fmla="*/ 4333989 w 6530564"/>
              <a:gd name="connsiteY159" fmla="*/ 5148964 h 6858000"/>
              <a:gd name="connsiteX160" fmla="*/ 4338149 w 6530564"/>
              <a:gd name="connsiteY160" fmla="*/ 5146563 h 6858000"/>
              <a:gd name="connsiteX161" fmla="*/ 4342309 w 6530564"/>
              <a:gd name="connsiteY161" fmla="*/ 5144162 h 6858000"/>
              <a:gd name="connsiteX162" fmla="*/ 4353029 w 6530564"/>
              <a:gd name="connsiteY162" fmla="*/ 5143519 h 6858000"/>
              <a:gd name="connsiteX163" fmla="*/ 4361347 w 6530564"/>
              <a:gd name="connsiteY163" fmla="*/ 5138715 h 6858000"/>
              <a:gd name="connsiteX164" fmla="*/ 4356309 w 6530564"/>
              <a:gd name="connsiteY164" fmla="*/ 5144397 h 6858000"/>
              <a:gd name="connsiteX165" fmla="*/ 4368785 w 6530564"/>
              <a:gd name="connsiteY165" fmla="*/ 5137194 h 6858000"/>
              <a:gd name="connsiteX166" fmla="*/ 4387825 w 6530564"/>
              <a:gd name="connsiteY166" fmla="*/ 5131747 h 6858000"/>
              <a:gd name="connsiteX167" fmla="*/ 4385187 w 6530564"/>
              <a:gd name="connsiteY167" fmla="*/ 5141588 h 6858000"/>
              <a:gd name="connsiteX168" fmla="*/ 4401825 w 6530564"/>
              <a:gd name="connsiteY168" fmla="*/ 5131982 h 6858000"/>
              <a:gd name="connsiteX169" fmla="*/ 4400945 w 6530564"/>
              <a:gd name="connsiteY169" fmla="*/ 5135263 h 6858000"/>
              <a:gd name="connsiteX170" fmla="*/ 4404225 w 6530564"/>
              <a:gd name="connsiteY170" fmla="*/ 5136142 h 6858000"/>
              <a:gd name="connsiteX171" fmla="*/ 4408385 w 6530564"/>
              <a:gd name="connsiteY171" fmla="*/ 5133740 h 6858000"/>
              <a:gd name="connsiteX172" fmla="*/ 4420862 w 6530564"/>
              <a:gd name="connsiteY172" fmla="*/ 5126537 h 6858000"/>
              <a:gd name="connsiteX173" fmla="*/ 4428303 w 6530564"/>
              <a:gd name="connsiteY173" fmla="*/ 5125014 h 6858000"/>
              <a:gd name="connsiteX174" fmla="*/ 4432461 w 6530564"/>
              <a:gd name="connsiteY174" fmla="*/ 5122611 h 6858000"/>
              <a:gd name="connsiteX175" fmla="*/ 4429181 w 6530564"/>
              <a:gd name="connsiteY175" fmla="*/ 5121733 h 6858000"/>
              <a:gd name="connsiteX176" fmla="*/ 4425901 w 6530564"/>
              <a:gd name="connsiteY176" fmla="*/ 5120854 h 6858000"/>
              <a:gd name="connsiteX177" fmla="*/ 4456537 w 6530564"/>
              <a:gd name="connsiteY177" fmla="*/ 5111486 h 6858000"/>
              <a:gd name="connsiteX178" fmla="*/ 4450621 w 6530564"/>
              <a:gd name="connsiteY178" fmla="*/ 5120446 h 6858000"/>
              <a:gd name="connsiteX179" fmla="*/ 4475575 w 6530564"/>
              <a:gd name="connsiteY179" fmla="*/ 5106039 h 6858000"/>
              <a:gd name="connsiteX180" fmla="*/ 4506211 w 6530564"/>
              <a:gd name="connsiteY180" fmla="*/ 5096669 h 6858000"/>
              <a:gd name="connsiteX181" fmla="*/ 4502053 w 6530564"/>
              <a:gd name="connsiteY181" fmla="*/ 5099070 h 6858000"/>
              <a:gd name="connsiteX182" fmla="*/ 4501174 w 6530564"/>
              <a:gd name="connsiteY182" fmla="*/ 5102350 h 6858000"/>
              <a:gd name="connsiteX183" fmla="*/ 4500295 w 6530564"/>
              <a:gd name="connsiteY183" fmla="*/ 5105631 h 6858000"/>
              <a:gd name="connsiteX184" fmla="*/ 4507735 w 6530564"/>
              <a:gd name="connsiteY184" fmla="*/ 5104109 h 6858000"/>
              <a:gd name="connsiteX185" fmla="*/ 4506857 w 6530564"/>
              <a:gd name="connsiteY185" fmla="*/ 5107388 h 6858000"/>
              <a:gd name="connsiteX186" fmla="*/ 4502697 w 6530564"/>
              <a:gd name="connsiteY186" fmla="*/ 5109791 h 6858000"/>
              <a:gd name="connsiteX187" fmla="*/ 4499417 w 6530564"/>
              <a:gd name="connsiteY187" fmla="*/ 5108911 h 6858000"/>
              <a:gd name="connsiteX188" fmla="*/ 4495258 w 6530564"/>
              <a:gd name="connsiteY188" fmla="*/ 5111312 h 6858000"/>
              <a:gd name="connsiteX189" fmla="*/ 4491098 w 6530564"/>
              <a:gd name="connsiteY189" fmla="*/ 5113713 h 6858000"/>
              <a:gd name="connsiteX190" fmla="*/ 4368551 w 6530564"/>
              <a:gd name="connsiteY190" fmla="*/ 5151193 h 6858000"/>
              <a:gd name="connsiteX191" fmla="*/ 4365269 w 6530564"/>
              <a:gd name="connsiteY191" fmla="*/ 5150314 h 6858000"/>
              <a:gd name="connsiteX192" fmla="*/ 4361112 w 6530564"/>
              <a:gd name="connsiteY192" fmla="*/ 5152715 h 6858000"/>
              <a:gd name="connsiteX193" fmla="*/ 4337913 w 6530564"/>
              <a:gd name="connsiteY193" fmla="*/ 5160563 h 6858000"/>
              <a:gd name="connsiteX194" fmla="*/ 4327194 w 6530564"/>
              <a:gd name="connsiteY194" fmla="*/ 5161207 h 6858000"/>
              <a:gd name="connsiteX195" fmla="*/ 4323035 w 6530564"/>
              <a:gd name="connsiteY195" fmla="*/ 5163608 h 6858000"/>
              <a:gd name="connsiteX196" fmla="*/ 4295678 w 6530564"/>
              <a:gd name="connsiteY196" fmla="*/ 5173857 h 6858000"/>
              <a:gd name="connsiteX197" fmla="*/ 4291519 w 6530564"/>
              <a:gd name="connsiteY197" fmla="*/ 5176258 h 6858000"/>
              <a:gd name="connsiteX198" fmla="*/ 4281679 w 6530564"/>
              <a:gd name="connsiteY198" fmla="*/ 5173621 h 6858000"/>
              <a:gd name="connsiteX199" fmla="*/ 4254323 w 6530564"/>
              <a:gd name="connsiteY199" fmla="*/ 5183870 h 6858000"/>
              <a:gd name="connsiteX200" fmla="*/ 4250163 w 6530564"/>
              <a:gd name="connsiteY200" fmla="*/ 5186271 h 6858000"/>
              <a:gd name="connsiteX201" fmla="*/ 4246882 w 6530564"/>
              <a:gd name="connsiteY201" fmla="*/ 5185391 h 6858000"/>
              <a:gd name="connsiteX202" fmla="*/ 4143607 w 6530564"/>
              <a:gd name="connsiteY202" fmla="*/ 5203426 h 6858000"/>
              <a:gd name="connsiteX203" fmla="*/ 4132010 w 6530564"/>
              <a:gd name="connsiteY203" fmla="*/ 5207349 h 6858000"/>
              <a:gd name="connsiteX204" fmla="*/ 4122169 w 6530564"/>
              <a:gd name="connsiteY204" fmla="*/ 5204713 h 6858000"/>
              <a:gd name="connsiteX205" fmla="*/ 4120410 w 6530564"/>
              <a:gd name="connsiteY205" fmla="*/ 5211273 h 6858000"/>
              <a:gd name="connsiteX206" fmla="*/ 4112971 w 6530564"/>
              <a:gd name="connsiteY206" fmla="*/ 5212796 h 6858000"/>
              <a:gd name="connsiteX207" fmla="*/ 4062652 w 6530564"/>
              <a:gd name="connsiteY207" fmla="*/ 5216892 h 6858000"/>
              <a:gd name="connsiteX208" fmla="*/ 4059373 w 6530564"/>
              <a:gd name="connsiteY208" fmla="*/ 5216012 h 6858000"/>
              <a:gd name="connsiteX209" fmla="*/ 4052812 w 6530564"/>
              <a:gd name="connsiteY209" fmla="*/ 5214255 h 6858000"/>
              <a:gd name="connsiteX210" fmla="*/ 4051933 w 6530564"/>
              <a:gd name="connsiteY210" fmla="*/ 5217535 h 6858000"/>
              <a:gd name="connsiteX211" fmla="*/ 3996577 w 6530564"/>
              <a:gd name="connsiteY211" fmla="*/ 5227313 h 6858000"/>
              <a:gd name="connsiteX212" fmla="*/ 3923940 w 6530564"/>
              <a:gd name="connsiteY212" fmla="*/ 5235976 h 6858000"/>
              <a:gd name="connsiteX213" fmla="*/ 3884340 w 6530564"/>
              <a:gd name="connsiteY213" fmla="*/ 5239430 h 6858000"/>
              <a:gd name="connsiteX214" fmla="*/ 3881060 w 6530564"/>
              <a:gd name="connsiteY214" fmla="*/ 5238550 h 6858000"/>
              <a:gd name="connsiteX215" fmla="*/ 3877781 w 6530564"/>
              <a:gd name="connsiteY215" fmla="*/ 5237671 h 6858000"/>
              <a:gd name="connsiteX216" fmla="*/ 3874499 w 6530564"/>
              <a:gd name="connsiteY216" fmla="*/ 5236793 h 6858000"/>
              <a:gd name="connsiteX217" fmla="*/ 3873621 w 6530564"/>
              <a:gd name="connsiteY217" fmla="*/ 5240072 h 6858000"/>
              <a:gd name="connsiteX218" fmla="*/ 3868581 w 6530564"/>
              <a:gd name="connsiteY218" fmla="*/ 5245755 h 6858000"/>
              <a:gd name="connsiteX219" fmla="*/ 3843864 w 6530564"/>
              <a:gd name="connsiteY219" fmla="*/ 5246161 h 6858000"/>
              <a:gd name="connsiteX220" fmla="*/ 3835544 w 6530564"/>
              <a:gd name="connsiteY220" fmla="*/ 5250965 h 6858000"/>
              <a:gd name="connsiteX221" fmla="*/ 3879302 w 6530564"/>
              <a:gd name="connsiteY221" fmla="*/ 5245111 h 6858000"/>
              <a:gd name="connsiteX222" fmla="*/ 3885863 w 6530564"/>
              <a:gd name="connsiteY222" fmla="*/ 5246869 h 6858000"/>
              <a:gd name="connsiteX223" fmla="*/ 3890023 w 6530564"/>
              <a:gd name="connsiteY223" fmla="*/ 5244468 h 6858000"/>
              <a:gd name="connsiteX224" fmla="*/ 3946901 w 6530564"/>
              <a:gd name="connsiteY224" fmla="*/ 5242128 h 6858000"/>
              <a:gd name="connsiteX225" fmla="*/ 4080577 w 6530564"/>
              <a:gd name="connsiteY225" fmla="*/ 5228726 h 6858000"/>
              <a:gd name="connsiteX226" fmla="*/ 4208569 w 6530564"/>
              <a:gd name="connsiteY226" fmla="*/ 5210285 h 6858000"/>
              <a:gd name="connsiteX227" fmla="*/ 4227607 w 6530564"/>
              <a:gd name="connsiteY227" fmla="*/ 5204840 h 6858000"/>
              <a:gd name="connsiteX228" fmla="*/ 4320161 w 6530564"/>
              <a:gd name="connsiteY228" fmla="*/ 5187449 h 6858000"/>
              <a:gd name="connsiteX229" fmla="*/ 4350799 w 6530564"/>
              <a:gd name="connsiteY229" fmla="*/ 5178079 h 6858000"/>
              <a:gd name="connsiteX230" fmla="*/ 4416232 w 6530564"/>
              <a:gd name="connsiteY230" fmla="*/ 5156937 h 6858000"/>
              <a:gd name="connsiteX231" fmla="*/ 4528059 w 6530564"/>
              <a:gd name="connsiteY231" fmla="*/ 5120102 h 6858000"/>
              <a:gd name="connsiteX232" fmla="*/ 4548856 w 6530564"/>
              <a:gd name="connsiteY232" fmla="*/ 5108094 h 6858000"/>
              <a:gd name="connsiteX233" fmla="*/ 4582773 w 6530564"/>
              <a:gd name="connsiteY233" fmla="*/ 5099604 h 6858000"/>
              <a:gd name="connsiteX234" fmla="*/ 4587811 w 6530564"/>
              <a:gd name="connsiteY234" fmla="*/ 5093923 h 6858000"/>
              <a:gd name="connsiteX235" fmla="*/ 4642524 w 6530564"/>
              <a:gd name="connsiteY235" fmla="*/ 5073425 h 6858000"/>
              <a:gd name="connsiteX236" fmla="*/ 4652601 w 6530564"/>
              <a:gd name="connsiteY236" fmla="*/ 5062062 h 6858000"/>
              <a:gd name="connsiteX237" fmla="*/ 4667481 w 6530564"/>
              <a:gd name="connsiteY237" fmla="*/ 5059017 h 6858000"/>
              <a:gd name="connsiteX238" fmla="*/ 4798817 w 6530564"/>
              <a:gd name="connsiteY238" fmla="*/ 4988734 h 6858000"/>
              <a:gd name="connsiteX239" fmla="*/ 4856167 w 6530564"/>
              <a:gd name="connsiteY239" fmla="*/ 4958396 h 6858000"/>
              <a:gd name="connsiteX240" fmla="*/ 4882880 w 6530564"/>
              <a:gd name="connsiteY240" fmla="*/ 4937426 h 6858000"/>
              <a:gd name="connsiteX241" fmla="*/ 4894479 w 6530564"/>
              <a:gd name="connsiteY241" fmla="*/ 4933504 h 6858000"/>
              <a:gd name="connsiteX242" fmla="*/ 4907835 w 6530564"/>
              <a:gd name="connsiteY242" fmla="*/ 4923019 h 6858000"/>
              <a:gd name="connsiteX243" fmla="*/ 4911115 w 6530564"/>
              <a:gd name="connsiteY243" fmla="*/ 4923898 h 6858000"/>
              <a:gd name="connsiteX244" fmla="*/ 4896879 w 6530564"/>
              <a:gd name="connsiteY244" fmla="*/ 4937664 h 6858000"/>
              <a:gd name="connsiteX245" fmla="*/ 4893599 w 6530564"/>
              <a:gd name="connsiteY245" fmla="*/ 4936784 h 6858000"/>
              <a:gd name="connsiteX246" fmla="*/ 4888561 w 6530564"/>
              <a:gd name="connsiteY246" fmla="*/ 4942464 h 6858000"/>
              <a:gd name="connsiteX247" fmla="*/ 4887682 w 6530564"/>
              <a:gd name="connsiteY247" fmla="*/ 4945746 h 6858000"/>
              <a:gd name="connsiteX248" fmla="*/ 4883523 w 6530564"/>
              <a:gd name="connsiteY248" fmla="*/ 4948147 h 6858000"/>
              <a:gd name="connsiteX249" fmla="*/ 4882645 w 6530564"/>
              <a:gd name="connsiteY249" fmla="*/ 4951427 h 6858000"/>
              <a:gd name="connsiteX250" fmla="*/ 4860969 w 6530564"/>
              <a:gd name="connsiteY250" fmla="*/ 4966714 h 6858000"/>
              <a:gd name="connsiteX251" fmla="*/ 4856811 w 6530564"/>
              <a:gd name="connsiteY251" fmla="*/ 4969115 h 6858000"/>
              <a:gd name="connsiteX252" fmla="*/ 4855931 w 6530564"/>
              <a:gd name="connsiteY252" fmla="*/ 4972396 h 6858000"/>
              <a:gd name="connsiteX253" fmla="*/ 4852651 w 6530564"/>
              <a:gd name="connsiteY253" fmla="*/ 4971516 h 6858000"/>
              <a:gd name="connsiteX254" fmla="*/ 4850250 w 6530564"/>
              <a:gd name="connsiteY254" fmla="*/ 4967358 h 6858000"/>
              <a:gd name="connsiteX255" fmla="*/ 4842575 w 6530564"/>
              <a:gd name="connsiteY255" fmla="*/ 4982879 h 6858000"/>
              <a:gd name="connsiteX256" fmla="*/ 4810180 w 6530564"/>
              <a:gd name="connsiteY256" fmla="*/ 4998810 h 6858000"/>
              <a:gd name="connsiteX257" fmla="*/ 4811059 w 6530564"/>
              <a:gd name="connsiteY257" fmla="*/ 4995529 h 6858000"/>
              <a:gd name="connsiteX258" fmla="*/ 4806900 w 6530564"/>
              <a:gd name="connsiteY258" fmla="*/ 4997932 h 6858000"/>
              <a:gd name="connsiteX259" fmla="*/ 4812817 w 6530564"/>
              <a:gd name="connsiteY259" fmla="*/ 4988970 h 6858000"/>
              <a:gd name="connsiteX260" fmla="*/ 4798581 w 6530564"/>
              <a:gd name="connsiteY260" fmla="*/ 5002734 h 6858000"/>
              <a:gd name="connsiteX261" fmla="*/ 4791141 w 6530564"/>
              <a:gd name="connsiteY261" fmla="*/ 5004257 h 6858000"/>
              <a:gd name="connsiteX262" fmla="*/ 4786983 w 6530564"/>
              <a:gd name="connsiteY262" fmla="*/ 5006658 h 6858000"/>
              <a:gd name="connsiteX263" fmla="*/ 4789383 w 6530564"/>
              <a:gd name="connsiteY263" fmla="*/ 5010818 h 6858000"/>
              <a:gd name="connsiteX264" fmla="*/ 4764429 w 6530564"/>
              <a:gd name="connsiteY264" fmla="*/ 5025225 h 6858000"/>
              <a:gd name="connsiteX265" fmla="*/ 4760269 w 6530564"/>
              <a:gd name="connsiteY265" fmla="*/ 5027626 h 6858000"/>
              <a:gd name="connsiteX266" fmla="*/ 4759391 w 6530564"/>
              <a:gd name="connsiteY266" fmla="*/ 5030907 h 6858000"/>
              <a:gd name="connsiteX267" fmla="*/ 4680365 w 6530564"/>
              <a:gd name="connsiteY267" fmla="*/ 5076532 h 6858000"/>
              <a:gd name="connsiteX268" fmla="*/ 4669645 w 6530564"/>
              <a:gd name="connsiteY268" fmla="*/ 5077175 h 6858000"/>
              <a:gd name="connsiteX269" fmla="*/ 4664607 w 6530564"/>
              <a:gd name="connsiteY269" fmla="*/ 5082858 h 6858000"/>
              <a:gd name="connsiteX270" fmla="*/ 4596538 w 6530564"/>
              <a:gd name="connsiteY270" fmla="*/ 5113840 h 6858000"/>
              <a:gd name="connsiteX271" fmla="*/ 4525187 w 6530564"/>
              <a:gd name="connsiteY271" fmla="*/ 5143943 h 6858000"/>
              <a:gd name="connsiteX272" fmla="*/ 4514467 w 6530564"/>
              <a:gd name="connsiteY272" fmla="*/ 5144586 h 6858000"/>
              <a:gd name="connsiteX273" fmla="*/ 4516869 w 6530564"/>
              <a:gd name="connsiteY273" fmla="*/ 5148745 h 6858000"/>
              <a:gd name="connsiteX274" fmla="*/ 4474633 w 6530564"/>
              <a:gd name="connsiteY274" fmla="*/ 5162039 h 6858000"/>
              <a:gd name="connsiteX275" fmla="*/ 4447277 w 6530564"/>
              <a:gd name="connsiteY275" fmla="*/ 5172288 h 6858000"/>
              <a:gd name="connsiteX276" fmla="*/ 4400883 w 6530564"/>
              <a:gd name="connsiteY276" fmla="*/ 5187983 h 6858000"/>
              <a:gd name="connsiteX277" fmla="*/ 4339608 w 6530564"/>
              <a:gd name="connsiteY277" fmla="*/ 5206722 h 6858000"/>
              <a:gd name="connsiteX278" fmla="*/ 4333047 w 6530564"/>
              <a:gd name="connsiteY278" fmla="*/ 5204965 h 6858000"/>
              <a:gd name="connsiteX279" fmla="*/ 4265213 w 6530564"/>
              <a:gd name="connsiteY279" fmla="*/ 5221947 h 6858000"/>
              <a:gd name="connsiteX280" fmla="*/ 4256895 w 6530564"/>
              <a:gd name="connsiteY280" fmla="*/ 5226749 h 6858000"/>
              <a:gd name="connsiteX281" fmla="*/ 4223857 w 6530564"/>
              <a:gd name="connsiteY281" fmla="*/ 5231960 h 6858000"/>
              <a:gd name="connsiteX282" fmla="*/ 4203941 w 6530564"/>
              <a:gd name="connsiteY282" fmla="*/ 5240686 h 6858000"/>
              <a:gd name="connsiteX283" fmla="*/ 4124741 w 6530564"/>
              <a:gd name="connsiteY283" fmla="*/ 5247592 h 6858000"/>
              <a:gd name="connsiteX284" fmla="*/ 4019067 w 6530564"/>
              <a:gd name="connsiteY284" fmla="*/ 5261465 h 6858000"/>
              <a:gd name="connsiteX285" fmla="*/ 3989310 w 6530564"/>
              <a:gd name="connsiteY285" fmla="*/ 5267556 h 6858000"/>
              <a:gd name="connsiteX286" fmla="*/ 3993469 w 6530564"/>
              <a:gd name="connsiteY286" fmla="*/ 5265155 h 6858000"/>
              <a:gd name="connsiteX287" fmla="*/ 3953870 w 6530564"/>
              <a:gd name="connsiteY287" fmla="*/ 5268607 h 6858000"/>
              <a:gd name="connsiteX288" fmla="*/ 3944029 w 6530564"/>
              <a:gd name="connsiteY288" fmla="*/ 5265970 h 6858000"/>
              <a:gd name="connsiteX289" fmla="*/ 3830272 w 6530564"/>
              <a:gd name="connsiteY289" fmla="*/ 5270646 h 6858000"/>
              <a:gd name="connsiteX290" fmla="*/ 3831150 w 6530564"/>
              <a:gd name="connsiteY290" fmla="*/ 5267367 h 6858000"/>
              <a:gd name="connsiteX291" fmla="*/ 3827869 w 6530564"/>
              <a:gd name="connsiteY291" fmla="*/ 5266488 h 6858000"/>
              <a:gd name="connsiteX292" fmla="*/ 3823711 w 6530564"/>
              <a:gd name="connsiteY292" fmla="*/ 5268887 h 6858000"/>
              <a:gd name="connsiteX293" fmla="*/ 3784991 w 6530564"/>
              <a:gd name="connsiteY293" fmla="*/ 5269060 h 6858000"/>
              <a:gd name="connsiteX294" fmla="*/ 3781710 w 6530564"/>
              <a:gd name="connsiteY294" fmla="*/ 5268182 h 6858000"/>
              <a:gd name="connsiteX295" fmla="*/ 3778430 w 6530564"/>
              <a:gd name="connsiteY295" fmla="*/ 5267303 h 6858000"/>
              <a:gd name="connsiteX296" fmla="*/ 3777550 w 6530564"/>
              <a:gd name="connsiteY296" fmla="*/ 5270583 h 6858000"/>
              <a:gd name="connsiteX297" fmla="*/ 3780831 w 6530564"/>
              <a:gd name="connsiteY297" fmla="*/ 5271463 h 6858000"/>
              <a:gd name="connsiteX298" fmla="*/ 3766831 w 6530564"/>
              <a:gd name="connsiteY298" fmla="*/ 5271227 h 6858000"/>
              <a:gd name="connsiteX299" fmla="*/ 3765073 w 6530564"/>
              <a:gd name="connsiteY299" fmla="*/ 5277788 h 6858000"/>
              <a:gd name="connsiteX300" fmla="*/ 3775793 w 6530564"/>
              <a:gd name="connsiteY300" fmla="*/ 5277144 h 6858000"/>
              <a:gd name="connsiteX301" fmla="*/ 3774913 w 6530564"/>
              <a:gd name="connsiteY301" fmla="*/ 5280425 h 6858000"/>
              <a:gd name="connsiteX302" fmla="*/ 3804672 w 6530564"/>
              <a:gd name="connsiteY302" fmla="*/ 5274334 h 6858000"/>
              <a:gd name="connsiteX303" fmla="*/ 3811233 w 6530564"/>
              <a:gd name="connsiteY303" fmla="*/ 5276093 h 6858000"/>
              <a:gd name="connsiteX304" fmla="*/ 3814512 w 6530564"/>
              <a:gd name="connsiteY304" fmla="*/ 5276971 h 6858000"/>
              <a:gd name="connsiteX305" fmla="*/ 3817794 w 6530564"/>
              <a:gd name="connsiteY305" fmla="*/ 5277850 h 6858000"/>
              <a:gd name="connsiteX306" fmla="*/ 3818672 w 6530564"/>
              <a:gd name="connsiteY306" fmla="*/ 5274569 h 6858000"/>
              <a:gd name="connsiteX307" fmla="*/ 3825233 w 6530564"/>
              <a:gd name="connsiteY307" fmla="*/ 5276327 h 6858000"/>
              <a:gd name="connsiteX308" fmla="*/ 3820193 w 6530564"/>
              <a:gd name="connsiteY308" fmla="*/ 5282009 h 6858000"/>
              <a:gd name="connsiteX309" fmla="*/ 3830914 w 6530564"/>
              <a:gd name="connsiteY309" fmla="*/ 5281367 h 6858000"/>
              <a:gd name="connsiteX310" fmla="*/ 3834196 w 6530564"/>
              <a:gd name="connsiteY310" fmla="*/ 5282245 h 6858000"/>
              <a:gd name="connsiteX311" fmla="*/ 3837475 w 6530564"/>
              <a:gd name="connsiteY311" fmla="*/ 5283124 h 6858000"/>
              <a:gd name="connsiteX312" fmla="*/ 3840755 w 6530564"/>
              <a:gd name="connsiteY312" fmla="*/ 5284004 h 6858000"/>
              <a:gd name="connsiteX313" fmla="*/ 3854755 w 6530564"/>
              <a:gd name="connsiteY313" fmla="*/ 5284238 h 6858000"/>
              <a:gd name="connsiteX314" fmla="*/ 3858913 w 6530564"/>
              <a:gd name="connsiteY314" fmla="*/ 5281837 h 6858000"/>
              <a:gd name="connsiteX315" fmla="*/ 3862195 w 6530564"/>
              <a:gd name="connsiteY315" fmla="*/ 5282716 h 6858000"/>
              <a:gd name="connsiteX316" fmla="*/ 3858913 w 6530564"/>
              <a:gd name="connsiteY316" fmla="*/ 5281837 h 6858000"/>
              <a:gd name="connsiteX317" fmla="*/ 3894353 w 6530564"/>
              <a:gd name="connsiteY317" fmla="*/ 5280786 h 6858000"/>
              <a:gd name="connsiteX318" fmla="*/ 3900914 w 6530564"/>
              <a:gd name="connsiteY318" fmla="*/ 5282543 h 6858000"/>
              <a:gd name="connsiteX319" fmla="*/ 3901794 w 6530564"/>
              <a:gd name="connsiteY319" fmla="*/ 5279264 h 6858000"/>
              <a:gd name="connsiteX320" fmla="*/ 3933953 w 6530564"/>
              <a:gd name="connsiteY320" fmla="*/ 5277333 h 6858000"/>
              <a:gd name="connsiteX321" fmla="*/ 3934831 w 6530564"/>
              <a:gd name="connsiteY321" fmla="*/ 5274053 h 6858000"/>
              <a:gd name="connsiteX322" fmla="*/ 3938111 w 6530564"/>
              <a:gd name="connsiteY322" fmla="*/ 5274932 h 6858000"/>
              <a:gd name="connsiteX323" fmla="*/ 3937233 w 6530564"/>
              <a:gd name="connsiteY323" fmla="*/ 5278211 h 6858000"/>
              <a:gd name="connsiteX324" fmla="*/ 3940514 w 6530564"/>
              <a:gd name="connsiteY324" fmla="*/ 5279091 h 6858000"/>
              <a:gd name="connsiteX325" fmla="*/ 3944673 w 6530564"/>
              <a:gd name="connsiteY325" fmla="*/ 5276690 h 6858000"/>
              <a:gd name="connsiteX326" fmla="*/ 4044429 w 6530564"/>
              <a:gd name="connsiteY326" fmla="*/ 5271777 h 6858000"/>
              <a:gd name="connsiteX327" fmla="*/ 4072431 w 6530564"/>
              <a:gd name="connsiteY327" fmla="*/ 5272249 h 6858000"/>
              <a:gd name="connsiteX328" fmla="*/ 4091468 w 6530564"/>
              <a:gd name="connsiteY328" fmla="*/ 5266803 h 6858000"/>
              <a:gd name="connsiteX329" fmla="*/ 4121227 w 6530564"/>
              <a:gd name="connsiteY329" fmla="*/ 5260712 h 6858000"/>
              <a:gd name="connsiteX330" fmla="*/ 4336092 w 6530564"/>
              <a:gd name="connsiteY330" fmla="*/ 5219844 h 6858000"/>
              <a:gd name="connsiteX331" fmla="*/ 4341775 w 6530564"/>
              <a:gd name="connsiteY331" fmla="*/ 5224882 h 6858000"/>
              <a:gd name="connsiteX332" fmla="*/ 4338495 w 6530564"/>
              <a:gd name="connsiteY332" fmla="*/ 5224004 h 6858000"/>
              <a:gd name="connsiteX333" fmla="*/ 4337615 w 6530564"/>
              <a:gd name="connsiteY333" fmla="*/ 5227283 h 6858000"/>
              <a:gd name="connsiteX334" fmla="*/ 4345054 w 6530564"/>
              <a:gd name="connsiteY334" fmla="*/ 5225760 h 6858000"/>
              <a:gd name="connsiteX335" fmla="*/ 4354895 w 6530564"/>
              <a:gd name="connsiteY335" fmla="*/ 5228397 h 6858000"/>
              <a:gd name="connsiteX336" fmla="*/ 4368253 w 6530564"/>
              <a:gd name="connsiteY336" fmla="*/ 5217913 h 6858000"/>
              <a:gd name="connsiteX337" fmla="*/ 4371531 w 6530564"/>
              <a:gd name="connsiteY337" fmla="*/ 5218791 h 6858000"/>
              <a:gd name="connsiteX338" fmla="*/ 4375691 w 6530564"/>
              <a:gd name="connsiteY338" fmla="*/ 5216392 h 6858000"/>
              <a:gd name="connsiteX339" fmla="*/ 4378971 w 6530564"/>
              <a:gd name="connsiteY339" fmla="*/ 5217270 h 6858000"/>
              <a:gd name="connsiteX340" fmla="*/ 4379850 w 6530564"/>
              <a:gd name="connsiteY340" fmla="*/ 5213989 h 6858000"/>
              <a:gd name="connsiteX341" fmla="*/ 4387291 w 6530564"/>
              <a:gd name="connsiteY341" fmla="*/ 5212466 h 6858000"/>
              <a:gd name="connsiteX342" fmla="*/ 4405449 w 6530564"/>
              <a:gd name="connsiteY342" fmla="*/ 5210302 h 6858000"/>
              <a:gd name="connsiteX343" fmla="*/ 4404569 w 6530564"/>
              <a:gd name="connsiteY343" fmla="*/ 5213581 h 6858000"/>
              <a:gd name="connsiteX344" fmla="*/ 4400411 w 6530564"/>
              <a:gd name="connsiteY344" fmla="*/ 5215984 h 6858000"/>
              <a:gd name="connsiteX345" fmla="*/ 4407849 w 6530564"/>
              <a:gd name="connsiteY345" fmla="*/ 5214461 h 6858000"/>
              <a:gd name="connsiteX346" fmla="*/ 4412009 w 6530564"/>
              <a:gd name="connsiteY346" fmla="*/ 5212060 h 6858000"/>
              <a:gd name="connsiteX347" fmla="*/ 4427767 w 6530564"/>
              <a:gd name="connsiteY347" fmla="*/ 5205735 h 6858000"/>
              <a:gd name="connsiteX348" fmla="*/ 4431047 w 6530564"/>
              <a:gd name="connsiteY348" fmla="*/ 5206613 h 6858000"/>
              <a:gd name="connsiteX349" fmla="*/ 4438487 w 6530564"/>
              <a:gd name="connsiteY349" fmla="*/ 5205091 h 6858000"/>
              <a:gd name="connsiteX350" fmla="*/ 4439367 w 6530564"/>
              <a:gd name="connsiteY350" fmla="*/ 5201811 h 6858000"/>
              <a:gd name="connsiteX351" fmla="*/ 4436087 w 6530564"/>
              <a:gd name="connsiteY351" fmla="*/ 5200931 h 6858000"/>
              <a:gd name="connsiteX352" fmla="*/ 4446805 w 6530564"/>
              <a:gd name="connsiteY352" fmla="*/ 5200288 h 6858000"/>
              <a:gd name="connsiteX353" fmla="*/ 4448563 w 6530564"/>
              <a:gd name="connsiteY353" fmla="*/ 5193727 h 6858000"/>
              <a:gd name="connsiteX354" fmla="*/ 4455124 w 6530564"/>
              <a:gd name="connsiteY354" fmla="*/ 5195484 h 6858000"/>
              <a:gd name="connsiteX355" fmla="*/ 4459284 w 6530564"/>
              <a:gd name="connsiteY355" fmla="*/ 5193083 h 6858000"/>
              <a:gd name="connsiteX356" fmla="*/ 4462565 w 6530564"/>
              <a:gd name="connsiteY356" fmla="*/ 5193963 h 6858000"/>
              <a:gd name="connsiteX357" fmla="*/ 4463443 w 6530564"/>
              <a:gd name="connsiteY357" fmla="*/ 5190682 h 6858000"/>
              <a:gd name="connsiteX358" fmla="*/ 4460162 w 6530564"/>
              <a:gd name="connsiteY358" fmla="*/ 5189804 h 6858000"/>
              <a:gd name="connsiteX359" fmla="*/ 4503277 w 6530564"/>
              <a:gd name="connsiteY359" fmla="*/ 5173230 h 6858000"/>
              <a:gd name="connsiteX360" fmla="*/ 4510717 w 6530564"/>
              <a:gd name="connsiteY360" fmla="*/ 5171707 h 6858000"/>
              <a:gd name="connsiteX361" fmla="*/ 4515755 w 6530564"/>
              <a:gd name="connsiteY361" fmla="*/ 5166027 h 6858000"/>
              <a:gd name="connsiteX362" fmla="*/ 4513179 w 6530564"/>
              <a:gd name="connsiteY362" fmla="*/ 5165335 h 6858000"/>
              <a:gd name="connsiteX363" fmla="*/ 4525643 w 6530564"/>
              <a:gd name="connsiteY363" fmla="*/ 5159666 h 6858000"/>
              <a:gd name="connsiteX364" fmla="*/ 4571346 w 6530564"/>
              <a:gd name="connsiteY364" fmla="*/ 5142247 h 6858000"/>
              <a:gd name="connsiteX365" fmla="*/ 4585583 w 6530564"/>
              <a:gd name="connsiteY365" fmla="*/ 5128483 h 6858000"/>
              <a:gd name="connsiteX366" fmla="*/ 4595423 w 6530564"/>
              <a:gd name="connsiteY366" fmla="*/ 5131120 h 6858000"/>
              <a:gd name="connsiteX367" fmla="*/ 4619500 w 6530564"/>
              <a:gd name="connsiteY367" fmla="*/ 5119991 h 6858000"/>
              <a:gd name="connsiteX368" fmla="*/ 4629575 w 6530564"/>
              <a:gd name="connsiteY368" fmla="*/ 5108629 h 6858000"/>
              <a:gd name="connsiteX369" fmla="*/ 4648615 w 6530564"/>
              <a:gd name="connsiteY369" fmla="*/ 5103183 h 6858000"/>
              <a:gd name="connsiteX370" fmla="*/ 4647735 w 6530564"/>
              <a:gd name="connsiteY370" fmla="*/ 5106463 h 6858000"/>
              <a:gd name="connsiteX371" fmla="*/ 4642697 w 6530564"/>
              <a:gd name="connsiteY371" fmla="*/ 5112145 h 6858000"/>
              <a:gd name="connsiteX372" fmla="*/ 4650136 w 6530564"/>
              <a:gd name="connsiteY372" fmla="*/ 5110622 h 6858000"/>
              <a:gd name="connsiteX373" fmla="*/ 4654296 w 6530564"/>
              <a:gd name="connsiteY373" fmla="*/ 5108221 h 6858000"/>
              <a:gd name="connsiteX374" fmla="*/ 4645099 w 6530564"/>
              <a:gd name="connsiteY374" fmla="*/ 5116303 h 6858000"/>
              <a:gd name="connsiteX375" fmla="*/ 4661735 w 6530564"/>
              <a:gd name="connsiteY375" fmla="*/ 5106698 h 6858000"/>
              <a:gd name="connsiteX376" fmla="*/ 4665893 w 6530564"/>
              <a:gd name="connsiteY376" fmla="*/ 5104297 h 6858000"/>
              <a:gd name="connsiteX377" fmla="*/ 4675091 w 6530564"/>
              <a:gd name="connsiteY377" fmla="*/ 5096214 h 6858000"/>
              <a:gd name="connsiteX378" fmla="*/ 4667651 w 6530564"/>
              <a:gd name="connsiteY378" fmla="*/ 5097736 h 6858000"/>
              <a:gd name="connsiteX379" fmla="*/ 4664372 w 6530564"/>
              <a:gd name="connsiteY379" fmla="*/ 5096858 h 6858000"/>
              <a:gd name="connsiteX380" fmla="*/ 4676849 w 6530564"/>
              <a:gd name="connsiteY380" fmla="*/ 5089653 h 6858000"/>
              <a:gd name="connsiteX381" fmla="*/ 4662850 w 6530564"/>
              <a:gd name="connsiteY381" fmla="*/ 5089418 h 6858000"/>
              <a:gd name="connsiteX382" fmla="*/ 4689327 w 6530564"/>
              <a:gd name="connsiteY382" fmla="*/ 5082449 h 6858000"/>
              <a:gd name="connsiteX383" fmla="*/ 4685169 w 6530564"/>
              <a:gd name="connsiteY383" fmla="*/ 5084851 h 6858000"/>
              <a:gd name="connsiteX384" fmla="*/ 4683411 w 6530564"/>
              <a:gd name="connsiteY384" fmla="*/ 5091411 h 6858000"/>
              <a:gd name="connsiteX385" fmla="*/ 4691728 w 6530564"/>
              <a:gd name="connsiteY385" fmla="*/ 5086609 h 6858000"/>
              <a:gd name="connsiteX386" fmla="*/ 4695008 w 6530564"/>
              <a:gd name="connsiteY386" fmla="*/ 5087488 h 6858000"/>
              <a:gd name="connsiteX387" fmla="*/ 4698289 w 6530564"/>
              <a:gd name="connsiteY387" fmla="*/ 5088368 h 6858000"/>
              <a:gd name="connsiteX388" fmla="*/ 4697411 w 6530564"/>
              <a:gd name="connsiteY388" fmla="*/ 5091647 h 6858000"/>
              <a:gd name="connsiteX389" fmla="*/ 4702449 w 6530564"/>
              <a:gd name="connsiteY389" fmla="*/ 5085965 h 6858000"/>
              <a:gd name="connsiteX390" fmla="*/ 4706607 w 6530564"/>
              <a:gd name="connsiteY390" fmla="*/ 5083564 h 6858000"/>
              <a:gd name="connsiteX391" fmla="*/ 4721486 w 6530564"/>
              <a:gd name="connsiteY391" fmla="*/ 5080520 h 6858000"/>
              <a:gd name="connsiteX392" fmla="*/ 4717327 w 6530564"/>
              <a:gd name="connsiteY392" fmla="*/ 5082921 h 6858000"/>
              <a:gd name="connsiteX393" fmla="*/ 4712289 w 6530564"/>
              <a:gd name="connsiteY393" fmla="*/ 5088602 h 6858000"/>
              <a:gd name="connsiteX394" fmla="*/ 4723887 w 6530564"/>
              <a:gd name="connsiteY394" fmla="*/ 5084678 h 6858000"/>
              <a:gd name="connsiteX395" fmla="*/ 4728047 w 6530564"/>
              <a:gd name="connsiteY395" fmla="*/ 5082277 h 6858000"/>
              <a:gd name="connsiteX396" fmla="*/ 4732207 w 6530564"/>
              <a:gd name="connsiteY396" fmla="*/ 5079876 h 6858000"/>
              <a:gd name="connsiteX397" fmla="*/ 4733963 w 6530564"/>
              <a:gd name="connsiteY397" fmla="*/ 5073315 h 6858000"/>
              <a:gd name="connsiteX398" fmla="*/ 4726524 w 6530564"/>
              <a:gd name="connsiteY398" fmla="*/ 5074837 h 6858000"/>
              <a:gd name="connsiteX399" fmla="*/ 4725646 w 6530564"/>
              <a:gd name="connsiteY399" fmla="*/ 5078117 h 6858000"/>
              <a:gd name="connsiteX400" fmla="*/ 4721486 w 6530564"/>
              <a:gd name="connsiteY400" fmla="*/ 5080520 h 6858000"/>
              <a:gd name="connsiteX401" fmla="*/ 4707487 w 6530564"/>
              <a:gd name="connsiteY401" fmla="*/ 5080284 h 6858000"/>
              <a:gd name="connsiteX402" fmla="*/ 4711646 w 6530564"/>
              <a:gd name="connsiteY402" fmla="*/ 5077883 h 6858000"/>
              <a:gd name="connsiteX403" fmla="*/ 4708366 w 6530564"/>
              <a:gd name="connsiteY403" fmla="*/ 5077005 h 6858000"/>
              <a:gd name="connsiteX404" fmla="*/ 4705085 w 6530564"/>
              <a:gd name="connsiteY404" fmla="*/ 5076124 h 6858000"/>
              <a:gd name="connsiteX405" fmla="*/ 4704207 w 6530564"/>
              <a:gd name="connsiteY405" fmla="*/ 5079404 h 6858000"/>
              <a:gd name="connsiteX406" fmla="*/ 4700046 w 6530564"/>
              <a:gd name="connsiteY406" fmla="*/ 5081805 h 6858000"/>
              <a:gd name="connsiteX407" fmla="*/ 4700927 w 6530564"/>
              <a:gd name="connsiteY407" fmla="*/ 5078525 h 6858000"/>
              <a:gd name="connsiteX408" fmla="*/ 4696767 w 6530564"/>
              <a:gd name="connsiteY408" fmla="*/ 5080927 h 6858000"/>
              <a:gd name="connsiteX409" fmla="*/ 4693487 w 6530564"/>
              <a:gd name="connsiteY409" fmla="*/ 5080048 h 6858000"/>
              <a:gd name="connsiteX410" fmla="*/ 4722601 w 6530564"/>
              <a:gd name="connsiteY410" fmla="*/ 5063239 h 6858000"/>
              <a:gd name="connsiteX411" fmla="*/ 4721722 w 6530564"/>
              <a:gd name="connsiteY411" fmla="*/ 5066520 h 6858000"/>
              <a:gd name="connsiteX412" fmla="*/ 4720843 w 6530564"/>
              <a:gd name="connsiteY412" fmla="*/ 5069800 h 6858000"/>
              <a:gd name="connsiteX413" fmla="*/ 4725003 w 6530564"/>
              <a:gd name="connsiteY413" fmla="*/ 5067398 h 6858000"/>
              <a:gd name="connsiteX414" fmla="*/ 4725882 w 6530564"/>
              <a:gd name="connsiteY414" fmla="*/ 5064117 h 6858000"/>
              <a:gd name="connsiteX415" fmla="*/ 4730041 w 6530564"/>
              <a:gd name="connsiteY415" fmla="*/ 5061716 h 6858000"/>
              <a:gd name="connsiteX416" fmla="*/ 4744919 w 6530564"/>
              <a:gd name="connsiteY416" fmla="*/ 5058672 h 6858000"/>
              <a:gd name="connsiteX417" fmla="*/ 4748200 w 6530564"/>
              <a:gd name="connsiteY417" fmla="*/ 5059551 h 6858000"/>
              <a:gd name="connsiteX418" fmla="*/ 4752360 w 6530564"/>
              <a:gd name="connsiteY418" fmla="*/ 5057149 h 6858000"/>
              <a:gd name="connsiteX419" fmla="*/ 4753238 w 6530564"/>
              <a:gd name="connsiteY419" fmla="*/ 5053868 h 6858000"/>
              <a:gd name="connsiteX420" fmla="*/ 4749957 w 6530564"/>
              <a:gd name="connsiteY420" fmla="*/ 5052989 h 6858000"/>
              <a:gd name="connsiteX421" fmla="*/ 4769875 w 6530564"/>
              <a:gd name="connsiteY421" fmla="*/ 5044264 h 6858000"/>
              <a:gd name="connsiteX422" fmla="*/ 4774035 w 6530564"/>
              <a:gd name="connsiteY422" fmla="*/ 5041862 h 6858000"/>
              <a:gd name="connsiteX423" fmla="*/ 4774913 w 6530564"/>
              <a:gd name="connsiteY423" fmla="*/ 5038581 h 6858000"/>
              <a:gd name="connsiteX424" fmla="*/ 4771632 w 6530564"/>
              <a:gd name="connsiteY424" fmla="*/ 5037702 h 6858000"/>
              <a:gd name="connsiteX425" fmla="*/ 4781709 w 6530564"/>
              <a:gd name="connsiteY425" fmla="*/ 5026339 h 6858000"/>
              <a:gd name="connsiteX426" fmla="*/ 4841460 w 6530564"/>
              <a:gd name="connsiteY426" fmla="*/ 5000161 h 6858000"/>
              <a:gd name="connsiteX427" fmla="*/ 4839059 w 6530564"/>
              <a:gd name="connsiteY427" fmla="*/ 4996002 h 6858000"/>
              <a:gd name="connsiteX428" fmla="*/ 4842339 w 6530564"/>
              <a:gd name="connsiteY428" fmla="*/ 4996880 h 6858000"/>
              <a:gd name="connsiteX429" fmla="*/ 4846498 w 6530564"/>
              <a:gd name="connsiteY429" fmla="*/ 4994478 h 6858000"/>
              <a:gd name="connsiteX430" fmla="*/ 4843217 w 6530564"/>
              <a:gd name="connsiteY430" fmla="*/ 4993600 h 6858000"/>
              <a:gd name="connsiteX431" fmla="*/ 4878014 w 6530564"/>
              <a:gd name="connsiteY431" fmla="*/ 4981829 h 6858000"/>
              <a:gd name="connsiteX432" fmla="*/ 4876493 w 6530564"/>
              <a:gd name="connsiteY432" fmla="*/ 4974389 h 6858000"/>
              <a:gd name="connsiteX433" fmla="*/ 4883931 w 6530564"/>
              <a:gd name="connsiteY433" fmla="*/ 4972867 h 6858000"/>
              <a:gd name="connsiteX434" fmla="*/ 4892249 w 6530564"/>
              <a:gd name="connsiteY434" fmla="*/ 4968064 h 6858000"/>
              <a:gd name="connsiteX435" fmla="*/ 4891370 w 6530564"/>
              <a:gd name="connsiteY435" fmla="*/ 4971344 h 6858000"/>
              <a:gd name="connsiteX436" fmla="*/ 4894652 w 6530564"/>
              <a:gd name="connsiteY436" fmla="*/ 4972224 h 6858000"/>
              <a:gd name="connsiteX437" fmla="*/ 4899690 w 6530564"/>
              <a:gd name="connsiteY437" fmla="*/ 4966541 h 6858000"/>
              <a:gd name="connsiteX438" fmla="*/ 4900568 w 6530564"/>
              <a:gd name="connsiteY438" fmla="*/ 4963262 h 6858000"/>
              <a:gd name="connsiteX439" fmla="*/ 4926402 w 6530564"/>
              <a:gd name="connsiteY439" fmla="*/ 4945573 h 6858000"/>
              <a:gd name="connsiteX440" fmla="*/ 4914803 w 6530564"/>
              <a:gd name="connsiteY440" fmla="*/ 4949497 h 6858000"/>
              <a:gd name="connsiteX441" fmla="*/ 4909765 w 6530564"/>
              <a:gd name="connsiteY441" fmla="*/ 4955178 h 6858000"/>
              <a:gd name="connsiteX442" fmla="*/ 4906487 w 6530564"/>
              <a:gd name="connsiteY442" fmla="*/ 4954299 h 6858000"/>
              <a:gd name="connsiteX443" fmla="*/ 4902327 w 6530564"/>
              <a:gd name="connsiteY443" fmla="*/ 4956701 h 6858000"/>
              <a:gd name="connsiteX444" fmla="*/ 4903205 w 6530564"/>
              <a:gd name="connsiteY444" fmla="*/ 4953421 h 6858000"/>
              <a:gd name="connsiteX445" fmla="*/ 4907365 w 6530564"/>
              <a:gd name="connsiteY445" fmla="*/ 4951018 h 6858000"/>
              <a:gd name="connsiteX446" fmla="*/ 4904084 w 6530564"/>
              <a:gd name="connsiteY446" fmla="*/ 4950140 h 6858000"/>
              <a:gd name="connsiteX447" fmla="*/ 4899924 w 6530564"/>
              <a:gd name="connsiteY447" fmla="*/ 4952541 h 6858000"/>
              <a:gd name="connsiteX448" fmla="*/ 4895766 w 6530564"/>
              <a:gd name="connsiteY448" fmla="*/ 4954944 h 6858000"/>
              <a:gd name="connsiteX449" fmla="*/ 4900803 w 6530564"/>
              <a:gd name="connsiteY449" fmla="*/ 4949262 h 6858000"/>
              <a:gd name="connsiteX450" fmla="*/ 4904963 w 6530564"/>
              <a:gd name="connsiteY450" fmla="*/ 4946860 h 6858000"/>
              <a:gd name="connsiteX451" fmla="*/ 4909122 w 6530564"/>
              <a:gd name="connsiteY451" fmla="*/ 4944459 h 6858000"/>
              <a:gd name="connsiteX452" fmla="*/ 4917441 w 6530564"/>
              <a:gd name="connsiteY452" fmla="*/ 4939655 h 6858000"/>
              <a:gd name="connsiteX453" fmla="*/ 4910881 w 6530564"/>
              <a:gd name="connsiteY453" fmla="*/ 4937898 h 6858000"/>
              <a:gd name="connsiteX454" fmla="*/ 4907601 w 6530564"/>
              <a:gd name="connsiteY454" fmla="*/ 4937018 h 6858000"/>
              <a:gd name="connsiteX455" fmla="*/ 4927516 w 6530564"/>
              <a:gd name="connsiteY455" fmla="*/ 4928292 h 6858000"/>
              <a:gd name="connsiteX456" fmla="*/ 4926638 w 6530564"/>
              <a:gd name="connsiteY456" fmla="*/ 4931573 h 6858000"/>
              <a:gd name="connsiteX457" fmla="*/ 4929919 w 6530564"/>
              <a:gd name="connsiteY457" fmla="*/ 4932452 h 6858000"/>
              <a:gd name="connsiteX458" fmla="*/ 4930798 w 6530564"/>
              <a:gd name="connsiteY458" fmla="*/ 4929172 h 6858000"/>
              <a:gd name="connsiteX459" fmla="*/ 4931676 w 6530564"/>
              <a:gd name="connsiteY459" fmla="*/ 4925891 h 6858000"/>
              <a:gd name="connsiteX460" fmla="*/ 4935835 w 6530564"/>
              <a:gd name="connsiteY460" fmla="*/ 4923490 h 6858000"/>
              <a:gd name="connsiteX461" fmla="*/ 4948314 w 6530564"/>
              <a:gd name="connsiteY461" fmla="*/ 4916286 h 6858000"/>
              <a:gd name="connsiteX462" fmla="*/ 4953587 w 6530564"/>
              <a:gd name="connsiteY462" fmla="*/ 4896605 h 6858000"/>
              <a:gd name="connsiteX463" fmla="*/ 4939352 w 6530564"/>
              <a:gd name="connsiteY463" fmla="*/ 4910369 h 6858000"/>
              <a:gd name="connsiteX464" fmla="*/ 4941109 w 6530564"/>
              <a:gd name="connsiteY464" fmla="*/ 4903808 h 6858000"/>
              <a:gd name="connsiteX465" fmla="*/ 4937829 w 6530564"/>
              <a:gd name="connsiteY465" fmla="*/ 4902930 h 6858000"/>
              <a:gd name="connsiteX466" fmla="*/ 4971103 w 6530564"/>
              <a:gd name="connsiteY466" fmla="*/ 4883717 h 6858000"/>
              <a:gd name="connsiteX467" fmla="*/ 6068122 w 6530564"/>
              <a:gd name="connsiteY467" fmla="*/ 4864900 h 6858000"/>
              <a:gd name="connsiteX468" fmla="*/ 6068152 w 6530564"/>
              <a:gd name="connsiteY468" fmla="*/ 4865039 h 6858000"/>
              <a:gd name="connsiteX469" fmla="*/ 6064479 w 6530564"/>
              <a:gd name="connsiteY469" fmla="*/ 4870708 h 6858000"/>
              <a:gd name="connsiteX470" fmla="*/ 2849427 w 6530564"/>
              <a:gd name="connsiteY470" fmla="*/ 4863682 h 6858000"/>
              <a:gd name="connsiteX471" fmla="*/ 2852706 w 6530564"/>
              <a:gd name="connsiteY471" fmla="*/ 4864560 h 6858000"/>
              <a:gd name="connsiteX472" fmla="*/ 2855987 w 6530564"/>
              <a:gd name="connsiteY472" fmla="*/ 4865440 h 6858000"/>
              <a:gd name="connsiteX473" fmla="*/ 2856769 w 6530564"/>
              <a:gd name="connsiteY473" fmla="*/ 4866135 h 6858000"/>
              <a:gd name="connsiteX474" fmla="*/ 5007247 w 6530564"/>
              <a:gd name="connsiteY474" fmla="*/ 4862211 h 6858000"/>
              <a:gd name="connsiteX475" fmla="*/ 4996249 w 6530564"/>
              <a:gd name="connsiteY475" fmla="*/ 4868580 h 6858000"/>
              <a:gd name="connsiteX476" fmla="*/ 4999337 w 6530564"/>
              <a:gd name="connsiteY476" fmla="*/ 4870189 h 6858000"/>
              <a:gd name="connsiteX477" fmla="*/ 6130068 w 6530564"/>
              <a:gd name="connsiteY477" fmla="*/ 4856695 h 6858000"/>
              <a:gd name="connsiteX478" fmla="*/ 6126199 w 6530564"/>
              <a:gd name="connsiteY478" fmla="*/ 4862407 h 6858000"/>
              <a:gd name="connsiteX479" fmla="*/ 6129873 w 6530564"/>
              <a:gd name="connsiteY479" fmla="*/ 4856736 h 6858000"/>
              <a:gd name="connsiteX480" fmla="*/ 5030417 w 6530564"/>
              <a:gd name="connsiteY480" fmla="*/ 4849127 h 6858000"/>
              <a:gd name="connsiteX481" fmla="*/ 5029817 w 6530564"/>
              <a:gd name="connsiteY481" fmla="*/ 4849140 h 6858000"/>
              <a:gd name="connsiteX482" fmla="*/ 5010221 w 6530564"/>
              <a:gd name="connsiteY482" fmla="*/ 4860487 h 6858000"/>
              <a:gd name="connsiteX483" fmla="*/ 5015974 w 6530564"/>
              <a:gd name="connsiteY483" fmla="*/ 4860584 h 6858000"/>
              <a:gd name="connsiteX484" fmla="*/ 5030417 w 6530564"/>
              <a:gd name="connsiteY484" fmla="*/ 4849127 h 6858000"/>
              <a:gd name="connsiteX485" fmla="*/ 5071263 w 6530564"/>
              <a:gd name="connsiteY485" fmla="*/ 4820079 h 6858000"/>
              <a:gd name="connsiteX486" fmla="*/ 5059909 w 6530564"/>
              <a:gd name="connsiteY486" fmla="*/ 4829301 h 6858000"/>
              <a:gd name="connsiteX487" fmla="*/ 5059325 w 6530564"/>
              <a:gd name="connsiteY487" fmla="*/ 4830010 h 6858000"/>
              <a:gd name="connsiteX488" fmla="*/ 5057793 w 6530564"/>
              <a:gd name="connsiteY488" fmla="*/ 4831019 h 6858000"/>
              <a:gd name="connsiteX489" fmla="*/ 5055235 w 6530564"/>
              <a:gd name="connsiteY489" fmla="*/ 4833097 h 6858000"/>
              <a:gd name="connsiteX490" fmla="*/ 5055445 w 6530564"/>
              <a:gd name="connsiteY490" fmla="*/ 4833420 h 6858000"/>
              <a:gd name="connsiteX491" fmla="*/ 5062605 w 6530564"/>
              <a:gd name="connsiteY491" fmla="*/ 4830888 h 6858000"/>
              <a:gd name="connsiteX492" fmla="*/ 5057377 w 6530564"/>
              <a:gd name="connsiteY492" fmla="*/ 4835640 h 6858000"/>
              <a:gd name="connsiteX493" fmla="*/ 5060755 w 6530564"/>
              <a:gd name="connsiteY493" fmla="*/ 4837402 h 6858000"/>
              <a:gd name="connsiteX494" fmla="*/ 5060961 w 6530564"/>
              <a:gd name="connsiteY494" fmla="*/ 4837260 h 6858000"/>
              <a:gd name="connsiteX495" fmla="*/ 5108837 w 6530564"/>
              <a:gd name="connsiteY495" fmla="*/ 4789562 h 6858000"/>
              <a:gd name="connsiteX496" fmla="*/ 5093745 w 6530564"/>
              <a:gd name="connsiteY496" fmla="*/ 4801819 h 6858000"/>
              <a:gd name="connsiteX497" fmla="*/ 5095236 w 6530564"/>
              <a:gd name="connsiteY497" fmla="*/ 4800959 h 6858000"/>
              <a:gd name="connsiteX498" fmla="*/ 5108593 w 6530564"/>
              <a:gd name="connsiteY498" fmla="*/ 4790474 h 6858000"/>
              <a:gd name="connsiteX499" fmla="*/ 5127188 w 6530564"/>
              <a:gd name="connsiteY499" fmla="*/ 4774656 h 6858000"/>
              <a:gd name="connsiteX500" fmla="*/ 5117361 w 6530564"/>
              <a:gd name="connsiteY500" fmla="*/ 4782639 h 6858000"/>
              <a:gd name="connsiteX501" fmla="*/ 5121949 w 6530564"/>
              <a:gd name="connsiteY501" fmla="*/ 4779991 h 6858000"/>
              <a:gd name="connsiteX502" fmla="*/ 5125229 w 6530564"/>
              <a:gd name="connsiteY502" fmla="*/ 4780869 h 6858000"/>
              <a:gd name="connsiteX503" fmla="*/ 5129389 w 6530564"/>
              <a:gd name="connsiteY503" fmla="*/ 4778468 h 6858000"/>
              <a:gd name="connsiteX504" fmla="*/ 2748506 w 6530564"/>
              <a:gd name="connsiteY504" fmla="*/ 4741714 h 6858000"/>
              <a:gd name="connsiteX505" fmla="*/ 2753001 w 6530564"/>
              <a:gd name="connsiteY505" fmla="*/ 4745754 h 6858000"/>
              <a:gd name="connsiteX506" fmla="*/ 2748356 w 6530564"/>
              <a:gd name="connsiteY506" fmla="*/ 4742283 h 6858000"/>
              <a:gd name="connsiteX507" fmla="*/ 2738573 w 6530564"/>
              <a:gd name="connsiteY507" fmla="*/ 4734114 h 6858000"/>
              <a:gd name="connsiteX508" fmla="*/ 2742497 w 6530564"/>
              <a:gd name="connsiteY508" fmla="*/ 4737906 h 6858000"/>
              <a:gd name="connsiteX509" fmla="*/ 2748356 w 6530564"/>
              <a:gd name="connsiteY509" fmla="*/ 4742283 h 6858000"/>
              <a:gd name="connsiteX510" fmla="*/ 2747627 w 6530564"/>
              <a:gd name="connsiteY510" fmla="*/ 4744994 h 6858000"/>
              <a:gd name="connsiteX511" fmla="*/ 2739545 w 6530564"/>
              <a:gd name="connsiteY511" fmla="*/ 4735796 h 6858000"/>
              <a:gd name="connsiteX512" fmla="*/ 2733528 w 6530564"/>
              <a:gd name="connsiteY512" fmla="*/ 4728433 h 6858000"/>
              <a:gd name="connsiteX513" fmla="*/ 2737143 w 6530564"/>
              <a:gd name="connsiteY513" fmla="*/ 4731638 h 6858000"/>
              <a:gd name="connsiteX514" fmla="*/ 2738573 w 6530564"/>
              <a:gd name="connsiteY514" fmla="*/ 4734114 h 6858000"/>
              <a:gd name="connsiteX515" fmla="*/ 2733769 w 6530564"/>
              <a:gd name="connsiteY515" fmla="*/ 4729470 h 6858000"/>
              <a:gd name="connsiteX516" fmla="*/ 2725781 w 6530564"/>
              <a:gd name="connsiteY516" fmla="*/ 4721561 h 6858000"/>
              <a:gd name="connsiteX517" fmla="*/ 2732341 w 6530564"/>
              <a:gd name="connsiteY517" fmla="*/ 4723320 h 6858000"/>
              <a:gd name="connsiteX518" fmla="*/ 2733528 w 6530564"/>
              <a:gd name="connsiteY518" fmla="*/ 4728433 h 6858000"/>
              <a:gd name="connsiteX519" fmla="*/ 2731462 w 6530564"/>
              <a:gd name="connsiteY519" fmla="*/ 4726600 h 6858000"/>
              <a:gd name="connsiteX520" fmla="*/ 2728183 w 6530564"/>
              <a:gd name="connsiteY520" fmla="*/ 4725721 h 6858000"/>
              <a:gd name="connsiteX521" fmla="*/ 2725781 w 6530564"/>
              <a:gd name="connsiteY521" fmla="*/ 4721561 h 6858000"/>
              <a:gd name="connsiteX522" fmla="*/ 3028405 w 6530564"/>
              <a:gd name="connsiteY522" fmla="*/ 4669808 h 6858000"/>
              <a:gd name="connsiteX523" fmla="*/ 3030752 w 6530564"/>
              <a:gd name="connsiteY523" fmla="*/ 4673522 h 6858000"/>
              <a:gd name="connsiteX524" fmla="*/ 3054617 w 6530564"/>
              <a:gd name="connsiteY524" fmla="*/ 4692835 h 6858000"/>
              <a:gd name="connsiteX525" fmla="*/ 3107225 w 6530564"/>
              <a:gd name="connsiteY525" fmla="*/ 4721282 h 6858000"/>
              <a:gd name="connsiteX526" fmla="*/ 3105246 w 6530564"/>
              <a:gd name="connsiteY526" fmla="*/ 4719661 h 6858000"/>
              <a:gd name="connsiteX527" fmla="*/ 3057715 w 6530564"/>
              <a:gd name="connsiteY527" fmla="*/ 4691376 h 6858000"/>
              <a:gd name="connsiteX528" fmla="*/ 6304463 w 6530564"/>
              <a:gd name="connsiteY528" fmla="*/ 4668027 h 6858000"/>
              <a:gd name="connsiteX529" fmla="*/ 6302855 w 6530564"/>
              <a:gd name="connsiteY529" fmla="*/ 4672815 h 6858000"/>
              <a:gd name="connsiteX530" fmla="*/ 6301832 w 6530564"/>
              <a:gd name="connsiteY530" fmla="*/ 4672862 h 6858000"/>
              <a:gd name="connsiteX531" fmla="*/ 6304463 w 6530564"/>
              <a:gd name="connsiteY531" fmla="*/ 4668027 h 6858000"/>
              <a:gd name="connsiteX532" fmla="*/ 2673360 w 6530564"/>
              <a:gd name="connsiteY532" fmla="*/ 4654778 h 6858000"/>
              <a:gd name="connsiteX533" fmla="*/ 2678648 w 6530564"/>
              <a:gd name="connsiteY533" fmla="*/ 4660537 h 6858000"/>
              <a:gd name="connsiteX534" fmla="*/ 2678411 w 6530564"/>
              <a:gd name="connsiteY534" fmla="*/ 4660527 h 6858000"/>
              <a:gd name="connsiteX535" fmla="*/ 2673360 w 6530564"/>
              <a:gd name="connsiteY535" fmla="*/ 4654778 h 6858000"/>
              <a:gd name="connsiteX536" fmla="*/ 2988071 w 6530564"/>
              <a:gd name="connsiteY536" fmla="*/ 4640127 h 6858000"/>
              <a:gd name="connsiteX537" fmla="*/ 2993758 w 6530564"/>
              <a:gd name="connsiteY537" fmla="*/ 4645670 h 6858000"/>
              <a:gd name="connsiteX538" fmla="*/ 3002041 w 6530564"/>
              <a:gd name="connsiteY538" fmla="*/ 4651387 h 6858000"/>
              <a:gd name="connsiteX539" fmla="*/ 3003476 w 6530564"/>
              <a:gd name="connsiteY539" fmla="*/ 4651462 h 6858000"/>
              <a:gd name="connsiteX540" fmla="*/ 2964415 w 6530564"/>
              <a:gd name="connsiteY540" fmla="*/ 4622718 h 6858000"/>
              <a:gd name="connsiteX541" fmla="*/ 2964410 w 6530564"/>
              <a:gd name="connsiteY541" fmla="*/ 4622737 h 6858000"/>
              <a:gd name="connsiteX542" fmla="*/ 2964457 w 6530564"/>
              <a:gd name="connsiteY542" fmla="*/ 4622750 h 6858000"/>
              <a:gd name="connsiteX543" fmla="*/ 2936215 w 6530564"/>
              <a:gd name="connsiteY543" fmla="*/ 4620923 h 6858000"/>
              <a:gd name="connsiteX544" fmla="*/ 2938890 w 6530564"/>
              <a:gd name="connsiteY544" fmla="*/ 4621639 h 6858000"/>
              <a:gd name="connsiteX545" fmla="*/ 2938711 w 6530564"/>
              <a:gd name="connsiteY545" fmla="*/ 4622308 h 6858000"/>
              <a:gd name="connsiteX546" fmla="*/ 2922025 w 6530564"/>
              <a:gd name="connsiteY546" fmla="*/ 4586750 h 6858000"/>
              <a:gd name="connsiteX547" fmla="*/ 2919078 w 6530564"/>
              <a:gd name="connsiteY547" fmla="*/ 4591214 h 6858000"/>
              <a:gd name="connsiteX548" fmla="*/ 2912519 w 6530564"/>
              <a:gd name="connsiteY548" fmla="*/ 4591609 h 6858000"/>
              <a:gd name="connsiteX549" fmla="*/ 2922311 w 6530564"/>
              <a:gd name="connsiteY549" fmla="*/ 4608585 h 6858000"/>
              <a:gd name="connsiteX550" fmla="*/ 2917677 w 6530564"/>
              <a:gd name="connsiteY550" fmla="*/ 4604474 h 6858000"/>
              <a:gd name="connsiteX551" fmla="*/ 2913043 w 6530564"/>
              <a:gd name="connsiteY551" fmla="*/ 4600361 h 6858000"/>
              <a:gd name="connsiteX552" fmla="*/ 2915001 w 6530564"/>
              <a:gd name="connsiteY552" fmla="*/ 4603756 h 6858000"/>
              <a:gd name="connsiteX553" fmla="*/ 2919635 w 6530564"/>
              <a:gd name="connsiteY553" fmla="*/ 4607868 h 6858000"/>
              <a:gd name="connsiteX554" fmla="*/ 2921593 w 6530564"/>
              <a:gd name="connsiteY554" fmla="*/ 4611263 h 6858000"/>
              <a:gd name="connsiteX555" fmla="*/ 2932821 w 6530564"/>
              <a:gd name="connsiteY555" fmla="*/ 4622883 h 6858000"/>
              <a:gd name="connsiteX556" fmla="*/ 2935497 w 6530564"/>
              <a:gd name="connsiteY556" fmla="*/ 4623599 h 6858000"/>
              <a:gd name="connsiteX557" fmla="*/ 2938172 w 6530564"/>
              <a:gd name="connsiteY557" fmla="*/ 4624317 h 6858000"/>
              <a:gd name="connsiteX558" fmla="*/ 2938711 w 6530564"/>
              <a:gd name="connsiteY558" fmla="*/ 4622308 h 6858000"/>
              <a:gd name="connsiteX559" fmla="*/ 2941207 w 6530564"/>
              <a:gd name="connsiteY559" fmla="*/ 4623695 h 6858000"/>
              <a:gd name="connsiteX560" fmla="*/ 2946201 w 6530564"/>
              <a:gd name="connsiteY560" fmla="*/ 4626469 h 6858000"/>
              <a:gd name="connsiteX561" fmla="*/ 2941761 w 6530564"/>
              <a:gd name="connsiteY561" fmla="*/ 4610927 h 6858000"/>
              <a:gd name="connsiteX562" fmla="*/ 2961733 w 6530564"/>
              <a:gd name="connsiteY562" fmla="*/ 4622018 h 6858000"/>
              <a:gd name="connsiteX563" fmla="*/ 2962703 w 6530564"/>
              <a:gd name="connsiteY563" fmla="*/ 4621458 h 6858000"/>
              <a:gd name="connsiteX564" fmla="*/ 2948426 w 6530564"/>
              <a:gd name="connsiteY564" fmla="*/ 4610952 h 6858000"/>
              <a:gd name="connsiteX565" fmla="*/ 2860394 w 6530564"/>
              <a:gd name="connsiteY565" fmla="*/ 4530255 h 6858000"/>
              <a:gd name="connsiteX566" fmla="*/ 2873925 w 6530564"/>
              <a:gd name="connsiteY566" fmla="*/ 4544310 h 6858000"/>
              <a:gd name="connsiteX567" fmla="*/ 2898368 w 6530564"/>
              <a:gd name="connsiteY567" fmla="*/ 4565066 h 6858000"/>
              <a:gd name="connsiteX568" fmla="*/ 2850179 w 6530564"/>
              <a:gd name="connsiteY568" fmla="*/ 4503144 h 6858000"/>
              <a:gd name="connsiteX569" fmla="*/ 2849725 w 6530564"/>
              <a:gd name="connsiteY569" fmla="*/ 4504837 h 6858000"/>
              <a:gd name="connsiteX570" fmla="*/ 2856363 w 6530564"/>
              <a:gd name="connsiteY570" fmla="*/ 4508236 h 6858000"/>
              <a:gd name="connsiteX571" fmla="*/ 2855786 w 6530564"/>
              <a:gd name="connsiteY571" fmla="*/ 4507515 h 6858000"/>
              <a:gd name="connsiteX572" fmla="*/ 2857490 w 6530564"/>
              <a:gd name="connsiteY572" fmla="*/ 4507973 h 6858000"/>
              <a:gd name="connsiteX573" fmla="*/ 2858176 w 6530564"/>
              <a:gd name="connsiteY573" fmla="*/ 4509163 h 6858000"/>
              <a:gd name="connsiteX574" fmla="*/ 2862899 w 6530564"/>
              <a:gd name="connsiteY574" fmla="*/ 4511580 h 6858000"/>
              <a:gd name="connsiteX575" fmla="*/ 2852855 w 6530564"/>
              <a:gd name="connsiteY575" fmla="*/ 4503860 h 6858000"/>
              <a:gd name="connsiteX576" fmla="*/ 2855786 w 6530564"/>
              <a:gd name="connsiteY576" fmla="*/ 4507515 h 6858000"/>
              <a:gd name="connsiteX577" fmla="*/ 2854813 w 6530564"/>
              <a:gd name="connsiteY577" fmla="*/ 4507255 h 6858000"/>
              <a:gd name="connsiteX578" fmla="*/ 2850179 w 6530564"/>
              <a:gd name="connsiteY578" fmla="*/ 4503144 h 6858000"/>
              <a:gd name="connsiteX579" fmla="*/ 5450741 w 6530564"/>
              <a:gd name="connsiteY579" fmla="*/ 4439964 h 6858000"/>
              <a:gd name="connsiteX580" fmla="*/ 5377825 w 6530564"/>
              <a:gd name="connsiteY580" fmla="*/ 4530592 h 6858000"/>
              <a:gd name="connsiteX581" fmla="*/ 5323869 w 6530564"/>
              <a:gd name="connsiteY581" fmla="*/ 4592582 h 6858000"/>
              <a:gd name="connsiteX582" fmla="*/ 5314677 w 6530564"/>
              <a:gd name="connsiteY582" fmla="*/ 4613036 h 6858000"/>
              <a:gd name="connsiteX583" fmla="*/ 5364167 w 6530564"/>
              <a:gd name="connsiteY583" fmla="*/ 4564878 h 6858000"/>
              <a:gd name="connsiteX584" fmla="*/ 5370795 w 6530564"/>
              <a:gd name="connsiteY584" fmla="*/ 4560109 h 6858000"/>
              <a:gd name="connsiteX585" fmla="*/ 5397869 w 6530564"/>
              <a:gd name="connsiteY585" fmla="*/ 4523430 h 6858000"/>
              <a:gd name="connsiteX586" fmla="*/ 1643525 w 6530564"/>
              <a:gd name="connsiteY586" fmla="*/ 4432993 h 6858000"/>
              <a:gd name="connsiteX587" fmla="*/ 1644522 w 6530564"/>
              <a:gd name="connsiteY587" fmla="*/ 4437664 h 6858000"/>
              <a:gd name="connsiteX588" fmla="*/ 1643326 w 6530564"/>
              <a:gd name="connsiteY588" fmla="*/ 4435630 h 6858000"/>
              <a:gd name="connsiteX589" fmla="*/ 2776939 w 6530564"/>
              <a:gd name="connsiteY589" fmla="*/ 4423240 h 6858000"/>
              <a:gd name="connsiteX590" fmla="*/ 2779311 w 6530564"/>
              <a:gd name="connsiteY590" fmla="*/ 4426396 h 6858000"/>
              <a:gd name="connsiteX591" fmla="*/ 2778899 w 6530564"/>
              <a:gd name="connsiteY591" fmla="*/ 4426634 h 6858000"/>
              <a:gd name="connsiteX592" fmla="*/ 2776939 w 6530564"/>
              <a:gd name="connsiteY592" fmla="*/ 4423240 h 6858000"/>
              <a:gd name="connsiteX593" fmla="*/ 2676789 w 6530564"/>
              <a:gd name="connsiteY593" fmla="*/ 4299837 h 6858000"/>
              <a:gd name="connsiteX594" fmla="*/ 2665036 w 6530564"/>
              <a:gd name="connsiteY594" fmla="*/ 4302598 h 6858000"/>
              <a:gd name="connsiteX595" fmla="*/ 2701549 w 6530564"/>
              <a:gd name="connsiteY595" fmla="*/ 4351370 h 6858000"/>
              <a:gd name="connsiteX596" fmla="*/ 2741629 w 6530564"/>
              <a:gd name="connsiteY596" fmla="*/ 4405167 h 6858000"/>
              <a:gd name="connsiteX597" fmla="*/ 2786537 w 6530564"/>
              <a:gd name="connsiteY597" fmla="*/ 4451645 h 6858000"/>
              <a:gd name="connsiteX598" fmla="*/ 2822178 w 6530564"/>
              <a:gd name="connsiteY598" fmla="*/ 4489900 h 6858000"/>
              <a:gd name="connsiteX599" fmla="*/ 2824137 w 6530564"/>
              <a:gd name="connsiteY599" fmla="*/ 4493294 h 6858000"/>
              <a:gd name="connsiteX600" fmla="*/ 2828771 w 6530564"/>
              <a:gd name="connsiteY600" fmla="*/ 4497407 h 6858000"/>
              <a:gd name="connsiteX601" fmla="*/ 2839192 w 6530564"/>
              <a:gd name="connsiteY601" fmla="*/ 4508233 h 6858000"/>
              <a:gd name="connsiteX602" fmla="*/ 2837891 w 6530564"/>
              <a:gd name="connsiteY602" fmla="*/ 4500449 h 6858000"/>
              <a:gd name="connsiteX603" fmla="*/ 2829489 w 6530564"/>
              <a:gd name="connsiteY603" fmla="*/ 4494729 h 6858000"/>
              <a:gd name="connsiteX604" fmla="*/ 2832164 w 6530564"/>
              <a:gd name="connsiteY604" fmla="*/ 4495445 h 6858000"/>
              <a:gd name="connsiteX605" fmla="*/ 2827529 w 6530564"/>
              <a:gd name="connsiteY605" fmla="*/ 4491333 h 6858000"/>
              <a:gd name="connsiteX606" fmla="*/ 2825572 w 6530564"/>
              <a:gd name="connsiteY606" fmla="*/ 4487938 h 6858000"/>
              <a:gd name="connsiteX607" fmla="*/ 2779311 w 6530564"/>
              <a:gd name="connsiteY607" fmla="*/ 4426396 h 6858000"/>
              <a:gd name="connsiteX608" fmla="*/ 2782293 w 6530564"/>
              <a:gd name="connsiteY608" fmla="*/ 4424673 h 6858000"/>
              <a:gd name="connsiteX609" fmla="*/ 2779616 w 6530564"/>
              <a:gd name="connsiteY609" fmla="*/ 4423956 h 6858000"/>
              <a:gd name="connsiteX610" fmla="*/ 2776939 w 6530564"/>
              <a:gd name="connsiteY610" fmla="*/ 4423240 h 6858000"/>
              <a:gd name="connsiteX611" fmla="*/ 2774981 w 6530564"/>
              <a:gd name="connsiteY611" fmla="*/ 4419843 h 6858000"/>
              <a:gd name="connsiteX612" fmla="*/ 2765190 w 6530564"/>
              <a:gd name="connsiteY612" fmla="*/ 4402868 h 6858000"/>
              <a:gd name="connsiteX613" fmla="*/ 2766430 w 6530564"/>
              <a:gd name="connsiteY613" fmla="*/ 4408940 h 6858000"/>
              <a:gd name="connsiteX614" fmla="*/ 2763755 w 6530564"/>
              <a:gd name="connsiteY614" fmla="*/ 4408224 h 6858000"/>
              <a:gd name="connsiteX615" fmla="*/ 2761078 w 6530564"/>
              <a:gd name="connsiteY615" fmla="*/ 4407507 h 6858000"/>
              <a:gd name="connsiteX616" fmla="*/ 2763037 w 6530564"/>
              <a:gd name="connsiteY616" fmla="*/ 4410902 h 6858000"/>
              <a:gd name="connsiteX617" fmla="*/ 2747175 w 6530564"/>
              <a:gd name="connsiteY617" fmla="*/ 4395170 h 6858000"/>
              <a:gd name="connsiteX618" fmla="*/ 2749852 w 6530564"/>
              <a:gd name="connsiteY618" fmla="*/ 4395886 h 6858000"/>
              <a:gd name="connsiteX619" fmla="*/ 2751809 w 6530564"/>
              <a:gd name="connsiteY619" fmla="*/ 4399282 h 6858000"/>
              <a:gd name="connsiteX620" fmla="*/ 2754485 w 6530564"/>
              <a:gd name="connsiteY620" fmla="*/ 4399999 h 6858000"/>
              <a:gd name="connsiteX621" fmla="*/ 2750569 w 6530564"/>
              <a:gd name="connsiteY621" fmla="*/ 4393208 h 6858000"/>
              <a:gd name="connsiteX622" fmla="*/ 2748611 w 6530564"/>
              <a:gd name="connsiteY622" fmla="*/ 4389814 h 6858000"/>
              <a:gd name="connsiteX623" fmla="*/ 2736338 w 6530564"/>
              <a:gd name="connsiteY623" fmla="*/ 4360691 h 6858000"/>
              <a:gd name="connsiteX624" fmla="*/ 2722327 w 6530564"/>
              <a:gd name="connsiteY624" fmla="*/ 4344738 h 6858000"/>
              <a:gd name="connsiteX625" fmla="*/ 2716857 w 6530564"/>
              <a:gd name="connsiteY625" fmla="*/ 4339970 h 6858000"/>
              <a:gd name="connsiteX626" fmla="*/ 2703428 w 6530564"/>
              <a:gd name="connsiteY626" fmla="*/ 4336022 h 6858000"/>
              <a:gd name="connsiteX627" fmla="*/ 2688247 w 6530564"/>
              <a:gd name="connsiteY627" fmla="*/ 4319673 h 6858000"/>
              <a:gd name="connsiteX628" fmla="*/ 2677451 w 6530564"/>
              <a:gd name="connsiteY628" fmla="*/ 4300826 h 6858000"/>
              <a:gd name="connsiteX629" fmla="*/ 2337159 w 6530564"/>
              <a:gd name="connsiteY629" fmla="*/ 4269366 h 6858000"/>
              <a:gd name="connsiteX630" fmla="*/ 2339560 w 6530564"/>
              <a:gd name="connsiteY630" fmla="*/ 4273526 h 6858000"/>
              <a:gd name="connsiteX631" fmla="*/ 2339523 w 6530564"/>
              <a:gd name="connsiteY631" fmla="*/ 4273662 h 6858000"/>
              <a:gd name="connsiteX632" fmla="*/ 1526874 w 6530564"/>
              <a:gd name="connsiteY632" fmla="*/ 4252779 h 6858000"/>
              <a:gd name="connsiteX633" fmla="*/ 1534539 w 6530564"/>
              <a:gd name="connsiteY633" fmla="*/ 4265793 h 6858000"/>
              <a:gd name="connsiteX634" fmla="*/ 1529869 w 6530564"/>
              <a:gd name="connsiteY634" fmla="*/ 4266791 h 6858000"/>
              <a:gd name="connsiteX635" fmla="*/ 2351864 w 6530564"/>
              <a:gd name="connsiteY635" fmla="*/ 4227601 h 6858000"/>
              <a:gd name="connsiteX636" fmla="*/ 2354365 w 6530564"/>
              <a:gd name="connsiteY636" fmla="*/ 4231786 h 6858000"/>
              <a:gd name="connsiteX637" fmla="*/ 2354267 w 6530564"/>
              <a:gd name="connsiteY637" fmla="*/ 4231761 h 6858000"/>
              <a:gd name="connsiteX638" fmla="*/ 2351864 w 6530564"/>
              <a:gd name="connsiteY638" fmla="*/ 4227601 h 6858000"/>
              <a:gd name="connsiteX639" fmla="*/ 6397652 w 6530564"/>
              <a:gd name="connsiteY639" fmla="*/ 4184394 h 6858000"/>
              <a:gd name="connsiteX640" fmla="*/ 6397793 w 6530564"/>
              <a:gd name="connsiteY640" fmla="*/ 4184698 h 6858000"/>
              <a:gd name="connsiteX641" fmla="*/ 6393825 w 6530564"/>
              <a:gd name="connsiteY641" fmla="*/ 4194703 h 6858000"/>
              <a:gd name="connsiteX642" fmla="*/ 6495950 w 6530564"/>
              <a:gd name="connsiteY642" fmla="*/ 4124042 h 6858000"/>
              <a:gd name="connsiteX643" fmla="*/ 6492277 w 6530564"/>
              <a:gd name="connsiteY643" fmla="*/ 4129712 h 6858000"/>
              <a:gd name="connsiteX644" fmla="*/ 6495950 w 6530564"/>
              <a:gd name="connsiteY644" fmla="*/ 4124042 h 6858000"/>
              <a:gd name="connsiteX645" fmla="*/ 6447581 w 6530564"/>
              <a:gd name="connsiteY645" fmla="*/ 4072213 h 6858000"/>
              <a:gd name="connsiteX646" fmla="*/ 6446607 w 6530564"/>
              <a:gd name="connsiteY646" fmla="*/ 4075973 h 6858000"/>
              <a:gd name="connsiteX647" fmla="*/ 6447605 w 6530564"/>
              <a:gd name="connsiteY647" fmla="*/ 4080645 h 6858000"/>
              <a:gd name="connsiteX648" fmla="*/ 6443932 w 6530564"/>
              <a:gd name="connsiteY648" fmla="*/ 4086313 h 6858000"/>
              <a:gd name="connsiteX649" fmla="*/ 6441935 w 6530564"/>
              <a:gd name="connsiteY649" fmla="*/ 4076971 h 6858000"/>
              <a:gd name="connsiteX650" fmla="*/ 6451467 w 6530564"/>
              <a:gd name="connsiteY650" fmla="*/ 4062259 h 6858000"/>
              <a:gd name="connsiteX651" fmla="*/ 6448725 w 6530564"/>
              <a:gd name="connsiteY651" fmla="*/ 4071248 h 6858000"/>
              <a:gd name="connsiteX652" fmla="*/ 6447581 w 6530564"/>
              <a:gd name="connsiteY652" fmla="*/ 4072213 h 6858000"/>
              <a:gd name="connsiteX653" fmla="*/ 6449283 w 6530564"/>
              <a:gd name="connsiteY653" fmla="*/ 4065635 h 6858000"/>
              <a:gd name="connsiteX654" fmla="*/ 6095133 w 6530564"/>
              <a:gd name="connsiteY654" fmla="*/ 4053382 h 6858000"/>
              <a:gd name="connsiteX655" fmla="*/ 6093665 w 6530564"/>
              <a:gd name="connsiteY655" fmla="*/ 4058179 h 6858000"/>
              <a:gd name="connsiteX656" fmla="*/ 6092651 w 6530564"/>
              <a:gd name="connsiteY656" fmla="*/ 4060432 h 6858000"/>
              <a:gd name="connsiteX657" fmla="*/ 6092133 w 6530564"/>
              <a:gd name="connsiteY657" fmla="*/ 4058007 h 6858000"/>
              <a:gd name="connsiteX658" fmla="*/ 6095133 w 6530564"/>
              <a:gd name="connsiteY658" fmla="*/ 4053382 h 6858000"/>
              <a:gd name="connsiteX659" fmla="*/ 1243863 w 6530564"/>
              <a:gd name="connsiteY659" fmla="*/ 4048308 h 6858000"/>
              <a:gd name="connsiteX660" fmla="*/ 1243853 w 6530564"/>
              <a:gd name="connsiteY660" fmla="*/ 4048690 h 6858000"/>
              <a:gd name="connsiteX661" fmla="*/ 1244017 w 6530564"/>
              <a:gd name="connsiteY661" fmla="*/ 4049024 h 6858000"/>
              <a:gd name="connsiteX662" fmla="*/ 6459303 w 6530564"/>
              <a:gd name="connsiteY662" fmla="*/ 4043956 h 6858000"/>
              <a:gd name="connsiteX663" fmla="*/ 6452955 w 6530564"/>
              <a:gd name="connsiteY663" fmla="*/ 4059966 h 6858000"/>
              <a:gd name="connsiteX664" fmla="*/ 6451467 w 6530564"/>
              <a:gd name="connsiteY664" fmla="*/ 4062259 h 6858000"/>
              <a:gd name="connsiteX665" fmla="*/ 6453708 w 6530564"/>
              <a:gd name="connsiteY665" fmla="*/ 4054920 h 6858000"/>
              <a:gd name="connsiteX666" fmla="*/ 6455441 w 6530564"/>
              <a:gd name="connsiteY666" fmla="*/ 4044781 h 6858000"/>
              <a:gd name="connsiteX667" fmla="*/ 6456817 w 6530564"/>
              <a:gd name="connsiteY667" fmla="*/ 4036740 h 6858000"/>
              <a:gd name="connsiteX668" fmla="*/ 6455441 w 6530564"/>
              <a:gd name="connsiteY668" fmla="*/ 4044781 h 6858000"/>
              <a:gd name="connsiteX669" fmla="*/ 6454631 w 6530564"/>
              <a:gd name="connsiteY669" fmla="*/ 4044953 h 6858000"/>
              <a:gd name="connsiteX670" fmla="*/ 1431945 w 6530564"/>
              <a:gd name="connsiteY670" fmla="*/ 4014196 h 6858000"/>
              <a:gd name="connsiteX671" fmla="*/ 1434938 w 6530564"/>
              <a:gd name="connsiteY671" fmla="*/ 4028209 h 6858000"/>
              <a:gd name="connsiteX672" fmla="*/ 1428273 w 6530564"/>
              <a:gd name="connsiteY672" fmla="*/ 4019865 h 6858000"/>
              <a:gd name="connsiteX673" fmla="*/ 1431945 w 6530564"/>
              <a:gd name="connsiteY673" fmla="*/ 4014196 h 6858000"/>
              <a:gd name="connsiteX674" fmla="*/ 1496703 w 6530564"/>
              <a:gd name="connsiteY674" fmla="*/ 3951518 h 6858000"/>
              <a:gd name="connsiteX675" fmla="*/ 1502371 w 6530564"/>
              <a:gd name="connsiteY675" fmla="*/ 3955191 h 6858000"/>
              <a:gd name="connsiteX676" fmla="*/ 1498697 w 6530564"/>
              <a:gd name="connsiteY676" fmla="*/ 3960861 h 6858000"/>
              <a:gd name="connsiteX677" fmla="*/ 1496703 w 6530564"/>
              <a:gd name="connsiteY677" fmla="*/ 3951518 h 6858000"/>
              <a:gd name="connsiteX678" fmla="*/ 2081274 w 6530564"/>
              <a:gd name="connsiteY678" fmla="*/ 3919538 h 6858000"/>
              <a:gd name="connsiteX679" fmla="*/ 2082728 w 6530564"/>
              <a:gd name="connsiteY679" fmla="*/ 3919927 h 6858000"/>
              <a:gd name="connsiteX680" fmla="*/ 2081850 w 6530564"/>
              <a:gd name="connsiteY680" fmla="*/ 3923208 h 6858000"/>
              <a:gd name="connsiteX681" fmla="*/ 6530564 w 6530564"/>
              <a:gd name="connsiteY681" fmla="*/ 3917715 h 6858000"/>
              <a:gd name="connsiteX682" fmla="*/ 6530564 w 6530564"/>
              <a:gd name="connsiteY682" fmla="*/ 3921552 h 6858000"/>
              <a:gd name="connsiteX683" fmla="*/ 6527556 w 6530564"/>
              <a:gd name="connsiteY683" fmla="*/ 3926194 h 6858000"/>
              <a:gd name="connsiteX684" fmla="*/ 6527097 w 6530564"/>
              <a:gd name="connsiteY684" fmla="*/ 3926903 h 6858000"/>
              <a:gd name="connsiteX685" fmla="*/ 6183373 w 6530564"/>
              <a:gd name="connsiteY685" fmla="*/ 3883119 h 6858000"/>
              <a:gd name="connsiteX686" fmla="*/ 6183235 w 6530564"/>
              <a:gd name="connsiteY686" fmla="*/ 3887133 h 6858000"/>
              <a:gd name="connsiteX687" fmla="*/ 6182420 w 6530564"/>
              <a:gd name="connsiteY687" fmla="*/ 3883322 h 6858000"/>
              <a:gd name="connsiteX688" fmla="*/ 6530394 w 6530564"/>
              <a:gd name="connsiteY688" fmla="*/ 3785167 h 6858000"/>
              <a:gd name="connsiteX689" fmla="*/ 6530564 w 6530564"/>
              <a:gd name="connsiteY689" fmla="*/ 3785630 h 6858000"/>
              <a:gd name="connsiteX690" fmla="*/ 6530564 w 6530564"/>
              <a:gd name="connsiteY690" fmla="*/ 3792682 h 6858000"/>
              <a:gd name="connsiteX691" fmla="*/ 6526181 w 6530564"/>
              <a:gd name="connsiteY691" fmla="*/ 3785456 h 6858000"/>
              <a:gd name="connsiteX692" fmla="*/ 6530394 w 6530564"/>
              <a:gd name="connsiteY692" fmla="*/ 3785167 h 6858000"/>
              <a:gd name="connsiteX693" fmla="*/ 2531063 w 6530564"/>
              <a:gd name="connsiteY693" fmla="*/ 3675825 h 6858000"/>
              <a:gd name="connsiteX694" fmla="*/ 2572765 w 6530564"/>
              <a:gd name="connsiteY694" fmla="*/ 3812143 h 6858000"/>
              <a:gd name="connsiteX695" fmla="*/ 2619585 w 6530564"/>
              <a:gd name="connsiteY695" fmla="*/ 3940039 h 6858000"/>
              <a:gd name="connsiteX696" fmla="*/ 2689216 w 6530564"/>
              <a:gd name="connsiteY696" fmla="*/ 4071055 h 6858000"/>
              <a:gd name="connsiteX697" fmla="*/ 2731894 w 6530564"/>
              <a:gd name="connsiteY697" fmla="*/ 4145620 h 6858000"/>
              <a:gd name="connsiteX698" fmla="*/ 2736797 w 6530564"/>
              <a:gd name="connsiteY698" fmla="*/ 4151516 h 6858000"/>
              <a:gd name="connsiteX699" fmla="*/ 2736150 w 6530564"/>
              <a:gd name="connsiteY699" fmla="*/ 4154286 h 6858000"/>
              <a:gd name="connsiteX700" fmla="*/ 2761162 w 6530564"/>
              <a:gd name="connsiteY700" fmla="*/ 4192307 h 6858000"/>
              <a:gd name="connsiteX701" fmla="*/ 2734027 w 6530564"/>
              <a:gd name="connsiteY701" fmla="*/ 4159027 h 6858000"/>
              <a:gd name="connsiteX702" fmla="*/ 2727501 w 6530564"/>
              <a:gd name="connsiteY702" fmla="*/ 4162023 h 6858000"/>
              <a:gd name="connsiteX703" fmla="*/ 2719561 w 6530564"/>
              <a:gd name="connsiteY703" fmla="*/ 4158874 h 6858000"/>
              <a:gd name="connsiteX704" fmla="*/ 2694323 w 6530564"/>
              <a:gd name="connsiteY704" fmla="*/ 4128398 h 6858000"/>
              <a:gd name="connsiteX705" fmla="*/ 2638432 w 6530564"/>
              <a:gd name="connsiteY705" fmla="*/ 4030019 h 6858000"/>
              <a:gd name="connsiteX706" fmla="*/ 2616715 w 6530564"/>
              <a:gd name="connsiteY706" fmla="*/ 3986397 h 6858000"/>
              <a:gd name="connsiteX707" fmla="*/ 2616051 w 6530564"/>
              <a:gd name="connsiteY707" fmla="*/ 3985283 h 6858000"/>
              <a:gd name="connsiteX708" fmla="*/ 2614788 w 6530564"/>
              <a:gd name="connsiteY708" fmla="*/ 3982527 h 6858000"/>
              <a:gd name="connsiteX709" fmla="*/ 2613003 w 6530564"/>
              <a:gd name="connsiteY709" fmla="*/ 3978941 h 6858000"/>
              <a:gd name="connsiteX710" fmla="*/ 2612430 w 6530564"/>
              <a:gd name="connsiteY710" fmla="*/ 3977382 h 6858000"/>
              <a:gd name="connsiteX711" fmla="*/ 2590101 w 6530564"/>
              <a:gd name="connsiteY711" fmla="*/ 3928646 h 6858000"/>
              <a:gd name="connsiteX712" fmla="*/ 2588278 w 6530564"/>
              <a:gd name="connsiteY712" fmla="*/ 3930926 h 6858000"/>
              <a:gd name="connsiteX713" fmla="*/ 2586807 w 6530564"/>
              <a:gd name="connsiteY713" fmla="*/ 3937922 h 6858000"/>
              <a:gd name="connsiteX714" fmla="*/ 2585985 w 6530564"/>
              <a:gd name="connsiteY714" fmla="*/ 3941174 h 6858000"/>
              <a:gd name="connsiteX715" fmla="*/ 2612386 w 6530564"/>
              <a:gd name="connsiteY715" fmla="*/ 4010360 h 6858000"/>
              <a:gd name="connsiteX716" fmla="*/ 2690871 w 6530564"/>
              <a:gd name="connsiteY716" fmla="*/ 4160213 h 6858000"/>
              <a:gd name="connsiteX717" fmla="*/ 2700625 w 6530564"/>
              <a:gd name="connsiteY717" fmla="*/ 4177201 h 6858000"/>
              <a:gd name="connsiteX718" fmla="*/ 2708709 w 6530564"/>
              <a:gd name="connsiteY718" fmla="*/ 4189725 h 6858000"/>
              <a:gd name="connsiteX719" fmla="*/ 2709242 w 6530564"/>
              <a:gd name="connsiteY719" fmla="*/ 4192597 h 6858000"/>
              <a:gd name="connsiteX720" fmla="*/ 2818914 w 6530564"/>
              <a:gd name="connsiteY720" fmla="*/ 4346218 h 6858000"/>
              <a:gd name="connsiteX721" fmla="*/ 2958211 w 6530564"/>
              <a:gd name="connsiteY721" fmla="*/ 4492927 h 6858000"/>
              <a:gd name="connsiteX722" fmla="*/ 3037117 w 6530564"/>
              <a:gd name="connsiteY722" fmla="*/ 4556144 h 6858000"/>
              <a:gd name="connsiteX723" fmla="*/ 3127435 w 6530564"/>
              <a:gd name="connsiteY723" fmla="*/ 4612403 h 6858000"/>
              <a:gd name="connsiteX724" fmla="*/ 3228660 w 6530564"/>
              <a:gd name="connsiteY724" fmla="*/ 4665324 h 6858000"/>
              <a:gd name="connsiteX725" fmla="*/ 3284085 w 6530564"/>
              <a:gd name="connsiteY725" fmla="*/ 4680023 h 6858000"/>
              <a:gd name="connsiteX726" fmla="*/ 3324987 w 6530564"/>
              <a:gd name="connsiteY726" fmla="*/ 4690843 h 6858000"/>
              <a:gd name="connsiteX727" fmla="*/ 3540971 w 6530564"/>
              <a:gd name="connsiteY727" fmla="*/ 4768253 h 6858000"/>
              <a:gd name="connsiteX728" fmla="*/ 3555898 w 6530564"/>
              <a:gd name="connsiteY728" fmla="*/ 4767020 h 6858000"/>
              <a:gd name="connsiteX729" fmla="*/ 3541374 w 6530564"/>
              <a:gd name="connsiteY729" fmla="*/ 4755574 h 6858000"/>
              <a:gd name="connsiteX730" fmla="*/ 3218006 w 6530564"/>
              <a:gd name="connsiteY730" fmla="*/ 4624223 h 6858000"/>
              <a:gd name="connsiteX731" fmla="*/ 3205733 w 6530564"/>
              <a:gd name="connsiteY731" fmla="*/ 4618706 h 6858000"/>
              <a:gd name="connsiteX732" fmla="*/ 3202251 w 6530564"/>
              <a:gd name="connsiteY732" fmla="*/ 4605416 h 6858000"/>
              <a:gd name="connsiteX733" fmla="*/ 3215747 w 6530564"/>
              <a:gd name="connsiteY733" fmla="*/ 4603161 h 6858000"/>
              <a:gd name="connsiteX734" fmla="*/ 3277149 w 6530564"/>
              <a:gd name="connsiteY734" fmla="*/ 4635346 h 6858000"/>
              <a:gd name="connsiteX735" fmla="*/ 3300817 w 6530564"/>
              <a:gd name="connsiteY735" fmla="*/ 4645474 h 6858000"/>
              <a:gd name="connsiteX736" fmla="*/ 3203581 w 6530564"/>
              <a:gd name="connsiteY736" fmla="*/ 4589043 h 6858000"/>
              <a:gd name="connsiteX737" fmla="*/ 2817218 w 6530564"/>
              <a:gd name="connsiteY737" fmla="*/ 4214123 h 6858000"/>
              <a:gd name="connsiteX738" fmla="*/ 2795524 w 6530564"/>
              <a:gd name="connsiteY738" fmla="*/ 4180373 h 6858000"/>
              <a:gd name="connsiteX739" fmla="*/ 2794029 w 6530564"/>
              <a:gd name="connsiteY739" fmla="*/ 4178497 h 6858000"/>
              <a:gd name="connsiteX740" fmla="*/ 2777085 w 6530564"/>
              <a:gd name="connsiteY740" fmla="*/ 4161569 h 6858000"/>
              <a:gd name="connsiteX741" fmla="*/ 2741001 w 6530564"/>
              <a:gd name="connsiteY741" fmla="*/ 4101332 h 6858000"/>
              <a:gd name="connsiteX742" fmla="*/ 2679864 w 6530564"/>
              <a:gd name="connsiteY742" fmla="*/ 4007725 h 6858000"/>
              <a:gd name="connsiteX743" fmla="*/ 2531063 w 6530564"/>
              <a:gd name="connsiteY743" fmla="*/ 3675825 h 6858000"/>
              <a:gd name="connsiteX744" fmla="*/ 1469523 w 6530564"/>
              <a:gd name="connsiteY744" fmla="*/ 3664273 h 6858000"/>
              <a:gd name="connsiteX745" fmla="*/ 1470520 w 6530564"/>
              <a:gd name="connsiteY745" fmla="*/ 3668943 h 6858000"/>
              <a:gd name="connsiteX746" fmla="*/ 1464851 w 6530564"/>
              <a:gd name="connsiteY746" fmla="*/ 3665270 h 6858000"/>
              <a:gd name="connsiteX747" fmla="*/ 1469523 w 6530564"/>
              <a:gd name="connsiteY747" fmla="*/ 3664273 h 6858000"/>
              <a:gd name="connsiteX748" fmla="*/ 1961674 w 6530564"/>
              <a:gd name="connsiteY748" fmla="*/ 3623805 h 6858000"/>
              <a:gd name="connsiteX749" fmla="*/ 1961195 w 6530564"/>
              <a:gd name="connsiteY749" fmla="*/ 3627779 h 6858000"/>
              <a:gd name="connsiteX750" fmla="*/ 1960794 w 6530564"/>
              <a:gd name="connsiteY750" fmla="*/ 3627086 h 6858000"/>
              <a:gd name="connsiteX751" fmla="*/ 1961674 w 6530564"/>
              <a:gd name="connsiteY751" fmla="*/ 3623805 h 6858000"/>
              <a:gd name="connsiteX752" fmla="*/ 6199520 w 6530564"/>
              <a:gd name="connsiteY752" fmla="*/ 3608723 h 6858000"/>
              <a:gd name="connsiteX753" fmla="*/ 6184735 w 6530564"/>
              <a:gd name="connsiteY753" fmla="*/ 3707510 h 6858000"/>
              <a:gd name="connsiteX754" fmla="*/ 6163438 w 6530564"/>
              <a:gd name="connsiteY754" fmla="*/ 3775812 h 6858000"/>
              <a:gd name="connsiteX755" fmla="*/ 6164252 w 6530564"/>
              <a:gd name="connsiteY755" fmla="*/ 3779623 h 6858000"/>
              <a:gd name="connsiteX756" fmla="*/ 6161253 w 6530564"/>
              <a:gd name="connsiteY756" fmla="*/ 3784247 h 6858000"/>
              <a:gd name="connsiteX757" fmla="*/ 6165881 w 6530564"/>
              <a:gd name="connsiteY757" fmla="*/ 3787245 h 6858000"/>
              <a:gd name="connsiteX758" fmla="*/ 6168881 w 6530564"/>
              <a:gd name="connsiteY758" fmla="*/ 3782617 h 6858000"/>
              <a:gd name="connsiteX759" fmla="*/ 6144582 w 6530564"/>
              <a:gd name="connsiteY759" fmla="*/ 3855546 h 6858000"/>
              <a:gd name="connsiteX760" fmla="*/ 6142399 w 6530564"/>
              <a:gd name="connsiteY760" fmla="*/ 3863981 h 6858000"/>
              <a:gd name="connsiteX761" fmla="*/ 6139398 w 6530564"/>
              <a:gd name="connsiteY761" fmla="*/ 3868606 h 6858000"/>
              <a:gd name="connsiteX762" fmla="*/ 6144841 w 6530564"/>
              <a:gd name="connsiteY762" fmla="*/ 3875415 h 6858000"/>
              <a:gd name="connsiteX763" fmla="*/ 6133657 w 6530564"/>
              <a:gd name="connsiteY763" fmla="*/ 3897726 h 6858000"/>
              <a:gd name="connsiteX764" fmla="*/ 6089949 w 6530564"/>
              <a:gd name="connsiteY764" fmla="*/ 4066444 h 6858000"/>
              <a:gd name="connsiteX765" fmla="*/ 6092651 w 6530564"/>
              <a:gd name="connsiteY765" fmla="*/ 4060432 h 6858000"/>
              <a:gd name="connsiteX766" fmla="*/ 6092947 w 6530564"/>
              <a:gd name="connsiteY766" fmla="*/ 4061819 h 6858000"/>
              <a:gd name="connsiteX767" fmla="*/ 6090763 w 6530564"/>
              <a:gd name="connsiteY767" fmla="*/ 4070255 h 6858000"/>
              <a:gd name="connsiteX768" fmla="*/ 6094575 w 6530564"/>
              <a:gd name="connsiteY768" fmla="*/ 4069439 h 6858000"/>
              <a:gd name="connsiteX769" fmla="*/ 6096761 w 6530564"/>
              <a:gd name="connsiteY769" fmla="*/ 4061003 h 6858000"/>
              <a:gd name="connsiteX770" fmla="*/ 6093461 w 6530564"/>
              <a:gd name="connsiteY770" fmla="*/ 4101553 h 6858000"/>
              <a:gd name="connsiteX771" fmla="*/ 6092647 w 6530564"/>
              <a:gd name="connsiteY771" fmla="*/ 4097743 h 6858000"/>
              <a:gd name="connsiteX772" fmla="*/ 6090461 w 6530564"/>
              <a:gd name="connsiteY772" fmla="*/ 4106179 h 6858000"/>
              <a:gd name="connsiteX773" fmla="*/ 6087462 w 6530564"/>
              <a:gd name="connsiteY773" fmla="*/ 4110804 h 6858000"/>
              <a:gd name="connsiteX774" fmla="*/ 6037541 w 6530564"/>
              <a:gd name="connsiteY774" fmla="*/ 4213114 h 6858000"/>
              <a:gd name="connsiteX775" fmla="*/ 6040540 w 6530564"/>
              <a:gd name="connsiteY775" fmla="*/ 4208487 h 6858000"/>
              <a:gd name="connsiteX776" fmla="*/ 6035913 w 6530564"/>
              <a:gd name="connsiteY776" fmla="*/ 4205492 h 6858000"/>
              <a:gd name="connsiteX777" fmla="*/ 6036727 w 6530564"/>
              <a:gd name="connsiteY777" fmla="*/ 4209302 h 6858000"/>
              <a:gd name="connsiteX778" fmla="*/ 6037541 w 6530564"/>
              <a:gd name="connsiteY778" fmla="*/ 4213114 h 6858000"/>
              <a:gd name="connsiteX779" fmla="*/ 6034541 w 6530564"/>
              <a:gd name="connsiteY779" fmla="*/ 4217738 h 6858000"/>
              <a:gd name="connsiteX780" fmla="*/ 6019543 w 6530564"/>
              <a:gd name="connsiteY780" fmla="*/ 4240865 h 6858000"/>
              <a:gd name="connsiteX781" fmla="*/ 6026355 w 6530564"/>
              <a:gd name="connsiteY781" fmla="*/ 4235425 h 6858000"/>
              <a:gd name="connsiteX782" fmla="*/ 6027169 w 6530564"/>
              <a:gd name="connsiteY782" fmla="*/ 4239235 h 6858000"/>
              <a:gd name="connsiteX783" fmla="*/ 6027984 w 6530564"/>
              <a:gd name="connsiteY783" fmla="*/ 4243047 h 6858000"/>
              <a:gd name="connsiteX784" fmla="*/ 6030985 w 6530564"/>
              <a:gd name="connsiteY784" fmla="*/ 4238420 h 6858000"/>
              <a:gd name="connsiteX785" fmla="*/ 6021427 w 6530564"/>
              <a:gd name="connsiteY785" fmla="*/ 4268354 h 6858000"/>
              <a:gd name="connsiteX786" fmla="*/ 6020613 w 6530564"/>
              <a:gd name="connsiteY786" fmla="*/ 4264544 h 6858000"/>
              <a:gd name="connsiteX787" fmla="*/ 6023613 w 6530564"/>
              <a:gd name="connsiteY787" fmla="*/ 4259918 h 6858000"/>
              <a:gd name="connsiteX788" fmla="*/ 6022799 w 6530564"/>
              <a:gd name="connsiteY788" fmla="*/ 4256108 h 6858000"/>
              <a:gd name="connsiteX789" fmla="*/ 6016800 w 6530564"/>
              <a:gd name="connsiteY789" fmla="*/ 4265358 h 6858000"/>
              <a:gd name="connsiteX790" fmla="*/ 6013801 w 6530564"/>
              <a:gd name="connsiteY790" fmla="*/ 4269984 h 6858000"/>
              <a:gd name="connsiteX791" fmla="*/ 5985177 w 6530564"/>
              <a:gd name="connsiteY791" fmla="*/ 4303990 h 6858000"/>
              <a:gd name="connsiteX792" fmla="*/ 5968249 w 6530564"/>
              <a:gd name="connsiteY792" fmla="*/ 4355422 h 6858000"/>
              <a:gd name="connsiteX793" fmla="*/ 5964437 w 6530564"/>
              <a:gd name="connsiteY793" fmla="*/ 4356236 h 6858000"/>
              <a:gd name="connsiteX794" fmla="*/ 5962251 w 6530564"/>
              <a:gd name="connsiteY794" fmla="*/ 4364670 h 6858000"/>
              <a:gd name="connsiteX795" fmla="*/ 5958437 w 6530564"/>
              <a:gd name="connsiteY795" fmla="*/ 4365486 h 6858000"/>
              <a:gd name="connsiteX796" fmla="*/ 5959251 w 6530564"/>
              <a:gd name="connsiteY796" fmla="*/ 4369296 h 6858000"/>
              <a:gd name="connsiteX797" fmla="*/ 5945069 w 6530564"/>
              <a:gd name="connsiteY797" fmla="*/ 4396235 h 6858000"/>
              <a:gd name="connsiteX798" fmla="*/ 5955695 w 6530564"/>
              <a:gd name="connsiteY798" fmla="*/ 4389979 h 6858000"/>
              <a:gd name="connsiteX799" fmla="*/ 5956509 w 6530564"/>
              <a:gd name="connsiteY799" fmla="*/ 4393791 h 6858000"/>
              <a:gd name="connsiteX800" fmla="*/ 5959509 w 6530564"/>
              <a:gd name="connsiteY800" fmla="*/ 4389164 h 6858000"/>
              <a:gd name="connsiteX801" fmla="*/ 5963323 w 6530564"/>
              <a:gd name="connsiteY801" fmla="*/ 4388350 h 6858000"/>
              <a:gd name="connsiteX802" fmla="*/ 5943140 w 6530564"/>
              <a:gd name="connsiteY802" fmla="*/ 4424538 h 6858000"/>
              <a:gd name="connsiteX803" fmla="*/ 5933884 w 6530564"/>
              <a:gd name="connsiteY803" fmla="*/ 4418547 h 6858000"/>
              <a:gd name="connsiteX804" fmla="*/ 5895447 w 6530564"/>
              <a:gd name="connsiteY804" fmla="*/ 4462619 h 6858000"/>
              <a:gd name="connsiteX805" fmla="*/ 5880707 w 6530564"/>
              <a:gd name="connsiteY805" fmla="*/ 4505613 h 6858000"/>
              <a:gd name="connsiteX806" fmla="*/ 5846083 w 6530564"/>
              <a:gd name="connsiteY806" fmla="*/ 4548870 h 6858000"/>
              <a:gd name="connsiteX807" fmla="*/ 5839527 w 6530564"/>
              <a:gd name="connsiteY807" fmla="*/ 4574178 h 6858000"/>
              <a:gd name="connsiteX808" fmla="*/ 5727729 w 6530564"/>
              <a:gd name="connsiteY808" fmla="*/ 4741505 h 6858000"/>
              <a:gd name="connsiteX809" fmla="*/ 5808417 w 6530564"/>
              <a:gd name="connsiteY809" fmla="*/ 4652545 h 6858000"/>
              <a:gd name="connsiteX810" fmla="*/ 5869779 w 6530564"/>
              <a:gd name="connsiteY810" fmla="*/ 4547793 h 6858000"/>
              <a:gd name="connsiteX811" fmla="*/ 5870593 w 6530564"/>
              <a:gd name="connsiteY811" fmla="*/ 4551603 h 6858000"/>
              <a:gd name="connsiteX812" fmla="*/ 5868407 w 6530564"/>
              <a:gd name="connsiteY812" fmla="*/ 4560039 h 6858000"/>
              <a:gd name="connsiteX813" fmla="*/ 5871408 w 6530564"/>
              <a:gd name="connsiteY813" fmla="*/ 4555413 h 6858000"/>
              <a:gd name="connsiteX814" fmla="*/ 5878220 w 6530564"/>
              <a:gd name="connsiteY814" fmla="*/ 4549973 h 6858000"/>
              <a:gd name="connsiteX815" fmla="*/ 5869221 w 6530564"/>
              <a:gd name="connsiteY815" fmla="*/ 4563850 h 6858000"/>
              <a:gd name="connsiteX816" fmla="*/ 5934654 w 6530564"/>
              <a:gd name="connsiteY816" fmla="*/ 4478149 h 6858000"/>
              <a:gd name="connsiteX817" fmla="*/ 5995761 w 6530564"/>
              <a:gd name="connsiteY817" fmla="*/ 4353528 h 6858000"/>
              <a:gd name="connsiteX818" fmla="*/ 6037497 w 6530564"/>
              <a:gd name="connsiteY818" fmla="*/ 4268905 h 6858000"/>
              <a:gd name="connsiteX819" fmla="*/ 6066979 w 6530564"/>
              <a:gd name="connsiteY819" fmla="*/ 4182916 h 6858000"/>
              <a:gd name="connsiteX820" fmla="*/ 6092089 w 6530564"/>
              <a:gd name="connsiteY820" fmla="*/ 4113800 h 6858000"/>
              <a:gd name="connsiteX821" fmla="*/ 6095089 w 6530564"/>
              <a:gd name="connsiteY821" fmla="*/ 4109174 h 6858000"/>
              <a:gd name="connsiteX822" fmla="*/ 6097275 w 6530564"/>
              <a:gd name="connsiteY822" fmla="*/ 4100738 h 6858000"/>
              <a:gd name="connsiteX823" fmla="*/ 6147797 w 6530564"/>
              <a:gd name="connsiteY823" fmla="*/ 3926580 h 6858000"/>
              <a:gd name="connsiteX824" fmla="*/ 6161681 w 6530564"/>
              <a:gd name="connsiteY824" fmla="*/ 3935566 h 6858000"/>
              <a:gd name="connsiteX825" fmla="*/ 6176677 w 6530564"/>
              <a:gd name="connsiteY825" fmla="*/ 3912441 h 6858000"/>
              <a:gd name="connsiteX826" fmla="*/ 6174493 w 6530564"/>
              <a:gd name="connsiteY826" fmla="*/ 3920876 h 6858000"/>
              <a:gd name="connsiteX827" fmla="*/ 6172306 w 6530564"/>
              <a:gd name="connsiteY827" fmla="*/ 3929312 h 6858000"/>
              <a:gd name="connsiteX828" fmla="*/ 6175307 w 6530564"/>
              <a:gd name="connsiteY828" fmla="*/ 3924687 h 6858000"/>
              <a:gd name="connsiteX829" fmla="*/ 6177492 w 6530564"/>
              <a:gd name="connsiteY829" fmla="*/ 3916252 h 6858000"/>
              <a:gd name="connsiteX830" fmla="*/ 6180491 w 6530564"/>
              <a:gd name="connsiteY830" fmla="*/ 3911626 h 6858000"/>
              <a:gd name="connsiteX831" fmla="*/ 6187861 w 6530564"/>
              <a:gd name="connsiteY831" fmla="*/ 3890129 h 6858000"/>
              <a:gd name="connsiteX832" fmla="*/ 6187047 w 6530564"/>
              <a:gd name="connsiteY832" fmla="*/ 3886319 h 6858000"/>
              <a:gd name="connsiteX833" fmla="*/ 6186233 w 6530564"/>
              <a:gd name="connsiteY833" fmla="*/ 3882508 h 6858000"/>
              <a:gd name="connsiteX834" fmla="*/ 6183373 w 6530564"/>
              <a:gd name="connsiteY834" fmla="*/ 3883119 h 6858000"/>
              <a:gd name="connsiteX835" fmla="*/ 6183513 w 6530564"/>
              <a:gd name="connsiteY835" fmla="*/ 3879104 h 6858000"/>
              <a:gd name="connsiteX836" fmla="*/ 6183791 w 6530564"/>
              <a:gd name="connsiteY836" fmla="*/ 3871076 h 6858000"/>
              <a:gd name="connsiteX837" fmla="*/ 6167166 w 6530564"/>
              <a:gd name="connsiteY837" fmla="*/ 3886581 h 6858000"/>
              <a:gd name="connsiteX838" fmla="*/ 6168280 w 6530564"/>
              <a:gd name="connsiteY838" fmla="*/ 3854469 h 6858000"/>
              <a:gd name="connsiteX839" fmla="*/ 6163653 w 6530564"/>
              <a:gd name="connsiteY839" fmla="*/ 3851471 h 6858000"/>
              <a:gd name="connsiteX840" fmla="*/ 6167465 w 6530564"/>
              <a:gd name="connsiteY840" fmla="*/ 3850657 h 6858000"/>
              <a:gd name="connsiteX841" fmla="*/ 6166651 w 6530564"/>
              <a:gd name="connsiteY841" fmla="*/ 3846847 h 6858000"/>
              <a:gd name="connsiteX842" fmla="*/ 6165837 w 6530564"/>
              <a:gd name="connsiteY842" fmla="*/ 3843036 h 6858000"/>
              <a:gd name="connsiteX843" fmla="*/ 6165022 w 6530564"/>
              <a:gd name="connsiteY843" fmla="*/ 3839226 h 6858000"/>
              <a:gd name="connsiteX844" fmla="*/ 6175693 w 6530564"/>
              <a:gd name="connsiteY844" fmla="*/ 3777178 h 6858000"/>
              <a:gd name="connsiteX845" fmla="*/ 6171880 w 6530564"/>
              <a:gd name="connsiteY845" fmla="*/ 3777993 h 6858000"/>
              <a:gd name="connsiteX846" fmla="*/ 6174879 w 6530564"/>
              <a:gd name="connsiteY846" fmla="*/ 3773367 h 6858000"/>
              <a:gd name="connsiteX847" fmla="*/ 6180065 w 6530564"/>
              <a:gd name="connsiteY847" fmla="*/ 3760306 h 6858000"/>
              <a:gd name="connsiteX848" fmla="*/ 6175436 w 6530564"/>
              <a:gd name="connsiteY848" fmla="*/ 3757310 h 6858000"/>
              <a:gd name="connsiteX849" fmla="*/ 6197548 w 6530564"/>
              <a:gd name="connsiteY849" fmla="*/ 3692818 h 6858000"/>
              <a:gd name="connsiteX850" fmla="*/ 6199520 w 6530564"/>
              <a:gd name="connsiteY850" fmla="*/ 3608723 h 6858000"/>
              <a:gd name="connsiteX851" fmla="*/ 6065238 w 6530564"/>
              <a:gd name="connsiteY851" fmla="*/ 3308795 h 6858000"/>
              <a:gd name="connsiteX852" fmla="*/ 6065531 w 6530564"/>
              <a:gd name="connsiteY852" fmla="*/ 3314628 h 6858000"/>
              <a:gd name="connsiteX853" fmla="*/ 5962661 w 6530564"/>
              <a:gd name="connsiteY853" fmla="*/ 3968210 h 6858000"/>
              <a:gd name="connsiteX854" fmla="*/ 5809937 w 6530564"/>
              <a:gd name="connsiteY854" fmla="*/ 4303923 h 6858000"/>
              <a:gd name="connsiteX855" fmla="*/ 5551706 w 6530564"/>
              <a:gd name="connsiteY855" fmla="*/ 4690196 h 6858000"/>
              <a:gd name="connsiteX856" fmla="*/ 5516536 w 6530564"/>
              <a:gd name="connsiteY856" fmla="*/ 4707050 h 6858000"/>
              <a:gd name="connsiteX857" fmla="*/ 5503087 w 6530564"/>
              <a:gd name="connsiteY857" fmla="*/ 4713664 h 6858000"/>
              <a:gd name="connsiteX858" fmla="*/ 5304022 w 6530564"/>
              <a:gd name="connsiteY858" fmla="*/ 4917255 h 6858000"/>
              <a:gd name="connsiteX859" fmla="*/ 5300471 w 6530564"/>
              <a:gd name="connsiteY859" fmla="*/ 4925062 h 6858000"/>
              <a:gd name="connsiteX860" fmla="*/ 5343981 w 6530564"/>
              <a:gd name="connsiteY860" fmla="*/ 4920662 h 6858000"/>
              <a:gd name="connsiteX861" fmla="*/ 5655346 w 6530564"/>
              <a:gd name="connsiteY861" fmla="*/ 4608480 h 6858000"/>
              <a:gd name="connsiteX862" fmla="*/ 5983356 w 6530564"/>
              <a:gd name="connsiteY862" fmla="*/ 3978135 h 6858000"/>
              <a:gd name="connsiteX863" fmla="*/ 6073117 w 6530564"/>
              <a:gd name="connsiteY863" fmla="*/ 3583217 h 6858000"/>
              <a:gd name="connsiteX864" fmla="*/ 6074066 w 6530564"/>
              <a:gd name="connsiteY864" fmla="*/ 3578467 h 6858000"/>
              <a:gd name="connsiteX865" fmla="*/ 6079369 w 6530564"/>
              <a:gd name="connsiteY865" fmla="*/ 3507090 h 6858000"/>
              <a:gd name="connsiteX866" fmla="*/ 6072751 w 6530564"/>
              <a:gd name="connsiteY866" fmla="*/ 3363985 h 6858000"/>
              <a:gd name="connsiteX867" fmla="*/ 2047326 w 6530564"/>
              <a:gd name="connsiteY867" fmla="*/ 3281632 h 6858000"/>
              <a:gd name="connsiteX868" fmla="*/ 2045645 w 6530564"/>
              <a:gd name="connsiteY868" fmla="*/ 3284178 h 6858000"/>
              <a:gd name="connsiteX869" fmla="*/ 2047343 w 6530564"/>
              <a:gd name="connsiteY869" fmla="*/ 3286585 h 6858000"/>
              <a:gd name="connsiteX870" fmla="*/ 2051036 w 6530564"/>
              <a:gd name="connsiteY870" fmla="*/ 3201671 h 6858000"/>
              <a:gd name="connsiteX871" fmla="*/ 2050661 w 6530564"/>
              <a:gd name="connsiteY871" fmla="*/ 3206416 h 6858000"/>
              <a:gd name="connsiteX872" fmla="*/ 2049263 w 6530564"/>
              <a:gd name="connsiteY872" fmla="*/ 3226807 h 6858000"/>
              <a:gd name="connsiteX873" fmla="*/ 2049406 w 6530564"/>
              <a:gd name="connsiteY873" fmla="*/ 3233130 h 6858000"/>
              <a:gd name="connsiteX874" fmla="*/ 1495570 w 6530564"/>
              <a:gd name="connsiteY874" fmla="*/ 3077486 h 6858000"/>
              <a:gd name="connsiteX875" fmla="*/ 1496569 w 6530564"/>
              <a:gd name="connsiteY875" fmla="*/ 3082159 h 6858000"/>
              <a:gd name="connsiteX876" fmla="*/ 1491897 w 6530564"/>
              <a:gd name="connsiteY876" fmla="*/ 3083156 h 6858000"/>
              <a:gd name="connsiteX877" fmla="*/ 1495570 w 6530564"/>
              <a:gd name="connsiteY877" fmla="*/ 3077486 h 6858000"/>
              <a:gd name="connsiteX878" fmla="*/ 2063000 w 6530564"/>
              <a:gd name="connsiteY878" fmla="*/ 3065542 h 6858000"/>
              <a:gd name="connsiteX879" fmla="*/ 2061195 w 6530564"/>
              <a:gd name="connsiteY879" fmla="*/ 3075253 h 6858000"/>
              <a:gd name="connsiteX880" fmla="*/ 2058277 w 6530564"/>
              <a:gd name="connsiteY880" fmla="*/ 3102543 h 6858000"/>
              <a:gd name="connsiteX881" fmla="*/ 2056929 w 6530564"/>
              <a:gd name="connsiteY881" fmla="*/ 3122128 h 6858000"/>
              <a:gd name="connsiteX882" fmla="*/ 6487598 w 6530564"/>
              <a:gd name="connsiteY882" fmla="*/ 3056185 h 6858000"/>
              <a:gd name="connsiteX883" fmla="*/ 6493268 w 6530564"/>
              <a:gd name="connsiteY883" fmla="*/ 3059858 h 6858000"/>
              <a:gd name="connsiteX884" fmla="*/ 6488597 w 6530564"/>
              <a:gd name="connsiteY884" fmla="*/ 3060857 h 6858000"/>
              <a:gd name="connsiteX885" fmla="*/ 6487598 w 6530564"/>
              <a:gd name="connsiteY885" fmla="*/ 3056185 h 6858000"/>
              <a:gd name="connsiteX886" fmla="*/ 6485963 w 6530564"/>
              <a:gd name="connsiteY886" fmla="*/ 3002807 h 6858000"/>
              <a:gd name="connsiteX887" fmla="*/ 6508597 w 6530564"/>
              <a:gd name="connsiteY887" fmla="*/ 3085888 h 6858000"/>
              <a:gd name="connsiteX888" fmla="*/ 6520853 w 6530564"/>
              <a:gd name="connsiteY888" fmla="*/ 3091817 h 6858000"/>
              <a:gd name="connsiteX889" fmla="*/ 6530564 w 6530564"/>
              <a:gd name="connsiteY889" fmla="*/ 3120178 h 6858000"/>
              <a:gd name="connsiteX890" fmla="*/ 6530564 w 6530564"/>
              <a:gd name="connsiteY890" fmla="*/ 3206162 h 6858000"/>
              <a:gd name="connsiteX891" fmla="*/ 6521209 w 6530564"/>
              <a:gd name="connsiteY891" fmla="*/ 3190646 h 6858000"/>
              <a:gd name="connsiteX892" fmla="*/ 6525881 w 6530564"/>
              <a:gd name="connsiteY892" fmla="*/ 3189649 h 6858000"/>
              <a:gd name="connsiteX893" fmla="*/ 6523885 w 6530564"/>
              <a:gd name="connsiteY893" fmla="*/ 3180305 h 6858000"/>
              <a:gd name="connsiteX894" fmla="*/ 6522887 w 6530564"/>
              <a:gd name="connsiteY894" fmla="*/ 3175635 h 6858000"/>
              <a:gd name="connsiteX895" fmla="*/ 6517578 w 6530564"/>
              <a:gd name="connsiteY895" fmla="*/ 3127927 h 6858000"/>
              <a:gd name="connsiteX896" fmla="*/ 6512907 w 6530564"/>
              <a:gd name="connsiteY896" fmla="*/ 3128925 h 6858000"/>
              <a:gd name="connsiteX897" fmla="*/ 6516581 w 6530564"/>
              <a:gd name="connsiteY897" fmla="*/ 3123256 h 6858000"/>
              <a:gd name="connsiteX898" fmla="*/ 6510911 w 6530564"/>
              <a:gd name="connsiteY898" fmla="*/ 3119583 h 6858000"/>
              <a:gd name="connsiteX899" fmla="*/ 6504923 w 6530564"/>
              <a:gd name="connsiteY899" fmla="*/ 3091557 h 6858000"/>
              <a:gd name="connsiteX900" fmla="*/ 6497260 w 6530564"/>
              <a:gd name="connsiteY900" fmla="*/ 3078542 h 6858000"/>
              <a:gd name="connsiteX901" fmla="*/ 6500931 w 6530564"/>
              <a:gd name="connsiteY901" fmla="*/ 3072873 h 6858000"/>
              <a:gd name="connsiteX902" fmla="*/ 6490593 w 6530564"/>
              <a:gd name="connsiteY902" fmla="*/ 3070198 h 6858000"/>
              <a:gd name="connsiteX903" fmla="*/ 6495263 w 6530564"/>
              <a:gd name="connsiteY903" fmla="*/ 3069200 h 6858000"/>
              <a:gd name="connsiteX904" fmla="*/ 6494265 w 6530564"/>
              <a:gd name="connsiteY904" fmla="*/ 3064529 h 6858000"/>
              <a:gd name="connsiteX905" fmla="*/ 6493268 w 6530564"/>
              <a:gd name="connsiteY905" fmla="*/ 3059858 h 6858000"/>
              <a:gd name="connsiteX906" fmla="*/ 6492269 w 6530564"/>
              <a:gd name="connsiteY906" fmla="*/ 3055188 h 6858000"/>
              <a:gd name="connsiteX907" fmla="*/ 6491272 w 6530564"/>
              <a:gd name="connsiteY907" fmla="*/ 3050515 h 6858000"/>
              <a:gd name="connsiteX908" fmla="*/ 6493945 w 6530564"/>
              <a:gd name="connsiteY908" fmla="*/ 3040177 h 6858000"/>
              <a:gd name="connsiteX909" fmla="*/ 6487279 w 6530564"/>
              <a:gd name="connsiteY909" fmla="*/ 3031831 h 6858000"/>
              <a:gd name="connsiteX910" fmla="*/ 6485963 w 6530564"/>
              <a:gd name="connsiteY910" fmla="*/ 3002807 h 6858000"/>
              <a:gd name="connsiteX911" fmla="*/ 2135961 w 6530564"/>
              <a:gd name="connsiteY911" fmla="*/ 2977892 h 6858000"/>
              <a:gd name="connsiteX912" fmla="*/ 2135002 w 6530564"/>
              <a:gd name="connsiteY912" fmla="*/ 2982694 h 6858000"/>
              <a:gd name="connsiteX913" fmla="*/ 2136350 w 6530564"/>
              <a:gd name="connsiteY913" fmla="*/ 2985028 h 6858000"/>
              <a:gd name="connsiteX914" fmla="*/ 2138107 w 6530564"/>
              <a:gd name="connsiteY914" fmla="*/ 2978468 h 6858000"/>
              <a:gd name="connsiteX915" fmla="*/ 1530525 w 6530564"/>
              <a:gd name="connsiteY915" fmla="*/ 2870743 h 6858000"/>
              <a:gd name="connsiteX916" fmla="*/ 1530389 w 6530564"/>
              <a:gd name="connsiteY916" fmla="*/ 2874680 h 6858000"/>
              <a:gd name="connsiteX917" fmla="*/ 1526716 w 6530564"/>
              <a:gd name="connsiteY917" fmla="*/ 2880348 h 6858000"/>
              <a:gd name="connsiteX918" fmla="*/ 1549890 w 6530564"/>
              <a:gd name="connsiteY918" fmla="*/ 2806826 h 6858000"/>
              <a:gd name="connsiteX919" fmla="*/ 1550113 w 6530564"/>
              <a:gd name="connsiteY919" fmla="*/ 2806971 h 6858000"/>
              <a:gd name="connsiteX920" fmla="*/ 1549629 w 6530564"/>
              <a:gd name="connsiteY920" fmla="*/ 2807814 h 6858000"/>
              <a:gd name="connsiteX921" fmla="*/ 2190201 w 6530564"/>
              <a:gd name="connsiteY921" fmla="*/ 2770932 h 6858000"/>
              <a:gd name="connsiteX922" fmla="*/ 2189323 w 6530564"/>
              <a:gd name="connsiteY922" fmla="*/ 2774211 h 6858000"/>
              <a:gd name="connsiteX923" fmla="*/ 2188443 w 6530564"/>
              <a:gd name="connsiteY923" fmla="*/ 2777491 h 6858000"/>
              <a:gd name="connsiteX924" fmla="*/ 2184927 w 6530564"/>
              <a:gd name="connsiteY924" fmla="*/ 2790612 h 6858000"/>
              <a:gd name="connsiteX925" fmla="*/ 2181290 w 6530564"/>
              <a:gd name="connsiteY925" fmla="*/ 2797164 h 6858000"/>
              <a:gd name="connsiteX926" fmla="*/ 6368398 w 6530564"/>
              <a:gd name="connsiteY926" fmla="*/ 2681145 h 6858000"/>
              <a:gd name="connsiteX927" fmla="*/ 6376065 w 6530564"/>
              <a:gd name="connsiteY927" fmla="*/ 2694161 h 6858000"/>
              <a:gd name="connsiteX928" fmla="*/ 6377063 w 6530564"/>
              <a:gd name="connsiteY928" fmla="*/ 2698832 h 6858000"/>
              <a:gd name="connsiteX929" fmla="*/ 6378061 w 6530564"/>
              <a:gd name="connsiteY929" fmla="*/ 2703503 h 6858000"/>
              <a:gd name="connsiteX930" fmla="*/ 6379057 w 6530564"/>
              <a:gd name="connsiteY930" fmla="*/ 2708174 h 6858000"/>
              <a:gd name="connsiteX931" fmla="*/ 6372391 w 6530564"/>
              <a:gd name="connsiteY931" fmla="*/ 2699831 h 6858000"/>
              <a:gd name="connsiteX932" fmla="*/ 6368398 w 6530564"/>
              <a:gd name="connsiteY932" fmla="*/ 2681145 h 6858000"/>
              <a:gd name="connsiteX933" fmla="*/ 1615952 w 6530564"/>
              <a:gd name="connsiteY933" fmla="*/ 2612189 h 6858000"/>
              <a:gd name="connsiteX934" fmla="*/ 1617948 w 6530564"/>
              <a:gd name="connsiteY934" fmla="*/ 2621531 h 6858000"/>
              <a:gd name="connsiteX935" fmla="*/ 1578861 w 6530564"/>
              <a:gd name="connsiteY935" fmla="*/ 2712914 h 6858000"/>
              <a:gd name="connsiteX936" fmla="*/ 1573966 w 6530564"/>
              <a:gd name="connsiteY936" fmla="*/ 2741433 h 6858000"/>
              <a:gd name="connsiteX937" fmla="*/ 1556905 w 6530564"/>
              <a:gd name="connsiteY937" fmla="*/ 2780304 h 6858000"/>
              <a:gd name="connsiteX938" fmla="*/ 1579289 w 6530564"/>
              <a:gd name="connsiteY938" fmla="*/ 2695699 h 6858000"/>
              <a:gd name="connsiteX939" fmla="*/ 1595842 w 6530564"/>
              <a:gd name="connsiteY939" fmla="*/ 2645791 h 6858000"/>
              <a:gd name="connsiteX940" fmla="*/ 1603256 w 6530564"/>
              <a:gd name="connsiteY940" fmla="*/ 2644207 h 6858000"/>
              <a:gd name="connsiteX941" fmla="*/ 1612279 w 6530564"/>
              <a:gd name="connsiteY941" fmla="*/ 2617859 h 6858000"/>
              <a:gd name="connsiteX942" fmla="*/ 1615952 w 6530564"/>
              <a:gd name="connsiteY942" fmla="*/ 2612189 h 6858000"/>
              <a:gd name="connsiteX943" fmla="*/ 1613956 w 6530564"/>
              <a:gd name="connsiteY943" fmla="*/ 2602847 h 6858000"/>
              <a:gd name="connsiteX944" fmla="*/ 1611280 w 6530564"/>
              <a:gd name="connsiteY944" fmla="*/ 2613188 h 6858000"/>
              <a:gd name="connsiteX945" fmla="*/ 1607608 w 6530564"/>
              <a:gd name="connsiteY945" fmla="*/ 2618857 h 6858000"/>
              <a:gd name="connsiteX946" fmla="*/ 1599798 w 6530564"/>
              <a:gd name="connsiteY946" fmla="*/ 2633861 h 6858000"/>
              <a:gd name="connsiteX947" fmla="*/ 1607087 w 6530564"/>
              <a:gd name="connsiteY947" fmla="*/ 2611884 h 6858000"/>
              <a:gd name="connsiteX948" fmla="*/ 1610283 w 6530564"/>
              <a:gd name="connsiteY948" fmla="*/ 2608515 h 6858000"/>
              <a:gd name="connsiteX949" fmla="*/ 1609003 w 6530564"/>
              <a:gd name="connsiteY949" fmla="*/ 2606107 h 6858000"/>
              <a:gd name="connsiteX950" fmla="*/ 1609622 w 6530564"/>
              <a:gd name="connsiteY950" fmla="*/ 2604236 h 6858000"/>
              <a:gd name="connsiteX951" fmla="*/ 1612438 w 6530564"/>
              <a:gd name="connsiteY951" fmla="*/ 2595743 h 6858000"/>
              <a:gd name="connsiteX952" fmla="*/ 1612958 w 6530564"/>
              <a:gd name="connsiteY952" fmla="*/ 2598177 h 6858000"/>
              <a:gd name="connsiteX953" fmla="*/ 1611136 w 6530564"/>
              <a:gd name="connsiteY953" fmla="*/ 2599671 h 6858000"/>
              <a:gd name="connsiteX954" fmla="*/ 1622980 w 6530564"/>
              <a:gd name="connsiteY954" fmla="*/ 2576498 h 6858000"/>
              <a:gd name="connsiteX955" fmla="*/ 1620306 w 6530564"/>
              <a:gd name="connsiteY955" fmla="*/ 2586839 h 6858000"/>
              <a:gd name="connsiteX956" fmla="*/ 1619308 w 6530564"/>
              <a:gd name="connsiteY956" fmla="*/ 2582167 h 6858000"/>
              <a:gd name="connsiteX957" fmla="*/ 1616762 w 6530564"/>
              <a:gd name="connsiteY957" fmla="*/ 2582712 h 6858000"/>
              <a:gd name="connsiteX958" fmla="*/ 1618505 w 6530564"/>
              <a:gd name="connsiteY958" fmla="*/ 2577454 h 6858000"/>
              <a:gd name="connsiteX959" fmla="*/ 1649502 w 6530564"/>
              <a:gd name="connsiteY959" fmla="*/ 2499886 h 6858000"/>
              <a:gd name="connsiteX960" fmla="*/ 1648634 w 6530564"/>
              <a:gd name="connsiteY960" fmla="*/ 2503325 h 6858000"/>
              <a:gd name="connsiteX961" fmla="*/ 1655719 w 6530564"/>
              <a:gd name="connsiteY961" fmla="*/ 2501126 h 6858000"/>
              <a:gd name="connsiteX962" fmla="*/ 1625655 w 6530564"/>
              <a:gd name="connsiteY962" fmla="*/ 2566159 h 6858000"/>
              <a:gd name="connsiteX963" fmla="*/ 1621993 w 6530564"/>
              <a:gd name="connsiteY963" fmla="*/ 2566942 h 6858000"/>
              <a:gd name="connsiteX964" fmla="*/ 1623115 w 6530564"/>
              <a:gd name="connsiteY964" fmla="*/ 2563555 h 6858000"/>
              <a:gd name="connsiteX965" fmla="*/ 2319373 w 6530564"/>
              <a:gd name="connsiteY965" fmla="*/ 2498792 h 6858000"/>
              <a:gd name="connsiteX966" fmla="*/ 2303814 w 6530564"/>
              <a:gd name="connsiteY966" fmla="*/ 2500188 h 6858000"/>
              <a:gd name="connsiteX967" fmla="*/ 2290837 w 6530564"/>
              <a:gd name="connsiteY967" fmla="*/ 2517807 h 6858000"/>
              <a:gd name="connsiteX968" fmla="*/ 2215875 w 6530564"/>
              <a:gd name="connsiteY968" fmla="*/ 2697450 h 6858000"/>
              <a:gd name="connsiteX969" fmla="*/ 2209226 w 6530564"/>
              <a:gd name="connsiteY969" fmla="*/ 2715686 h 6858000"/>
              <a:gd name="connsiteX970" fmla="*/ 2208765 w 6530564"/>
              <a:gd name="connsiteY970" fmla="*/ 2718664 h 6858000"/>
              <a:gd name="connsiteX971" fmla="*/ 2202915 w 6530564"/>
              <a:gd name="connsiteY971" fmla="*/ 2749726 h 6858000"/>
              <a:gd name="connsiteX972" fmla="*/ 2202035 w 6530564"/>
              <a:gd name="connsiteY972" fmla="*/ 2753007 h 6858000"/>
              <a:gd name="connsiteX973" fmla="*/ 2195240 w 6530564"/>
              <a:gd name="connsiteY973" fmla="*/ 2765248 h 6858000"/>
              <a:gd name="connsiteX974" fmla="*/ 2191960 w 6530564"/>
              <a:gd name="connsiteY974" fmla="*/ 2764370 h 6858000"/>
              <a:gd name="connsiteX975" fmla="*/ 2191515 w 6530564"/>
              <a:gd name="connsiteY975" fmla="*/ 2764250 h 6858000"/>
              <a:gd name="connsiteX976" fmla="*/ 2182554 w 6530564"/>
              <a:gd name="connsiteY976" fmla="*/ 2788823 h 6858000"/>
              <a:gd name="connsiteX977" fmla="*/ 2178751 w 6530564"/>
              <a:gd name="connsiteY977" fmla="*/ 2801737 h 6858000"/>
              <a:gd name="connsiteX978" fmla="*/ 2181290 w 6530564"/>
              <a:gd name="connsiteY978" fmla="*/ 2797164 h 6858000"/>
              <a:gd name="connsiteX979" fmla="*/ 2172327 w 6530564"/>
              <a:gd name="connsiteY979" fmla="*/ 2823555 h 6858000"/>
              <a:gd name="connsiteX980" fmla="*/ 2164219 w 6530564"/>
              <a:gd name="connsiteY980" fmla="*/ 2851082 h 6858000"/>
              <a:gd name="connsiteX981" fmla="*/ 2161835 w 6530564"/>
              <a:gd name="connsiteY981" fmla="*/ 2861828 h 6858000"/>
              <a:gd name="connsiteX982" fmla="*/ 2158794 w 6530564"/>
              <a:gd name="connsiteY982" fmla="*/ 2875021 h 6858000"/>
              <a:gd name="connsiteX983" fmla="*/ 2157915 w 6530564"/>
              <a:gd name="connsiteY983" fmla="*/ 2878301 h 6858000"/>
              <a:gd name="connsiteX984" fmla="*/ 2148821 w 6530564"/>
              <a:gd name="connsiteY984" fmla="*/ 2913407 h 6858000"/>
              <a:gd name="connsiteX985" fmla="*/ 2139494 w 6530564"/>
              <a:gd name="connsiteY985" fmla="*/ 2960172 h 6858000"/>
              <a:gd name="connsiteX986" fmla="*/ 2142037 w 6530564"/>
              <a:gd name="connsiteY986" fmla="*/ 2950680 h 6858000"/>
              <a:gd name="connsiteX987" fmla="*/ 2161195 w 6530564"/>
              <a:gd name="connsiteY987" fmla="*/ 2879181 h 6858000"/>
              <a:gd name="connsiteX988" fmla="*/ 2168636 w 6530564"/>
              <a:gd name="connsiteY988" fmla="*/ 2877658 h 6858000"/>
              <a:gd name="connsiteX989" fmla="*/ 2169514 w 6530564"/>
              <a:gd name="connsiteY989" fmla="*/ 2874377 h 6858000"/>
              <a:gd name="connsiteX990" fmla="*/ 2166235 w 6530564"/>
              <a:gd name="connsiteY990" fmla="*/ 2873499 h 6858000"/>
              <a:gd name="connsiteX991" fmla="*/ 2184693 w 6530564"/>
              <a:gd name="connsiteY991" fmla="*/ 2804613 h 6858000"/>
              <a:gd name="connsiteX992" fmla="*/ 2181412 w 6530564"/>
              <a:gd name="connsiteY992" fmla="*/ 2803733 h 6858000"/>
              <a:gd name="connsiteX993" fmla="*/ 2188209 w 6530564"/>
              <a:gd name="connsiteY993" fmla="*/ 2791491 h 6858000"/>
              <a:gd name="connsiteX994" fmla="*/ 2189966 w 6530564"/>
              <a:gd name="connsiteY994" fmla="*/ 2784930 h 6858000"/>
              <a:gd name="connsiteX995" fmla="*/ 2202207 w 6530564"/>
              <a:gd name="connsiteY995" fmla="*/ 2791725 h 6858000"/>
              <a:gd name="connsiteX996" fmla="*/ 2198691 w 6530564"/>
              <a:gd name="connsiteY996" fmla="*/ 2804847 h 6858000"/>
              <a:gd name="connsiteX997" fmla="*/ 2193417 w 6530564"/>
              <a:gd name="connsiteY997" fmla="*/ 2824530 h 6858000"/>
              <a:gd name="connsiteX998" fmla="*/ 2192539 w 6530564"/>
              <a:gd name="connsiteY998" fmla="*/ 2827809 h 6858000"/>
              <a:gd name="connsiteX999" fmla="*/ 2191660 w 6530564"/>
              <a:gd name="connsiteY999" fmla="*/ 2831090 h 6858000"/>
              <a:gd name="connsiteX1000" fmla="*/ 2189902 w 6530564"/>
              <a:gd name="connsiteY1000" fmla="*/ 2837650 h 6858000"/>
              <a:gd name="connsiteX1001" fmla="*/ 2189023 w 6530564"/>
              <a:gd name="connsiteY1001" fmla="*/ 2840931 h 6858000"/>
              <a:gd name="connsiteX1002" fmla="*/ 2189696 w 6530564"/>
              <a:gd name="connsiteY1002" fmla="*/ 2840543 h 6858000"/>
              <a:gd name="connsiteX1003" fmla="*/ 2208348 w 6530564"/>
              <a:gd name="connsiteY1003" fmla="*/ 2778797 h 6858000"/>
              <a:gd name="connsiteX1004" fmla="*/ 2211622 w 6530564"/>
              <a:gd name="connsiteY1004" fmla="*/ 2769653 h 6858000"/>
              <a:gd name="connsiteX1005" fmla="*/ 2207481 w 6530564"/>
              <a:gd name="connsiteY1005" fmla="*/ 2772046 h 6858000"/>
              <a:gd name="connsiteX1006" fmla="*/ 2203965 w 6530564"/>
              <a:gd name="connsiteY1006" fmla="*/ 2785166 h 6858000"/>
              <a:gd name="connsiteX1007" fmla="*/ 2192603 w 6530564"/>
              <a:gd name="connsiteY1007" fmla="*/ 2775089 h 6858000"/>
              <a:gd name="connsiteX1008" fmla="*/ 2194361 w 6530564"/>
              <a:gd name="connsiteY1008" fmla="*/ 2768530 h 6858000"/>
              <a:gd name="connsiteX1009" fmla="*/ 2195240 w 6530564"/>
              <a:gd name="connsiteY1009" fmla="*/ 2765248 h 6858000"/>
              <a:gd name="connsiteX1010" fmla="*/ 2197641 w 6530564"/>
              <a:gd name="connsiteY1010" fmla="*/ 2769408 h 6858000"/>
              <a:gd name="connsiteX1011" fmla="*/ 2201800 w 6530564"/>
              <a:gd name="connsiteY1011" fmla="*/ 2767006 h 6858000"/>
              <a:gd name="connsiteX1012" fmla="*/ 2200278 w 6530564"/>
              <a:gd name="connsiteY1012" fmla="*/ 2759567 h 6858000"/>
              <a:gd name="connsiteX1013" fmla="*/ 2201156 w 6530564"/>
              <a:gd name="connsiteY1013" fmla="*/ 2756287 h 6858000"/>
              <a:gd name="connsiteX1014" fmla="*/ 2207953 w 6530564"/>
              <a:gd name="connsiteY1014" fmla="*/ 2744045 h 6858000"/>
              <a:gd name="connsiteX1015" fmla="*/ 2216271 w 6530564"/>
              <a:gd name="connsiteY1015" fmla="*/ 2739241 h 6858000"/>
              <a:gd name="connsiteX1016" fmla="*/ 2225703 w 6530564"/>
              <a:gd name="connsiteY1016" fmla="*/ 2717159 h 6858000"/>
              <a:gd name="connsiteX1017" fmla="*/ 2220022 w 6530564"/>
              <a:gd name="connsiteY1017" fmla="*/ 2712121 h 6858000"/>
              <a:gd name="connsiteX1018" fmla="*/ 2227462 w 6530564"/>
              <a:gd name="connsiteY1018" fmla="*/ 2710598 h 6858000"/>
              <a:gd name="connsiteX1019" fmla="*/ 2229455 w 6530564"/>
              <a:gd name="connsiteY1019" fmla="*/ 2690037 h 6858000"/>
              <a:gd name="connsiteX1020" fmla="*/ 2238887 w 6530564"/>
              <a:gd name="connsiteY1020" fmla="*/ 2667954 h 6858000"/>
              <a:gd name="connsiteX1021" fmla="*/ 2239767 w 6530564"/>
              <a:gd name="connsiteY1021" fmla="*/ 2664674 h 6858000"/>
              <a:gd name="connsiteX1022" fmla="*/ 2248965 w 6530564"/>
              <a:gd name="connsiteY1022" fmla="*/ 2656591 h 6858000"/>
              <a:gd name="connsiteX1023" fmla="*/ 2252715 w 6530564"/>
              <a:gd name="connsiteY1023" fmla="*/ 2629469 h 6858000"/>
              <a:gd name="connsiteX1024" fmla="*/ 2266307 w 6530564"/>
              <a:gd name="connsiteY1024" fmla="*/ 2604985 h 6858000"/>
              <a:gd name="connsiteX1025" fmla="*/ 2273104 w 6530564"/>
              <a:gd name="connsiteY1025" fmla="*/ 2592744 h 6858000"/>
              <a:gd name="connsiteX1026" fmla="*/ 2287340 w 6530564"/>
              <a:gd name="connsiteY1026" fmla="*/ 2578980 h 6858000"/>
              <a:gd name="connsiteX1027" fmla="*/ 2314759 w 6530564"/>
              <a:gd name="connsiteY1027" fmla="*/ 2516010 h 6858000"/>
              <a:gd name="connsiteX1028" fmla="*/ 2318274 w 6530564"/>
              <a:gd name="connsiteY1028" fmla="*/ 2502889 h 6858000"/>
              <a:gd name="connsiteX1029" fmla="*/ 1745743 w 6530564"/>
              <a:gd name="connsiteY1029" fmla="*/ 2277280 h 6858000"/>
              <a:gd name="connsiteX1030" fmla="*/ 1746544 w 6530564"/>
              <a:gd name="connsiteY1030" fmla="*/ 2277481 h 6858000"/>
              <a:gd name="connsiteX1031" fmla="*/ 1735073 w 6530564"/>
              <a:gd name="connsiteY1031" fmla="*/ 2301013 h 6858000"/>
              <a:gd name="connsiteX1032" fmla="*/ 1715529 w 6530564"/>
              <a:gd name="connsiteY1032" fmla="*/ 2346705 h 6858000"/>
              <a:gd name="connsiteX1033" fmla="*/ 1682110 w 6530564"/>
              <a:gd name="connsiteY1033" fmla="*/ 2441760 h 6858000"/>
              <a:gd name="connsiteX1034" fmla="*/ 1676442 w 6530564"/>
              <a:gd name="connsiteY1034" fmla="*/ 2438087 h 6858000"/>
              <a:gd name="connsiteX1035" fmla="*/ 1665372 w 6530564"/>
              <a:gd name="connsiteY1035" fmla="*/ 2469147 h 6858000"/>
              <a:gd name="connsiteX1036" fmla="*/ 1652015 w 6530564"/>
              <a:gd name="connsiteY1036" fmla="*/ 2493822 h 6858000"/>
              <a:gd name="connsiteX1037" fmla="*/ 1729501 w 6530564"/>
              <a:gd name="connsiteY1037" fmla="*/ 2306860 h 6858000"/>
              <a:gd name="connsiteX1038" fmla="*/ 1737409 w 6530564"/>
              <a:gd name="connsiteY1038" fmla="*/ 2286918 h 6858000"/>
              <a:gd name="connsiteX1039" fmla="*/ 1745743 w 6530564"/>
              <a:gd name="connsiteY1039" fmla="*/ 2277280 h 6858000"/>
              <a:gd name="connsiteX1040" fmla="*/ 2406271 w 6530564"/>
              <a:gd name="connsiteY1040" fmla="*/ 2140812 h 6858000"/>
              <a:gd name="connsiteX1041" fmla="*/ 2381400 w 6530564"/>
              <a:gd name="connsiteY1041" fmla="*/ 2172178 h 6858000"/>
              <a:gd name="connsiteX1042" fmla="*/ 2360419 w 6530564"/>
              <a:gd name="connsiteY1042" fmla="*/ 2201275 h 6858000"/>
              <a:gd name="connsiteX1043" fmla="*/ 2279573 w 6530564"/>
              <a:gd name="connsiteY1043" fmla="*/ 2306181 h 6858000"/>
              <a:gd name="connsiteX1044" fmla="*/ 2232000 w 6530564"/>
              <a:gd name="connsiteY1044" fmla="*/ 2391875 h 6858000"/>
              <a:gd name="connsiteX1045" fmla="*/ 2198898 w 6530564"/>
              <a:gd name="connsiteY1045" fmla="*/ 2449807 h 6858000"/>
              <a:gd name="connsiteX1046" fmla="*/ 2155721 w 6530564"/>
              <a:gd name="connsiteY1046" fmla="*/ 2519101 h 6858000"/>
              <a:gd name="connsiteX1047" fmla="*/ 2112543 w 6530564"/>
              <a:gd name="connsiteY1047" fmla="*/ 2588395 h 6858000"/>
              <a:gd name="connsiteX1048" fmla="*/ 2098073 w 6530564"/>
              <a:gd name="connsiteY1048" fmla="*/ 2616160 h 6858000"/>
              <a:gd name="connsiteX1049" fmla="*/ 2078328 w 6530564"/>
              <a:gd name="connsiteY1049" fmla="*/ 2663606 h 6858000"/>
              <a:gd name="connsiteX1050" fmla="*/ 2074811 w 6530564"/>
              <a:gd name="connsiteY1050" fmla="*/ 2676728 h 6858000"/>
              <a:gd name="connsiteX1051" fmla="*/ 2050908 w 6530564"/>
              <a:gd name="connsiteY1051" fmla="*/ 2726574 h 6858000"/>
              <a:gd name="connsiteX1052" fmla="*/ 2050028 w 6530564"/>
              <a:gd name="connsiteY1052" fmla="*/ 2729856 h 6858000"/>
              <a:gd name="connsiteX1053" fmla="*/ 2046748 w 6530564"/>
              <a:gd name="connsiteY1053" fmla="*/ 2728977 h 6858000"/>
              <a:gd name="connsiteX1054" fmla="*/ 2044991 w 6530564"/>
              <a:gd name="connsiteY1054" fmla="*/ 2735538 h 6858000"/>
              <a:gd name="connsiteX1055" fmla="*/ 2048271 w 6530564"/>
              <a:gd name="connsiteY1055" fmla="*/ 2736415 h 6858000"/>
              <a:gd name="connsiteX1056" fmla="*/ 2049149 w 6530564"/>
              <a:gd name="connsiteY1056" fmla="*/ 2733136 h 6858000"/>
              <a:gd name="connsiteX1057" fmla="*/ 2048035 w 6530564"/>
              <a:gd name="connsiteY1057" fmla="*/ 2750415 h 6858000"/>
              <a:gd name="connsiteX1058" fmla="*/ 1995770 w 6530564"/>
              <a:gd name="connsiteY1058" fmla="*/ 2919234 h 6858000"/>
              <a:gd name="connsiteX1059" fmla="*/ 1981470 w 6530564"/>
              <a:gd name="connsiteY1059" fmla="*/ 2985718 h 6858000"/>
              <a:gd name="connsiteX1060" fmla="*/ 1964707 w 6530564"/>
              <a:gd name="connsiteY1060" fmla="*/ 3100763 h 6858000"/>
              <a:gd name="connsiteX1061" fmla="*/ 1953626 w 6530564"/>
              <a:gd name="connsiteY1061" fmla="*/ 3220847 h 6858000"/>
              <a:gd name="connsiteX1062" fmla="*/ 1948288 w 6530564"/>
              <a:gd name="connsiteY1062" fmla="*/ 3293249 h 6858000"/>
              <a:gd name="connsiteX1063" fmla="*/ 1945417 w 6530564"/>
              <a:gd name="connsiteY1063" fmla="*/ 3317092 h 6858000"/>
              <a:gd name="connsiteX1064" fmla="*/ 1946232 w 6530564"/>
              <a:gd name="connsiteY1064" fmla="*/ 3366530 h 6858000"/>
              <a:gd name="connsiteX1065" fmla="*/ 1942952 w 6530564"/>
              <a:gd name="connsiteY1065" fmla="*/ 3365651 h 6858000"/>
              <a:gd name="connsiteX1066" fmla="*/ 1942074 w 6530564"/>
              <a:gd name="connsiteY1066" fmla="*/ 3368931 h 6858000"/>
              <a:gd name="connsiteX1067" fmla="*/ 1940315 w 6530564"/>
              <a:gd name="connsiteY1067" fmla="*/ 3375492 h 6858000"/>
              <a:gd name="connsiteX1068" fmla="*/ 1942716 w 6530564"/>
              <a:gd name="connsiteY1068" fmla="*/ 3379652 h 6858000"/>
              <a:gd name="connsiteX1069" fmla="*/ 1937678 w 6530564"/>
              <a:gd name="connsiteY1069" fmla="*/ 3385333 h 6858000"/>
              <a:gd name="connsiteX1070" fmla="*/ 1944239 w 6530564"/>
              <a:gd name="connsiteY1070" fmla="*/ 3387091 h 6858000"/>
              <a:gd name="connsiteX1071" fmla="*/ 1943359 w 6530564"/>
              <a:gd name="connsiteY1071" fmla="*/ 3390371 h 6858000"/>
              <a:gd name="connsiteX1072" fmla="*/ 1944882 w 6530564"/>
              <a:gd name="connsiteY1072" fmla="*/ 3397810 h 6858000"/>
              <a:gd name="connsiteX1073" fmla="*/ 1949920 w 6530564"/>
              <a:gd name="connsiteY1073" fmla="*/ 3392128 h 6858000"/>
              <a:gd name="connsiteX1074" fmla="*/ 1946640 w 6530564"/>
              <a:gd name="connsiteY1074" fmla="*/ 3391250 h 6858000"/>
              <a:gd name="connsiteX1075" fmla="*/ 1950798 w 6530564"/>
              <a:gd name="connsiteY1075" fmla="*/ 3388848 h 6858000"/>
              <a:gd name="connsiteX1076" fmla="*/ 1955068 w 6530564"/>
              <a:gd name="connsiteY1076" fmla="*/ 3477887 h 6858000"/>
              <a:gd name="connsiteX1077" fmla="*/ 1967593 w 6530564"/>
              <a:gd name="connsiteY1077" fmla="*/ 3614845 h 6858000"/>
              <a:gd name="connsiteX1078" fmla="*/ 1964311 w 6530564"/>
              <a:gd name="connsiteY1078" fmla="*/ 3613965 h 6858000"/>
              <a:gd name="connsiteX1079" fmla="*/ 1965190 w 6530564"/>
              <a:gd name="connsiteY1079" fmla="*/ 3610685 h 6858000"/>
              <a:gd name="connsiteX1080" fmla="*/ 1959509 w 6530564"/>
              <a:gd name="connsiteY1080" fmla="*/ 3605646 h 6858000"/>
              <a:gd name="connsiteX1081" fmla="*/ 1961030 w 6530564"/>
              <a:gd name="connsiteY1081" fmla="*/ 3613086 h 6858000"/>
              <a:gd name="connsiteX1082" fmla="*/ 1962553 w 6530564"/>
              <a:gd name="connsiteY1082" fmla="*/ 3620525 h 6858000"/>
              <a:gd name="connsiteX1083" fmla="*/ 1956636 w 6530564"/>
              <a:gd name="connsiteY1083" fmla="*/ 3629487 h 6858000"/>
              <a:gd name="connsiteX1084" fmla="*/ 1960956 w 6530564"/>
              <a:gd name="connsiteY1084" fmla="*/ 3629767 h 6858000"/>
              <a:gd name="connsiteX1085" fmla="*/ 1961195 w 6530564"/>
              <a:gd name="connsiteY1085" fmla="*/ 3627779 h 6858000"/>
              <a:gd name="connsiteX1086" fmla="*/ 1965598 w 6530564"/>
              <a:gd name="connsiteY1086" fmla="*/ 3635404 h 6858000"/>
              <a:gd name="connsiteX1087" fmla="*/ 1968235 w 6530564"/>
              <a:gd name="connsiteY1087" fmla="*/ 3625564 h 6858000"/>
              <a:gd name="connsiteX1088" fmla="*/ 1982406 w 6530564"/>
              <a:gd name="connsiteY1088" fmla="*/ 3664519 h 6858000"/>
              <a:gd name="connsiteX1089" fmla="*/ 1978248 w 6530564"/>
              <a:gd name="connsiteY1089" fmla="*/ 3666921 h 6858000"/>
              <a:gd name="connsiteX1090" fmla="*/ 1993063 w 6530564"/>
              <a:gd name="connsiteY1090" fmla="*/ 3716595 h 6858000"/>
              <a:gd name="connsiteX1091" fmla="*/ 1990662 w 6530564"/>
              <a:gd name="connsiteY1091" fmla="*/ 3712437 h 6858000"/>
              <a:gd name="connsiteX1092" fmla="*/ 2000440 w 6530564"/>
              <a:gd name="connsiteY1092" fmla="*/ 3767792 h 6858000"/>
              <a:gd name="connsiteX1093" fmla="*/ 2002841 w 6530564"/>
              <a:gd name="connsiteY1093" fmla="*/ 3771952 h 6858000"/>
              <a:gd name="connsiteX1094" fmla="*/ 2006357 w 6530564"/>
              <a:gd name="connsiteY1094" fmla="*/ 3758832 h 6858000"/>
              <a:gd name="connsiteX1095" fmla="*/ 2017248 w 6530564"/>
              <a:gd name="connsiteY1095" fmla="*/ 3796907 h 6858000"/>
              <a:gd name="connsiteX1096" fmla="*/ 2012210 w 6530564"/>
              <a:gd name="connsiteY1096" fmla="*/ 3802590 h 6858000"/>
              <a:gd name="connsiteX1097" fmla="*/ 2020293 w 6530564"/>
              <a:gd name="connsiteY1097" fmla="*/ 3811786 h 6858000"/>
              <a:gd name="connsiteX1098" fmla="*/ 2022695 w 6530564"/>
              <a:gd name="connsiteY1098" fmla="*/ 3815946 h 6858000"/>
              <a:gd name="connsiteX1099" fmla="*/ 2027497 w 6530564"/>
              <a:gd name="connsiteY1099" fmla="*/ 3824264 h 6858000"/>
              <a:gd name="connsiteX1100" fmla="*/ 2029256 w 6530564"/>
              <a:gd name="connsiteY1100" fmla="*/ 3817704 h 6858000"/>
              <a:gd name="connsiteX1101" fmla="*/ 2030134 w 6530564"/>
              <a:gd name="connsiteY1101" fmla="*/ 3814423 h 6858000"/>
              <a:gd name="connsiteX1102" fmla="*/ 2060002 w 6530564"/>
              <a:gd name="connsiteY1102" fmla="*/ 3899774 h 6858000"/>
              <a:gd name="connsiteX1103" fmla="*/ 2059530 w 6530564"/>
              <a:gd name="connsiteY1103" fmla="*/ 3927774 h 6858000"/>
              <a:gd name="connsiteX1104" fmla="*/ 2056251 w 6530564"/>
              <a:gd name="connsiteY1104" fmla="*/ 3926896 h 6858000"/>
              <a:gd name="connsiteX1105" fmla="*/ 2055372 w 6530564"/>
              <a:gd name="connsiteY1105" fmla="*/ 3930176 h 6858000"/>
              <a:gd name="connsiteX1106" fmla="*/ 2060174 w 6530564"/>
              <a:gd name="connsiteY1106" fmla="*/ 3938494 h 6858000"/>
              <a:gd name="connsiteX1107" fmla="*/ 2062575 w 6530564"/>
              <a:gd name="connsiteY1107" fmla="*/ 3942653 h 6858000"/>
              <a:gd name="connsiteX1108" fmla="*/ 2071537 w 6530564"/>
              <a:gd name="connsiteY1108" fmla="*/ 3948570 h 6858000"/>
              <a:gd name="connsiteX1109" fmla="*/ 2077862 w 6530564"/>
              <a:gd name="connsiteY1109" fmla="*/ 3964329 h 6858000"/>
              <a:gd name="connsiteX1110" fmla="*/ 2073296 w 6530564"/>
              <a:gd name="connsiteY1110" fmla="*/ 3942009 h 6858000"/>
              <a:gd name="connsiteX1111" fmla="*/ 2066735 w 6530564"/>
              <a:gd name="connsiteY1111" fmla="*/ 3940252 h 6858000"/>
              <a:gd name="connsiteX1112" fmla="*/ 2064334 w 6530564"/>
              <a:gd name="connsiteY1112" fmla="*/ 3936093 h 6858000"/>
              <a:gd name="connsiteX1113" fmla="*/ 2065212 w 6530564"/>
              <a:gd name="connsiteY1113" fmla="*/ 3932813 h 6858000"/>
              <a:gd name="connsiteX1114" fmla="*/ 2059530 w 6530564"/>
              <a:gd name="connsiteY1114" fmla="*/ 3927774 h 6858000"/>
              <a:gd name="connsiteX1115" fmla="*/ 2055670 w 6530564"/>
              <a:gd name="connsiteY1115" fmla="*/ 3863455 h 6858000"/>
              <a:gd name="connsiteX1116" fmla="*/ 2057428 w 6530564"/>
              <a:gd name="connsiteY1116" fmla="*/ 3856895 h 6858000"/>
              <a:gd name="connsiteX1117" fmla="*/ 2060708 w 6530564"/>
              <a:gd name="connsiteY1117" fmla="*/ 3857775 h 6858000"/>
              <a:gd name="connsiteX1118" fmla="*/ 2058307 w 6530564"/>
              <a:gd name="connsiteY1118" fmla="*/ 3853615 h 6858000"/>
              <a:gd name="connsiteX1119" fmla="*/ 2059185 w 6530564"/>
              <a:gd name="connsiteY1119" fmla="*/ 3850335 h 6858000"/>
              <a:gd name="connsiteX1120" fmla="*/ 2075527 w 6530564"/>
              <a:gd name="connsiteY1120" fmla="*/ 3882839 h 6858000"/>
              <a:gd name="connsiteX1121" fmla="*/ 2081274 w 6530564"/>
              <a:gd name="connsiteY1121" fmla="*/ 3919538 h 6858000"/>
              <a:gd name="connsiteX1122" fmla="*/ 2079447 w 6530564"/>
              <a:gd name="connsiteY1122" fmla="*/ 3919048 h 6858000"/>
              <a:gd name="connsiteX1123" fmla="*/ 2081850 w 6530564"/>
              <a:gd name="connsiteY1123" fmla="*/ 3923208 h 6858000"/>
              <a:gd name="connsiteX1124" fmla="*/ 2084894 w 6530564"/>
              <a:gd name="connsiteY1124" fmla="*/ 3938087 h 6858000"/>
              <a:gd name="connsiteX1125" fmla="*/ 2082492 w 6530564"/>
              <a:gd name="connsiteY1125" fmla="*/ 3933927 h 6858000"/>
              <a:gd name="connsiteX1126" fmla="*/ 2081612 w 6530564"/>
              <a:gd name="connsiteY1126" fmla="*/ 3937209 h 6858000"/>
              <a:gd name="connsiteX1127" fmla="*/ 2084015 w 6530564"/>
              <a:gd name="connsiteY1127" fmla="*/ 3941367 h 6858000"/>
              <a:gd name="connsiteX1128" fmla="*/ 2096193 w 6530564"/>
              <a:gd name="connsiteY1128" fmla="*/ 4000883 h 6858000"/>
              <a:gd name="connsiteX1129" fmla="*/ 2091155 w 6530564"/>
              <a:gd name="connsiteY1129" fmla="*/ 4006565 h 6858000"/>
              <a:gd name="connsiteX1130" fmla="*/ 2079149 w 6530564"/>
              <a:gd name="connsiteY1130" fmla="*/ 3985769 h 6858000"/>
              <a:gd name="connsiteX1131" fmla="*/ 2105093 w 6530564"/>
              <a:gd name="connsiteY1131" fmla="*/ 4059520 h 6858000"/>
              <a:gd name="connsiteX1132" fmla="*/ 2103334 w 6530564"/>
              <a:gd name="connsiteY1132" fmla="*/ 4066081 h 6858000"/>
              <a:gd name="connsiteX1133" fmla="*/ 2109017 w 6530564"/>
              <a:gd name="connsiteY1133" fmla="*/ 4071119 h 6858000"/>
              <a:gd name="connsiteX1134" fmla="*/ 2124302 w 6530564"/>
              <a:gd name="connsiteY1134" fmla="*/ 4092795 h 6858000"/>
              <a:gd name="connsiteX1135" fmla="*/ 2116863 w 6530564"/>
              <a:gd name="connsiteY1135" fmla="*/ 4094316 h 6858000"/>
              <a:gd name="connsiteX1136" fmla="*/ 2124946 w 6530564"/>
              <a:gd name="connsiteY1136" fmla="*/ 4103514 h 6858000"/>
              <a:gd name="connsiteX1137" fmla="*/ 2127347 w 6530564"/>
              <a:gd name="connsiteY1137" fmla="*/ 4107674 h 6858000"/>
              <a:gd name="connsiteX1138" fmla="*/ 2126469 w 6530564"/>
              <a:gd name="connsiteY1138" fmla="*/ 4110953 h 6858000"/>
              <a:gd name="connsiteX1139" fmla="*/ 2129749 w 6530564"/>
              <a:gd name="connsiteY1139" fmla="*/ 4111834 h 6858000"/>
              <a:gd name="connsiteX1140" fmla="*/ 2127347 w 6530564"/>
              <a:gd name="connsiteY1140" fmla="*/ 4107674 h 6858000"/>
              <a:gd name="connsiteX1141" fmla="*/ 2128226 w 6530564"/>
              <a:gd name="connsiteY1141" fmla="*/ 4104393 h 6858000"/>
              <a:gd name="connsiteX1142" fmla="*/ 2134551 w 6530564"/>
              <a:gd name="connsiteY1142" fmla="*/ 4120150 h 6858000"/>
              <a:gd name="connsiteX1143" fmla="*/ 2131272 w 6530564"/>
              <a:gd name="connsiteY1143" fmla="*/ 4119272 h 6858000"/>
              <a:gd name="connsiteX1144" fmla="*/ 2205304 w 6530564"/>
              <a:gd name="connsiteY1144" fmla="*/ 4223489 h 6858000"/>
              <a:gd name="connsiteX1145" fmla="*/ 2288534 w 6530564"/>
              <a:gd name="connsiteY1145" fmla="*/ 4319621 h 6858000"/>
              <a:gd name="connsiteX1146" fmla="*/ 2276936 w 6530564"/>
              <a:gd name="connsiteY1146" fmla="*/ 4323545 h 6858000"/>
              <a:gd name="connsiteX1147" fmla="*/ 2338554 w 6530564"/>
              <a:gd name="connsiteY1147" fmla="*/ 4382245 h 6858000"/>
              <a:gd name="connsiteX1148" fmla="*/ 2402574 w 6530564"/>
              <a:gd name="connsiteY1148" fmla="*/ 4445104 h 6858000"/>
              <a:gd name="connsiteX1149" fmla="*/ 2399295 w 6530564"/>
              <a:gd name="connsiteY1149" fmla="*/ 4444226 h 6858000"/>
              <a:gd name="connsiteX1150" fmla="*/ 2400815 w 6530564"/>
              <a:gd name="connsiteY1150" fmla="*/ 4451665 h 6858000"/>
              <a:gd name="connsiteX1151" fmla="*/ 2399937 w 6530564"/>
              <a:gd name="connsiteY1151" fmla="*/ 4454946 h 6858000"/>
              <a:gd name="connsiteX1152" fmla="*/ 2414581 w 6530564"/>
              <a:gd name="connsiteY1152" fmla="*/ 4465901 h 6858000"/>
              <a:gd name="connsiteX1153" fmla="*/ 2419383 w 6530564"/>
              <a:gd name="connsiteY1153" fmla="*/ 4474219 h 6858000"/>
              <a:gd name="connsiteX1154" fmla="*/ 2422665 w 6530564"/>
              <a:gd name="connsiteY1154" fmla="*/ 4475099 h 6858000"/>
              <a:gd name="connsiteX1155" fmla="*/ 2423543 w 6530564"/>
              <a:gd name="connsiteY1155" fmla="*/ 4471818 h 6858000"/>
              <a:gd name="connsiteX1156" fmla="*/ 2459154 w 6530564"/>
              <a:gd name="connsiteY1156" fmla="*/ 4509487 h 6858000"/>
              <a:gd name="connsiteX1157" fmla="*/ 2468994 w 6530564"/>
              <a:gd name="connsiteY1157" fmla="*/ 4512124 h 6858000"/>
              <a:gd name="connsiteX1158" fmla="*/ 2462671 w 6530564"/>
              <a:gd name="connsiteY1158" fmla="*/ 4496365 h 6858000"/>
              <a:gd name="connsiteX1159" fmla="*/ 2455230 w 6530564"/>
              <a:gd name="connsiteY1159" fmla="*/ 4497888 h 6858000"/>
              <a:gd name="connsiteX1160" fmla="*/ 2440823 w 6530564"/>
              <a:gd name="connsiteY1160" fmla="*/ 4472932 h 6858000"/>
              <a:gd name="connsiteX1161" fmla="*/ 2448905 w 6530564"/>
              <a:gd name="connsiteY1161" fmla="*/ 4482130 h 6858000"/>
              <a:gd name="connsiteX1162" fmla="*/ 2402166 w 6530564"/>
              <a:gd name="connsiteY1162" fmla="*/ 4420385 h 6858000"/>
              <a:gd name="connsiteX1163" fmla="*/ 2348865 w 6530564"/>
              <a:gd name="connsiteY1163" fmla="*/ 4356882 h 6858000"/>
              <a:gd name="connsiteX1164" fmla="*/ 2350624 w 6530564"/>
              <a:gd name="connsiteY1164" fmla="*/ 4350321 h 6858000"/>
              <a:gd name="connsiteX1165" fmla="*/ 2311324 w 6530564"/>
              <a:gd name="connsiteY1165" fmla="*/ 4287054 h 6858000"/>
              <a:gd name="connsiteX1166" fmla="*/ 2296917 w 6530564"/>
              <a:gd name="connsiteY1166" fmla="*/ 4262099 h 6858000"/>
              <a:gd name="connsiteX1167" fmla="*/ 2288833 w 6530564"/>
              <a:gd name="connsiteY1167" fmla="*/ 4252901 h 6858000"/>
              <a:gd name="connsiteX1168" fmla="*/ 2280107 w 6530564"/>
              <a:gd name="connsiteY1168" fmla="*/ 4232984 h 6858000"/>
              <a:gd name="connsiteX1169" fmla="*/ 2255216 w 6530564"/>
              <a:gd name="connsiteY1169" fmla="*/ 4194671 h 6858000"/>
              <a:gd name="connsiteX1170" fmla="*/ 2233602 w 6530564"/>
              <a:gd name="connsiteY1170" fmla="*/ 4157238 h 6858000"/>
              <a:gd name="connsiteX1171" fmla="*/ 2178608 w 6530564"/>
              <a:gd name="connsiteY1171" fmla="*/ 4047576 h 6858000"/>
              <a:gd name="connsiteX1172" fmla="*/ 2162677 w 6530564"/>
              <a:gd name="connsiteY1172" fmla="*/ 4015182 h 6858000"/>
              <a:gd name="connsiteX1173" fmla="*/ 2166837 w 6530564"/>
              <a:gd name="connsiteY1173" fmla="*/ 4012780 h 6858000"/>
              <a:gd name="connsiteX1174" fmla="*/ 2126722 w 6530564"/>
              <a:gd name="connsiteY1174" fmla="*/ 3900073 h 6858000"/>
              <a:gd name="connsiteX1175" fmla="*/ 2116473 w 6530564"/>
              <a:gd name="connsiteY1175" fmla="*/ 3872717 h 6858000"/>
              <a:gd name="connsiteX1176" fmla="*/ 2103179 w 6530564"/>
              <a:gd name="connsiteY1176" fmla="*/ 3830480 h 6858000"/>
              <a:gd name="connsiteX1177" fmla="*/ 2069451 w 6530564"/>
              <a:gd name="connsiteY1177" fmla="*/ 3680812 h 6858000"/>
              <a:gd name="connsiteX1178" fmla="*/ 2057037 w 6530564"/>
              <a:gd name="connsiteY1178" fmla="*/ 3635295 h 6858000"/>
              <a:gd name="connsiteX1179" fmla="*/ 2058794 w 6530564"/>
              <a:gd name="connsiteY1179" fmla="*/ 3628734 h 6858000"/>
              <a:gd name="connsiteX1180" fmla="*/ 2056865 w 6530564"/>
              <a:gd name="connsiteY1180" fmla="*/ 3596574 h 6858000"/>
              <a:gd name="connsiteX1181" fmla="*/ 2049896 w 6530564"/>
              <a:gd name="connsiteY1181" fmla="*/ 3570096 h 6858000"/>
              <a:gd name="connsiteX1182" fmla="*/ 2040589 w 6530564"/>
              <a:gd name="connsiteY1182" fmla="*/ 3486740 h 6858000"/>
              <a:gd name="connsiteX1183" fmla="*/ 2035615 w 6530564"/>
              <a:gd name="connsiteY1183" fmla="*/ 3439701 h 6858000"/>
              <a:gd name="connsiteX1184" fmla="*/ 2035915 w 6530564"/>
              <a:gd name="connsiteY1184" fmla="*/ 3372981 h 6858000"/>
              <a:gd name="connsiteX1185" fmla="*/ 2031990 w 6530564"/>
              <a:gd name="connsiteY1185" fmla="*/ 3361383 h 6858000"/>
              <a:gd name="connsiteX1186" fmla="*/ 2032461 w 6530564"/>
              <a:gd name="connsiteY1186" fmla="*/ 3333382 h 6858000"/>
              <a:gd name="connsiteX1187" fmla="*/ 2038849 w 6530564"/>
              <a:gd name="connsiteY1187" fmla="*/ 3296420 h 6858000"/>
              <a:gd name="connsiteX1188" fmla="*/ 2027486 w 6530564"/>
              <a:gd name="connsiteY1188" fmla="*/ 3286343 h 6858000"/>
              <a:gd name="connsiteX1189" fmla="*/ 2025321 w 6530564"/>
              <a:gd name="connsiteY1189" fmla="*/ 3268185 h 6858000"/>
              <a:gd name="connsiteX1190" fmla="*/ 2033294 w 6530564"/>
              <a:gd name="connsiteY1190" fmla="*/ 3185942 h 6858000"/>
              <a:gd name="connsiteX1191" fmla="*/ 2040090 w 6530564"/>
              <a:gd name="connsiteY1191" fmla="*/ 3173700 h 6858000"/>
              <a:gd name="connsiteX1192" fmla="*/ 2036166 w 6530564"/>
              <a:gd name="connsiteY1192" fmla="*/ 3162101 h 6858000"/>
              <a:gd name="connsiteX1193" fmla="*/ 2037046 w 6530564"/>
              <a:gd name="connsiteY1193" fmla="*/ 3158821 h 6858000"/>
              <a:gd name="connsiteX1194" fmla="*/ 2049179 w 6530564"/>
              <a:gd name="connsiteY1194" fmla="*/ 3074176 h 6858000"/>
              <a:gd name="connsiteX1195" fmla="*/ 2052459 w 6530564"/>
              <a:gd name="connsiteY1195" fmla="*/ 3075055 h 6858000"/>
              <a:gd name="connsiteX1196" fmla="*/ 2056854 w 6530564"/>
              <a:gd name="connsiteY1196" fmla="*/ 3058653 h 6858000"/>
              <a:gd name="connsiteX1197" fmla="*/ 2055566 w 6530564"/>
              <a:gd name="connsiteY1197" fmla="*/ 3037215 h 6858000"/>
              <a:gd name="connsiteX1198" fmla="*/ 2064764 w 6530564"/>
              <a:gd name="connsiteY1198" fmla="*/ 3029132 h 6858000"/>
              <a:gd name="connsiteX1199" fmla="*/ 2072911 w 6530564"/>
              <a:gd name="connsiteY1199" fmla="*/ 2985608 h 6858000"/>
              <a:gd name="connsiteX1200" fmla="*/ 2075140 w 6530564"/>
              <a:gd name="connsiteY1200" fmla="*/ 2951048 h 6858000"/>
              <a:gd name="connsiteX1201" fmla="*/ 2079298 w 6530564"/>
              <a:gd name="connsiteY1201" fmla="*/ 2948647 h 6858000"/>
              <a:gd name="connsiteX1202" fmla="*/ 2090081 w 6530564"/>
              <a:gd name="connsiteY1202" fmla="*/ 2895283 h 6858000"/>
              <a:gd name="connsiteX1203" fmla="*/ 2091816 w 6530564"/>
              <a:gd name="connsiteY1203" fmla="*/ 2888809 h 6858000"/>
              <a:gd name="connsiteX1204" fmla="*/ 2099621 w 6530564"/>
              <a:gd name="connsiteY1204" fmla="*/ 2853246 h 6858000"/>
              <a:gd name="connsiteX1205" fmla="*/ 2099985 w 6530564"/>
              <a:gd name="connsiteY1205" fmla="*/ 2845200 h 6858000"/>
              <a:gd name="connsiteX1206" fmla="*/ 2100816 w 6530564"/>
              <a:gd name="connsiteY1206" fmla="*/ 2847794 h 6858000"/>
              <a:gd name="connsiteX1207" fmla="*/ 2110855 w 6530564"/>
              <a:gd name="connsiteY1207" fmla="*/ 2802050 h 6858000"/>
              <a:gd name="connsiteX1208" fmla="*/ 2224554 w 6530564"/>
              <a:gd name="connsiteY1208" fmla="*/ 2460779 h 6858000"/>
              <a:gd name="connsiteX1209" fmla="*/ 2358682 w 6530564"/>
              <a:gd name="connsiteY1209" fmla="*/ 2205979 h 6858000"/>
              <a:gd name="connsiteX1210" fmla="*/ 6077176 w 6530564"/>
              <a:gd name="connsiteY1210" fmla="*/ 2118185 h 6858000"/>
              <a:gd name="connsiteX1211" fmla="*/ 6112507 w 6530564"/>
              <a:gd name="connsiteY1211" fmla="*/ 2169248 h 6858000"/>
              <a:gd name="connsiteX1212" fmla="*/ 6107837 w 6530564"/>
              <a:gd name="connsiteY1212" fmla="*/ 2170245 h 6858000"/>
              <a:gd name="connsiteX1213" fmla="*/ 6099173 w 6530564"/>
              <a:gd name="connsiteY1213" fmla="*/ 2152560 h 6858000"/>
              <a:gd name="connsiteX1214" fmla="*/ 6085839 w 6530564"/>
              <a:gd name="connsiteY1214" fmla="*/ 2135872 h 6858000"/>
              <a:gd name="connsiteX1215" fmla="*/ 6080171 w 6530564"/>
              <a:gd name="connsiteY1215" fmla="*/ 2132198 h 6858000"/>
              <a:gd name="connsiteX1216" fmla="*/ 6073503 w 6530564"/>
              <a:gd name="connsiteY1216" fmla="*/ 2123854 h 6858000"/>
              <a:gd name="connsiteX1217" fmla="*/ 6077176 w 6530564"/>
              <a:gd name="connsiteY1217" fmla="*/ 2118185 h 6858000"/>
              <a:gd name="connsiteX1218" fmla="*/ 2109589 w 6530564"/>
              <a:gd name="connsiteY1218" fmla="*/ 1937684 h 6858000"/>
              <a:gd name="connsiteX1219" fmla="*/ 2088831 w 6530564"/>
              <a:gd name="connsiteY1219" fmla="*/ 1976351 h 6858000"/>
              <a:gd name="connsiteX1220" fmla="*/ 2082998 w 6530564"/>
              <a:gd name="connsiteY1220" fmla="*/ 2000064 h 6858000"/>
              <a:gd name="connsiteX1221" fmla="*/ 2083339 w 6530564"/>
              <a:gd name="connsiteY1221" fmla="*/ 2004008 h 6858000"/>
              <a:gd name="connsiteX1222" fmla="*/ 2078984 w 6530564"/>
              <a:gd name="connsiteY1222" fmla="*/ 2013244 h 6858000"/>
              <a:gd name="connsiteX1223" fmla="*/ 2058996 w 6530564"/>
              <a:gd name="connsiteY1223" fmla="*/ 2033998 h 6858000"/>
              <a:gd name="connsiteX1224" fmla="*/ 2025940 w 6530564"/>
              <a:gd name="connsiteY1224" fmla="*/ 2085019 h 6858000"/>
              <a:gd name="connsiteX1225" fmla="*/ 2020588 w 6530564"/>
              <a:gd name="connsiteY1225" fmla="*/ 2105699 h 6858000"/>
              <a:gd name="connsiteX1226" fmla="*/ 2019591 w 6530564"/>
              <a:gd name="connsiteY1226" fmla="*/ 2101027 h 6858000"/>
              <a:gd name="connsiteX1227" fmla="*/ 2018592 w 6530564"/>
              <a:gd name="connsiteY1227" fmla="*/ 2096357 h 6858000"/>
              <a:gd name="connsiteX1228" fmla="*/ 2013921 w 6530564"/>
              <a:gd name="connsiteY1228" fmla="*/ 2097355 h 6858000"/>
              <a:gd name="connsiteX1229" fmla="*/ 2010248 w 6530564"/>
              <a:gd name="connsiteY1229" fmla="*/ 2103023 h 6858000"/>
              <a:gd name="connsiteX1230" fmla="*/ 2013243 w 6530564"/>
              <a:gd name="connsiteY1230" fmla="*/ 2117038 h 6858000"/>
              <a:gd name="connsiteX1231" fmla="*/ 2006894 w 6530564"/>
              <a:gd name="connsiteY1231" fmla="*/ 2133046 h 6858000"/>
              <a:gd name="connsiteX1232" fmla="*/ 1997551 w 6530564"/>
              <a:gd name="connsiteY1232" fmla="*/ 2135041 h 6858000"/>
              <a:gd name="connsiteX1233" fmla="*/ 1996554 w 6530564"/>
              <a:gd name="connsiteY1233" fmla="*/ 2130371 h 6858000"/>
              <a:gd name="connsiteX1234" fmla="*/ 1991884 w 6530564"/>
              <a:gd name="connsiteY1234" fmla="*/ 2131368 h 6858000"/>
              <a:gd name="connsiteX1235" fmla="*/ 1992881 w 6530564"/>
              <a:gd name="connsiteY1235" fmla="*/ 2136040 h 6858000"/>
              <a:gd name="connsiteX1236" fmla="*/ 1993879 w 6530564"/>
              <a:gd name="connsiteY1236" fmla="*/ 2140711 h 6858000"/>
              <a:gd name="connsiteX1237" fmla="*/ 1991204 w 6530564"/>
              <a:gd name="connsiteY1237" fmla="*/ 2151051 h 6858000"/>
              <a:gd name="connsiteX1238" fmla="*/ 1987531 w 6530564"/>
              <a:gd name="connsiteY1238" fmla="*/ 2156719 h 6858000"/>
              <a:gd name="connsiteX1239" fmla="*/ 1982860 w 6530564"/>
              <a:gd name="connsiteY1239" fmla="*/ 2157718 h 6858000"/>
              <a:gd name="connsiteX1240" fmla="*/ 1979187 w 6530564"/>
              <a:gd name="connsiteY1240" fmla="*/ 2163386 h 6858000"/>
              <a:gd name="connsiteX1241" fmla="*/ 1983857 w 6530564"/>
              <a:gd name="connsiteY1241" fmla="*/ 2162388 h 6858000"/>
              <a:gd name="connsiteX1242" fmla="*/ 1980184 w 6530564"/>
              <a:gd name="connsiteY1242" fmla="*/ 2168057 h 6858000"/>
              <a:gd name="connsiteX1243" fmla="*/ 1939781 w 6530564"/>
              <a:gd name="connsiteY1243" fmla="*/ 2230416 h 6858000"/>
              <a:gd name="connsiteX1244" fmla="*/ 1935109 w 6530564"/>
              <a:gd name="connsiteY1244" fmla="*/ 2231414 h 6858000"/>
              <a:gd name="connsiteX1245" fmla="*/ 1936107 w 6530564"/>
              <a:gd name="connsiteY1245" fmla="*/ 2236085 h 6858000"/>
              <a:gd name="connsiteX1246" fmla="*/ 1932434 w 6530564"/>
              <a:gd name="connsiteY1246" fmla="*/ 2241754 h 6858000"/>
              <a:gd name="connsiteX1247" fmla="*/ 1933433 w 6530564"/>
              <a:gd name="connsiteY1247" fmla="*/ 2246425 h 6858000"/>
              <a:gd name="connsiteX1248" fmla="*/ 1926765 w 6530564"/>
              <a:gd name="connsiteY1248" fmla="*/ 2238080 h 6858000"/>
              <a:gd name="connsiteX1249" fmla="*/ 1912072 w 6530564"/>
              <a:gd name="connsiteY1249" fmla="*/ 2260756 h 6858000"/>
              <a:gd name="connsiteX1250" fmla="*/ 1907402 w 6530564"/>
              <a:gd name="connsiteY1250" fmla="*/ 2261755 h 6858000"/>
              <a:gd name="connsiteX1251" fmla="*/ 1905146 w 6530564"/>
              <a:gd name="connsiteY1251" fmla="*/ 2259025 h 6858000"/>
              <a:gd name="connsiteX1252" fmla="*/ 1906944 w 6530564"/>
              <a:gd name="connsiteY1252" fmla="*/ 2256251 h 6858000"/>
              <a:gd name="connsiteX1253" fmla="*/ 1908825 w 6530564"/>
              <a:gd name="connsiteY1253" fmla="*/ 2254124 h 6858000"/>
              <a:gd name="connsiteX1254" fmla="*/ 1913750 w 6530564"/>
              <a:gd name="connsiteY1254" fmla="*/ 2245744 h 6858000"/>
              <a:gd name="connsiteX1255" fmla="*/ 1906944 w 6530564"/>
              <a:gd name="connsiteY1255" fmla="*/ 2256251 h 6858000"/>
              <a:gd name="connsiteX1256" fmla="*/ 1904828 w 6530564"/>
              <a:gd name="connsiteY1256" fmla="*/ 2258642 h 6858000"/>
              <a:gd name="connsiteX1257" fmla="*/ 1905146 w 6530564"/>
              <a:gd name="connsiteY1257" fmla="*/ 2259025 h 6858000"/>
              <a:gd name="connsiteX1258" fmla="*/ 1888038 w 6530564"/>
              <a:gd name="connsiteY1258" fmla="*/ 2285428 h 6858000"/>
              <a:gd name="connsiteX1259" fmla="*/ 1869672 w 6530564"/>
              <a:gd name="connsiteY1259" fmla="*/ 2313773 h 6858000"/>
              <a:gd name="connsiteX1260" fmla="*/ 1855978 w 6530564"/>
              <a:gd name="connsiteY1260" fmla="*/ 2341119 h 6858000"/>
              <a:gd name="connsiteX1261" fmla="*/ 1822921 w 6530564"/>
              <a:gd name="connsiteY1261" fmla="*/ 2392140 h 6858000"/>
              <a:gd name="connsiteX1262" fmla="*/ 1816572 w 6530564"/>
              <a:gd name="connsiteY1262" fmla="*/ 2408148 h 6858000"/>
              <a:gd name="connsiteX1263" fmla="*/ 1808228 w 6530564"/>
              <a:gd name="connsiteY1263" fmla="*/ 2414816 h 6858000"/>
              <a:gd name="connsiteX1264" fmla="*/ 1804555 w 6530564"/>
              <a:gd name="connsiteY1264" fmla="*/ 2420484 h 6858000"/>
              <a:gd name="connsiteX1265" fmla="*/ 1794533 w 6530564"/>
              <a:gd name="connsiteY1265" fmla="*/ 2442162 h 6858000"/>
              <a:gd name="connsiteX1266" fmla="*/ 1788184 w 6530564"/>
              <a:gd name="connsiteY1266" fmla="*/ 2458170 h 6858000"/>
              <a:gd name="connsiteX1267" fmla="*/ 1777165 w 6530564"/>
              <a:gd name="connsiteY1267" fmla="*/ 2475180 h 6858000"/>
              <a:gd name="connsiteX1268" fmla="*/ 1685658 w 6530564"/>
              <a:gd name="connsiteY1268" fmla="*/ 2641254 h 6858000"/>
              <a:gd name="connsiteX1269" fmla="*/ 1682599 w 6530564"/>
              <a:gd name="connsiteY1269" fmla="*/ 2641908 h 6858000"/>
              <a:gd name="connsiteX1270" fmla="*/ 1683636 w 6530564"/>
              <a:gd name="connsiteY1270" fmla="*/ 2638298 h 6858000"/>
              <a:gd name="connsiteX1271" fmla="*/ 1750713 w 6530564"/>
              <a:gd name="connsiteY1271" fmla="*/ 2461519 h 6858000"/>
              <a:gd name="connsiteX1272" fmla="*/ 1758144 w 6530564"/>
              <a:gd name="connsiteY1272" fmla="*/ 2444367 h 6858000"/>
              <a:gd name="connsiteX1273" fmla="*/ 1761837 w 6530564"/>
              <a:gd name="connsiteY1273" fmla="*/ 2449148 h 6858000"/>
              <a:gd name="connsiteX1274" fmla="*/ 1764852 w 6530564"/>
              <a:gd name="connsiteY1274" fmla="*/ 2429816 h 6858000"/>
              <a:gd name="connsiteX1275" fmla="*/ 1770123 w 6530564"/>
              <a:gd name="connsiteY1275" fmla="*/ 2418679 h 6858000"/>
              <a:gd name="connsiteX1276" fmla="*/ 1773535 w 6530564"/>
              <a:gd name="connsiteY1276" fmla="*/ 2412460 h 6858000"/>
              <a:gd name="connsiteX1277" fmla="*/ 1778206 w 6530564"/>
              <a:gd name="connsiteY1277" fmla="*/ 2411463 h 6858000"/>
              <a:gd name="connsiteX1278" fmla="*/ 1779045 w 6530564"/>
              <a:gd name="connsiteY1278" fmla="*/ 2403956 h 6858000"/>
              <a:gd name="connsiteX1279" fmla="*/ 1779650 w 6530564"/>
              <a:gd name="connsiteY1279" fmla="*/ 2398547 h 6858000"/>
              <a:gd name="connsiteX1280" fmla="*/ 1780549 w 6530564"/>
              <a:gd name="connsiteY1280" fmla="*/ 2396643 h 6858000"/>
              <a:gd name="connsiteX1281" fmla="*/ 1783219 w 6530564"/>
              <a:gd name="connsiteY1281" fmla="*/ 2397418 h 6858000"/>
              <a:gd name="connsiteX1282" fmla="*/ 1798250 w 6530564"/>
              <a:gd name="connsiteY1282" fmla="*/ 2368106 h 6858000"/>
              <a:gd name="connsiteX1283" fmla="*/ 1818610 w 6530564"/>
              <a:gd name="connsiteY1283" fmla="*/ 2349103 h 6858000"/>
              <a:gd name="connsiteX1284" fmla="*/ 1881733 w 6530564"/>
              <a:gd name="connsiteY1284" fmla="*/ 2233049 h 6858000"/>
              <a:gd name="connsiteX1285" fmla="*/ 1896425 w 6530564"/>
              <a:gd name="connsiteY1285" fmla="*/ 2210374 h 6858000"/>
              <a:gd name="connsiteX1286" fmla="*/ 1991246 w 6530564"/>
              <a:gd name="connsiteY1286" fmla="*/ 2082662 h 6858000"/>
              <a:gd name="connsiteX1287" fmla="*/ 2014282 w 6530564"/>
              <a:gd name="connsiteY1287" fmla="*/ 2053319 h 6858000"/>
              <a:gd name="connsiteX1288" fmla="*/ 2013284 w 6530564"/>
              <a:gd name="connsiteY1288" fmla="*/ 2048648 h 6858000"/>
              <a:gd name="connsiteX1289" fmla="*/ 2018954 w 6530564"/>
              <a:gd name="connsiteY1289" fmla="*/ 2052322 h 6858000"/>
              <a:gd name="connsiteX1290" fmla="*/ 2026300 w 6530564"/>
              <a:gd name="connsiteY1290" fmla="*/ 2040983 h 6858000"/>
              <a:gd name="connsiteX1291" fmla="*/ 2029972 w 6530564"/>
              <a:gd name="connsiteY1291" fmla="*/ 2035316 h 6858000"/>
              <a:gd name="connsiteX1292" fmla="*/ 2025302 w 6530564"/>
              <a:gd name="connsiteY1292" fmla="*/ 2036313 h 6858000"/>
              <a:gd name="connsiteX1293" fmla="*/ 2079719 w 6530564"/>
              <a:gd name="connsiteY1293" fmla="*/ 1970960 h 6858000"/>
              <a:gd name="connsiteX1294" fmla="*/ 2104808 w 6530564"/>
              <a:gd name="connsiteY1294" fmla="*/ 1943012 h 6858000"/>
              <a:gd name="connsiteX1295" fmla="*/ 5856125 w 6530564"/>
              <a:gd name="connsiteY1295" fmla="*/ 1563605 h 6858000"/>
              <a:gd name="connsiteX1296" fmla="*/ 5862009 w 6530564"/>
              <a:gd name="connsiteY1296" fmla="*/ 1568282 h 6858000"/>
              <a:gd name="connsiteX1297" fmla="*/ 5856339 w 6530564"/>
              <a:gd name="connsiteY1297" fmla="*/ 1564609 h 6858000"/>
              <a:gd name="connsiteX1298" fmla="*/ 5246583 w 6530564"/>
              <a:gd name="connsiteY1298" fmla="*/ 1522365 h 6858000"/>
              <a:gd name="connsiteX1299" fmla="*/ 5292976 w 6530564"/>
              <a:gd name="connsiteY1299" fmla="*/ 1557270 h 6858000"/>
              <a:gd name="connsiteX1300" fmla="*/ 5381981 w 6530564"/>
              <a:gd name="connsiteY1300" fmla="*/ 1629688 h 6858000"/>
              <a:gd name="connsiteX1301" fmla="*/ 5378789 w 6530564"/>
              <a:gd name="connsiteY1301" fmla="*/ 1629103 h 6858000"/>
              <a:gd name="connsiteX1302" fmla="*/ 5369212 w 6530564"/>
              <a:gd name="connsiteY1302" fmla="*/ 1627347 h 6858000"/>
              <a:gd name="connsiteX1303" fmla="*/ 5375011 w 6530564"/>
              <a:gd name="connsiteY1303" fmla="*/ 1631710 h 6858000"/>
              <a:gd name="connsiteX1304" fmla="*/ 5272066 w 6530564"/>
              <a:gd name="connsiteY1304" fmla="*/ 1563336 h 6858000"/>
              <a:gd name="connsiteX1305" fmla="*/ 5204180 w 6530564"/>
              <a:gd name="connsiteY1305" fmla="*/ 1537692 h 6858000"/>
              <a:gd name="connsiteX1306" fmla="*/ 5381927 w 6530564"/>
              <a:gd name="connsiteY1306" fmla="*/ 1665979 h 6858000"/>
              <a:gd name="connsiteX1307" fmla="*/ 5437310 w 6530564"/>
              <a:gd name="connsiteY1307" fmla="*/ 1705833 h 6858000"/>
              <a:gd name="connsiteX1308" fmla="*/ 5428584 w 6530564"/>
              <a:gd name="connsiteY1308" fmla="*/ 1717433 h 6858000"/>
              <a:gd name="connsiteX1309" fmla="*/ 5445982 w 6530564"/>
              <a:gd name="connsiteY1309" fmla="*/ 1730522 h 6858000"/>
              <a:gd name="connsiteX1310" fmla="*/ 5454121 w 6530564"/>
              <a:gd name="connsiteY1310" fmla="*/ 1722114 h 6858000"/>
              <a:gd name="connsiteX1311" fmla="*/ 5545149 w 6530564"/>
              <a:gd name="connsiteY1311" fmla="*/ 1801503 h 6858000"/>
              <a:gd name="connsiteX1312" fmla="*/ 5589201 w 6530564"/>
              <a:gd name="connsiteY1312" fmla="*/ 1849179 h 6858000"/>
              <a:gd name="connsiteX1313" fmla="*/ 5635857 w 6530564"/>
              <a:gd name="connsiteY1313" fmla="*/ 1900633 h 6858000"/>
              <a:gd name="connsiteX1314" fmla="*/ 5617876 w 6530564"/>
              <a:gd name="connsiteY1314" fmla="*/ 1890738 h 6858000"/>
              <a:gd name="connsiteX1315" fmla="*/ 5616705 w 6530564"/>
              <a:gd name="connsiteY1315" fmla="*/ 1897123 h 6858000"/>
              <a:gd name="connsiteX1316" fmla="*/ 5652350 w 6530564"/>
              <a:gd name="connsiteY1316" fmla="*/ 1936657 h 6858000"/>
              <a:gd name="connsiteX1317" fmla="*/ 5661340 w 6530564"/>
              <a:gd name="connsiteY1317" fmla="*/ 1941605 h 6858000"/>
              <a:gd name="connsiteX1318" fmla="*/ 5666874 w 6530564"/>
              <a:gd name="connsiteY1318" fmla="*/ 1929420 h 6858000"/>
              <a:gd name="connsiteX1319" fmla="*/ 5707147 w 6530564"/>
              <a:gd name="connsiteY1319" fmla="*/ 1979705 h 6858000"/>
              <a:gd name="connsiteX1320" fmla="*/ 5756412 w 6530564"/>
              <a:gd name="connsiteY1320" fmla="*/ 2034937 h 6858000"/>
              <a:gd name="connsiteX1321" fmla="*/ 5762795 w 6530564"/>
              <a:gd name="connsiteY1321" fmla="*/ 2036107 h 6858000"/>
              <a:gd name="connsiteX1322" fmla="*/ 5789449 w 6530564"/>
              <a:gd name="connsiteY1322" fmla="*/ 2070695 h 6858000"/>
              <a:gd name="connsiteX1323" fmla="*/ 5808283 w 6530564"/>
              <a:gd name="connsiteY1323" fmla="*/ 2093948 h 6858000"/>
              <a:gd name="connsiteX1324" fmla="*/ 5910535 w 6530564"/>
              <a:gd name="connsiteY1324" fmla="*/ 2238094 h 6858000"/>
              <a:gd name="connsiteX1325" fmla="*/ 5924153 w 6530564"/>
              <a:gd name="connsiteY1325" fmla="*/ 2253791 h 6858000"/>
              <a:gd name="connsiteX1326" fmla="*/ 5927611 w 6530564"/>
              <a:gd name="connsiteY1326" fmla="*/ 2270927 h 6858000"/>
              <a:gd name="connsiteX1327" fmla="*/ 5904415 w 6530564"/>
              <a:gd name="connsiteY1327" fmla="*/ 2253473 h 6858000"/>
              <a:gd name="connsiteX1328" fmla="*/ 5924685 w 6530564"/>
              <a:gd name="connsiteY1328" fmla="*/ 2286890 h 6858000"/>
              <a:gd name="connsiteX1329" fmla="*/ 5949317 w 6530564"/>
              <a:gd name="connsiteY1329" fmla="*/ 2314506 h 6858000"/>
              <a:gd name="connsiteX1330" fmla="*/ 5949051 w 6530564"/>
              <a:gd name="connsiteY1330" fmla="*/ 2297957 h 6858000"/>
              <a:gd name="connsiteX1331" fmla="*/ 5958042 w 6530564"/>
              <a:gd name="connsiteY1331" fmla="*/ 2302905 h 6858000"/>
              <a:gd name="connsiteX1332" fmla="*/ 5967621 w 6530564"/>
              <a:gd name="connsiteY1332" fmla="*/ 2304661 h 6858000"/>
              <a:gd name="connsiteX1333" fmla="*/ 5965012 w 6530564"/>
              <a:gd name="connsiteY1333" fmla="*/ 2300883 h 6858000"/>
              <a:gd name="connsiteX1334" fmla="*/ 5964427 w 6530564"/>
              <a:gd name="connsiteY1334" fmla="*/ 2304075 h 6858000"/>
              <a:gd name="connsiteX1335" fmla="*/ 5963841 w 6530564"/>
              <a:gd name="connsiteY1335" fmla="*/ 2307269 h 6858000"/>
              <a:gd name="connsiteX1336" fmla="*/ 5969641 w 6530564"/>
              <a:gd name="connsiteY1336" fmla="*/ 2311632 h 6858000"/>
              <a:gd name="connsiteX1337" fmla="*/ 5982091 w 6530564"/>
              <a:gd name="connsiteY1337" fmla="*/ 2333714 h 6858000"/>
              <a:gd name="connsiteX1338" fmla="*/ 5987303 w 6530564"/>
              <a:gd name="connsiteY1338" fmla="*/ 2341270 h 6858000"/>
              <a:gd name="connsiteX1339" fmla="*/ 5985281 w 6530564"/>
              <a:gd name="connsiteY1339" fmla="*/ 2334300 h 6858000"/>
              <a:gd name="connsiteX1340" fmla="*/ 5985867 w 6530564"/>
              <a:gd name="connsiteY1340" fmla="*/ 2331106 h 6858000"/>
              <a:gd name="connsiteX1341" fmla="*/ 6031034 w 6530564"/>
              <a:gd name="connsiteY1341" fmla="*/ 2408688 h 6858000"/>
              <a:gd name="connsiteX1342" fmla="*/ 6004061 w 6530564"/>
              <a:gd name="connsiteY1342" fmla="*/ 2393843 h 6858000"/>
              <a:gd name="connsiteX1343" fmla="*/ 6004326 w 6530564"/>
              <a:gd name="connsiteY1343" fmla="*/ 2410392 h 6858000"/>
              <a:gd name="connsiteX1344" fmla="*/ 6026031 w 6530564"/>
              <a:gd name="connsiteY1344" fmla="*/ 2453972 h 6858000"/>
              <a:gd name="connsiteX1345" fmla="*/ 6029808 w 6530564"/>
              <a:gd name="connsiteY1345" fmla="*/ 2451365 h 6858000"/>
              <a:gd name="connsiteX1346" fmla="*/ 6047737 w 6530564"/>
              <a:gd name="connsiteY1346" fmla="*/ 2497552 h 6858000"/>
              <a:gd name="connsiteX1347" fmla="*/ 6086519 w 6530564"/>
              <a:gd name="connsiteY1347" fmla="*/ 2573962 h 6858000"/>
              <a:gd name="connsiteX1348" fmla="*/ 6082156 w 6530564"/>
              <a:gd name="connsiteY1348" fmla="*/ 2579763 h 6858000"/>
              <a:gd name="connsiteX1349" fmla="*/ 6113651 w 6530564"/>
              <a:gd name="connsiteY1349" fmla="*/ 2677937 h 6858000"/>
              <a:gd name="connsiteX1350" fmla="*/ 6143121 w 6530564"/>
              <a:gd name="connsiteY1350" fmla="*/ 2769142 h 6858000"/>
              <a:gd name="connsiteX1351" fmla="*/ 6149507 w 6530564"/>
              <a:gd name="connsiteY1351" fmla="*/ 2770313 h 6858000"/>
              <a:gd name="connsiteX1352" fmla="*/ 6151794 w 6530564"/>
              <a:gd name="connsiteY1352" fmla="*/ 2793831 h 6858000"/>
              <a:gd name="connsiteX1353" fmla="*/ 6172593 w 6530564"/>
              <a:gd name="connsiteY1353" fmla="*/ 2860346 h 6858000"/>
              <a:gd name="connsiteX1354" fmla="*/ 6171103 w 6530564"/>
              <a:gd name="connsiteY1354" fmla="*/ 2886473 h 6858000"/>
              <a:gd name="connsiteX1355" fmla="*/ 6180041 w 6530564"/>
              <a:gd name="connsiteY1355" fmla="*/ 2927712 h 6858000"/>
              <a:gd name="connsiteX1356" fmla="*/ 6193340 w 6530564"/>
              <a:gd name="connsiteY1356" fmla="*/ 2963151 h 6858000"/>
              <a:gd name="connsiteX1357" fmla="*/ 6188501 w 6530564"/>
              <a:gd name="connsiteY1357" fmla="*/ 2899562 h 6858000"/>
              <a:gd name="connsiteX1358" fmla="*/ 6168869 w 6530564"/>
              <a:gd name="connsiteY1358" fmla="*/ 2826663 h 6858000"/>
              <a:gd name="connsiteX1359" fmla="*/ 6165413 w 6530564"/>
              <a:gd name="connsiteY1359" fmla="*/ 2809528 h 6858000"/>
              <a:gd name="connsiteX1360" fmla="*/ 6141209 w 6530564"/>
              <a:gd name="connsiteY1360" fmla="*/ 2689590 h 6858000"/>
              <a:gd name="connsiteX1361" fmla="*/ 6069763 w 6530564"/>
              <a:gd name="connsiteY1361" fmla="*/ 2521391 h 6858000"/>
              <a:gd name="connsiteX1362" fmla="*/ 6075882 w 6530564"/>
              <a:gd name="connsiteY1362" fmla="*/ 2506011 h 6858000"/>
              <a:gd name="connsiteX1363" fmla="*/ 6059974 w 6530564"/>
              <a:gd name="connsiteY1363" fmla="*/ 2466794 h 6858000"/>
              <a:gd name="connsiteX1364" fmla="*/ 6062581 w 6530564"/>
              <a:gd name="connsiteY1364" fmla="*/ 2470572 h 6858000"/>
              <a:gd name="connsiteX1365" fmla="*/ 6065188 w 6530564"/>
              <a:gd name="connsiteY1365" fmla="*/ 2474350 h 6858000"/>
              <a:gd name="connsiteX1366" fmla="*/ 6063167 w 6530564"/>
              <a:gd name="connsiteY1366" fmla="*/ 2467380 h 6858000"/>
              <a:gd name="connsiteX1367" fmla="*/ 6060559 w 6530564"/>
              <a:gd name="connsiteY1367" fmla="*/ 2463602 h 6858000"/>
              <a:gd name="connsiteX1368" fmla="*/ 6061145 w 6530564"/>
              <a:gd name="connsiteY1368" fmla="*/ 2460410 h 6858000"/>
              <a:gd name="connsiteX1369" fmla="*/ 6030769 w 6530564"/>
              <a:gd name="connsiteY1369" fmla="*/ 2392138 h 6858000"/>
              <a:gd name="connsiteX1370" fmla="*/ 5967939 w 6530564"/>
              <a:gd name="connsiteY1370" fmla="*/ 2284919 h 6858000"/>
              <a:gd name="connsiteX1371" fmla="*/ 5950861 w 6530564"/>
              <a:gd name="connsiteY1371" fmla="*/ 2252088 h 6858000"/>
              <a:gd name="connsiteX1372" fmla="*/ 5874678 w 6530564"/>
              <a:gd name="connsiteY1372" fmla="*/ 2145720 h 6858000"/>
              <a:gd name="connsiteX1373" fmla="*/ 5862229 w 6530564"/>
              <a:gd name="connsiteY1373" fmla="*/ 2123637 h 6858000"/>
              <a:gd name="connsiteX1374" fmla="*/ 5864835 w 6530564"/>
              <a:gd name="connsiteY1374" fmla="*/ 2127414 h 6858000"/>
              <a:gd name="connsiteX1375" fmla="*/ 5868028 w 6530564"/>
              <a:gd name="connsiteY1375" fmla="*/ 2128001 h 6858000"/>
              <a:gd name="connsiteX1376" fmla="*/ 5862814 w 6530564"/>
              <a:gd name="connsiteY1376" fmla="*/ 2120444 h 6858000"/>
              <a:gd name="connsiteX1377" fmla="*/ 5860207 w 6530564"/>
              <a:gd name="connsiteY1377" fmla="*/ 2116666 h 6858000"/>
              <a:gd name="connsiteX1378" fmla="*/ 5888031 w 6530564"/>
              <a:gd name="connsiteY1378" fmla="*/ 2144868 h 6858000"/>
              <a:gd name="connsiteX1379" fmla="*/ 5876167 w 6530564"/>
              <a:gd name="connsiteY1379" fmla="*/ 2119593 h 6858000"/>
              <a:gd name="connsiteX1380" fmla="*/ 5879361 w 6530564"/>
              <a:gd name="connsiteY1380" fmla="*/ 2120179 h 6858000"/>
              <a:gd name="connsiteX1381" fmla="*/ 5881968 w 6530564"/>
              <a:gd name="connsiteY1381" fmla="*/ 2123955 h 6858000"/>
              <a:gd name="connsiteX1382" fmla="*/ 5879947 w 6530564"/>
              <a:gd name="connsiteY1382" fmla="*/ 2116985 h 6858000"/>
              <a:gd name="connsiteX1383" fmla="*/ 5877339 w 6530564"/>
              <a:gd name="connsiteY1383" fmla="*/ 2113207 h 6858000"/>
              <a:gd name="connsiteX1384" fmla="*/ 5888937 w 6530564"/>
              <a:gd name="connsiteY1384" fmla="*/ 2121935 h 6858000"/>
              <a:gd name="connsiteX1385" fmla="*/ 5847227 w 6530564"/>
              <a:gd name="connsiteY1385" fmla="*/ 2061487 h 6858000"/>
              <a:gd name="connsiteX1386" fmla="*/ 5815626 w 6530564"/>
              <a:gd name="connsiteY1386" fmla="*/ 2035893 h 6858000"/>
              <a:gd name="connsiteX1387" fmla="*/ 5813019 w 6530564"/>
              <a:gd name="connsiteY1387" fmla="*/ 2032114 h 6858000"/>
              <a:gd name="connsiteX1388" fmla="*/ 5807807 w 6530564"/>
              <a:gd name="connsiteY1388" fmla="*/ 2024558 h 6858000"/>
              <a:gd name="connsiteX1389" fmla="*/ 5807219 w 6530564"/>
              <a:gd name="connsiteY1389" fmla="*/ 2027751 h 6858000"/>
              <a:gd name="connsiteX1390" fmla="*/ 5809827 w 6530564"/>
              <a:gd name="connsiteY1390" fmla="*/ 2031530 h 6858000"/>
              <a:gd name="connsiteX1391" fmla="*/ 5792431 w 6530564"/>
              <a:gd name="connsiteY1391" fmla="*/ 2018439 h 6858000"/>
              <a:gd name="connsiteX1392" fmla="*/ 5778490 w 6530564"/>
              <a:gd name="connsiteY1392" fmla="*/ 2022486 h 6858000"/>
              <a:gd name="connsiteX1393" fmla="*/ 5713585 w 6530564"/>
              <a:gd name="connsiteY1393" fmla="*/ 1944585 h 6858000"/>
              <a:gd name="connsiteX1394" fmla="*/ 5693582 w 6530564"/>
              <a:gd name="connsiteY1394" fmla="*/ 1927717 h 6858000"/>
              <a:gd name="connsiteX1395" fmla="*/ 5602288 w 6530564"/>
              <a:gd name="connsiteY1395" fmla="*/ 1831780 h 6858000"/>
              <a:gd name="connsiteX1396" fmla="*/ 5510410 w 6530564"/>
              <a:gd name="connsiteY1396" fmla="*/ 1739034 h 6858000"/>
              <a:gd name="connsiteX1397" fmla="*/ 5513601 w 6530564"/>
              <a:gd name="connsiteY1397" fmla="*/ 1739619 h 6858000"/>
              <a:gd name="connsiteX1398" fmla="*/ 5519401 w 6530564"/>
              <a:gd name="connsiteY1398" fmla="*/ 1743982 h 6858000"/>
              <a:gd name="connsiteX1399" fmla="*/ 5514187 w 6530564"/>
              <a:gd name="connsiteY1399" fmla="*/ 1736427 h 6858000"/>
              <a:gd name="connsiteX1400" fmla="*/ 5508389 w 6530564"/>
              <a:gd name="connsiteY1400" fmla="*/ 1732064 h 6858000"/>
              <a:gd name="connsiteX1401" fmla="*/ 5514771 w 6530564"/>
              <a:gd name="connsiteY1401" fmla="*/ 1733234 h 6858000"/>
              <a:gd name="connsiteX1402" fmla="*/ 5602607 w 6530564"/>
              <a:gd name="connsiteY1402" fmla="*/ 1812037 h 6858000"/>
              <a:gd name="connsiteX1403" fmla="*/ 5604365 w 6530564"/>
              <a:gd name="connsiteY1403" fmla="*/ 1802460 h 6858000"/>
              <a:gd name="connsiteX1404" fmla="*/ 5577975 w 6530564"/>
              <a:gd name="connsiteY1404" fmla="*/ 1784421 h 6858000"/>
              <a:gd name="connsiteX1405" fmla="*/ 5541747 w 6530564"/>
              <a:gd name="connsiteY1405" fmla="*/ 1748079 h 6858000"/>
              <a:gd name="connsiteX1406" fmla="*/ 5413903 w 6530564"/>
              <a:gd name="connsiteY1406" fmla="*/ 1635540 h 6858000"/>
              <a:gd name="connsiteX1407" fmla="*/ 5399113 w 6530564"/>
              <a:gd name="connsiteY1407" fmla="*/ 1626229 h 6858000"/>
              <a:gd name="connsiteX1408" fmla="*/ 5340536 w 6530564"/>
              <a:gd name="connsiteY1408" fmla="*/ 1585789 h 6858000"/>
              <a:gd name="connsiteX1409" fmla="*/ 5336494 w 6530564"/>
              <a:gd name="connsiteY1409" fmla="*/ 1571849 h 6858000"/>
              <a:gd name="connsiteX1410" fmla="*/ 5305744 w 6530564"/>
              <a:gd name="connsiteY1410" fmla="*/ 1559611 h 6858000"/>
              <a:gd name="connsiteX1411" fmla="*/ 5312713 w 6530564"/>
              <a:gd name="connsiteY1411" fmla="*/ 1557588 h 6858000"/>
              <a:gd name="connsiteX1412" fmla="*/ 5246583 w 6530564"/>
              <a:gd name="connsiteY1412" fmla="*/ 1522365 h 6858000"/>
              <a:gd name="connsiteX1413" fmla="*/ 4878235 w 6530564"/>
              <a:gd name="connsiteY1413" fmla="*/ 1485529 h 6858000"/>
              <a:gd name="connsiteX1414" fmla="*/ 4870589 w 6530564"/>
              <a:gd name="connsiteY1414" fmla="*/ 1490232 h 6858000"/>
              <a:gd name="connsiteX1415" fmla="*/ 4876107 w 6530564"/>
              <a:gd name="connsiteY1415" fmla="*/ 1507769 h 6858000"/>
              <a:gd name="connsiteX1416" fmla="*/ 4892523 w 6530564"/>
              <a:gd name="connsiteY1416" fmla="*/ 1528225 h 6858000"/>
              <a:gd name="connsiteX1417" fmla="*/ 4854485 w 6530564"/>
              <a:gd name="connsiteY1417" fmla="*/ 1513109 h 6858000"/>
              <a:gd name="connsiteX1418" fmla="*/ 4906663 w 6530564"/>
              <a:gd name="connsiteY1418" fmla="*/ 1538241 h 6858000"/>
              <a:gd name="connsiteX1419" fmla="*/ 5219949 w 6530564"/>
              <a:gd name="connsiteY1419" fmla="*/ 1757355 h 6858000"/>
              <a:gd name="connsiteX1420" fmla="*/ 5244849 w 6530564"/>
              <a:gd name="connsiteY1420" fmla="*/ 1781311 h 6858000"/>
              <a:gd name="connsiteX1421" fmla="*/ 5285425 w 6530564"/>
              <a:gd name="connsiteY1421" fmla="*/ 1812833 h 6858000"/>
              <a:gd name="connsiteX1422" fmla="*/ 5422531 w 6530564"/>
              <a:gd name="connsiteY1422" fmla="*/ 1941767 h 6858000"/>
              <a:gd name="connsiteX1423" fmla="*/ 5427783 w 6530564"/>
              <a:gd name="connsiteY1423" fmla="*/ 1954854 h 6858000"/>
              <a:gd name="connsiteX1424" fmla="*/ 5370401 w 6530564"/>
              <a:gd name="connsiteY1424" fmla="*/ 1904986 h 6858000"/>
              <a:gd name="connsiteX1425" fmla="*/ 5481735 w 6530564"/>
              <a:gd name="connsiteY1425" fmla="*/ 2036160 h 6858000"/>
              <a:gd name="connsiteX1426" fmla="*/ 5639099 w 6530564"/>
              <a:gd name="connsiteY1426" fmla="*/ 2260841 h 6858000"/>
              <a:gd name="connsiteX1427" fmla="*/ 5880519 w 6530564"/>
              <a:gd name="connsiteY1427" fmla="*/ 2928041 h 6858000"/>
              <a:gd name="connsiteX1428" fmla="*/ 5891569 w 6530564"/>
              <a:gd name="connsiteY1428" fmla="*/ 2991409 h 6858000"/>
              <a:gd name="connsiteX1429" fmla="*/ 5898861 w 6530564"/>
              <a:gd name="connsiteY1429" fmla="*/ 3009164 h 6858000"/>
              <a:gd name="connsiteX1430" fmla="*/ 5902123 w 6530564"/>
              <a:gd name="connsiteY1430" fmla="*/ 3033759 h 6858000"/>
              <a:gd name="connsiteX1431" fmla="*/ 5917520 w 6530564"/>
              <a:gd name="connsiteY1431" fmla="*/ 3250562 h 6858000"/>
              <a:gd name="connsiteX1432" fmla="*/ 5916015 w 6530564"/>
              <a:gd name="connsiteY1432" fmla="*/ 3270366 h 6858000"/>
              <a:gd name="connsiteX1433" fmla="*/ 5917712 w 6530564"/>
              <a:gd name="connsiteY1433" fmla="*/ 3301456 h 6858000"/>
              <a:gd name="connsiteX1434" fmla="*/ 5917722 w 6530564"/>
              <a:gd name="connsiteY1434" fmla="*/ 3321050 h 6858000"/>
              <a:gd name="connsiteX1435" fmla="*/ 5920837 w 6530564"/>
              <a:gd name="connsiteY1435" fmla="*/ 3319470 h 6858000"/>
              <a:gd name="connsiteX1436" fmla="*/ 5938043 w 6530564"/>
              <a:gd name="connsiteY1436" fmla="*/ 3297393 h 6858000"/>
              <a:gd name="connsiteX1437" fmla="*/ 5940465 w 6530564"/>
              <a:gd name="connsiteY1437" fmla="*/ 3397310 h 6858000"/>
              <a:gd name="connsiteX1438" fmla="*/ 5799700 w 6530564"/>
              <a:gd name="connsiteY1438" fmla="*/ 4058849 h 6858000"/>
              <a:gd name="connsiteX1439" fmla="*/ 5565591 w 6530564"/>
              <a:gd name="connsiteY1439" fmla="*/ 4474942 h 6858000"/>
              <a:gd name="connsiteX1440" fmla="*/ 5478169 w 6530564"/>
              <a:gd name="connsiteY1440" fmla="*/ 4588742 h 6858000"/>
              <a:gd name="connsiteX1441" fmla="*/ 5480671 w 6530564"/>
              <a:gd name="connsiteY1441" fmla="*/ 4622988 h 6858000"/>
              <a:gd name="connsiteX1442" fmla="*/ 5508667 w 6530564"/>
              <a:gd name="connsiteY1442" fmla="*/ 4605673 h 6858000"/>
              <a:gd name="connsiteX1443" fmla="*/ 5545127 w 6530564"/>
              <a:gd name="connsiteY1443" fmla="*/ 4573107 h 6858000"/>
              <a:gd name="connsiteX1444" fmla="*/ 5400007 w 6530564"/>
              <a:gd name="connsiteY1444" fmla="*/ 4782392 h 6858000"/>
              <a:gd name="connsiteX1445" fmla="*/ 5292521 w 6530564"/>
              <a:gd name="connsiteY1445" fmla="*/ 4889355 h 6858000"/>
              <a:gd name="connsiteX1446" fmla="*/ 5403631 w 6530564"/>
              <a:gd name="connsiteY1446" fmla="*/ 4790663 h 6858000"/>
              <a:gd name="connsiteX1447" fmla="*/ 5540062 w 6530564"/>
              <a:gd name="connsiteY1447" fmla="*/ 4630142 h 6858000"/>
              <a:gd name="connsiteX1448" fmla="*/ 5835395 w 6530564"/>
              <a:gd name="connsiteY1448" fmla="*/ 4132646 h 6858000"/>
              <a:gd name="connsiteX1449" fmla="*/ 5860185 w 6530564"/>
              <a:gd name="connsiteY1449" fmla="*/ 4061918 h 6858000"/>
              <a:gd name="connsiteX1450" fmla="*/ 5841093 w 6530564"/>
              <a:gd name="connsiteY1450" fmla="*/ 4078700 h 6858000"/>
              <a:gd name="connsiteX1451" fmla="*/ 5603333 w 6530564"/>
              <a:gd name="connsiteY1451" fmla="*/ 4508413 h 6858000"/>
              <a:gd name="connsiteX1452" fmla="*/ 5582878 w 6530564"/>
              <a:gd name="connsiteY1452" fmla="*/ 4524830 h 6858000"/>
              <a:gd name="connsiteX1453" fmla="*/ 5585095 w 6530564"/>
              <a:gd name="connsiteY1453" fmla="*/ 4494767 h 6858000"/>
              <a:gd name="connsiteX1454" fmla="*/ 5674172 w 6530564"/>
              <a:gd name="connsiteY1454" fmla="*/ 4363893 h 6858000"/>
              <a:gd name="connsiteX1455" fmla="*/ 5923723 w 6530564"/>
              <a:gd name="connsiteY1455" fmla="*/ 3721285 h 6858000"/>
              <a:gd name="connsiteX1456" fmla="*/ 5954351 w 6530564"/>
              <a:gd name="connsiteY1456" fmla="*/ 3182057 h 6858000"/>
              <a:gd name="connsiteX1457" fmla="*/ 5955213 w 6530564"/>
              <a:gd name="connsiteY1457" fmla="*/ 3069882 h 6858000"/>
              <a:gd name="connsiteX1458" fmla="*/ 5905413 w 6530564"/>
              <a:gd name="connsiteY1458" fmla="*/ 3914916 h 6858000"/>
              <a:gd name="connsiteX1459" fmla="*/ 5937521 w 6530564"/>
              <a:gd name="connsiteY1459" fmla="*/ 3876803 h 6858000"/>
              <a:gd name="connsiteX1460" fmla="*/ 5898035 w 6530564"/>
              <a:gd name="connsiteY1460" fmla="*/ 4007827 h 6858000"/>
              <a:gd name="connsiteX1461" fmla="*/ 5827971 w 6530564"/>
              <a:gd name="connsiteY1461" fmla="*/ 4187589 h 6858000"/>
              <a:gd name="connsiteX1462" fmla="*/ 5826681 w 6530564"/>
              <a:gd name="connsiteY1462" fmla="*/ 4203302 h 6858000"/>
              <a:gd name="connsiteX1463" fmla="*/ 5839500 w 6530564"/>
              <a:gd name="connsiteY1463" fmla="*/ 4193599 h 6858000"/>
              <a:gd name="connsiteX1464" fmla="*/ 5929413 w 6530564"/>
              <a:gd name="connsiteY1464" fmla="*/ 3972440 h 6858000"/>
              <a:gd name="connsiteX1465" fmla="*/ 5953909 w 6530564"/>
              <a:gd name="connsiteY1465" fmla="*/ 3919150 h 6858000"/>
              <a:gd name="connsiteX1466" fmla="*/ 6006151 w 6530564"/>
              <a:gd name="connsiteY1466" fmla="*/ 3680598 h 6858000"/>
              <a:gd name="connsiteX1467" fmla="*/ 6033787 w 6530564"/>
              <a:gd name="connsiteY1467" fmla="*/ 3136190 h 6858000"/>
              <a:gd name="connsiteX1468" fmla="*/ 6028315 w 6530564"/>
              <a:gd name="connsiteY1468" fmla="*/ 3093047 h 6858000"/>
              <a:gd name="connsiteX1469" fmla="*/ 6025816 w 6530564"/>
              <a:gd name="connsiteY1469" fmla="*/ 3080224 h 6858000"/>
              <a:gd name="connsiteX1470" fmla="*/ 5462620 w 6530564"/>
              <a:gd name="connsiteY1470" fmla="*/ 1953402 h 6858000"/>
              <a:gd name="connsiteX1471" fmla="*/ 5104061 w 6530564"/>
              <a:gd name="connsiteY1471" fmla="*/ 1632541 h 6858000"/>
              <a:gd name="connsiteX1472" fmla="*/ 5003371 w 6530564"/>
              <a:gd name="connsiteY1472" fmla="*/ 1558743 h 6858000"/>
              <a:gd name="connsiteX1473" fmla="*/ 4962275 w 6530564"/>
              <a:gd name="connsiteY1473" fmla="*/ 1523505 h 6858000"/>
              <a:gd name="connsiteX1474" fmla="*/ 4951211 w 6530564"/>
              <a:gd name="connsiteY1474" fmla="*/ 1516212 h 6858000"/>
              <a:gd name="connsiteX1475" fmla="*/ 4887030 w 6530564"/>
              <a:gd name="connsiteY1475" fmla="*/ 1488798 h 6858000"/>
              <a:gd name="connsiteX1476" fmla="*/ 4878235 w 6530564"/>
              <a:gd name="connsiteY1476" fmla="*/ 1485529 h 6858000"/>
              <a:gd name="connsiteX1477" fmla="*/ 2488089 w 6530564"/>
              <a:gd name="connsiteY1477" fmla="*/ 1468873 h 6858000"/>
              <a:gd name="connsiteX1478" fmla="*/ 2483339 w 6530564"/>
              <a:gd name="connsiteY1478" fmla="*/ 1472039 h 6858000"/>
              <a:gd name="connsiteX1479" fmla="*/ 2486645 w 6530564"/>
              <a:gd name="connsiteY1479" fmla="*/ 1469475 h 6858000"/>
              <a:gd name="connsiteX1480" fmla="*/ 2428360 w 6530564"/>
              <a:gd name="connsiteY1480" fmla="*/ 1430993 h 6858000"/>
              <a:gd name="connsiteX1481" fmla="*/ 2428663 w 6530564"/>
              <a:gd name="connsiteY1481" fmla="*/ 1432410 h 6858000"/>
              <a:gd name="connsiteX1482" fmla="*/ 2423991 w 6530564"/>
              <a:gd name="connsiteY1482" fmla="*/ 1433409 h 6858000"/>
              <a:gd name="connsiteX1483" fmla="*/ 3312724 w 6530564"/>
              <a:gd name="connsiteY1483" fmla="*/ 1415766 h 6858000"/>
              <a:gd name="connsiteX1484" fmla="*/ 3256489 w 6530564"/>
              <a:gd name="connsiteY1484" fmla="*/ 1428825 h 6858000"/>
              <a:gd name="connsiteX1485" fmla="*/ 3219056 w 6530564"/>
              <a:gd name="connsiteY1485" fmla="*/ 1450437 h 6858000"/>
              <a:gd name="connsiteX1486" fmla="*/ 3264571 w 6530564"/>
              <a:gd name="connsiteY1486" fmla="*/ 1438022 h 6858000"/>
              <a:gd name="connsiteX1487" fmla="*/ 3145305 w 6530564"/>
              <a:gd name="connsiteY1487" fmla="*/ 1476381 h 6858000"/>
              <a:gd name="connsiteX1488" fmla="*/ 3078993 w 6530564"/>
              <a:gd name="connsiteY1488" fmla="*/ 1500802 h 6858000"/>
              <a:gd name="connsiteX1489" fmla="*/ 3032598 w 6530564"/>
              <a:gd name="connsiteY1489" fmla="*/ 1516496 h 6858000"/>
              <a:gd name="connsiteX1490" fmla="*/ 3010922 w 6530564"/>
              <a:gd name="connsiteY1490" fmla="*/ 1531783 h 6858000"/>
              <a:gd name="connsiteX1491" fmla="*/ 1851594 w 6530564"/>
              <a:gd name="connsiteY1491" fmla="*/ 3116159 h 6858000"/>
              <a:gd name="connsiteX1492" fmla="*/ 1924097 w 6530564"/>
              <a:gd name="connsiteY1492" fmla="*/ 3947739 h 6858000"/>
              <a:gd name="connsiteX1493" fmla="*/ 3149544 w 6530564"/>
              <a:gd name="connsiteY1493" fmla="*/ 5239426 h 6858000"/>
              <a:gd name="connsiteX1494" fmla="*/ 3272436 w 6530564"/>
              <a:gd name="connsiteY1494" fmla="*/ 5279386 h 6858000"/>
              <a:gd name="connsiteX1495" fmla="*/ 3274837 w 6530564"/>
              <a:gd name="connsiteY1495" fmla="*/ 5283546 h 6858000"/>
              <a:gd name="connsiteX1496" fmla="*/ 3284679 w 6530564"/>
              <a:gd name="connsiteY1496" fmla="*/ 5286183 h 6858000"/>
              <a:gd name="connsiteX1497" fmla="*/ 3288837 w 6530564"/>
              <a:gd name="connsiteY1497" fmla="*/ 5283781 h 6858000"/>
              <a:gd name="connsiteX1498" fmla="*/ 3380685 w 6530564"/>
              <a:gd name="connsiteY1498" fmla="*/ 5308392 h 6858000"/>
              <a:gd name="connsiteX1499" fmla="*/ 3599176 w 6530564"/>
              <a:gd name="connsiteY1499" fmla="*/ 5345842 h 6858000"/>
              <a:gd name="connsiteX1500" fmla="*/ 4305801 w 6530564"/>
              <a:gd name="connsiteY1500" fmla="*/ 5306654 h 6858000"/>
              <a:gd name="connsiteX1501" fmla="*/ 4682641 w 6530564"/>
              <a:gd name="connsiteY1501" fmla="*/ 5186132 h 6858000"/>
              <a:gd name="connsiteX1502" fmla="*/ 4677601 w 6530564"/>
              <a:gd name="connsiteY1502" fmla="*/ 5191813 h 6858000"/>
              <a:gd name="connsiteX1503" fmla="*/ 4733195 w 6530564"/>
              <a:gd name="connsiteY1503" fmla="*/ 5168036 h 6858000"/>
              <a:gd name="connsiteX1504" fmla="*/ 4762309 w 6530564"/>
              <a:gd name="connsiteY1504" fmla="*/ 5151226 h 6858000"/>
              <a:gd name="connsiteX1505" fmla="*/ 4852933 w 6530564"/>
              <a:gd name="connsiteY1505" fmla="*/ 5101678 h 6858000"/>
              <a:gd name="connsiteX1506" fmla="*/ 4886205 w 6530564"/>
              <a:gd name="connsiteY1506" fmla="*/ 5082466 h 6858000"/>
              <a:gd name="connsiteX1507" fmla="*/ 5167103 w 6530564"/>
              <a:gd name="connsiteY1507" fmla="*/ 4887015 h 6858000"/>
              <a:gd name="connsiteX1508" fmla="*/ 5099205 w 6530564"/>
              <a:gd name="connsiteY1508" fmla="*/ 4956718 h 6858000"/>
              <a:gd name="connsiteX1509" fmla="*/ 5079289 w 6530564"/>
              <a:gd name="connsiteY1509" fmla="*/ 4965443 h 6858000"/>
              <a:gd name="connsiteX1510" fmla="*/ 5004830 w 6530564"/>
              <a:gd name="connsiteY1510" fmla="*/ 5033389 h 6858000"/>
              <a:gd name="connsiteX1511" fmla="*/ 5039627 w 6530564"/>
              <a:gd name="connsiteY1511" fmla="*/ 5021617 h 6858000"/>
              <a:gd name="connsiteX1512" fmla="*/ 5104007 w 6530564"/>
              <a:gd name="connsiteY1512" fmla="*/ 4965035 h 6858000"/>
              <a:gd name="connsiteX1513" fmla="*/ 5123925 w 6530564"/>
              <a:gd name="connsiteY1513" fmla="*/ 4956309 h 6858000"/>
              <a:gd name="connsiteX1514" fmla="*/ 5168389 w 6530564"/>
              <a:gd name="connsiteY1514" fmla="*/ 4908456 h 6858000"/>
              <a:gd name="connsiteX1515" fmla="*/ 5221817 w 6530564"/>
              <a:gd name="connsiteY1515" fmla="*/ 4866518 h 6858000"/>
              <a:gd name="connsiteX1516" fmla="*/ 5229491 w 6530564"/>
              <a:gd name="connsiteY1516" fmla="*/ 4850995 h 6858000"/>
              <a:gd name="connsiteX1517" fmla="*/ 5255325 w 6530564"/>
              <a:gd name="connsiteY1517" fmla="*/ 4833307 h 6858000"/>
              <a:gd name="connsiteX1518" fmla="*/ 5282919 w 6530564"/>
              <a:gd name="connsiteY1518" fmla="*/ 4809059 h 6858000"/>
              <a:gd name="connsiteX1519" fmla="*/ 5300025 w 6530564"/>
              <a:gd name="connsiteY1519" fmla="*/ 4771452 h 6858000"/>
              <a:gd name="connsiteX1520" fmla="*/ 5287549 w 6530564"/>
              <a:gd name="connsiteY1520" fmla="*/ 4778657 h 6858000"/>
              <a:gd name="connsiteX1521" fmla="*/ 5820215 w 6530564"/>
              <a:gd name="connsiteY1521" fmla="*/ 3866642 h 6858000"/>
              <a:gd name="connsiteX1522" fmla="*/ 5820377 w 6530564"/>
              <a:gd name="connsiteY1522" fmla="*/ 3865901 h 6858000"/>
              <a:gd name="connsiteX1523" fmla="*/ 5786815 w 6530564"/>
              <a:gd name="connsiteY1523" fmla="*/ 3962149 h 6858000"/>
              <a:gd name="connsiteX1524" fmla="*/ 5689529 w 6530564"/>
              <a:gd name="connsiteY1524" fmla="*/ 4151358 h 6858000"/>
              <a:gd name="connsiteX1525" fmla="*/ 5652275 w 6530564"/>
              <a:gd name="connsiteY1525" fmla="*/ 4213857 h 6858000"/>
              <a:gd name="connsiteX1526" fmla="*/ 5648119 w 6530564"/>
              <a:gd name="connsiteY1526" fmla="*/ 4223529 h 6858000"/>
              <a:gd name="connsiteX1527" fmla="*/ 5290656 w 6530564"/>
              <a:gd name="connsiteY1527" fmla="*/ 4740814 h 6858000"/>
              <a:gd name="connsiteX1528" fmla="*/ 5293293 w 6530564"/>
              <a:gd name="connsiteY1528" fmla="*/ 4730974 h 6858000"/>
              <a:gd name="connsiteX1529" fmla="*/ 5252987 w 6530564"/>
              <a:gd name="connsiteY1529" fmla="*/ 4776428 h 6858000"/>
              <a:gd name="connsiteX1530" fmla="*/ 5200205 w 6530564"/>
              <a:gd name="connsiteY1530" fmla="*/ 4829085 h 6858000"/>
              <a:gd name="connsiteX1531" fmla="*/ 5167573 w 6530564"/>
              <a:gd name="connsiteY1531" fmla="*/ 4859015 h 6858000"/>
              <a:gd name="connsiteX1532" fmla="*/ 5164293 w 6530564"/>
              <a:gd name="connsiteY1532" fmla="*/ 4858136 h 6858000"/>
              <a:gd name="connsiteX1533" fmla="*/ 5163415 w 6530564"/>
              <a:gd name="connsiteY1533" fmla="*/ 4861416 h 6858000"/>
              <a:gd name="connsiteX1534" fmla="*/ 5159255 w 6530564"/>
              <a:gd name="connsiteY1534" fmla="*/ 4863817 h 6858000"/>
              <a:gd name="connsiteX1535" fmla="*/ 5154217 w 6530564"/>
              <a:gd name="connsiteY1535" fmla="*/ 4869499 h 6858000"/>
              <a:gd name="connsiteX1536" fmla="*/ 5139981 w 6530564"/>
              <a:gd name="connsiteY1536" fmla="*/ 4883264 h 6858000"/>
              <a:gd name="connsiteX1537" fmla="*/ 5089836 w 6530564"/>
              <a:gd name="connsiteY1537" fmla="*/ 4926080 h 6858000"/>
              <a:gd name="connsiteX1538" fmla="*/ 5068160 w 6530564"/>
              <a:gd name="connsiteY1538" fmla="*/ 4941369 h 6858000"/>
              <a:gd name="connsiteX1539" fmla="*/ 5019772 w 6530564"/>
              <a:gd name="connsiteY1539" fmla="*/ 4977623 h 6858000"/>
              <a:gd name="connsiteX1540" fmla="*/ 5020651 w 6530564"/>
              <a:gd name="connsiteY1540" fmla="*/ 4974342 h 6858000"/>
              <a:gd name="connsiteX1541" fmla="*/ 5011455 w 6530564"/>
              <a:gd name="connsiteY1541" fmla="*/ 4982425 h 6858000"/>
              <a:gd name="connsiteX1542" fmla="*/ 4305801 w 6530564"/>
              <a:gd name="connsiteY1542" fmla="*/ 5306654 h 6858000"/>
              <a:gd name="connsiteX1543" fmla="*/ 3402360 w 6530564"/>
              <a:gd name="connsiteY1543" fmla="*/ 5293105 h 6858000"/>
              <a:gd name="connsiteX1544" fmla="*/ 3404117 w 6530564"/>
              <a:gd name="connsiteY1544" fmla="*/ 5286544 h 6858000"/>
              <a:gd name="connsiteX1545" fmla="*/ 3508914 w 6530564"/>
              <a:gd name="connsiteY1545" fmla="*/ 5275951 h 6858000"/>
              <a:gd name="connsiteX1546" fmla="*/ 3496671 w 6530564"/>
              <a:gd name="connsiteY1546" fmla="*/ 5269154 h 6858000"/>
              <a:gd name="connsiteX1547" fmla="*/ 3557475 w 6530564"/>
              <a:gd name="connsiteY1547" fmla="*/ 5278414 h 6858000"/>
              <a:gd name="connsiteX1548" fmla="*/ 3604513 w 6530564"/>
              <a:gd name="connsiteY1548" fmla="*/ 5273439 h 6858000"/>
              <a:gd name="connsiteX1549" fmla="*/ 3573468 w 6530564"/>
              <a:gd name="connsiteY1549" fmla="*/ 5258088 h 6858000"/>
              <a:gd name="connsiteX1550" fmla="*/ 3577628 w 6530564"/>
              <a:gd name="connsiteY1550" fmla="*/ 5255687 h 6858000"/>
              <a:gd name="connsiteX1551" fmla="*/ 3580907 w 6530564"/>
              <a:gd name="connsiteY1551" fmla="*/ 5256567 h 6858000"/>
              <a:gd name="connsiteX1552" fmla="*/ 3584189 w 6530564"/>
              <a:gd name="connsiteY1552" fmla="*/ 5257445 h 6858000"/>
              <a:gd name="connsiteX1553" fmla="*/ 3590749 w 6530564"/>
              <a:gd name="connsiteY1553" fmla="*/ 5259203 h 6858000"/>
              <a:gd name="connsiteX1554" fmla="*/ 3588347 w 6530564"/>
              <a:gd name="connsiteY1554" fmla="*/ 5255045 h 6858000"/>
              <a:gd name="connsiteX1555" fmla="*/ 3585065 w 6530564"/>
              <a:gd name="connsiteY1555" fmla="*/ 5254166 h 6858000"/>
              <a:gd name="connsiteX1556" fmla="*/ 3581787 w 6530564"/>
              <a:gd name="connsiteY1556" fmla="*/ 5253286 h 6858000"/>
              <a:gd name="connsiteX1557" fmla="*/ 3572825 w 6530564"/>
              <a:gd name="connsiteY1557" fmla="*/ 5247369 h 6858000"/>
              <a:gd name="connsiteX1558" fmla="*/ 3568666 w 6530564"/>
              <a:gd name="connsiteY1558" fmla="*/ 5249771 h 6858000"/>
              <a:gd name="connsiteX1559" fmla="*/ 3571945 w 6530564"/>
              <a:gd name="connsiteY1559" fmla="*/ 5250649 h 6858000"/>
              <a:gd name="connsiteX1560" fmla="*/ 3574346 w 6530564"/>
              <a:gd name="connsiteY1560" fmla="*/ 5254808 h 6858000"/>
              <a:gd name="connsiteX1561" fmla="*/ 3564507 w 6530564"/>
              <a:gd name="connsiteY1561" fmla="*/ 5252171 h 6858000"/>
              <a:gd name="connsiteX1562" fmla="*/ 3561226 w 6530564"/>
              <a:gd name="connsiteY1562" fmla="*/ 5251293 h 6858000"/>
              <a:gd name="connsiteX1563" fmla="*/ 3539378 w 6530564"/>
              <a:gd name="connsiteY1563" fmla="*/ 5227860 h 6858000"/>
              <a:gd name="connsiteX1564" fmla="*/ 3579620 w 6530564"/>
              <a:gd name="connsiteY1564" fmla="*/ 5235127 h 6858000"/>
              <a:gd name="connsiteX1565" fmla="*/ 3570016 w 6530564"/>
              <a:gd name="connsiteY1565" fmla="*/ 5218490 h 6858000"/>
              <a:gd name="connsiteX1566" fmla="*/ 3657531 w 6530564"/>
              <a:gd name="connsiteY1566" fmla="*/ 5206782 h 6858000"/>
              <a:gd name="connsiteX1567" fmla="*/ 3660813 w 6530564"/>
              <a:gd name="connsiteY1567" fmla="*/ 5207661 h 6858000"/>
              <a:gd name="connsiteX1568" fmla="*/ 3667372 w 6530564"/>
              <a:gd name="connsiteY1568" fmla="*/ 5209419 h 6858000"/>
              <a:gd name="connsiteX1569" fmla="*/ 3671532 w 6530564"/>
              <a:gd name="connsiteY1569" fmla="*/ 5207018 h 6858000"/>
              <a:gd name="connsiteX1570" fmla="*/ 3710251 w 6530564"/>
              <a:gd name="connsiteY1570" fmla="*/ 5206844 h 6858000"/>
              <a:gd name="connsiteX1571" fmla="*/ 3724251 w 6530564"/>
              <a:gd name="connsiteY1571" fmla="*/ 5207082 h 6858000"/>
              <a:gd name="connsiteX1572" fmla="*/ 3728411 w 6530564"/>
              <a:gd name="connsiteY1572" fmla="*/ 5204679 h 6858000"/>
              <a:gd name="connsiteX1573" fmla="*/ 3731689 w 6530564"/>
              <a:gd name="connsiteY1573" fmla="*/ 5205559 h 6858000"/>
              <a:gd name="connsiteX1574" fmla="*/ 3732569 w 6530564"/>
              <a:gd name="connsiteY1574" fmla="*/ 5202278 h 6858000"/>
              <a:gd name="connsiteX1575" fmla="*/ 3735849 w 6530564"/>
              <a:gd name="connsiteY1575" fmla="*/ 5203156 h 6858000"/>
              <a:gd name="connsiteX1576" fmla="*/ 3750729 w 6530564"/>
              <a:gd name="connsiteY1576" fmla="*/ 5200112 h 6858000"/>
              <a:gd name="connsiteX1577" fmla="*/ 3741767 w 6530564"/>
              <a:gd name="connsiteY1577" fmla="*/ 5194194 h 6858000"/>
              <a:gd name="connsiteX1578" fmla="*/ 3750085 w 6530564"/>
              <a:gd name="connsiteY1578" fmla="*/ 5189392 h 6858000"/>
              <a:gd name="connsiteX1579" fmla="*/ 3780485 w 6530564"/>
              <a:gd name="connsiteY1579" fmla="*/ 5194022 h 6858000"/>
              <a:gd name="connsiteX1580" fmla="*/ 3866245 w 6530564"/>
              <a:gd name="connsiteY1580" fmla="*/ 5188875 h 6858000"/>
              <a:gd name="connsiteX1581" fmla="*/ 3887685 w 6530564"/>
              <a:gd name="connsiteY1581" fmla="*/ 5187588 h 6858000"/>
              <a:gd name="connsiteX1582" fmla="*/ 3959442 w 6530564"/>
              <a:gd name="connsiteY1582" fmla="*/ 5182205 h 6858000"/>
              <a:gd name="connsiteX1583" fmla="*/ 3969282 w 6530564"/>
              <a:gd name="connsiteY1583" fmla="*/ 5184842 h 6858000"/>
              <a:gd name="connsiteX1584" fmla="*/ 3977601 w 6530564"/>
              <a:gd name="connsiteY1584" fmla="*/ 5180038 h 6858000"/>
              <a:gd name="connsiteX1585" fmla="*/ 3980003 w 6530564"/>
              <a:gd name="connsiteY1585" fmla="*/ 5184199 h 6858000"/>
              <a:gd name="connsiteX1586" fmla="*/ 4031200 w 6530564"/>
              <a:gd name="connsiteY1586" fmla="*/ 5176823 h 6858000"/>
              <a:gd name="connsiteX1587" fmla="*/ 4029443 w 6530564"/>
              <a:gd name="connsiteY1587" fmla="*/ 5183383 h 6858000"/>
              <a:gd name="connsiteX1588" fmla="*/ 4041919 w 6530564"/>
              <a:gd name="connsiteY1588" fmla="*/ 5176178 h 6858000"/>
              <a:gd name="connsiteX1589" fmla="*/ 4067519 w 6530564"/>
              <a:gd name="connsiteY1589" fmla="*/ 5172490 h 6858000"/>
              <a:gd name="connsiteX1590" fmla="*/ 4070798 w 6530564"/>
              <a:gd name="connsiteY1590" fmla="*/ 5173369 h 6858000"/>
              <a:gd name="connsiteX1591" fmla="*/ 4069920 w 6530564"/>
              <a:gd name="connsiteY1591" fmla="*/ 5176648 h 6858000"/>
              <a:gd name="connsiteX1592" fmla="*/ 4069041 w 6530564"/>
              <a:gd name="connsiteY1592" fmla="*/ 5179929 h 6858000"/>
              <a:gd name="connsiteX1593" fmla="*/ 4072321 w 6530564"/>
              <a:gd name="connsiteY1593" fmla="*/ 5180808 h 6858000"/>
              <a:gd name="connsiteX1594" fmla="*/ 4089601 w 6530564"/>
              <a:gd name="connsiteY1594" fmla="*/ 5181922 h 6858000"/>
              <a:gd name="connsiteX1595" fmla="*/ 4088723 w 6530564"/>
              <a:gd name="connsiteY1595" fmla="*/ 5185204 h 6858000"/>
              <a:gd name="connsiteX1596" fmla="*/ 4092003 w 6530564"/>
              <a:gd name="connsiteY1596" fmla="*/ 5186082 h 6858000"/>
              <a:gd name="connsiteX1597" fmla="*/ 4096162 w 6530564"/>
              <a:gd name="connsiteY1597" fmla="*/ 5183681 h 6858000"/>
              <a:gd name="connsiteX1598" fmla="*/ 4165519 w 6530564"/>
              <a:gd name="connsiteY1598" fmla="*/ 5174139 h 6858000"/>
              <a:gd name="connsiteX1599" fmla="*/ 4237513 w 6530564"/>
              <a:gd name="connsiteY1599" fmla="*/ 5154755 h 6858000"/>
              <a:gd name="connsiteX1600" fmla="*/ 4264671 w 6530564"/>
              <a:gd name="connsiteY1600" fmla="*/ 5150166 h 6858000"/>
              <a:gd name="connsiteX1601" fmla="*/ 4275426 w 6530564"/>
              <a:gd name="connsiteY1601" fmla="*/ 5147224 h 6858000"/>
              <a:gd name="connsiteX1602" fmla="*/ 4225547 w 6530564"/>
              <a:gd name="connsiteY1602" fmla="*/ 5155482 h 6858000"/>
              <a:gd name="connsiteX1603" fmla="*/ 3777147 w 6530564"/>
              <a:gd name="connsiteY1603" fmla="*/ 5162641 h 6858000"/>
              <a:gd name="connsiteX1604" fmla="*/ 3607202 w 6530564"/>
              <a:gd name="connsiteY1604" fmla="*/ 5141859 h 6858000"/>
              <a:gd name="connsiteX1605" fmla="*/ 3593293 w 6530564"/>
              <a:gd name="connsiteY1605" fmla="*/ 5134094 h 6858000"/>
              <a:gd name="connsiteX1606" fmla="*/ 3601266 w 6530564"/>
              <a:gd name="connsiteY1606" fmla="*/ 5128978 h 6858000"/>
              <a:gd name="connsiteX1607" fmla="*/ 4150133 w 6530564"/>
              <a:gd name="connsiteY1607" fmla="*/ 5138134 h 6858000"/>
              <a:gd name="connsiteX1608" fmla="*/ 4432718 w 6530564"/>
              <a:gd name="connsiteY1608" fmla="*/ 5085854 h 6858000"/>
              <a:gd name="connsiteX1609" fmla="*/ 4466865 w 6530564"/>
              <a:gd name="connsiteY1609" fmla="*/ 5078886 h 6858000"/>
              <a:gd name="connsiteX1610" fmla="*/ 4480356 w 6530564"/>
              <a:gd name="connsiteY1610" fmla="*/ 5069063 h 6858000"/>
              <a:gd name="connsiteX1611" fmla="*/ 4462767 w 6530564"/>
              <a:gd name="connsiteY1611" fmla="*/ 5061914 h 6858000"/>
              <a:gd name="connsiteX1612" fmla="*/ 4330679 w 6530564"/>
              <a:gd name="connsiteY1612" fmla="*/ 5094082 h 6858000"/>
              <a:gd name="connsiteX1613" fmla="*/ 4193125 w 6530564"/>
              <a:gd name="connsiteY1613" fmla="*/ 5115579 h 6858000"/>
              <a:gd name="connsiteX1614" fmla="*/ 4089964 w 6530564"/>
              <a:gd name="connsiteY1614" fmla="*/ 5124917 h 6858000"/>
              <a:gd name="connsiteX1615" fmla="*/ 4090545 w 6530564"/>
              <a:gd name="connsiteY1615" fmla="*/ 5125923 h 6858000"/>
              <a:gd name="connsiteX1616" fmla="*/ 4046787 w 6530564"/>
              <a:gd name="connsiteY1616" fmla="*/ 5131776 h 6858000"/>
              <a:gd name="connsiteX1617" fmla="*/ 4047666 w 6530564"/>
              <a:gd name="connsiteY1617" fmla="*/ 5128497 h 6858000"/>
              <a:gd name="connsiteX1618" fmla="*/ 4061664 w 6530564"/>
              <a:gd name="connsiteY1618" fmla="*/ 5128732 h 6858000"/>
              <a:gd name="connsiteX1619" fmla="*/ 4072652 w 6530564"/>
              <a:gd name="connsiteY1619" fmla="*/ 5126484 h 6858000"/>
              <a:gd name="connsiteX1620" fmla="*/ 4056543 w 6530564"/>
              <a:gd name="connsiteY1620" fmla="*/ 5127942 h 6858000"/>
              <a:gd name="connsiteX1621" fmla="*/ 4025363 w 6530564"/>
              <a:gd name="connsiteY1621" fmla="*/ 5128577 h 6858000"/>
              <a:gd name="connsiteX1622" fmla="*/ 4022586 w 6530564"/>
              <a:gd name="connsiteY1622" fmla="*/ 5131884 h 6858000"/>
              <a:gd name="connsiteX1623" fmla="*/ 4021187 w 6530564"/>
              <a:gd name="connsiteY1623" fmla="*/ 5135465 h 6858000"/>
              <a:gd name="connsiteX1624" fmla="*/ 4014626 w 6530564"/>
              <a:gd name="connsiteY1624" fmla="*/ 5133707 h 6858000"/>
              <a:gd name="connsiteX1625" fmla="*/ 4015505 w 6530564"/>
              <a:gd name="connsiteY1625" fmla="*/ 5130427 h 6858000"/>
              <a:gd name="connsiteX1626" fmla="*/ 4012226 w 6530564"/>
              <a:gd name="connsiteY1626" fmla="*/ 5129549 h 6858000"/>
              <a:gd name="connsiteX1627" fmla="*/ 4009785 w 6530564"/>
              <a:gd name="connsiteY1627" fmla="*/ 5128894 h 6858000"/>
              <a:gd name="connsiteX1628" fmla="*/ 3920985 w 6530564"/>
              <a:gd name="connsiteY1628" fmla="*/ 5130704 h 6858000"/>
              <a:gd name="connsiteX1629" fmla="*/ 3897176 w 6530564"/>
              <a:gd name="connsiteY1629" fmla="*/ 5129411 h 6858000"/>
              <a:gd name="connsiteX1630" fmla="*/ 3884467 w 6530564"/>
              <a:gd name="connsiteY1630" fmla="*/ 5133988 h 6858000"/>
              <a:gd name="connsiteX1631" fmla="*/ 3866308 w 6530564"/>
              <a:gd name="connsiteY1631" fmla="*/ 5136155 h 6858000"/>
              <a:gd name="connsiteX1632" fmla="*/ 3845748 w 6530564"/>
              <a:gd name="connsiteY1632" fmla="*/ 5134162 h 6858000"/>
              <a:gd name="connsiteX1633" fmla="*/ 3821029 w 6530564"/>
              <a:gd name="connsiteY1633" fmla="*/ 5134569 h 6858000"/>
              <a:gd name="connsiteX1634" fmla="*/ 3786467 w 6530564"/>
              <a:gd name="connsiteY1634" fmla="*/ 5132340 h 6858000"/>
              <a:gd name="connsiteX1635" fmla="*/ 3765027 w 6530564"/>
              <a:gd name="connsiteY1635" fmla="*/ 5133628 h 6858000"/>
              <a:gd name="connsiteX1636" fmla="*/ 3761746 w 6530564"/>
              <a:gd name="connsiteY1636" fmla="*/ 5132748 h 6858000"/>
              <a:gd name="connsiteX1637" fmla="*/ 3733748 w 6530564"/>
              <a:gd name="connsiteY1637" fmla="*/ 5132278 h 6858000"/>
              <a:gd name="connsiteX1638" fmla="*/ 3709028 w 6530564"/>
              <a:gd name="connsiteY1638" fmla="*/ 5132686 h 6858000"/>
              <a:gd name="connsiteX1639" fmla="*/ 3698308 w 6530564"/>
              <a:gd name="connsiteY1639" fmla="*/ 5133328 h 6858000"/>
              <a:gd name="connsiteX1640" fmla="*/ 3695027 w 6530564"/>
              <a:gd name="connsiteY1640" fmla="*/ 5132450 h 6858000"/>
              <a:gd name="connsiteX1641" fmla="*/ 3686065 w 6530564"/>
              <a:gd name="connsiteY1641" fmla="*/ 5126532 h 6858000"/>
              <a:gd name="connsiteX1642" fmla="*/ 3682787 w 6530564"/>
              <a:gd name="connsiteY1642" fmla="*/ 5125654 h 6858000"/>
              <a:gd name="connsiteX1643" fmla="*/ 3675347 w 6530564"/>
              <a:gd name="connsiteY1643" fmla="*/ 5127176 h 6858000"/>
              <a:gd name="connsiteX1644" fmla="*/ 3674467 w 6530564"/>
              <a:gd name="connsiteY1644" fmla="*/ 5130457 h 6858000"/>
              <a:gd name="connsiteX1645" fmla="*/ 3658065 w 6530564"/>
              <a:gd name="connsiteY1645" fmla="*/ 5126062 h 6858000"/>
              <a:gd name="connsiteX1646" fmla="*/ 3653907 w 6530564"/>
              <a:gd name="connsiteY1646" fmla="*/ 5128463 h 6858000"/>
              <a:gd name="connsiteX1647" fmla="*/ 3657187 w 6530564"/>
              <a:gd name="connsiteY1647" fmla="*/ 5129341 h 6858000"/>
              <a:gd name="connsiteX1648" fmla="*/ 3674467 w 6530564"/>
              <a:gd name="connsiteY1648" fmla="*/ 5130457 h 6858000"/>
              <a:gd name="connsiteX1649" fmla="*/ 3673588 w 6530564"/>
              <a:gd name="connsiteY1649" fmla="*/ 5133737 h 6858000"/>
              <a:gd name="connsiteX1650" fmla="*/ 3667027 w 6530564"/>
              <a:gd name="connsiteY1650" fmla="*/ 5131978 h 6858000"/>
              <a:gd name="connsiteX1651" fmla="*/ 3663747 w 6530564"/>
              <a:gd name="connsiteY1651" fmla="*/ 5131100 h 6858000"/>
              <a:gd name="connsiteX1652" fmla="*/ 3653027 w 6530564"/>
              <a:gd name="connsiteY1652" fmla="*/ 5131744 h 6858000"/>
              <a:gd name="connsiteX1653" fmla="*/ 3639907 w 6530564"/>
              <a:gd name="connsiteY1653" fmla="*/ 5128227 h 6858000"/>
              <a:gd name="connsiteX1654" fmla="*/ 3644067 w 6530564"/>
              <a:gd name="connsiteY1654" fmla="*/ 5125825 h 6858000"/>
              <a:gd name="connsiteX1655" fmla="*/ 3637506 w 6530564"/>
              <a:gd name="connsiteY1655" fmla="*/ 5124069 h 6858000"/>
              <a:gd name="connsiteX1656" fmla="*/ 3630945 w 6530564"/>
              <a:gd name="connsiteY1656" fmla="*/ 5122310 h 6858000"/>
              <a:gd name="connsiteX1657" fmla="*/ 3620224 w 6530564"/>
              <a:gd name="connsiteY1657" fmla="*/ 5122954 h 6858000"/>
              <a:gd name="connsiteX1658" fmla="*/ 3613665 w 6530564"/>
              <a:gd name="connsiteY1658" fmla="*/ 5121196 h 6858000"/>
              <a:gd name="connsiteX1659" fmla="*/ 3609505 w 6530564"/>
              <a:gd name="connsiteY1659" fmla="*/ 5123597 h 6858000"/>
              <a:gd name="connsiteX1660" fmla="*/ 3598785 w 6530564"/>
              <a:gd name="connsiteY1660" fmla="*/ 5124241 h 6858000"/>
              <a:gd name="connsiteX1661" fmla="*/ 3592225 w 6530564"/>
              <a:gd name="connsiteY1661" fmla="*/ 5122483 h 6858000"/>
              <a:gd name="connsiteX1662" fmla="*/ 3589823 w 6530564"/>
              <a:gd name="connsiteY1662" fmla="*/ 5118324 h 6858000"/>
              <a:gd name="connsiteX1663" fmla="*/ 3585664 w 6530564"/>
              <a:gd name="connsiteY1663" fmla="*/ 5120726 h 6858000"/>
              <a:gd name="connsiteX1664" fmla="*/ 3579982 w 6530564"/>
              <a:gd name="connsiteY1664" fmla="*/ 5115687 h 6858000"/>
              <a:gd name="connsiteX1665" fmla="*/ 3572542 w 6530564"/>
              <a:gd name="connsiteY1665" fmla="*/ 5117210 h 6858000"/>
              <a:gd name="connsiteX1666" fmla="*/ 3574945 w 6530564"/>
              <a:gd name="connsiteY1666" fmla="*/ 5121368 h 6858000"/>
              <a:gd name="connsiteX1667" fmla="*/ 3565103 w 6530564"/>
              <a:gd name="connsiteY1667" fmla="*/ 5118731 h 6858000"/>
              <a:gd name="connsiteX1668" fmla="*/ 3561823 w 6530564"/>
              <a:gd name="connsiteY1668" fmla="*/ 5117852 h 6858000"/>
              <a:gd name="connsiteX1669" fmla="*/ 3547823 w 6530564"/>
              <a:gd name="connsiteY1669" fmla="*/ 5117617 h 6858000"/>
              <a:gd name="connsiteX1670" fmla="*/ 3534703 w 6530564"/>
              <a:gd name="connsiteY1670" fmla="*/ 5114101 h 6858000"/>
              <a:gd name="connsiteX1671" fmla="*/ 3524861 w 6530564"/>
              <a:gd name="connsiteY1671" fmla="*/ 5111464 h 6858000"/>
              <a:gd name="connsiteX1672" fmla="*/ 3505180 w 6530564"/>
              <a:gd name="connsiteY1672" fmla="*/ 5106191 h 6858000"/>
              <a:gd name="connsiteX1673" fmla="*/ 3496218 w 6530564"/>
              <a:gd name="connsiteY1673" fmla="*/ 5100273 h 6858000"/>
              <a:gd name="connsiteX1674" fmla="*/ 3500377 w 6530564"/>
              <a:gd name="connsiteY1674" fmla="*/ 5097872 h 6858000"/>
              <a:gd name="connsiteX1675" fmla="*/ 3504537 w 6530564"/>
              <a:gd name="connsiteY1675" fmla="*/ 5095471 h 6858000"/>
              <a:gd name="connsiteX1676" fmla="*/ 3501256 w 6530564"/>
              <a:gd name="connsiteY1676" fmla="*/ 5094592 h 6858000"/>
              <a:gd name="connsiteX1677" fmla="*/ 3497975 w 6530564"/>
              <a:gd name="connsiteY1677" fmla="*/ 5093714 h 6858000"/>
              <a:gd name="connsiteX1678" fmla="*/ 3493817 w 6530564"/>
              <a:gd name="connsiteY1678" fmla="*/ 5096115 h 6858000"/>
              <a:gd name="connsiteX1679" fmla="*/ 3489659 w 6530564"/>
              <a:gd name="connsiteY1679" fmla="*/ 5098516 h 6858000"/>
              <a:gd name="connsiteX1680" fmla="*/ 3488778 w 6530564"/>
              <a:gd name="connsiteY1680" fmla="*/ 5101796 h 6858000"/>
              <a:gd name="connsiteX1681" fmla="*/ 3504301 w 6530564"/>
              <a:gd name="connsiteY1681" fmla="*/ 5109471 h 6858000"/>
              <a:gd name="connsiteX1682" fmla="*/ 3507581 w 6530564"/>
              <a:gd name="connsiteY1682" fmla="*/ 5110349 h 6858000"/>
              <a:gd name="connsiteX1683" fmla="*/ 3520701 w 6530564"/>
              <a:gd name="connsiteY1683" fmla="*/ 5113865 h 6858000"/>
              <a:gd name="connsiteX1684" fmla="*/ 3527262 w 6530564"/>
              <a:gd name="connsiteY1684" fmla="*/ 5115624 h 6858000"/>
              <a:gd name="connsiteX1685" fmla="*/ 3509983 w 6530564"/>
              <a:gd name="connsiteY1685" fmla="*/ 5114509 h 6858000"/>
              <a:gd name="connsiteX1686" fmla="*/ 3489421 w 6530564"/>
              <a:gd name="connsiteY1686" fmla="*/ 5112516 h 6858000"/>
              <a:gd name="connsiteX1687" fmla="*/ 3483740 w 6530564"/>
              <a:gd name="connsiteY1687" fmla="*/ 5107478 h 6858000"/>
              <a:gd name="connsiteX1688" fmla="*/ 3477179 w 6530564"/>
              <a:gd name="connsiteY1688" fmla="*/ 5105719 h 6858000"/>
              <a:gd name="connsiteX1689" fmla="*/ 3460778 w 6530564"/>
              <a:gd name="connsiteY1689" fmla="*/ 5101325 h 6858000"/>
              <a:gd name="connsiteX1690" fmla="*/ 3464938 w 6530564"/>
              <a:gd name="connsiteY1690" fmla="*/ 5098924 h 6858000"/>
              <a:gd name="connsiteX1691" fmla="*/ 3465816 w 6530564"/>
              <a:gd name="connsiteY1691" fmla="*/ 5095643 h 6858000"/>
              <a:gd name="connsiteX1692" fmla="*/ 3462537 w 6530564"/>
              <a:gd name="connsiteY1692" fmla="*/ 5094765 h 6858000"/>
              <a:gd name="connsiteX1693" fmla="*/ 3459257 w 6530564"/>
              <a:gd name="connsiteY1693" fmla="*/ 5093886 h 6858000"/>
              <a:gd name="connsiteX1694" fmla="*/ 3455097 w 6530564"/>
              <a:gd name="connsiteY1694" fmla="*/ 5096287 h 6858000"/>
              <a:gd name="connsiteX1695" fmla="*/ 3451816 w 6530564"/>
              <a:gd name="connsiteY1695" fmla="*/ 5095409 h 6858000"/>
              <a:gd name="connsiteX1696" fmla="*/ 3448536 w 6530564"/>
              <a:gd name="connsiteY1696" fmla="*/ 5094529 h 6858000"/>
              <a:gd name="connsiteX1697" fmla="*/ 3434537 w 6530564"/>
              <a:gd name="connsiteY1697" fmla="*/ 5094294 h 6858000"/>
              <a:gd name="connsiteX1698" fmla="*/ 3418134 w 6530564"/>
              <a:gd name="connsiteY1698" fmla="*/ 5089898 h 6858000"/>
              <a:gd name="connsiteX1699" fmla="*/ 3415734 w 6530564"/>
              <a:gd name="connsiteY1699" fmla="*/ 5085739 h 6858000"/>
              <a:gd name="connsiteX1700" fmla="*/ 3419893 w 6530564"/>
              <a:gd name="connsiteY1700" fmla="*/ 5083337 h 6858000"/>
              <a:gd name="connsiteX1701" fmla="*/ 3460135 w 6530564"/>
              <a:gd name="connsiteY1701" fmla="*/ 5090605 h 6858000"/>
              <a:gd name="connsiteX1702" fmla="*/ 3463417 w 6530564"/>
              <a:gd name="connsiteY1702" fmla="*/ 5091485 h 6858000"/>
              <a:gd name="connsiteX1703" fmla="*/ 3461014 w 6530564"/>
              <a:gd name="connsiteY1703" fmla="*/ 5087326 h 6858000"/>
              <a:gd name="connsiteX1704" fmla="*/ 3420771 w 6530564"/>
              <a:gd name="connsiteY1704" fmla="*/ 5080058 h 6858000"/>
              <a:gd name="connsiteX1705" fmla="*/ 3416848 w 6530564"/>
              <a:gd name="connsiteY1705" fmla="*/ 5068459 h 6858000"/>
              <a:gd name="connsiteX1706" fmla="*/ 3382522 w 6530564"/>
              <a:gd name="connsiteY1706" fmla="*/ 5052230 h 6858000"/>
              <a:gd name="connsiteX1707" fmla="*/ 3258344 w 6530564"/>
              <a:gd name="connsiteY1707" fmla="*/ 4990831 h 6858000"/>
              <a:gd name="connsiteX1708" fmla="*/ 3255064 w 6530564"/>
              <a:gd name="connsiteY1708" fmla="*/ 4989952 h 6858000"/>
              <a:gd name="connsiteX1709" fmla="*/ 3251783 w 6530564"/>
              <a:gd name="connsiteY1709" fmla="*/ 4989072 h 6858000"/>
              <a:gd name="connsiteX1710" fmla="*/ 3254186 w 6530564"/>
              <a:gd name="connsiteY1710" fmla="*/ 4993232 h 6858000"/>
              <a:gd name="connsiteX1711" fmla="*/ 3375085 w 6530564"/>
              <a:gd name="connsiteY1711" fmla="*/ 5053753 h 6858000"/>
              <a:gd name="connsiteX1712" fmla="*/ 3371803 w 6530564"/>
              <a:gd name="connsiteY1712" fmla="*/ 5052874 h 6858000"/>
              <a:gd name="connsiteX1713" fmla="*/ 3376606 w 6530564"/>
              <a:gd name="connsiteY1713" fmla="*/ 5061192 h 6858000"/>
              <a:gd name="connsiteX1714" fmla="*/ 3366767 w 6530564"/>
              <a:gd name="connsiteY1714" fmla="*/ 5058555 h 6858000"/>
              <a:gd name="connsiteX1715" fmla="*/ 3367645 w 6530564"/>
              <a:gd name="connsiteY1715" fmla="*/ 5055275 h 6858000"/>
              <a:gd name="connsiteX1716" fmla="*/ 3364364 w 6530564"/>
              <a:gd name="connsiteY1716" fmla="*/ 5054397 h 6858000"/>
              <a:gd name="connsiteX1717" fmla="*/ 3361083 w 6530564"/>
              <a:gd name="connsiteY1717" fmla="*/ 5053517 h 6858000"/>
              <a:gd name="connsiteX1718" fmla="*/ 3360205 w 6530564"/>
              <a:gd name="connsiteY1718" fmla="*/ 5056798 h 6858000"/>
              <a:gd name="connsiteX1719" fmla="*/ 3344683 w 6530564"/>
              <a:gd name="connsiteY1719" fmla="*/ 5049123 h 6858000"/>
              <a:gd name="connsiteX1720" fmla="*/ 3338122 w 6530564"/>
              <a:gd name="connsiteY1720" fmla="*/ 5047364 h 6858000"/>
              <a:gd name="connsiteX1721" fmla="*/ 3328281 w 6530564"/>
              <a:gd name="connsiteY1721" fmla="*/ 5044727 h 6858000"/>
              <a:gd name="connsiteX1722" fmla="*/ 3325001 w 6530564"/>
              <a:gd name="connsiteY1722" fmla="*/ 5043849 h 6858000"/>
              <a:gd name="connsiteX1723" fmla="*/ 3322599 w 6530564"/>
              <a:gd name="connsiteY1723" fmla="*/ 5039690 h 6858000"/>
              <a:gd name="connsiteX1724" fmla="*/ 3316040 w 6530564"/>
              <a:gd name="connsiteY1724" fmla="*/ 5037932 h 6858000"/>
              <a:gd name="connsiteX1725" fmla="*/ 3311880 w 6530564"/>
              <a:gd name="connsiteY1725" fmla="*/ 5040333 h 6858000"/>
              <a:gd name="connsiteX1726" fmla="*/ 3233153 w 6530564"/>
              <a:gd name="connsiteY1726" fmla="*/ 5019238 h 6858000"/>
              <a:gd name="connsiteX1727" fmla="*/ 3198829 w 6530564"/>
              <a:gd name="connsiteY1727" fmla="*/ 5003009 h 6858000"/>
              <a:gd name="connsiteX1728" fmla="*/ 3201230 w 6530564"/>
              <a:gd name="connsiteY1728" fmla="*/ 5007168 h 6858000"/>
              <a:gd name="connsiteX1729" fmla="*/ 3137383 w 6530564"/>
              <a:gd name="connsiteY1729" fmla="*/ 4983030 h 6858000"/>
              <a:gd name="connsiteX1730" fmla="*/ 3133223 w 6530564"/>
              <a:gd name="connsiteY1730" fmla="*/ 4985431 h 6858000"/>
              <a:gd name="connsiteX1731" fmla="*/ 3117700 w 6530564"/>
              <a:gd name="connsiteY1731" fmla="*/ 4977756 h 6858000"/>
              <a:gd name="connsiteX1732" fmla="*/ 3115299 w 6530564"/>
              <a:gd name="connsiteY1732" fmla="*/ 4973596 h 6858000"/>
              <a:gd name="connsiteX1733" fmla="*/ 3107860 w 6530564"/>
              <a:gd name="connsiteY1733" fmla="*/ 4975119 h 6858000"/>
              <a:gd name="connsiteX1734" fmla="*/ 3089059 w 6530564"/>
              <a:gd name="connsiteY1734" fmla="*/ 4966565 h 6858000"/>
              <a:gd name="connsiteX1735" fmla="*/ 3085777 w 6530564"/>
              <a:gd name="connsiteY1735" fmla="*/ 4965684 h 6858000"/>
              <a:gd name="connsiteX1736" fmla="*/ 3076815 w 6530564"/>
              <a:gd name="connsiteY1736" fmla="*/ 4959768 h 6858000"/>
              <a:gd name="connsiteX1737" fmla="*/ 3073536 w 6530564"/>
              <a:gd name="connsiteY1737" fmla="*/ 4958890 h 6858000"/>
              <a:gd name="connsiteX1738" fmla="*/ 3070254 w 6530564"/>
              <a:gd name="connsiteY1738" fmla="*/ 4958011 h 6858000"/>
              <a:gd name="connsiteX1739" fmla="*/ 3018005 w 6530564"/>
              <a:gd name="connsiteY1739" fmla="*/ 4929948 h 6858000"/>
              <a:gd name="connsiteX1740" fmla="*/ 3008164 w 6530564"/>
              <a:gd name="connsiteY1740" fmla="*/ 4927311 h 6858000"/>
              <a:gd name="connsiteX1741" fmla="*/ 3004884 w 6530564"/>
              <a:gd name="connsiteY1741" fmla="*/ 4926433 h 6858000"/>
              <a:gd name="connsiteX1742" fmla="*/ 2991763 w 6530564"/>
              <a:gd name="connsiteY1742" fmla="*/ 4922918 h 6858000"/>
              <a:gd name="connsiteX1743" fmla="*/ 2959196 w 6530564"/>
              <a:gd name="connsiteY1743" fmla="*/ 4900127 h 6858000"/>
              <a:gd name="connsiteX1744" fmla="*/ 2832851 w 6530564"/>
              <a:gd name="connsiteY1744" fmla="*/ 4820566 h 6858000"/>
              <a:gd name="connsiteX1745" fmla="*/ 2829571 w 6530564"/>
              <a:gd name="connsiteY1745" fmla="*/ 4819688 h 6858000"/>
              <a:gd name="connsiteX1746" fmla="*/ 2827170 w 6530564"/>
              <a:gd name="connsiteY1746" fmla="*/ 4815530 h 6858000"/>
              <a:gd name="connsiteX1747" fmla="*/ 2790300 w 6530564"/>
              <a:gd name="connsiteY1747" fmla="*/ 4779282 h 6858000"/>
              <a:gd name="connsiteX1748" fmla="*/ 2753001 w 6530564"/>
              <a:gd name="connsiteY1748" fmla="*/ 4745754 h 6858000"/>
              <a:gd name="connsiteX1749" fmla="*/ 2753847 w 6530564"/>
              <a:gd name="connsiteY1749" fmla="*/ 4746386 h 6858000"/>
              <a:gd name="connsiteX1750" fmla="*/ 2763151 w 6530564"/>
              <a:gd name="connsiteY1750" fmla="*/ 4752669 h 6858000"/>
              <a:gd name="connsiteX1751" fmla="*/ 2768833 w 6530564"/>
              <a:gd name="connsiteY1751" fmla="*/ 4757708 h 6858000"/>
              <a:gd name="connsiteX1752" fmla="*/ 2789157 w 6530564"/>
              <a:gd name="connsiteY1752" fmla="*/ 4773703 h 6858000"/>
              <a:gd name="connsiteX1753" fmla="*/ 2824125 w 6530564"/>
              <a:gd name="connsiteY1753" fmla="*/ 4800649 h 6858000"/>
              <a:gd name="connsiteX1754" fmla="*/ 2829807 w 6530564"/>
              <a:gd name="connsiteY1754" fmla="*/ 4805687 h 6858000"/>
              <a:gd name="connsiteX1755" fmla="*/ 2835489 w 6530564"/>
              <a:gd name="connsiteY1755" fmla="*/ 4810727 h 6858000"/>
              <a:gd name="connsiteX1756" fmla="*/ 2839648 w 6530564"/>
              <a:gd name="connsiteY1756" fmla="*/ 4808324 h 6858000"/>
              <a:gd name="connsiteX1757" fmla="*/ 2829163 w 6530564"/>
              <a:gd name="connsiteY1757" fmla="*/ 4794968 h 6858000"/>
              <a:gd name="connsiteX1758" fmla="*/ 2825883 w 6530564"/>
              <a:gd name="connsiteY1758" fmla="*/ 4794088 h 6858000"/>
              <a:gd name="connsiteX1759" fmla="*/ 2773871 w 6530564"/>
              <a:gd name="connsiteY1759" fmla="*/ 4752025 h 6858000"/>
              <a:gd name="connsiteX1760" fmla="*/ 2770590 w 6530564"/>
              <a:gd name="connsiteY1760" fmla="*/ 4751147 h 6858000"/>
              <a:gd name="connsiteX1761" fmla="*/ 2757705 w 6530564"/>
              <a:gd name="connsiteY1761" fmla="*/ 4733631 h 6858000"/>
              <a:gd name="connsiteX1762" fmla="*/ 2740660 w 6530564"/>
              <a:gd name="connsiteY1762" fmla="*/ 4718516 h 6858000"/>
              <a:gd name="connsiteX1763" fmla="*/ 2706021 w 6530564"/>
              <a:gd name="connsiteY1763" fmla="*/ 4690338 h 6858000"/>
              <a:gd name="connsiteX1764" fmla="*/ 2678648 w 6530564"/>
              <a:gd name="connsiteY1764" fmla="*/ 4660537 h 6858000"/>
              <a:gd name="connsiteX1765" fmla="*/ 2682322 w 6530564"/>
              <a:gd name="connsiteY1765" fmla="*/ 4660696 h 6858000"/>
              <a:gd name="connsiteX1766" fmla="*/ 2556040 w 6530564"/>
              <a:gd name="connsiteY1766" fmla="*/ 4528415 h 6858000"/>
              <a:gd name="connsiteX1767" fmla="*/ 2556918 w 6530564"/>
              <a:gd name="connsiteY1767" fmla="*/ 4525136 h 6858000"/>
              <a:gd name="connsiteX1768" fmla="*/ 2553638 w 6530564"/>
              <a:gd name="connsiteY1768" fmla="*/ 4524257 h 6858000"/>
              <a:gd name="connsiteX1769" fmla="*/ 2550359 w 6530564"/>
              <a:gd name="connsiteY1769" fmla="*/ 4523378 h 6858000"/>
              <a:gd name="connsiteX1770" fmla="*/ 2544034 w 6530564"/>
              <a:gd name="connsiteY1770" fmla="*/ 4507619 h 6858000"/>
              <a:gd name="connsiteX1771" fmla="*/ 2505142 w 6530564"/>
              <a:gd name="connsiteY1771" fmla="*/ 4469072 h 6858000"/>
              <a:gd name="connsiteX1772" fmla="*/ 2514981 w 6530564"/>
              <a:gd name="connsiteY1772" fmla="*/ 4471709 h 6858000"/>
              <a:gd name="connsiteX1773" fmla="*/ 2494657 w 6530564"/>
              <a:gd name="connsiteY1773" fmla="*/ 4455716 h 6858000"/>
              <a:gd name="connsiteX1774" fmla="*/ 2498817 w 6530564"/>
              <a:gd name="connsiteY1774" fmla="*/ 4453313 h 6858000"/>
              <a:gd name="connsiteX1775" fmla="*/ 2453599 w 6530564"/>
              <a:gd name="connsiteY1775" fmla="*/ 4399008 h 6858000"/>
              <a:gd name="connsiteX1776" fmla="*/ 2454477 w 6530564"/>
              <a:gd name="connsiteY1776" fmla="*/ 4395729 h 6858000"/>
              <a:gd name="connsiteX1777" fmla="*/ 2424784 w 6530564"/>
              <a:gd name="connsiteY1777" fmla="*/ 4349098 h 6858000"/>
              <a:gd name="connsiteX1778" fmla="*/ 2387006 w 6530564"/>
              <a:gd name="connsiteY1778" fmla="*/ 4293271 h 6858000"/>
              <a:gd name="connsiteX1779" fmla="*/ 2372796 w 6530564"/>
              <a:gd name="connsiteY1779" fmla="*/ 4262654 h 6858000"/>
              <a:gd name="connsiteX1780" fmla="*/ 2354365 w 6530564"/>
              <a:gd name="connsiteY1780" fmla="*/ 4231786 h 6858000"/>
              <a:gd name="connsiteX1781" fmla="*/ 2357546 w 6530564"/>
              <a:gd name="connsiteY1781" fmla="*/ 4232639 h 6858000"/>
              <a:gd name="connsiteX1782" fmla="*/ 2355145 w 6530564"/>
              <a:gd name="connsiteY1782" fmla="*/ 4228480 h 6858000"/>
              <a:gd name="connsiteX1783" fmla="*/ 2349463 w 6530564"/>
              <a:gd name="connsiteY1783" fmla="*/ 4223441 h 6858000"/>
              <a:gd name="connsiteX1784" fmla="*/ 2352745 w 6530564"/>
              <a:gd name="connsiteY1784" fmla="*/ 4224320 h 6858000"/>
              <a:gd name="connsiteX1785" fmla="*/ 2338336 w 6530564"/>
              <a:gd name="connsiteY1785" fmla="*/ 4199366 h 6858000"/>
              <a:gd name="connsiteX1786" fmla="*/ 2335056 w 6530564"/>
              <a:gd name="connsiteY1786" fmla="*/ 4198486 h 6858000"/>
              <a:gd name="connsiteX1787" fmla="*/ 2329374 w 6530564"/>
              <a:gd name="connsiteY1787" fmla="*/ 4193448 h 6858000"/>
              <a:gd name="connsiteX1788" fmla="*/ 2335934 w 6530564"/>
              <a:gd name="connsiteY1788" fmla="*/ 4195206 h 6858000"/>
              <a:gd name="connsiteX1789" fmla="*/ 2328731 w 6530564"/>
              <a:gd name="connsiteY1789" fmla="*/ 4182729 h 6858000"/>
              <a:gd name="connsiteX1790" fmla="*/ 2332011 w 6530564"/>
              <a:gd name="connsiteY1790" fmla="*/ 4183607 h 6858000"/>
              <a:gd name="connsiteX1791" fmla="*/ 2335292 w 6530564"/>
              <a:gd name="connsiteY1791" fmla="*/ 4184486 h 6858000"/>
              <a:gd name="connsiteX1792" fmla="*/ 2336170 w 6530564"/>
              <a:gd name="connsiteY1792" fmla="*/ 4181206 h 6858000"/>
              <a:gd name="connsiteX1793" fmla="*/ 2329610 w 6530564"/>
              <a:gd name="connsiteY1793" fmla="*/ 4179448 h 6858000"/>
              <a:gd name="connsiteX1794" fmla="*/ 2326328 w 6530564"/>
              <a:gd name="connsiteY1794" fmla="*/ 4178569 h 6858000"/>
              <a:gd name="connsiteX1795" fmla="*/ 2323927 w 6530564"/>
              <a:gd name="connsiteY1795" fmla="*/ 4174411 h 6858000"/>
              <a:gd name="connsiteX1796" fmla="*/ 2324807 w 6530564"/>
              <a:gd name="connsiteY1796" fmla="*/ 4171130 h 6858000"/>
              <a:gd name="connsiteX1797" fmla="*/ 2325686 w 6530564"/>
              <a:gd name="connsiteY1797" fmla="*/ 4167850 h 6858000"/>
              <a:gd name="connsiteX1798" fmla="*/ 2322406 w 6530564"/>
              <a:gd name="connsiteY1798" fmla="*/ 4166970 h 6858000"/>
              <a:gd name="connsiteX1799" fmla="*/ 2319125 w 6530564"/>
              <a:gd name="connsiteY1799" fmla="*/ 4166091 h 6858000"/>
              <a:gd name="connsiteX1800" fmla="*/ 2315201 w 6530564"/>
              <a:gd name="connsiteY1800" fmla="*/ 4154494 h 6858000"/>
              <a:gd name="connsiteX1801" fmla="*/ 2318482 w 6530564"/>
              <a:gd name="connsiteY1801" fmla="*/ 4155373 h 6858000"/>
              <a:gd name="connsiteX1802" fmla="*/ 2316081 w 6530564"/>
              <a:gd name="connsiteY1802" fmla="*/ 4151212 h 6858000"/>
              <a:gd name="connsiteX1803" fmla="*/ 2313680 w 6530564"/>
              <a:gd name="connsiteY1803" fmla="*/ 4147053 h 6858000"/>
              <a:gd name="connsiteX1804" fmla="*/ 2307998 w 6530564"/>
              <a:gd name="connsiteY1804" fmla="*/ 4142015 h 6858000"/>
              <a:gd name="connsiteX1805" fmla="*/ 2311277 w 6530564"/>
              <a:gd name="connsiteY1805" fmla="*/ 4142893 h 6858000"/>
              <a:gd name="connsiteX1806" fmla="*/ 2308233 w 6530564"/>
              <a:gd name="connsiteY1806" fmla="*/ 4128016 h 6858000"/>
              <a:gd name="connsiteX1807" fmla="*/ 2314794 w 6530564"/>
              <a:gd name="connsiteY1807" fmla="*/ 4129773 h 6858000"/>
              <a:gd name="connsiteX1808" fmla="*/ 2308469 w 6530564"/>
              <a:gd name="connsiteY1808" fmla="*/ 4114014 h 6858000"/>
              <a:gd name="connsiteX1809" fmla="*/ 2311749 w 6530564"/>
              <a:gd name="connsiteY1809" fmla="*/ 4114894 h 6858000"/>
              <a:gd name="connsiteX1810" fmla="*/ 2314150 w 6530564"/>
              <a:gd name="connsiteY1810" fmla="*/ 4119054 h 6858000"/>
              <a:gd name="connsiteX1811" fmla="*/ 2317430 w 6530564"/>
              <a:gd name="connsiteY1811" fmla="*/ 4119932 h 6858000"/>
              <a:gd name="connsiteX1812" fmla="*/ 2315029 w 6530564"/>
              <a:gd name="connsiteY1812" fmla="*/ 4115773 h 6858000"/>
              <a:gd name="connsiteX1813" fmla="*/ 2312628 w 6530564"/>
              <a:gd name="connsiteY1813" fmla="*/ 4111613 h 6858000"/>
              <a:gd name="connsiteX1814" fmla="*/ 2306947 w 6530564"/>
              <a:gd name="connsiteY1814" fmla="*/ 4106575 h 6858000"/>
              <a:gd name="connsiteX1815" fmla="*/ 2305188 w 6530564"/>
              <a:gd name="connsiteY1815" fmla="*/ 4113136 h 6858000"/>
              <a:gd name="connsiteX1816" fmla="*/ 2302787 w 6530564"/>
              <a:gd name="connsiteY1816" fmla="*/ 4108977 h 6858000"/>
              <a:gd name="connsiteX1817" fmla="*/ 2287500 w 6530564"/>
              <a:gd name="connsiteY1817" fmla="*/ 4087301 h 6858000"/>
              <a:gd name="connsiteX1818" fmla="*/ 2287264 w 6530564"/>
              <a:gd name="connsiteY1818" fmla="*/ 4101302 h 6858000"/>
              <a:gd name="connsiteX1819" fmla="*/ 2280939 w 6530564"/>
              <a:gd name="connsiteY1819" fmla="*/ 4085543 h 6858000"/>
              <a:gd name="connsiteX1820" fmla="*/ 2273736 w 6530564"/>
              <a:gd name="connsiteY1820" fmla="*/ 4073065 h 6858000"/>
              <a:gd name="connsiteX1821" fmla="*/ 2272213 w 6530564"/>
              <a:gd name="connsiteY1821" fmla="*/ 4065626 h 6858000"/>
              <a:gd name="connsiteX1822" fmla="*/ 2278774 w 6530564"/>
              <a:gd name="connsiteY1822" fmla="*/ 4067385 h 6858000"/>
              <a:gd name="connsiteX1823" fmla="*/ 2269169 w 6530564"/>
              <a:gd name="connsiteY1823" fmla="*/ 4050747 h 6858000"/>
              <a:gd name="connsiteX1824" fmla="*/ 2273328 w 6530564"/>
              <a:gd name="connsiteY1824" fmla="*/ 4048346 h 6858000"/>
              <a:gd name="connsiteX1825" fmla="*/ 2275729 w 6530564"/>
              <a:gd name="connsiteY1825" fmla="*/ 4052506 h 6858000"/>
              <a:gd name="connsiteX1826" fmla="*/ 2279010 w 6530564"/>
              <a:gd name="connsiteY1826" fmla="*/ 4053384 h 6858000"/>
              <a:gd name="connsiteX1827" fmla="*/ 2279888 w 6530564"/>
              <a:gd name="connsiteY1827" fmla="*/ 4050103 h 6858000"/>
              <a:gd name="connsiteX1828" fmla="*/ 2277487 w 6530564"/>
              <a:gd name="connsiteY1828" fmla="*/ 4045945 h 6858000"/>
              <a:gd name="connsiteX1829" fmla="*/ 2274206 w 6530564"/>
              <a:gd name="connsiteY1829" fmla="*/ 4045065 h 6858000"/>
              <a:gd name="connsiteX1830" fmla="*/ 2271805 w 6530564"/>
              <a:gd name="connsiteY1830" fmla="*/ 4040907 h 6858000"/>
              <a:gd name="connsiteX1831" fmla="*/ 2269404 w 6530564"/>
              <a:gd name="connsiteY1831" fmla="*/ 4036747 h 6858000"/>
              <a:gd name="connsiteX1832" fmla="*/ 2270282 w 6530564"/>
              <a:gd name="connsiteY1832" fmla="*/ 4033467 h 6858000"/>
              <a:gd name="connsiteX1833" fmla="*/ 2267003 w 6530564"/>
              <a:gd name="connsiteY1833" fmla="*/ 4032587 h 6858000"/>
              <a:gd name="connsiteX1834" fmla="*/ 2267881 w 6530564"/>
              <a:gd name="connsiteY1834" fmla="*/ 4029308 h 6858000"/>
              <a:gd name="connsiteX1835" fmla="*/ 2271162 w 6530564"/>
              <a:gd name="connsiteY1835" fmla="*/ 4030186 h 6858000"/>
              <a:gd name="connsiteX1836" fmla="*/ 2276843 w 6530564"/>
              <a:gd name="connsiteY1836" fmla="*/ 4035224 h 6858000"/>
              <a:gd name="connsiteX1837" fmla="*/ 2281647 w 6530564"/>
              <a:gd name="connsiteY1837" fmla="*/ 4043544 h 6858000"/>
              <a:gd name="connsiteX1838" fmla="*/ 2282526 w 6530564"/>
              <a:gd name="connsiteY1838" fmla="*/ 4040263 h 6858000"/>
              <a:gd name="connsiteX1839" fmla="*/ 2280124 w 6530564"/>
              <a:gd name="connsiteY1839" fmla="*/ 4036104 h 6858000"/>
              <a:gd name="connsiteX1840" fmla="*/ 2272919 w 6530564"/>
              <a:gd name="connsiteY1840" fmla="*/ 4023625 h 6858000"/>
              <a:gd name="connsiteX1841" fmla="*/ 2269640 w 6530564"/>
              <a:gd name="connsiteY1841" fmla="*/ 4022747 h 6858000"/>
              <a:gd name="connsiteX1842" fmla="*/ 2261556 w 6530564"/>
              <a:gd name="connsiteY1842" fmla="*/ 4013550 h 6858000"/>
              <a:gd name="connsiteX1843" fmla="*/ 2240180 w 6530564"/>
              <a:gd name="connsiteY1843" fmla="*/ 3962117 h 6858000"/>
              <a:gd name="connsiteX1844" fmla="*/ 2241060 w 6530564"/>
              <a:gd name="connsiteY1844" fmla="*/ 3958836 h 6858000"/>
              <a:gd name="connsiteX1845" fmla="*/ 2238659 w 6530564"/>
              <a:gd name="connsiteY1845" fmla="*/ 3954676 h 6858000"/>
              <a:gd name="connsiteX1846" fmla="*/ 2234735 w 6530564"/>
              <a:gd name="connsiteY1846" fmla="*/ 3943079 h 6858000"/>
              <a:gd name="connsiteX1847" fmla="*/ 2232334 w 6530564"/>
              <a:gd name="connsiteY1847" fmla="*/ 3938919 h 6858000"/>
              <a:gd name="connsiteX1848" fmla="*/ 2228410 w 6530564"/>
              <a:gd name="connsiteY1848" fmla="*/ 3927321 h 6858000"/>
              <a:gd name="connsiteX1849" fmla="*/ 2224486 w 6530564"/>
              <a:gd name="connsiteY1849" fmla="*/ 3915722 h 6858000"/>
              <a:gd name="connsiteX1850" fmla="*/ 2215995 w 6530564"/>
              <a:gd name="connsiteY1850" fmla="*/ 3881804 h 6858000"/>
              <a:gd name="connsiteX1851" fmla="*/ 2195263 w 6530564"/>
              <a:gd name="connsiteY1851" fmla="*/ 3841091 h 6858000"/>
              <a:gd name="connsiteX1852" fmla="*/ 2191339 w 6530564"/>
              <a:gd name="connsiteY1852" fmla="*/ 3829493 h 6858000"/>
              <a:gd name="connsiteX1853" fmla="*/ 2188651 w 6530564"/>
              <a:gd name="connsiteY1853" fmla="*/ 3836242 h 6858000"/>
              <a:gd name="connsiteX1854" fmla="*/ 2188075 w 6530564"/>
              <a:gd name="connsiteY1854" fmla="*/ 3835811 h 6858000"/>
              <a:gd name="connsiteX1855" fmla="*/ 2194554 w 6530564"/>
              <a:gd name="connsiteY1855" fmla="*/ 3858195 h 6858000"/>
              <a:gd name="connsiteX1856" fmla="*/ 2198532 w 6530564"/>
              <a:gd name="connsiteY1856" fmla="*/ 3875169 h 6858000"/>
              <a:gd name="connsiteX1857" fmla="*/ 2200656 w 6530564"/>
              <a:gd name="connsiteY1857" fmla="*/ 3881649 h 6858000"/>
              <a:gd name="connsiteX1858" fmla="*/ 2210722 w 6530564"/>
              <a:gd name="connsiteY1858" fmla="*/ 3901486 h 6858000"/>
              <a:gd name="connsiteX1859" fmla="*/ 2217047 w 6530564"/>
              <a:gd name="connsiteY1859" fmla="*/ 3917243 h 6858000"/>
              <a:gd name="connsiteX1860" fmla="*/ 2213766 w 6530564"/>
              <a:gd name="connsiteY1860" fmla="*/ 3916364 h 6858000"/>
              <a:gd name="connsiteX1861" fmla="*/ 2214644 w 6530564"/>
              <a:gd name="connsiteY1861" fmla="*/ 3913085 h 6858000"/>
              <a:gd name="connsiteX1862" fmla="*/ 2211364 w 6530564"/>
              <a:gd name="connsiteY1862" fmla="*/ 3912205 h 6858000"/>
              <a:gd name="connsiteX1863" fmla="*/ 2210486 w 6530564"/>
              <a:gd name="connsiteY1863" fmla="*/ 3915486 h 6858000"/>
              <a:gd name="connsiteX1864" fmla="*/ 2212887 w 6530564"/>
              <a:gd name="connsiteY1864" fmla="*/ 3919646 h 6858000"/>
              <a:gd name="connsiteX1865" fmla="*/ 2222728 w 6530564"/>
              <a:gd name="connsiteY1865" fmla="*/ 3922281 h 6858000"/>
              <a:gd name="connsiteX1866" fmla="*/ 2226652 w 6530564"/>
              <a:gd name="connsiteY1866" fmla="*/ 3933880 h 6858000"/>
              <a:gd name="connsiteX1867" fmla="*/ 2224895 w 6530564"/>
              <a:gd name="connsiteY1867" fmla="*/ 3940442 h 6858000"/>
              <a:gd name="connsiteX1868" fmla="*/ 2221613 w 6530564"/>
              <a:gd name="connsiteY1868" fmla="*/ 3939563 h 6858000"/>
              <a:gd name="connsiteX1869" fmla="*/ 2224015 w 6530564"/>
              <a:gd name="connsiteY1869" fmla="*/ 3943721 h 6858000"/>
              <a:gd name="connsiteX1870" fmla="*/ 2227296 w 6530564"/>
              <a:gd name="connsiteY1870" fmla="*/ 3944601 h 6858000"/>
              <a:gd name="connsiteX1871" fmla="*/ 2232977 w 6530564"/>
              <a:gd name="connsiteY1871" fmla="*/ 3949639 h 6858000"/>
              <a:gd name="connsiteX1872" fmla="*/ 2234499 w 6530564"/>
              <a:gd name="connsiteY1872" fmla="*/ 3957077 h 6858000"/>
              <a:gd name="connsiteX1873" fmla="*/ 2233619 w 6530564"/>
              <a:gd name="connsiteY1873" fmla="*/ 3960358 h 6858000"/>
              <a:gd name="connsiteX1874" fmla="*/ 2236901 w 6530564"/>
              <a:gd name="connsiteY1874" fmla="*/ 3961237 h 6858000"/>
              <a:gd name="connsiteX1875" fmla="*/ 2239302 w 6530564"/>
              <a:gd name="connsiteY1875" fmla="*/ 3965397 h 6858000"/>
              <a:gd name="connsiteX1876" fmla="*/ 2257398 w 6530564"/>
              <a:gd name="connsiteY1876" fmla="*/ 4015951 h 6858000"/>
              <a:gd name="connsiteX1877" fmla="*/ 2259799 w 6530564"/>
              <a:gd name="connsiteY1877" fmla="*/ 4020111 h 6858000"/>
              <a:gd name="connsiteX1878" fmla="*/ 2263079 w 6530564"/>
              <a:gd name="connsiteY1878" fmla="*/ 4020990 h 6858000"/>
              <a:gd name="connsiteX1879" fmla="*/ 2262200 w 6530564"/>
              <a:gd name="connsiteY1879" fmla="*/ 4024269 h 6858000"/>
              <a:gd name="connsiteX1880" fmla="*/ 2258920 w 6530564"/>
              <a:gd name="connsiteY1880" fmla="*/ 4023391 h 6858000"/>
              <a:gd name="connsiteX1881" fmla="*/ 2261086 w 6530564"/>
              <a:gd name="connsiteY1881" fmla="*/ 4041551 h 6858000"/>
              <a:gd name="connsiteX1882" fmla="*/ 2264367 w 6530564"/>
              <a:gd name="connsiteY1882" fmla="*/ 4042429 h 6858000"/>
              <a:gd name="connsiteX1883" fmla="*/ 2255405 w 6530564"/>
              <a:gd name="connsiteY1883" fmla="*/ 4036511 h 6858000"/>
              <a:gd name="connsiteX1884" fmla="*/ 2268055 w 6530564"/>
              <a:gd name="connsiteY1884" fmla="*/ 4068027 h 6858000"/>
              <a:gd name="connsiteX1885" fmla="*/ 2276781 w 6530564"/>
              <a:gd name="connsiteY1885" fmla="*/ 4087944 h 6858000"/>
              <a:gd name="connsiteX1886" fmla="*/ 2285507 w 6530564"/>
              <a:gd name="connsiteY1886" fmla="*/ 4107863 h 6858000"/>
              <a:gd name="connsiteX1887" fmla="*/ 2303838 w 6530564"/>
              <a:gd name="connsiteY1887" fmla="*/ 4144416 h 6858000"/>
              <a:gd name="connsiteX1888" fmla="*/ 2307761 w 6530564"/>
              <a:gd name="connsiteY1888" fmla="*/ 4156015 h 6858000"/>
              <a:gd name="connsiteX1889" fmla="*/ 2312564 w 6530564"/>
              <a:gd name="connsiteY1889" fmla="*/ 4164333 h 6858000"/>
              <a:gd name="connsiteX1890" fmla="*/ 2314087 w 6530564"/>
              <a:gd name="connsiteY1890" fmla="*/ 4171772 h 6858000"/>
              <a:gd name="connsiteX1891" fmla="*/ 2321291 w 6530564"/>
              <a:gd name="connsiteY1891" fmla="*/ 4184250 h 6858000"/>
              <a:gd name="connsiteX1892" fmla="*/ 2325215 w 6530564"/>
              <a:gd name="connsiteY1892" fmla="*/ 4195849 h 6858000"/>
              <a:gd name="connsiteX1893" fmla="*/ 2333297 w 6530564"/>
              <a:gd name="connsiteY1893" fmla="*/ 4205047 h 6858000"/>
              <a:gd name="connsiteX1894" fmla="*/ 2332419 w 6530564"/>
              <a:gd name="connsiteY1894" fmla="*/ 4208327 h 6858000"/>
              <a:gd name="connsiteX1895" fmla="*/ 2391338 w 6530564"/>
              <a:gd name="connsiteY1895" fmla="*/ 4329589 h 6858000"/>
              <a:gd name="connsiteX1896" fmla="*/ 2390458 w 6530564"/>
              <a:gd name="connsiteY1896" fmla="*/ 4332868 h 6858000"/>
              <a:gd name="connsiteX1897" fmla="*/ 2389579 w 6530564"/>
              <a:gd name="connsiteY1897" fmla="*/ 4336150 h 6858000"/>
              <a:gd name="connsiteX1898" fmla="*/ 2384777 w 6530564"/>
              <a:gd name="connsiteY1898" fmla="*/ 4327831 h 6858000"/>
              <a:gd name="connsiteX1899" fmla="*/ 2379973 w 6530564"/>
              <a:gd name="connsiteY1899" fmla="*/ 4319511 h 6858000"/>
              <a:gd name="connsiteX1900" fmla="*/ 2375173 w 6530564"/>
              <a:gd name="connsiteY1900" fmla="*/ 4311195 h 6858000"/>
              <a:gd name="connsiteX1901" fmla="*/ 2371891 w 6530564"/>
              <a:gd name="connsiteY1901" fmla="*/ 4310315 h 6858000"/>
              <a:gd name="connsiteX1902" fmla="*/ 2359884 w 6530564"/>
              <a:gd name="connsiteY1902" fmla="*/ 4289519 h 6858000"/>
              <a:gd name="connsiteX1903" fmla="*/ 2356605 w 6530564"/>
              <a:gd name="connsiteY1903" fmla="*/ 4288639 h 6858000"/>
              <a:gd name="connsiteX1904" fmla="*/ 2355725 w 6530564"/>
              <a:gd name="connsiteY1904" fmla="*/ 4291921 h 6858000"/>
              <a:gd name="connsiteX1905" fmla="*/ 2358127 w 6530564"/>
              <a:gd name="connsiteY1905" fmla="*/ 4296080 h 6858000"/>
              <a:gd name="connsiteX1906" fmla="*/ 2360528 w 6530564"/>
              <a:gd name="connsiteY1906" fmla="*/ 4300238 h 6858000"/>
              <a:gd name="connsiteX1907" fmla="*/ 2362929 w 6530564"/>
              <a:gd name="connsiteY1907" fmla="*/ 4304398 h 6858000"/>
              <a:gd name="connsiteX1908" fmla="*/ 2367731 w 6530564"/>
              <a:gd name="connsiteY1908" fmla="*/ 4312715 h 6858000"/>
              <a:gd name="connsiteX1909" fmla="*/ 2359695 w 6530564"/>
              <a:gd name="connsiteY1909" fmla="*/ 4299246 h 6858000"/>
              <a:gd name="connsiteX1910" fmla="*/ 2353339 w 6530564"/>
              <a:gd name="connsiteY1910" fmla="*/ 4287828 h 6858000"/>
              <a:gd name="connsiteX1911" fmla="*/ 2353323 w 6530564"/>
              <a:gd name="connsiteY1911" fmla="*/ 4287760 h 6858000"/>
              <a:gd name="connsiteX1912" fmla="*/ 2353292 w 6530564"/>
              <a:gd name="connsiteY1912" fmla="*/ 4287741 h 6858000"/>
              <a:gd name="connsiteX1913" fmla="*/ 2352724 w 6530564"/>
              <a:gd name="connsiteY1913" fmla="*/ 4286721 h 6858000"/>
              <a:gd name="connsiteX1914" fmla="*/ 2358361 w 6530564"/>
              <a:gd name="connsiteY1914" fmla="*/ 4282080 h 6858000"/>
              <a:gd name="connsiteX1915" fmla="*/ 2331068 w 6530564"/>
              <a:gd name="connsiteY1915" fmla="*/ 4239607 h 6858000"/>
              <a:gd name="connsiteX1916" fmla="*/ 2330190 w 6530564"/>
              <a:gd name="connsiteY1916" fmla="*/ 4242888 h 6858000"/>
              <a:gd name="connsiteX1917" fmla="*/ 2322985 w 6530564"/>
              <a:gd name="connsiteY1917" fmla="*/ 4230410 h 6858000"/>
              <a:gd name="connsiteX1918" fmla="*/ 2323865 w 6530564"/>
              <a:gd name="connsiteY1918" fmla="*/ 4227129 h 6858000"/>
              <a:gd name="connsiteX1919" fmla="*/ 2320584 w 6530564"/>
              <a:gd name="connsiteY1919" fmla="*/ 4226251 h 6858000"/>
              <a:gd name="connsiteX1920" fmla="*/ 2321464 w 6530564"/>
              <a:gd name="connsiteY1920" fmla="*/ 4222972 h 6858000"/>
              <a:gd name="connsiteX1921" fmla="*/ 2316660 w 6530564"/>
              <a:gd name="connsiteY1921" fmla="*/ 4214652 h 6858000"/>
              <a:gd name="connsiteX1922" fmla="*/ 2310979 w 6530564"/>
              <a:gd name="connsiteY1922" fmla="*/ 4209615 h 6858000"/>
              <a:gd name="connsiteX1923" fmla="*/ 2308578 w 6530564"/>
              <a:gd name="connsiteY1923" fmla="*/ 4205456 h 6858000"/>
              <a:gd name="connsiteX1924" fmla="*/ 2301373 w 6530564"/>
              <a:gd name="connsiteY1924" fmla="*/ 4192977 h 6858000"/>
              <a:gd name="connsiteX1925" fmla="*/ 2298093 w 6530564"/>
              <a:gd name="connsiteY1925" fmla="*/ 4192099 h 6858000"/>
              <a:gd name="connsiteX1926" fmla="*/ 2295692 w 6530564"/>
              <a:gd name="connsiteY1926" fmla="*/ 4187939 h 6858000"/>
              <a:gd name="connsiteX1927" fmla="*/ 2277360 w 6530564"/>
              <a:gd name="connsiteY1927" fmla="*/ 4151385 h 6858000"/>
              <a:gd name="connsiteX1928" fmla="*/ 2281520 w 6530564"/>
              <a:gd name="connsiteY1928" fmla="*/ 4148984 h 6858000"/>
              <a:gd name="connsiteX1929" fmla="*/ 2283921 w 6530564"/>
              <a:gd name="connsiteY1929" fmla="*/ 4153142 h 6858000"/>
              <a:gd name="connsiteX1930" fmla="*/ 2286322 w 6530564"/>
              <a:gd name="connsiteY1930" fmla="*/ 4157302 h 6858000"/>
              <a:gd name="connsiteX1931" fmla="*/ 2287202 w 6530564"/>
              <a:gd name="connsiteY1931" fmla="*/ 4154022 h 6858000"/>
              <a:gd name="connsiteX1932" fmla="*/ 2284799 w 6530564"/>
              <a:gd name="connsiteY1932" fmla="*/ 4149863 h 6858000"/>
              <a:gd name="connsiteX1933" fmla="*/ 2282398 w 6530564"/>
              <a:gd name="connsiteY1933" fmla="*/ 4145704 h 6858000"/>
              <a:gd name="connsiteX1934" fmla="*/ 2279118 w 6530564"/>
              <a:gd name="connsiteY1934" fmla="*/ 4144824 h 6858000"/>
              <a:gd name="connsiteX1935" fmla="*/ 2275837 w 6530564"/>
              <a:gd name="connsiteY1935" fmla="*/ 4143945 h 6858000"/>
              <a:gd name="connsiteX1936" fmla="*/ 2260788 w 6530564"/>
              <a:gd name="connsiteY1936" fmla="*/ 4108270 h 6858000"/>
              <a:gd name="connsiteX1937" fmla="*/ 2257507 w 6530564"/>
              <a:gd name="connsiteY1937" fmla="*/ 4107391 h 6858000"/>
              <a:gd name="connsiteX1938" fmla="*/ 2229163 w 6530564"/>
              <a:gd name="connsiteY1938" fmla="*/ 4029480 h 6858000"/>
              <a:gd name="connsiteX1939" fmla="*/ 2191448 w 6530564"/>
              <a:gd name="connsiteY1939" fmla="*/ 3920932 h 6858000"/>
              <a:gd name="connsiteX1940" fmla="*/ 2183600 w 6530564"/>
              <a:gd name="connsiteY1940" fmla="*/ 3897734 h 6858000"/>
              <a:gd name="connsiteX1941" fmla="*/ 2184480 w 6530564"/>
              <a:gd name="connsiteY1941" fmla="*/ 3894454 h 6858000"/>
              <a:gd name="connsiteX1942" fmla="*/ 2183836 w 6530564"/>
              <a:gd name="connsiteY1942" fmla="*/ 3883736 h 6858000"/>
              <a:gd name="connsiteX1943" fmla="*/ 2181435 w 6530564"/>
              <a:gd name="connsiteY1943" fmla="*/ 3879574 h 6858000"/>
              <a:gd name="connsiteX1944" fmla="*/ 2180556 w 6530564"/>
              <a:gd name="connsiteY1944" fmla="*/ 3882855 h 6858000"/>
              <a:gd name="connsiteX1945" fmla="*/ 2164217 w 6530564"/>
              <a:gd name="connsiteY1945" fmla="*/ 3825741 h 6858000"/>
              <a:gd name="connsiteX1946" fmla="*/ 2151803 w 6530564"/>
              <a:gd name="connsiteY1946" fmla="*/ 3780225 h 6858000"/>
              <a:gd name="connsiteX1947" fmla="*/ 2151319 w 6530564"/>
              <a:gd name="connsiteY1947" fmla="*/ 3777854 h 6858000"/>
              <a:gd name="connsiteX1948" fmla="*/ 2151009 w 6530564"/>
              <a:gd name="connsiteY1948" fmla="*/ 3776873 h 6858000"/>
              <a:gd name="connsiteX1949" fmla="*/ 2132922 w 6530564"/>
              <a:gd name="connsiteY1949" fmla="*/ 3694412 h 6858000"/>
              <a:gd name="connsiteX1950" fmla="*/ 2132655 w 6530564"/>
              <a:gd name="connsiteY1950" fmla="*/ 3694230 h 6858000"/>
              <a:gd name="connsiteX1951" fmla="*/ 2130626 w 6530564"/>
              <a:gd name="connsiteY1951" fmla="*/ 3683943 h 6858000"/>
              <a:gd name="connsiteX1952" fmla="*/ 2101976 w 6530564"/>
              <a:gd name="connsiteY1952" fmla="*/ 3553318 h 6858000"/>
              <a:gd name="connsiteX1953" fmla="*/ 2087236 w 6530564"/>
              <a:gd name="connsiteY1953" fmla="*/ 3095430 h 6858000"/>
              <a:gd name="connsiteX1954" fmla="*/ 2061056 w 6530564"/>
              <a:gd name="connsiteY1954" fmla="*/ 3512229 h 6858000"/>
              <a:gd name="connsiteX1955" fmla="*/ 2059495 w 6530564"/>
              <a:gd name="connsiteY1955" fmla="*/ 3512181 h 6858000"/>
              <a:gd name="connsiteX1956" fmla="*/ 2065891 w 6530564"/>
              <a:gd name="connsiteY1956" fmla="*/ 3549772 h 6858000"/>
              <a:gd name="connsiteX1957" fmla="*/ 2079120 w 6530564"/>
              <a:gd name="connsiteY1957" fmla="*/ 3644728 h 6858000"/>
              <a:gd name="connsiteX1958" fmla="*/ 2083923 w 6530564"/>
              <a:gd name="connsiteY1958" fmla="*/ 3653046 h 6858000"/>
              <a:gd name="connsiteX1959" fmla="*/ 2080643 w 6530564"/>
              <a:gd name="connsiteY1959" fmla="*/ 3652168 h 6858000"/>
              <a:gd name="connsiteX1960" fmla="*/ 2093056 w 6530564"/>
              <a:gd name="connsiteY1960" fmla="*/ 3697684 h 6858000"/>
              <a:gd name="connsiteX1961" fmla="*/ 2093464 w 6530564"/>
              <a:gd name="connsiteY1961" fmla="*/ 3722403 h 6858000"/>
              <a:gd name="connsiteX1962" fmla="*/ 2100904 w 6530564"/>
              <a:gd name="connsiteY1962" fmla="*/ 3720880 h 6858000"/>
              <a:gd name="connsiteX1963" fmla="*/ 2106350 w 6530564"/>
              <a:gd name="connsiteY1963" fmla="*/ 3739919 h 6858000"/>
              <a:gd name="connsiteX1964" fmla="*/ 2100433 w 6530564"/>
              <a:gd name="connsiteY1964" fmla="*/ 3748881 h 6858000"/>
              <a:gd name="connsiteX1965" fmla="*/ 2129421 w 6530564"/>
              <a:gd name="connsiteY1965" fmla="*/ 3837513 h 6858000"/>
              <a:gd name="connsiteX1966" fmla="*/ 2130944 w 6530564"/>
              <a:gd name="connsiteY1966" fmla="*/ 3844951 h 6858000"/>
              <a:gd name="connsiteX1967" fmla="*/ 2133346 w 6530564"/>
              <a:gd name="connsiteY1967" fmla="*/ 3849111 h 6858000"/>
              <a:gd name="connsiteX1968" fmla="*/ 2134224 w 6530564"/>
              <a:gd name="connsiteY1968" fmla="*/ 3845831 h 6858000"/>
              <a:gd name="connsiteX1969" fmla="*/ 2135102 w 6530564"/>
              <a:gd name="connsiteY1969" fmla="*/ 3842550 h 6858000"/>
              <a:gd name="connsiteX1970" fmla="*/ 2165614 w 6530564"/>
              <a:gd name="connsiteY1970" fmla="*/ 3938620 h 6858000"/>
              <a:gd name="connsiteX1971" fmla="*/ 2159697 w 6530564"/>
              <a:gd name="connsiteY1971" fmla="*/ 3947583 h 6858000"/>
              <a:gd name="connsiteX1972" fmla="*/ 2219023 w 6530564"/>
              <a:gd name="connsiteY1972" fmla="*/ 4093565 h 6858000"/>
              <a:gd name="connsiteX1973" fmla="*/ 2289069 w 6530564"/>
              <a:gd name="connsiteY1973" fmla="*/ 4238901 h 6858000"/>
              <a:gd name="connsiteX1974" fmla="*/ 2269214 w 6530564"/>
              <a:gd name="connsiteY1974" fmla="*/ 4194907 h 6858000"/>
              <a:gd name="connsiteX1975" fmla="*/ 2268572 w 6530564"/>
              <a:gd name="connsiteY1975" fmla="*/ 4184188 h 6858000"/>
              <a:gd name="connsiteX1976" fmla="*/ 2224939 w 6530564"/>
              <a:gd name="connsiteY1976" fmla="*/ 4084603 h 6858000"/>
              <a:gd name="connsiteX1977" fmla="*/ 2176741 w 6530564"/>
              <a:gd name="connsiteY1977" fmla="*/ 3962696 h 6858000"/>
              <a:gd name="connsiteX1978" fmla="*/ 2176977 w 6530564"/>
              <a:gd name="connsiteY1978" fmla="*/ 3948697 h 6858000"/>
              <a:gd name="connsiteX1979" fmla="*/ 2152556 w 6530564"/>
              <a:gd name="connsiteY1979" fmla="*/ 3882385 h 6858000"/>
              <a:gd name="connsiteX1980" fmla="*/ 2154313 w 6530564"/>
              <a:gd name="connsiteY1980" fmla="*/ 3875824 h 6858000"/>
              <a:gd name="connsiteX1981" fmla="*/ 2147753 w 6530564"/>
              <a:gd name="connsiteY1981" fmla="*/ 3874066 h 6858000"/>
              <a:gd name="connsiteX1982" fmla="*/ 2128605 w 6530564"/>
              <a:gd name="connsiteY1982" fmla="*/ 3788073 h 6858000"/>
              <a:gd name="connsiteX1983" fmla="*/ 2132530 w 6530564"/>
              <a:gd name="connsiteY1983" fmla="*/ 3799672 h 6858000"/>
              <a:gd name="connsiteX1984" fmla="*/ 2145180 w 6530564"/>
              <a:gd name="connsiteY1984" fmla="*/ 3831186 h 6858000"/>
              <a:gd name="connsiteX1985" fmla="*/ 2168079 w 6530564"/>
              <a:gd name="connsiteY1985" fmla="*/ 3890059 h 6858000"/>
              <a:gd name="connsiteX1986" fmla="*/ 2169600 w 6530564"/>
              <a:gd name="connsiteY1986" fmla="*/ 3897500 h 6858000"/>
              <a:gd name="connsiteX1987" fmla="*/ 2167841 w 6530564"/>
              <a:gd name="connsiteY1987" fmla="*/ 3904059 h 6858000"/>
              <a:gd name="connsiteX1988" fmla="*/ 2179849 w 6530564"/>
              <a:gd name="connsiteY1988" fmla="*/ 3924856 h 6858000"/>
              <a:gd name="connsiteX1989" fmla="*/ 2190097 w 6530564"/>
              <a:gd name="connsiteY1989" fmla="*/ 3952213 h 6858000"/>
              <a:gd name="connsiteX1990" fmla="*/ 2201633 w 6530564"/>
              <a:gd name="connsiteY1990" fmla="*/ 4001009 h 6858000"/>
              <a:gd name="connsiteX1991" fmla="*/ 2204914 w 6530564"/>
              <a:gd name="connsiteY1991" fmla="*/ 4001887 h 6858000"/>
              <a:gd name="connsiteX1992" fmla="*/ 2211239 w 6530564"/>
              <a:gd name="connsiteY1992" fmla="*/ 4017646 h 6858000"/>
              <a:gd name="connsiteX1993" fmla="*/ 2213640 w 6530564"/>
              <a:gd name="connsiteY1993" fmla="*/ 4021805 h 6858000"/>
              <a:gd name="connsiteX1994" fmla="*/ 2226290 w 6530564"/>
              <a:gd name="connsiteY1994" fmla="*/ 4053321 h 6858000"/>
              <a:gd name="connsiteX1995" fmla="*/ 2232615 w 6530564"/>
              <a:gd name="connsiteY1995" fmla="*/ 4069080 h 6858000"/>
              <a:gd name="connsiteX1996" fmla="*/ 2251590 w 6530564"/>
              <a:gd name="connsiteY1996" fmla="*/ 4116353 h 6858000"/>
              <a:gd name="connsiteX1997" fmla="*/ 2260316 w 6530564"/>
              <a:gd name="connsiteY1997" fmla="*/ 4136270 h 6858000"/>
              <a:gd name="connsiteX1998" fmla="*/ 2259437 w 6530564"/>
              <a:gd name="connsiteY1998" fmla="*/ 4139550 h 6858000"/>
              <a:gd name="connsiteX1999" fmla="*/ 2261839 w 6530564"/>
              <a:gd name="connsiteY1999" fmla="*/ 4143710 h 6858000"/>
              <a:gd name="connsiteX2000" fmla="*/ 2265118 w 6530564"/>
              <a:gd name="connsiteY2000" fmla="*/ 4144590 h 6858000"/>
              <a:gd name="connsiteX2001" fmla="*/ 2264239 w 6530564"/>
              <a:gd name="connsiteY2001" fmla="*/ 4147869 h 6858000"/>
              <a:gd name="connsiteX2002" fmla="*/ 2303304 w 6530564"/>
              <a:gd name="connsiteY2002" fmla="*/ 4225136 h 6858000"/>
              <a:gd name="connsiteX2003" fmla="*/ 2304827 w 6530564"/>
              <a:gd name="connsiteY2003" fmla="*/ 4232576 h 6858000"/>
              <a:gd name="connsiteX2004" fmla="*/ 2303948 w 6530564"/>
              <a:gd name="connsiteY2004" fmla="*/ 4235857 h 6858000"/>
              <a:gd name="connsiteX2005" fmla="*/ 2306349 w 6530564"/>
              <a:gd name="connsiteY2005" fmla="*/ 4240017 h 6858000"/>
              <a:gd name="connsiteX2006" fmla="*/ 2309629 w 6530564"/>
              <a:gd name="connsiteY2006" fmla="*/ 4240895 h 6858000"/>
              <a:gd name="connsiteX2007" fmla="*/ 2329718 w 6530564"/>
              <a:gd name="connsiteY2007" fmla="*/ 4270889 h 6858000"/>
              <a:gd name="connsiteX2008" fmla="*/ 2332119 w 6530564"/>
              <a:gd name="connsiteY2008" fmla="*/ 4275047 h 6858000"/>
              <a:gd name="connsiteX2009" fmla="*/ 2337802 w 6530564"/>
              <a:gd name="connsiteY2009" fmla="*/ 4280087 h 6858000"/>
              <a:gd name="connsiteX2010" fmla="*/ 2339523 w 6530564"/>
              <a:gd name="connsiteY2010" fmla="*/ 4273662 h 6858000"/>
              <a:gd name="connsiteX2011" fmla="*/ 2344252 w 6530564"/>
              <a:gd name="connsiteY2011" fmla="*/ 4282253 h 6858000"/>
              <a:gd name="connsiteX2012" fmla="*/ 2353292 w 6530564"/>
              <a:gd name="connsiteY2012" fmla="*/ 4287741 h 6858000"/>
              <a:gd name="connsiteX2013" fmla="*/ 2353339 w 6530564"/>
              <a:gd name="connsiteY2013" fmla="*/ 4287828 h 6858000"/>
              <a:gd name="connsiteX2014" fmla="*/ 2356398 w 6530564"/>
              <a:gd name="connsiteY2014" fmla="*/ 4300890 h 6858000"/>
              <a:gd name="connsiteX2015" fmla="*/ 2366853 w 6530564"/>
              <a:gd name="connsiteY2015" fmla="*/ 4315997 h 6858000"/>
              <a:gd name="connsiteX2016" fmla="*/ 2365974 w 6530564"/>
              <a:gd name="connsiteY2016" fmla="*/ 4319277 h 6858000"/>
              <a:gd name="connsiteX2017" fmla="*/ 2369254 w 6530564"/>
              <a:gd name="connsiteY2017" fmla="*/ 4320156 h 6858000"/>
              <a:gd name="connsiteX2018" fmla="*/ 2372534 w 6530564"/>
              <a:gd name="connsiteY2018" fmla="*/ 4321034 h 6858000"/>
              <a:gd name="connsiteX2019" fmla="*/ 2373178 w 6530564"/>
              <a:gd name="connsiteY2019" fmla="*/ 4331754 h 6858000"/>
              <a:gd name="connsiteX2020" fmla="*/ 2370777 w 6530564"/>
              <a:gd name="connsiteY2020" fmla="*/ 4327595 h 6858000"/>
              <a:gd name="connsiteX2021" fmla="*/ 2365094 w 6530564"/>
              <a:gd name="connsiteY2021" fmla="*/ 4322557 h 6858000"/>
              <a:gd name="connsiteX2022" fmla="*/ 2366617 w 6530564"/>
              <a:gd name="connsiteY2022" fmla="*/ 4329996 h 6858000"/>
              <a:gd name="connsiteX2023" fmla="*/ 2365738 w 6530564"/>
              <a:gd name="connsiteY2023" fmla="*/ 4333277 h 6858000"/>
              <a:gd name="connsiteX2024" fmla="*/ 2352853 w 6530564"/>
              <a:gd name="connsiteY2024" fmla="*/ 4315761 h 6858000"/>
              <a:gd name="connsiteX2025" fmla="*/ 2430574 w 6530564"/>
              <a:gd name="connsiteY2025" fmla="*/ 4445576 h 6858000"/>
              <a:gd name="connsiteX2026" fmla="*/ 2441059 w 6530564"/>
              <a:gd name="connsiteY2026" fmla="*/ 4458934 h 6858000"/>
              <a:gd name="connsiteX2027" fmla="*/ 2443460 w 6530564"/>
              <a:gd name="connsiteY2027" fmla="*/ 4463092 h 6858000"/>
              <a:gd name="connsiteX2028" fmla="*/ 2533015 w 6530564"/>
              <a:gd name="connsiteY2028" fmla="*/ 4574984 h 6858000"/>
              <a:gd name="connsiteX2029" fmla="*/ 2537817 w 6530564"/>
              <a:gd name="connsiteY2029" fmla="*/ 4583302 h 6858000"/>
              <a:gd name="connsiteX2030" fmla="*/ 2529736 w 6530564"/>
              <a:gd name="connsiteY2030" fmla="*/ 4574104 h 6858000"/>
              <a:gd name="connsiteX2031" fmla="*/ 2523175 w 6530564"/>
              <a:gd name="connsiteY2031" fmla="*/ 4572347 h 6858000"/>
              <a:gd name="connsiteX2032" fmla="*/ 2511810 w 6530564"/>
              <a:gd name="connsiteY2032" fmla="*/ 4562270 h 6858000"/>
              <a:gd name="connsiteX2033" fmla="*/ 2509409 w 6530564"/>
              <a:gd name="connsiteY2033" fmla="*/ 4558111 h 6858000"/>
              <a:gd name="connsiteX2034" fmla="*/ 2506129 w 6530564"/>
              <a:gd name="connsiteY2034" fmla="*/ 4557232 h 6858000"/>
              <a:gd name="connsiteX2035" fmla="*/ 2480123 w 6530564"/>
              <a:gd name="connsiteY2035" fmla="*/ 4536200 h 6858000"/>
              <a:gd name="connsiteX2036" fmla="*/ 2485806 w 6530564"/>
              <a:gd name="connsiteY2036" fmla="*/ 4541239 h 6858000"/>
              <a:gd name="connsiteX2037" fmla="*/ 2479243 w 6530564"/>
              <a:gd name="connsiteY2037" fmla="*/ 4539480 h 6858000"/>
              <a:gd name="connsiteX2038" fmla="*/ 2480766 w 6530564"/>
              <a:gd name="connsiteY2038" fmla="*/ 4546920 h 6858000"/>
              <a:gd name="connsiteX2039" fmla="*/ 2477486 w 6530564"/>
              <a:gd name="connsiteY2039" fmla="*/ 4546041 h 6858000"/>
              <a:gd name="connsiteX2040" fmla="*/ 2475085 w 6530564"/>
              <a:gd name="connsiteY2040" fmla="*/ 4541882 h 6858000"/>
              <a:gd name="connsiteX2041" fmla="*/ 2471804 w 6530564"/>
              <a:gd name="connsiteY2041" fmla="*/ 4541004 h 6858000"/>
              <a:gd name="connsiteX2042" fmla="*/ 2454760 w 6530564"/>
              <a:gd name="connsiteY2042" fmla="*/ 4525889 h 6858000"/>
              <a:gd name="connsiteX2043" fmla="*/ 2451480 w 6530564"/>
              <a:gd name="connsiteY2043" fmla="*/ 4525010 h 6858000"/>
              <a:gd name="connsiteX2044" fmla="*/ 2453881 w 6530564"/>
              <a:gd name="connsiteY2044" fmla="*/ 4529170 h 6858000"/>
              <a:gd name="connsiteX2045" fmla="*/ 2453001 w 6530564"/>
              <a:gd name="connsiteY2045" fmla="*/ 4532449 h 6858000"/>
              <a:gd name="connsiteX2046" fmla="*/ 2402746 w 6530564"/>
              <a:gd name="connsiteY2046" fmla="*/ 4483825 h 6858000"/>
              <a:gd name="connsiteX2047" fmla="*/ 2356651 w 6530564"/>
              <a:gd name="connsiteY2047" fmla="*/ 4432800 h 6858000"/>
              <a:gd name="connsiteX2048" fmla="*/ 2353370 w 6530564"/>
              <a:gd name="connsiteY2048" fmla="*/ 4431922 h 6858000"/>
              <a:gd name="connsiteX2049" fmla="*/ 2354248 w 6530564"/>
              <a:gd name="connsiteY2049" fmla="*/ 4428641 h 6858000"/>
              <a:gd name="connsiteX2050" fmla="*/ 2350968 w 6530564"/>
              <a:gd name="connsiteY2050" fmla="*/ 4427762 h 6858000"/>
              <a:gd name="connsiteX2051" fmla="*/ 2348567 w 6530564"/>
              <a:gd name="connsiteY2051" fmla="*/ 4423602 h 6858000"/>
              <a:gd name="connsiteX2052" fmla="*/ 2340484 w 6530564"/>
              <a:gd name="connsiteY2052" fmla="*/ 4414406 h 6858000"/>
              <a:gd name="connsiteX2053" fmla="*/ 2333924 w 6530564"/>
              <a:gd name="connsiteY2053" fmla="*/ 4412648 h 6858000"/>
              <a:gd name="connsiteX2054" fmla="*/ 2345288 w 6530564"/>
              <a:gd name="connsiteY2054" fmla="*/ 4422724 h 6858000"/>
              <a:gd name="connsiteX2055" fmla="*/ 2344408 w 6530564"/>
              <a:gd name="connsiteY2055" fmla="*/ 4426004 h 6858000"/>
              <a:gd name="connsiteX2056" fmla="*/ 2341128 w 6530564"/>
              <a:gd name="connsiteY2056" fmla="*/ 4425125 h 6858000"/>
              <a:gd name="connsiteX2057" fmla="*/ 2343530 w 6530564"/>
              <a:gd name="connsiteY2057" fmla="*/ 4429285 h 6858000"/>
              <a:gd name="connsiteX2058" fmla="*/ 2346809 w 6530564"/>
              <a:gd name="connsiteY2058" fmla="*/ 4430163 h 6858000"/>
              <a:gd name="connsiteX2059" fmla="*/ 2349211 w 6530564"/>
              <a:gd name="connsiteY2059" fmla="*/ 4434323 h 6858000"/>
              <a:gd name="connsiteX2060" fmla="*/ 2357293 w 6530564"/>
              <a:gd name="connsiteY2060" fmla="*/ 4443519 h 6858000"/>
              <a:gd name="connsiteX2061" fmla="*/ 2363854 w 6530564"/>
              <a:gd name="connsiteY2061" fmla="*/ 4445278 h 6858000"/>
              <a:gd name="connsiteX2062" fmla="*/ 2362096 w 6530564"/>
              <a:gd name="connsiteY2062" fmla="*/ 4451837 h 6858000"/>
              <a:gd name="connsiteX2063" fmla="*/ 2382421 w 6530564"/>
              <a:gd name="connsiteY2063" fmla="*/ 4467832 h 6858000"/>
              <a:gd name="connsiteX2064" fmla="*/ 2414753 w 6530564"/>
              <a:gd name="connsiteY2064" fmla="*/ 4504621 h 6858000"/>
              <a:gd name="connsiteX2065" fmla="*/ 2415632 w 6530564"/>
              <a:gd name="connsiteY2065" fmla="*/ 4501341 h 6858000"/>
              <a:gd name="connsiteX2066" fmla="*/ 2420434 w 6530564"/>
              <a:gd name="connsiteY2066" fmla="*/ 4509659 h 6858000"/>
              <a:gd name="connsiteX2067" fmla="*/ 2426995 w 6530564"/>
              <a:gd name="connsiteY2067" fmla="*/ 4511417 h 6858000"/>
              <a:gd name="connsiteX2068" fmla="*/ 2426115 w 6530564"/>
              <a:gd name="connsiteY2068" fmla="*/ 4514697 h 6858000"/>
              <a:gd name="connsiteX2069" fmla="*/ 2430919 w 6530564"/>
              <a:gd name="connsiteY2069" fmla="*/ 4523015 h 6858000"/>
              <a:gd name="connsiteX2070" fmla="*/ 2470691 w 6530564"/>
              <a:gd name="connsiteY2070" fmla="*/ 4558283 h 6858000"/>
              <a:gd name="connsiteX2071" fmla="*/ 2472448 w 6530564"/>
              <a:gd name="connsiteY2071" fmla="*/ 4551724 h 6858000"/>
              <a:gd name="connsiteX2072" fmla="*/ 2534066 w 6530564"/>
              <a:gd name="connsiteY2072" fmla="*/ 4610424 h 6858000"/>
              <a:gd name="connsiteX2073" fmla="*/ 2585200 w 6530564"/>
              <a:gd name="connsiteY2073" fmla="*/ 4655767 h 6858000"/>
              <a:gd name="connsiteX2074" fmla="*/ 2584321 w 6530564"/>
              <a:gd name="connsiteY2074" fmla="*/ 4659048 h 6858000"/>
              <a:gd name="connsiteX2075" fmla="*/ 2618411 w 6530564"/>
              <a:gd name="connsiteY2075" fmla="*/ 4689276 h 6858000"/>
              <a:gd name="connsiteX2076" fmla="*/ 2608571 w 6530564"/>
              <a:gd name="connsiteY2076" fmla="*/ 4686639 h 6858000"/>
              <a:gd name="connsiteX2077" fmla="*/ 2622570 w 6530564"/>
              <a:gd name="connsiteY2077" fmla="*/ 4686874 h 6858000"/>
              <a:gd name="connsiteX2078" fmla="*/ 2658183 w 6530564"/>
              <a:gd name="connsiteY2078" fmla="*/ 4724543 h 6858000"/>
              <a:gd name="connsiteX2079" fmla="*/ 2660584 w 6530564"/>
              <a:gd name="connsiteY2079" fmla="*/ 4728703 h 6858000"/>
              <a:gd name="connsiteX2080" fmla="*/ 2663864 w 6530564"/>
              <a:gd name="connsiteY2080" fmla="*/ 4729582 h 6858000"/>
              <a:gd name="connsiteX2081" fmla="*/ 2664742 w 6530564"/>
              <a:gd name="connsiteY2081" fmla="*/ 4726302 h 6858000"/>
              <a:gd name="connsiteX2082" fmla="*/ 2670424 w 6530564"/>
              <a:gd name="connsiteY2082" fmla="*/ 4731340 h 6858000"/>
              <a:gd name="connsiteX2083" fmla="*/ 2667143 w 6530564"/>
              <a:gd name="connsiteY2083" fmla="*/ 4730462 h 6858000"/>
              <a:gd name="connsiteX2084" fmla="*/ 2666265 w 6530564"/>
              <a:gd name="connsiteY2084" fmla="*/ 4733741 h 6858000"/>
              <a:gd name="connsiteX2085" fmla="*/ 2672825 w 6530564"/>
              <a:gd name="connsiteY2085" fmla="*/ 4735499 h 6858000"/>
              <a:gd name="connsiteX2086" fmla="*/ 2675227 w 6530564"/>
              <a:gd name="connsiteY2086" fmla="*/ 4739658 h 6858000"/>
              <a:gd name="connsiteX2087" fmla="*/ 2685067 w 6530564"/>
              <a:gd name="connsiteY2087" fmla="*/ 4742295 h 6858000"/>
              <a:gd name="connsiteX2088" fmla="*/ 2690749 w 6530564"/>
              <a:gd name="connsiteY2088" fmla="*/ 4747334 h 6858000"/>
              <a:gd name="connsiteX2089" fmla="*/ 2688348 w 6530564"/>
              <a:gd name="connsiteY2089" fmla="*/ 4743174 h 6858000"/>
              <a:gd name="connsiteX2090" fmla="*/ 2685948 w 6530564"/>
              <a:gd name="connsiteY2090" fmla="*/ 4739014 h 6858000"/>
              <a:gd name="connsiteX2091" fmla="*/ 2692507 w 6530564"/>
              <a:gd name="connsiteY2091" fmla="*/ 4740773 h 6858000"/>
              <a:gd name="connsiteX2092" fmla="*/ 2709552 w 6530564"/>
              <a:gd name="connsiteY2092" fmla="*/ 4755887 h 6858000"/>
              <a:gd name="connsiteX2093" fmla="*/ 2741239 w 6530564"/>
              <a:gd name="connsiteY2093" fmla="*/ 4781956 h 6858000"/>
              <a:gd name="connsiteX2094" fmla="*/ 2743642 w 6530564"/>
              <a:gd name="connsiteY2094" fmla="*/ 4786115 h 6858000"/>
              <a:gd name="connsiteX2095" fmla="*/ 2746921 w 6530564"/>
              <a:gd name="connsiteY2095" fmla="*/ 4786995 h 6858000"/>
              <a:gd name="connsiteX2096" fmla="*/ 2761565 w 6530564"/>
              <a:gd name="connsiteY2096" fmla="*/ 4797950 h 6858000"/>
              <a:gd name="connsiteX2097" fmla="*/ 2773807 w 6530564"/>
              <a:gd name="connsiteY2097" fmla="*/ 4804745 h 6858000"/>
              <a:gd name="connsiteX2098" fmla="*/ 2793253 w 6530564"/>
              <a:gd name="connsiteY2098" fmla="*/ 4824020 h 6858000"/>
              <a:gd name="connsiteX2099" fmla="*/ 2792374 w 6530564"/>
              <a:gd name="connsiteY2099" fmla="*/ 4827301 h 6858000"/>
              <a:gd name="connsiteX2100" fmla="*/ 2798935 w 6530564"/>
              <a:gd name="connsiteY2100" fmla="*/ 4829058 h 6858000"/>
              <a:gd name="connsiteX2101" fmla="*/ 2802215 w 6530564"/>
              <a:gd name="connsiteY2101" fmla="*/ 4829937 h 6858000"/>
              <a:gd name="connsiteX2102" fmla="*/ 2799813 w 6530564"/>
              <a:gd name="connsiteY2102" fmla="*/ 4825779 h 6858000"/>
              <a:gd name="connsiteX2103" fmla="*/ 2820139 w 6530564"/>
              <a:gd name="connsiteY2103" fmla="*/ 4841771 h 6858000"/>
              <a:gd name="connsiteX2104" fmla="*/ 2822540 w 6530564"/>
              <a:gd name="connsiteY2104" fmla="*/ 4845931 h 6858000"/>
              <a:gd name="connsiteX2105" fmla="*/ 2825821 w 6530564"/>
              <a:gd name="connsiteY2105" fmla="*/ 4846810 h 6858000"/>
              <a:gd name="connsiteX2106" fmla="*/ 2847025 w 6530564"/>
              <a:gd name="connsiteY2106" fmla="*/ 4859523 h 6858000"/>
              <a:gd name="connsiteX2107" fmla="*/ 2843744 w 6530564"/>
              <a:gd name="connsiteY2107" fmla="*/ 4858645 h 6858000"/>
              <a:gd name="connsiteX2108" fmla="*/ 2833903 w 6530564"/>
              <a:gd name="connsiteY2108" fmla="*/ 4856008 h 6858000"/>
              <a:gd name="connsiteX2109" fmla="*/ 2839585 w 6530564"/>
              <a:gd name="connsiteY2109" fmla="*/ 4861046 h 6858000"/>
              <a:gd name="connsiteX2110" fmla="*/ 2841985 w 6530564"/>
              <a:gd name="connsiteY2110" fmla="*/ 4865204 h 6858000"/>
              <a:gd name="connsiteX2111" fmla="*/ 2829743 w 6530564"/>
              <a:gd name="connsiteY2111" fmla="*/ 4858407 h 6858000"/>
              <a:gd name="connsiteX2112" fmla="*/ 2824705 w 6530564"/>
              <a:gd name="connsiteY2112" fmla="*/ 4864090 h 6858000"/>
              <a:gd name="connsiteX2113" fmla="*/ 2845031 w 6530564"/>
              <a:gd name="connsiteY2113" fmla="*/ 4880083 h 6858000"/>
              <a:gd name="connsiteX2114" fmla="*/ 2847433 w 6530564"/>
              <a:gd name="connsiteY2114" fmla="*/ 4884243 h 6858000"/>
              <a:gd name="connsiteX2115" fmla="*/ 2850711 w 6530564"/>
              <a:gd name="connsiteY2115" fmla="*/ 4885122 h 6858000"/>
              <a:gd name="connsiteX2116" fmla="*/ 2853993 w 6530564"/>
              <a:gd name="connsiteY2116" fmla="*/ 4886000 h 6858000"/>
              <a:gd name="connsiteX2117" fmla="*/ 2851592 w 6530564"/>
              <a:gd name="connsiteY2117" fmla="*/ 4881842 h 6858000"/>
              <a:gd name="connsiteX2118" fmla="*/ 2861432 w 6530564"/>
              <a:gd name="connsiteY2118" fmla="*/ 4884479 h 6858000"/>
              <a:gd name="connsiteX2119" fmla="*/ 2865592 w 6530564"/>
              <a:gd name="connsiteY2119" fmla="*/ 4882076 h 6858000"/>
              <a:gd name="connsiteX2120" fmla="*/ 2850949 w 6530564"/>
              <a:gd name="connsiteY2120" fmla="*/ 4871121 h 6858000"/>
              <a:gd name="connsiteX2121" fmla="*/ 2854228 w 6530564"/>
              <a:gd name="connsiteY2121" fmla="*/ 4872001 h 6858000"/>
              <a:gd name="connsiteX2122" fmla="*/ 2861667 w 6530564"/>
              <a:gd name="connsiteY2122" fmla="*/ 4870478 h 6858000"/>
              <a:gd name="connsiteX2123" fmla="*/ 2856769 w 6530564"/>
              <a:gd name="connsiteY2123" fmla="*/ 4866135 h 6858000"/>
              <a:gd name="connsiteX2124" fmla="*/ 2862737 w 6530564"/>
              <a:gd name="connsiteY2124" fmla="*/ 4868128 h 6858000"/>
              <a:gd name="connsiteX2125" fmla="*/ 2877189 w 6530564"/>
              <a:gd name="connsiteY2125" fmla="*/ 4878154 h 6858000"/>
              <a:gd name="connsiteX2126" fmla="*/ 2889669 w 6530564"/>
              <a:gd name="connsiteY2126" fmla="*/ 4870949 h 6858000"/>
              <a:gd name="connsiteX2127" fmla="*/ 2885509 w 6530564"/>
              <a:gd name="connsiteY2127" fmla="*/ 4873350 h 6858000"/>
              <a:gd name="connsiteX2128" fmla="*/ 2884630 w 6530564"/>
              <a:gd name="connsiteY2128" fmla="*/ 4876631 h 6858000"/>
              <a:gd name="connsiteX2129" fmla="*/ 2883750 w 6530564"/>
              <a:gd name="connsiteY2129" fmla="*/ 4879911 h 6858000"/>
              <a:gd name="connsiteX2130" fmla="*/ 2890311 w 6530564"/>
              <a:gd name="connsiteY2130" fmla="*/ 4881670 h 6858000"/>
              <a:gd name="connsiteX2131" fmla="*/ 2893590 w 6530564"/>
              <a:gd name="connsiteY2131" fmla="*/ 4882548 h 6858000"/>
              <a:gd name="connsiteX2132" fmla="*/ 2898394 w 6530564"/>
              <a:gd name="connsiteY2132" fmla="*/ 4890866 h 6858000"/>
              <a:gd name="connsiteX2133" fmla="*/ 2891834 w 6530564"/>
              <a:gd name="connsiteY2133" fmla="*/ 4889109 h 6858000"/>
              <a:gd name="connsiteX2134" fmla="*/ 2890953 w 6530564"/>
              <a:gd name="connsiteY2134" fmla="*/ 4892389 h 6858000"/>
              <a:gd name="connsiteX2135" fmla="*/ 2896636 w 6530564"/>
              <a:gd name="connsiteY2135" fmla="*/ 4897427 h 6858000"/>
              <a:gd name="connsiteX2136" fmla="*/ 2903197 w 6530564"/>
              <a:gd name="connsiteY2136" fmla="*/ 4899185 h 6858000"/>
              <a:gd name="connsiteX2137" fmla="*/ 2911514 w 6530564"/>
              <a:gd name="connsiteY2137" fmla="*/ 4894383 h 6858000"/>
              <a:gd name="connsiteX2138" fmla="*/ 2915674 w 6530564"/>
              <a:gd name="connsiteY2138" fmla="*/ 4891980 h 6858000"/>
              <a:gd name="connsiteX2139" fmla="*/ 2913273 w 6530564"/>
              <a:gd name="connsiteY2139" fmla="*/ 4887822 h 6858000"/>
              <a:gd name="connsiteX2140" fmla="*/ 2928796 w 6530564"/>
              <a:gd name="connsiteY2140" fmla="*/ 4895497 h 6858000"/>
              <a:gd name="connsiteX2141" fmla="*/ 2918954 w 6530564"/>
              <a:gd name="connsiteY2141" fmla="*/ 4892860 h 6858000"/>
              <a:gd name="connsiteX2142" fmla="*/ 2930317 w 6530564"/>
              <a:gd name="connsiteY2142" fmla="*/ 4902935 h 6858000"/>
              <a:gd name="connsiteX2143" fmla="*/ 2929439 w 6530564"/>
              <a:gd name="connsiteY2143" fmla="*/ 4906217 h 6858000"/>
              <a:gd name="connsiteX2144" fmla="*/ 2932718 w 6530564"/>
              <a:gd name="connsiteY2144" fmla="*/ 4907095 h 6858000"/>
              <a:gd name="connsiteX2145" fmla="*/ 2935999 w 6530564"/>
              <a:gd name="connsiteY2145" fmla="*/ 4907975 h 6858000"/>
              <a:gd name="connsiteX2146" fmla="*/ 2936878 w 6530564"/>
              <a:gd name="connsiteY2146" fmla="*/ 4904694 h 6858000"/>
              <a:gd name="connsiteX2147" fmla="*/ 2941680 w 6530564"/>
              <a:gd name="connsiteY2147" fmla="*/ 4913011 h 6858000"/>
              <a:gd name="connsiteX2148" fmla="*/ 2961363 w 6530564"/>
              <a:gd name="connsiteY2148" fmla="*/ 4918285 h 6858000"/>
              <a:gd name="connsiteX2149" fmla="*/ 2954802 w 6530564"/>
              <a:gd name="connsiteY2149" fmla="*/ 4916527 h 6858000"/>
              <a:gd name="connsiteX2150" fmla="*/ 2972726 w 6530564"/>
              <a:gd name="connsiteY2150" fmla="*/ 4928362 h 6858000"/>
              <a:gd name="connsiteX2151" fmla="*/ 2968566 w 6530564"/>
              <a:gd name="connsiteY2151" fmla="*/ 4930764 h 6858000"/>
              <a:gd name="connsiteX2152" fmla="*/ 2971848 w 6530564"/>
              <a:gd name="connsiteY2152" fmla="*/ 4931642 h 6858000"/>
              <a:gd name="connsiteX2153" fmla="*/ 2970967 w 6530564"/>
              <a:gd name="connsiteY2153" fmla="*/ 4934923 h 6858000"/>
              <a:gd name="connsiteX2154" fmla="*/ 2966810 w 6530564"/>
              <a:gd name="connsiteY2154" fmla="*/ 4937324 h 6858000"/>
              <a:gd name="connsiteX2155" fmla="*/ 2939043 w 6530564"/>
              <a:gd name="connsiteY2155" fmla="*/ 4922854 h 6858000"/>
              <a:gd name="connsiteX2156" fmla="*/ 2939923 w 6530564"/>
              <a:gd name="connsiteY2156" fmla="*/ 4919573 h 6858000"/>
              <a:gd name="connsiteX2157" fmla="*/ 2927680 w 6530564"/>
              <a:gd name="connsiteY2157" fmla="*/ 4912777 h 6858000"/>
              <a:gd name="connsiteX2158" fmla="*/ 2935764 w 6530564"/>
              <a:gd name="connsiteY2158" fmla="*/ 4921974 h 6858000"/>
              <a:gd name="connsiteX2159" fmla="*/ 2920241 w 6530564"/>
              <a:gd name="connsiteY2159" fmla="*/ 4914300 h 6858000"/>
              <a:gd name="connsiteX2160" fmla="*/ 2917839 w 6530564"/>
              <a:gd name="connsiteY2160" fmla="*/ 4910140 h 6858000"/>
              <a:gd name="connsiteX2161" fmla="*/ 2914560 w 6530564"/>
              <a:gd name="connsiteY2161" fmla="*/ 4909260 h 6858000"/>
              <a:gd name="connsiteX2162" fmla="*/ 2910401 w 6530564"/>
              <a:gd name="connsiteY2162" fmla="*/ 4911663 h 6858000"/>
              <a:gd name="connsiteX2163" fmla="*/ 2912801 w 6530564"/>
              <a:gd name="connsiteY2163" fmla="*/ 4915821 h 6858000"/>
              <a:gd name="connsiteX2164" fmla="*/ 2918484 w 6530564"/>
              <a:gd name="connsiteY2164" fmla="*/ 4920859 h 6858000"/>
              <a:gd name="connsiteX2165" fmla="*/ 2921765 w 6530564"/>
              <a:gd name="connsiteY2165" fmla="*/ 4921739 h 6858000"/>
              <a:gd name="connsiteX2166" fmla="*/ 2922643 w 6530564"/>
              <a:gd name="connsiteY2166" fmla="*/ 4918458 h 6858000"/>
              <a:gd name="connsiteX2167" fmla="*/ 2965929 w 6530564"/>
              <a:gd name="connsiteY2167" fmla="*/ 4940604 h 6858000"/>
              <a:gd name="connsiteX2168" fmla="*/ 2968331 w 6530564"/>
              <a:gd name="connsiteY2168" fmla="*/ 4944764 h 6858000"/>
              <a:gd name="connsiteX2169" fmla="*/ 2971612 w 6530564"/>
              <a:gd name="connsiteY2169" fmla="*/ 4945642 h 6858000"/>
              <a:gd name="connsiteX2170" fmla="*/ 2974892 w 6530564"/>
              <a:gd name="connsiteY2170" fmla="*/ 4946522 h 6858000"/>
              <a:gd name="connsiteX2171" fmla="*/ 2992815 w 6530564"/>
              <a:gd name="connsiteY2171" fmla="*/ 4958356 h 6858000"/>
              <a:gd name="connsiteX2172" fmla="*/ 2993695 w 6530564"/>
              <a:gd name="connsiteY2172" fmla="*/ 4955076 h 6858000"/>
              <a:gd name="connsiteX2173" fmla="*/ 2996095 w 6530564"/>
              <a:gd name="connsiteY2173" fmla="*/ 4959234 h 6858000"/>
              <a:gd name="connsiteX2174" fmla="*/ 3001778 w 6530564"/>
              <a:gd name="connsiteY2174" fmla="*/ 4964274 h 6858000"/>
              <a:gd name="connsiteX2175" fmla="*/ 3005937 w 6530564"/>
              <a:gd name="connsiteY2175" fmla="*/ 4961873 h 6858000"/>
              <a:gd name="connsiteX2176" fmla="*/ 3075465 w 6530564"/>
              <a:gd name="connsiteY2176" fmla="*/ 4991048 h 6858000"/>
              <a:gd name="connsiteX2177" fmla="*/ 3081147 w 6530564"/>
              <a:gd name="connsiteY2177" fmla="*/ 4996088 h 6858000"/>
              <a:gd name="connsiteX2178" fmla="*/ 3084428 w 6530564"/>
              <a:gd name="connsiteY2178" fmla="*/ 4996967 h 6858000"/>
              <a:gd name="connsiteX2179" fmla="*/ 3085306 w 6530564"/>
              <a:gd name="connsiteY2179" fmla="*/ 4993685 h 6858000"/>
              <a:gd name="connsiteX2180" fmla="*/ 3103230 w 6530564"/>
              <a:gd name="connsiteY2180" fmla="*/ 5005520 h 6858000"/>
              <a:gd name="connsiteX2181" fmla="*/ 3106511 w 6530564"/>
              <a:gd name="connsiteY2181" fmla="*/ 5006399 h 6858000"/>
              <a:gd name="connsiteX2182" fmla="*/ 3113070 w 6530564"/>
              <a:gd name="connsiteY2182" fmla="*/ 5008157 h 6858000"/>
              <a:gd name="connsiteX2183" fmla="*/ 3116351 w 6530564"/>
              <a:gd name="connsiteY2183" fmla="*/ 5009036 h 6858000"/>
              <a:gd name="connsiteX2184" fmla="*/ 3118751 w 6530564"/>
              <a:gd name="connsiteY2184" fmla="*/ 5013195 h 6858000"/>
              <a:gd name="connsiteX2185" fmla="*/ 3122032 w 6530564"/>
              <a:gd name="connsiteY2185" fmla="*/ 5014073 h 6858000"/>
              <a:gd name="connsiteX2186" fmla="*/ 3141713 w 6530564"/>
              <a:gd name="connsiteY2186" fmla="*/ 5019348 h 6858000"/>
              <a:gd name="connsiteX2187" fmla="*/ 3144995 w 6530564"/>
              <a:gd name="connsiteY2187" fmla="*/ 5020227 h 6858000"/>
              <a:gd name="connsiteX2188" fmla="*/ 3151555 w 6530564"/>
              <a:gd name="connsiteY2188" fmla="*/ 5021985 h 6858000"/>
              <a:gd name="connsiteX2189" fmla="*/ 3154835 w 6530564"/>
              <a:gd name="connsiteY2189" fmla="*/ 5022864 h 6858000"/>
              <a:gd name="connsiteX2190" fmla="*/ 3177797 w 6530564"/>
              <a:gd name="connsiteY2190" fmla="*/ 5029016 h 6858000"/>
              <a:gd name="connsiteX2191" fmla="*/ 3189161 w 6530564"/>
              <a:gd name="connsiteY2191" fmla="*/ 5039093 h 6858000"/>
              <a:gd name="connsiteX2192" fmla="*/ 3191561 w 6530564"/>
              <a:gd name="connsiteY2192" fmla="*/ 5043251 h 6858000"/>
              <a:gd name="connsiteX2193" fmla="*/ 3194841 w 6530564"/>
              <a:gd name="connsiteY2193" fmla="*/ 5044131 h 6858000"/>
              <a:gd name="connsiteX2194" fmla="*/ 3195720 w 6530564"/>
              <a:gd name="connsiteY2194" fmla="*/ 5040850 h 6858000"/>
              <a:gd name="connsiteX2195" fmla="*/ 3192440 w 6530564"/>
              <a:gd name="connsiteY2195" fmla="*/ 5039972 h 6858000"/>
              <a:gd name="connsiteX2196" fmla="*/ 3206440 w 6530564"/>
              <a:gd name="connsiteY2196" fmla="*/ 5040207 h 6858000"/>
              <a:gd name="connsiteX2197" fmla="*/ 3204682 w 6530564"/>
              <a:gd name="connsiteY2197" fmla="*/ 5046768 h 6858000"/>
              <a:gd name="connsiteX2198" fmla="*/ 3200777 w 6530564"/>
              <a:gd name="connsiteY2198" fmla="*/ 5049024 h 6858000"/>
              <a:gd name="connsiteX2199" fmla="*/ 3182802 w 6530564"/>
              <a:gd name="connsiteY2199" fmla="*/ 5042937 h 6858000"/>
              <a:gd name="connsiteX2200" fmla="*/ 3134918 w 6530564"/>
              <a:gd name="connsiteY2200" fmla="*/ 5031590 h 6858000"/>
              <a:gd name="connsiteX2201" fmla="*/ 3132517 w 6530564"/>
              <a:gd name="connsiteY2201" fmla="*/ 5027430 h 6858000"/>
              <a:gd name="connsiteX2202" fmla="*/ 3129237 w 6530564"/>
              <a:gd name="connsiteY2202" fmla="*/ 5026552 h 6858000"/>
              <a:gd name="connsiteX2203" fmla="*/ 3111956 w 6530564"/>
              <a:gd name="connsiteY2203" fmla="*/ 5025438 h 6858000"/>
              <a:gd name="connsiteX2204" fmla="*/ 3125078 w 6530564"/>
              <a:gd name="connsiteY2204" fmla="*/ 5028953 h 6858000"/>
              <a:gd name="connsiteX2205" fmla="*/ 3120918 w 6530564"/>
              <a:gd name="connsiteY2205" fmla="*/ 5031354 h 6858000"/>
              <a:gd name="connsiteX2206" fmla="*/ 3124199 w 6530564"/>
              <a:gd name="connsiteY2206" fmla="*/ 5032234 h 6858000"/>
              <a:gd name="connsiteX2207" fmla="*/ 3127479 w 6530564"/>
              <a:gd name="connsiteY2207" fmla="*/ 5033113 h 6858000"/>
              <a:gd name="connsiteX2208" fmla="*/ 3130758 w 6530564"/>
              <a:gd name="connsiteY2208" fmla="*/ 5033991 h 6858000"/>
              <a:gd name="connsiteX2209" fmla="*/ 3159167 w 6530564"/>
              <a:gd name="connsiteY2209" fmla="*/ 5059182 h 6858000"/>
              <a:gd name="connsiteX2210" fmla="*/ 3223421 w 6530564"/>
              <a:gd name="connsiteY2210" fmla="*/ 5108042 h 6858000"/>
              <a:gd name="connsiteX2211" fmla="*/ 3225824 w 6530564"/>
              <a:gd name="connsiteY2211" fmla="*/ 5112200 h 6858000"/>
              <a:gd name="connsiteX2212" fmla="*/ 3228223 w 6530564"/>
              <a:gd name="connsiteY2212" fmla="*/ 5116360 h 6858000"/>
              <a:gd name="connsiteX2213" fmla="*/ 3224065 w 6530564"/>
              <a:gd name="connsiteY2213" fmla="*/ 5118761 h 6858000"/>
              <a:gd name="connsiteX2214" fmla="*/ 3233907 w 6530564"/>
              <a:gd name="connsiteY2214" fmla="*/ 5121398 h 6858000"/>
              <a:gd name="connsiteX2215" fmla="*/ 3292714 w 6530564"/>
              <a:gd name="connsiteY2215" fmla="*/ 5151219 h 6858000"/>
              <a:gd name="connsiteX2216" fmla="*/ 3285275 w 6530564"/>
              <a:gd name="connsiteY2216" fmla="*/ 5152742 h 6858000"/>
              <a:gd name="connsiteX2217" fmla="*/ 3319365 w 6530564"/>
              <a:gd name="connsiteY2217" fmla="*/ 5182971 h 6858000"/>
              <a:gd name="connsiteX2218" fmla="*/ 3312805 w 6530564"/>
              <a:gd name="connsiteY2218" fmla="*/ 5181213 h 6858000"/>
              <a:gd name="connsiteX2219" fmla="*/ 3309524 w 6530564"/>
              <a:gd name="connsiteY2219" fmla="*/ 5180334 h 6858000"/>
              <a:gd name="connsiteX2220" fmla="*/ 3311927 w 6530564"/>
              <a:gd name="connsiteY2220" fmla="*/ 5184492 h 6858000"/>
              <a:gd name="connsiteX2221" fmla="*/ 3318486 w 6530564"/>
              <a:gd name="connsiteY2221" fmla="*/ 5186251 h 6858000"/>
              <a:gd name="connsiteX2222" fmla="*/ 3266002 w 6530564"/>
              <a:gd name="connsiteY2222" fmla="*/ 5172187 h 6858000"/>
              <a:gd name="connsiteX2223" fmla="*/ 3342499 w 6530564"/>
              <a:gd name="connsiteY2223" fmla="*/ 5227844 h 6858000"/>
              <a:gd name="connsiteX2224" fmla="*/ 3348824 w 6530564"/>
              <a:gd name="connsiteY2224" fmla="*/ 5243600 h 6858000"/>
              <a:gd name="connsiteX2225" fmla="*/ 3338105 w 6530564"/>
              <a:gd name="connsiteY2225" fmla="*/ 5244245 h 6858000"/>
              <a:gd name="connsiteX2226" fmla="*/ 3260257 w 6530564"/>
              <a:gd name="connsiteY2226" fmla="*/ 5219869 h 6858000"/>
              <a:gd name="connsiteX2227" fmla="*/ 3243621 w 6530564"/>
              <a:gd name="connsiteY2227" fmla="*/ 5229475 h 6858000"/>
              <a:gd name="connsiteX2228" fmla="*/ 3201857 w 6530564"/>
              <a:gd name="connsiteY2228" fmla="*/ 5214769 h 6858000"/>
              <a:gd name="connsiteX2229" fmla="*/ 3219780 w 6530564"/>
              <a:gd name="connsiteY2229" fmla="*/ 5226604 h 6858000"/>
              <a:gd name="connsiteX2230" fmla="*/ 3193538 w 6530564"/>
              <a:gd name="connsiteY2230" fmla="*/ 5219573 h 6858000"/>
              <a:gd name="connsiteX2231" fmla="*/ 3204023 w 6530564"/>
              <a:gd name="connsiteY2231" fmla="*/ 5232929 h 6858000"/>
              <a:gd name="connsiteX2232" fmla="*/ 3042882 w 6530564"/>
              <a:gd name="connsiteY2232" fmla="*/ 5165139 h 6858000"/>
              <a:gd name="connsiteX2233" fmla="*/ 3027359 w 6530564"/>
              <a:gd name="connsiteY2233" fmla="*/ 5157464 h 6858000"/>
              <a:gd name="connsiteX2234" fmla="*/ 1894782 w 6530564"/>
              <a:gd name="connsiteY2234" fmla="*/ 3584788 h 6858000"/>
              <a:gd name="connsiteX2235" fmla="*/ 1895662 w 6530564"/>
              <a:gd name="connsiteY2235" fmla="*/ 3581506 h 6858000"/>
              <a:gd name="connsiteX2236" fmla="*/ 1896540 w 6530564"/>
              <a:gd name="connsiteY2236" fmla="*/ 3578226 h 6858000"/>
              <a:gd name="connsiteX2237" fmla="*/ 1900698 w 6530564"/>
              <a:gd name="connsiteY2237" fmla="*/ 3575825 h 6858000"/>
              <a:gd name="connsiteX2238" fmla="*/ 1902221 w 6530564"/>
              <a:gd name="connsiteY2238" fmla="*/ 3583265 h 6858000"/>
              <a:gd name="connsiteX2239" fmla="*/ 1908782 w 6530564"/>
              <a:gd name="connsiteY2239" fmla="*/ 3585022 h 6858000"/>
              <a:gd name="connsiteX2240" fmla="*/ 1907259 w 6530564"/>
              <a:gd name="connsiteY2240" fmla="*/ 3577584 h 6858000"/>
              <a:gd name="connsiteX2241" fmla="*/ 1904858 w 6530564"/>
              <a:gd name="connsiteY2241" fmla="*/ 3573425 h 6858000"/>
              <a:gd name="connsiteX2242" fmla="*/ 1905737 w 6530564"/>
              <a:gd name="connsiteY2242" fmla="*/ 3570143 h 6858000"/>
              <a:gd name="connsiteX2243" fmla="*/ 1911655 w 6530564"/>
              <a:gd name="connsiteY2243" fmla="*/ 3561181 h 6858000"/>
              <a:gd name="connsiteX2244" fmla="*/ 1902693 w 6530564"/>
              <a:gd name="connsiteY2244" fmla="*/ 3555264 h 6858000"/>
              <a:gd name="connsiteX2245" fmla="*/ 1904214 w 6530564"/>
              <a:gd name="connsiteY2245" fmla="*/ 3562704 h 6858000"/>
              <a:gd name="connsiteX2246" fmla="*/ 1898533 w 6530564"/>
              <a:gd name="connsiteY2246" fmla="*/ 3557666 h 6858000"/>
              <a:gd name="connsiteX2247" fmla="*/ 1899176 w 6530564"/>
              <a:gd name="connsiteY2247" fmla="*/ 3568386 h 6858000"/>
              <a:gd name="connsiteX2248" fmla="*/ 1901577 w 6530564"/>
              <a:gd name="connsiteY2248" fmla="*/ 3572544 h 6858000"/>
              <a:gd name="connsiteX2249" fmla="*/ 1895896 w 6530564"/>
              <a:gd name="connsiteY2249" fmla="*/ 3567506 h 6858000"/>
              <a:gd name="connsiteX2250" fmla="*/ 1896775 w 6530564"/>
              <a:gd name="connsiteY2250" fmla="*/ 3564227 h 6858000"/>
              <a:gd name="connsiteX2251" fmla="*/ 1894373 w 6530564"/>
              <a:gd name="connsiteY2251" fmla="*/ 3560067 h 6858000"/>
              <a:gd name="connsiteX2252" fmla="*/ 1891094 w 6530564"/>
              <a:gd name="connsiteY2252" fmla="*/ 3559188 h 6858000"/>
              <a:gd name="connsiteX2253" fmla="*/ 1879920 w 6530564"/>
              <a:gd name="connsiteY2253" fmla="*/ 3390951 h 6858000"/>
              <a:gd name="connsiteX2254" fmla="*/ 1885837 w 6530564"/>
              <a:gd name="connsiteY2254" fmla="*/ 3381989 h 6858000"/>
              <a:gd name="connsiteX2255" fmla="*/ 1882557 w 6530564"/>
              <a:gd name="connsiteY2255" fmla="*/ 3381111 h 6858000"/>
              <a:gd name="connsiteX2256" fmla="*/ 1949501 w 6530564"/>
              <a:gd name="connsiteY2256" fmla="*/ 2829488 h 6858000"/>
              <a:gd name="connsiteX2257" fmla="*/ 2643562 w 6530564"/>
              <a:gd name="connsiteY2257" fmla="*/ 1774383 h 6858000"/>
              <a:gd name="connsiteX2258" fmla="*/ 2640925 w 6530564"/>
              <a:gd name="connsiteY2258" fmla="*/ 1784224 h 6858000"/>
              <a:gd name="connsiteX2259" fmla="*/ 2686913 w 6530564"/>
              <a:gd name="connsiteY2259" fmla="*/ 1743809 h 6858000"/>
              <a:gd name="connsiteX2260" fmla="*/ 2683632 w 6530564"/>
              <a:gd name="connsiteY2260" fmla="*/ 1742931 h 6858000"/>
              <a:gd name="connsiteX2261" fmla="*/ 2744497 w 6530564"/>
              <a:gd name="connsiteY2261" fmla="*/ 1699471 h 6858000"/>
              <a:gd name="connsiteX2262" fmla="*/ 2782809 w 6530564"/>
              <a:gd name="connsiteY2262" fmla="*/ 1674577 h 6858000"/>
              <a:gd name="connsiteX2263" fmla="*/ 2786969 w 6530564"/>
              <a:gd name="connsiteY2263" fmla="*/ 1672176 h 6858000"/>
              <a:gd name="connsiteX2264" fmla="*/ 2787847 w 6530564"/>
              <a:gd name="connsiteY2264" fmla="*/ 1668896 h 6858000"/>
              <a:gd name="connsiteX2265" fmla="*/ 2795287 w 6530564"/>
              <a:gd name="connsiteY2265" fmla="*/ 1667374 h 6858000"/>
              <a:gd name="connsiteX2266" fmla="*/ 2812803 w 6530564"/>
              <a:gd name="connsiteY2266" fmla="*/ 1654488 h 6858000"/>
              <a:gd name="connsiteX2267" fmla="*/ 2867751 w 6530564"/>
              <a:gd name="connsiteY2267" fmla="*/ 1619990 h 6858000"/>
              <a:gd name="connsiteX2268" fmla="*/ 2892707 w 6530564"/>
              <a:gd name="connsiteY2268" fmla="*/ 1605583 h 6858000"/>
              <a:gd name="connsiteX2269" fmla="*/ 2945898 w 6530564"/>
              <a:gd name="connsiteY2269" fmla="*/ 1577646 h 6858000"/>
              <a:gd name="connsiteX2270" fmla="*/ 2945019 w 6530564"/>
              <a:gd name="connsiteY2270" fmla="*/ 1580925 h 6858000"/>
              <a:gd name="connsiteX2271" fmla="*/ 2954215 w 6530564"/>
              <a:gd name="connsiteY2271" fmla="*/ 1572842 h 6858000"/>
              <a:gd name="connsiteX2272" fmla="*/ 3187642 w 6530564"/>
              <a:gd name="connsiteY2272" fmla="*/ 1469266 h 6858000"/>
              <a:gd name="connsiteX2273" fmla="*/ 3206518 w 6530564"/>
              <a:gd name="connsiteY2273" fmla="*/ 1462968 h 6858000"/>
              <a:gd name="connsiteX2274" fmla="*/ 3279061 w 6530564"/>
              <a:gd name="connsiteY2274" fmla="*/ 1433119 h 6858000"/>
              <a:gd name="connsiteX2275" fmla="*/ 3268731 w 6530564"/>
              <a:gd name="connsiteY2275" fmla="*/ 1435621 h 6858000"/>
              <a:gd name="connsiteX2276" fmla="*/ 3291288 w 6530564"/>
              <a:gd name="connsiteY2276" fmla="*/ 1428088 h 6858000"/>
              <a:gd name="connsiteX2277" fmla="*/ 3299007 w 6530564"/>
              <a:gd name="connsiteY2277" fmla="*/ 1424913 h 6858000"/>
              <a:gd name="connsiteX2278" fmla="*/ 2502762 w 6530564"/>
              <a:gd name="connsiteY2278" fmla="*/ 1367737 h 6858000"/>
              <a:gd name="connsiteX2279" fmla="*/ 2499088 w 6530564"/>
              <a:gd name="connsiteY2279" fmla="*/ 1373406 h 6858000"/>
              <a:gd name="connsiteX2280" fmla="*/ 2508432 w 6530564"/>
              <a:gd name="connsiteY2280" fmla="*/ 1371410 h 6858000"/>
              <a:gd name="connsiteX2281" fmla="*/ 2472589 w 6530564"/>
              <a:gd name="connsiteY2281" fmla="*/ 1406541 h 6858000"/>
              <a:gd name="connsiteX2282" fmla="*/ 2428360 w 6530564"/>
              <a:gd name="connsiteY2282" fmla="*/ 1430993 h 6858000"/>
              <a:gd name="connsiteX2283" fmla="*/ 2427665 w 6530564"/>
              <a:gd name="connsiteY2283" fmla="*/ 1427740 h 6858000"/>
              <a:gd name="connsiteX2284" fmla="*/ 2423991 w 6530564"/>
              <a:gd name="connsiteY2284" fmla="*/ 1433409 h 6858000"/>
              <a:gd name="connsiteX2285" fmla="*/ 2406305 w 6530564"/>
              <a:gd name="connsiteY2285" fmla="*/ 1442071 h 6858000"/>
              <a:gd name="connsiteX2286" fmla="*/ 2401635 w 6530564"/>
              <a:gd name="connsiteY2286" fmla="*/ 1443068 h 6858000"/>
              <a:gd name="connsiteX2287" fmla="*/ 2402632 w 6530564"/>
              <a:gd name="connsiteY2287" fmla="*/ 1447739 h 6858000"/>
              <a:gd name="connsiteX2288" fmla="*/ 2397962 w 6530564"/>
              <a:gd name="connsiteY2288" fmla="*/ 1448738 h 6858000"/>
              <a:gd name="connsiteX2289" fmla="*/ 2368524 w 6530564"/>
              <a:gd name="connsiteY2289" fmla="*/ 1462091 h 6858000"/>
              <a:gd name="connsiteX2290" fmla="*/ 2436136 w 6530564"/>
              <a:gd name="connsiteY2290" fmla="*/ 1405006 h 6858000"/>
              <a:gd name="connsiteX2291" fmla="*/ 2447028 w 6530564"/>
              <a:gd name="connsiteY2291" fmla="*/ 1404065 h 6858000"/>
              <a:gd name="connsiteX2292" fmla="*/ 2493419 w 6530564"/>
              <a:gd name="connsiteY2292" fmla="*/ 1369732 h 6858000"/>
              <a:gd name="connsiteX2293" fmla="*/ 2502762 w 6530564"/>
              <a:gd name="connsiteY2293" fmla="*/ 1367737 h 6858000"/>
              <a:gd name="connsiteX2294" fmla="*/ 3694920 w 6530564"/>
              <a:gd name="connsiteY2294" fmla="*/ 1351768 h 6858000"/>
              <a:gd name="connsiteX2295" fmla="*/ 3592642 w 6530564"/>
              <a:gd name="connsiteY2295" fmla="*/ 1364711 h 6858000"/>
              <a:gd name="connsiteX2296" fmla="*/ 3590251 w 6530564"/>
              <a:gd name="connsiteY2296" fmla="*/ 1366035 h 6858000"/>
              <a:gd name="connsiteX2297" fmla="*/ 3570147 w 6530564"/>
              <a:gd name="connsiteY2297" fmla="*/ 1371907 h 6858000"/>
              <a:gd name="connsiteX2298" fmla="*/ 3581954 w 6530564"/>
              <a:gd name="connsiteY2298" fmla="*/ 1369853 h 6858000"/>
              <a:gd name="connsiteX2299" fmla="*/ 3656160 w 6530564"/>
              <a:gd name="connsiteY2299" fmla="*/ 1363370 h 6858000"/>
              <a:gd name="connsiteX2300" fmla="*/ 2840435 w 6530564"/>
              <a:gd name="connsiteY2300" fmla="*/ 1256522 h 6858000"/>
              <a:gd name="connsiteX2301" fmla="*/ 2754000 w 6530564"/>
              <a:gd name="connsiteY2301" fmla="*/ 1309177 h 6858000"/>
              <a:gd name="connsiteX2302" fmla="*/ 2675675 w 6530564"/>
              <a:gd name="connsiteY2302" fmla="*/ 1354070 h 6858000"/>
              <a:gd name="connsiteX2303" fmla="*/ 2664839 w 6530564"/>
              <a:gd name="connsiteY2303" fmla="*/ 1363575 h 6858000"/>
              <a:gd name="connsiteX2304" fmla="*/ 2606905 w 6530564"/>
              <a:gd name="connsiteY2304" fmla="*/ 1394572 h 6858000"/>
              <a:gd name="connsiteX2305" fmla="*/ 2606162 w 6530564"/>
              <a:gd name="connsiteY2305" fmla="*/ 1394488 h 6858000"/>
              <a:gd name="connsiteX2306" fmla="*/ 2606032 w 6530564"/>
              <a:gd name="connsiteY2306" fmla="*/ 1395039 h 6858000"/>
              <a:gd name="connsiteX2307" fmla="*/ 2569460 w 6530564"/>
              <a:gd name="connsiteY2307" fmla="*/ 1414607 h 6858000"/>
              <a:gd name="connsiteX2308" fmla="*/ 2535666 w 6530564"/>
              <a:gd name="connsiteY2308" fmla="*/ 1437142 h 6858000"/>
              <a:gd name="connsiteX2309" fmla="*/ 2557774 w 6530564"/>
              <a:gd name="connsiteY2309" fmla="*/ 1419478 h 6858000"/>
              <a:gd name="connsiteX2310" fmla="*/ 2743660 w 6530564"/>
              <a:gd name="connsiteY2310" fmla="*/ 1306503 h 6858000"/>
              <a:gd name="connsiteX2311" fmla="*/ 2803068 w 6530564"/>
              <a:gd name="connsiteY2311" fmla="*/ 1264505 h 6858000"/>
              <a:gd name="connsiteX2312" fmla="*/ 2840435 w 6530564"/>
              <a:gd name="connsiteY2312" fmla="*/ 1256522 h 6858000"/>
              <a:gd name="connsiteX2313" fmla="*/ 4291945 w 6530564"/>
              <a:gd name="connsiteY2313" fmla="*/ 1253435 h 6858000"/>
              <a:gd name="connsiteX2314" fmla="*/ 4284137 w 6530564"/>
              <a:gd name="connsiteY2314" fmla="*/ 1260101 h 6858000"/>
              <a:gd name="connsiteX2315" fmla="*/ 4298921 w 6530564"/>
              <a:gd name="connsiteY2315" fmla="*/ 1275741 h 6858000"/>
              <a:gd name="connsiteX2316" fmla="*/ 4450293 w 6530564"/>
              <a:gd name="connsiteY2316" fmla="*/ 1304623 h 6858000"/>
              <a:gd name="connsiteX2317" fmla="*/ 4748991 w 6530564"/>
              <a:gd name="connsiteY2317" fmla="*/ 1398504 h 6858000"/>
              <a:gd name="connsiteX2318" fmla="*/ 4900593 w 6530564"/>
              <a:gd name="connsiteY2318" fmla="*/ 1470664 h 6858000"/>
              <a:gd name="connsiteX2319" fmla="*/ 4850303 w 6530564"/>
              <a:gd name="connsiteY2319" fmla="*/ 1427852 h 6858000"/>
              <a:gd name="connsiteX2320" fmla="*/ 4826319 w 6530564"/>
              <a:gd name="connsiteY2320" fmla="*/ 1412622 h 6858000"/>
              <a:gd name="connsiteX2321" fmla="*/ 4657237 w 6530564"/>
              <a:gd name="connsiteY2321" fmla="*/ 1344015 h 6858000"/>
              <a:gd name="connsiteX2322" fmla="*/ 4341169 w 6530564"/>
              <a:gd name="connsiteY2322" fmla="*/ 1265164 h 6858000"/>
              <a:gd name="connsiteX2323" fmla="*/ 4302669 w 6530564"/>
              <a:gd name="connsiteY2323" fmla="*/ 1256309 h 6858000"/>
              <a:gd name="connsiteX2324" fmla="*/ 4291945 w 6530564"/>
              <a:gd name="connsiteY2324" fmla="*/ 1253435 h 6858000"/>
              <a:gd name="connsiteX2325" fmla="*/ 3498102 w 6530564"/>
              <a:gd name="connsiteY2325" fmla="*/ 1245800 h 6858000"/>
              <a:gd name="connsiteX2326" fmla="*/ 3459267 w 6530564"/>
              <a:gd name="connsiteY2326" fmla="*/ 1255133 h 6858000"/>
              <a:gd name="connsiteX2327" fmla="*/ 3459939 w 6530564"/>
              <a:gd name="connsiteY2327" fmla="*/ 1258420 h 6858000"/>
              <a:gd name="connsiteX2328" fmla="*/ 5350802 w 6530564"/>
              <a:gd name="connsiteY2328" fmla="*/ 1233036 h 6858000"/>
              <a:gd name="connsiteX2329" fmla="*/ 5351799 w 6530564"/>
              <a:gd name="connsiteY2329" fmla="*/ 1237706 h 6858000"/>
              <a:gd name="connsiteX2330" fmla="*/ 5346131 w 6530564"/>
              <a:gd name="connsiteY2330" fmla="*/ 1234033 h 6858000"/>
              <a:gd name="connsiteX2331" fmla="*/ 5350802 w 6530564"/>
              <a:gd name="connsiteY2331" fmla="*/ 1233036 h 6858000"/>
              <a:gd name="connsiteX2332" fmla="*/ 5345813 w 6530564"/>
              <a:gd name="connsiteY2332" fmla="*/ 1209681 h 6858000"/>
              <a:gd name="connsiteX2333" fmla="*/ 5351481 w 6530564"/>
              <a:gd name="connsiteY2333" fmla="*/ 1213353 h 6858000"/>
              <a:gd name="connsiteX2334" fmla="*/ 5346810 w 6530564"/>
              <a:gd name="connsiteY2334" fmla="*/ 1214352 h 6858000"/>
              <a:gd name="connsiteX2335" fmla="*/ 5345813 w 6530564"/>
              <a:gd name="connsiteY2335" fmla="*/ 1209681 h 6858000"/>
              <a:gd name="connsiteX2336" fmla="*/ 5343817 w 6530564"/>
              <a:gd name="connsiteY2336" fmla="*/ 1200338 h 6858000"/>
              <a:gd name="connsiteX2337" fmla="*/ 5349485 w 6530564"/>
              <a:gd name="connsiteY2337" fmla="*/ 1204011 h 6858000"/>
              <a:gd name="connsiteX2338" fmla="*/ 5339148 w 6530564"/>
              <a:gd name="connsiteY2338" fmla="*/ 1201337 h 6858000"/>
              <a:gd name="connsiteX2339" fmla="*/ 2761703 w 6530564"/>
              <a:gd name="connsiteY2339" fmla="*/ 1151674 h 6858000"/>
              <a:gd name="connsiteX2340" fmla="*/ 2748959 w 6530564"/>
              <a:gd name="connsiteY2340" fmla="*/ 1165559 h 6858000"/>
              <a:gd name="connsiteX2341" fmla="*/ 2722385 w 6530564"/>
              <a:gd name="connsiteY2341" fmla="*/ 1184058 h 6858000"/>
              <a:gd name="connsiteX2342" fmla="*/ 2716716 w 6530564"/>
              <a:gd name="connsiteY2342" fmla="*/ 1180384 h 6858000"/>
              <a:gd name="connsiteX2343" fmla="*/ 2657309 w 6530564"/>
              <a:gd name="connsiteY2343" fmla="*/ 1222382 h 6858000"/>
              <a:gd name="connsiteX2344" fmla="*/ 2660982 w 6530564"/>
              <a:gd name="connsiteY2344" fmla="*/ 1216713 h 6858000"/>
              <a:gd name="connsiteX2345" fmla="*/ 2595906 w 6530564"/>
              <a:gd name="connsiteY2345" fmla="*/ 1255037 h 6858000"/>
              <a:gd name="connsiteX2346" fmla="*/ 2592233 w 6530564"/>
              <a:gd name="connsiteY2346" fmla="*/ 1260706 h 6858000"/>
              <a:gd name="connsiteX2347" fmla="*/ 2606247 w 6530564"/>
              <a:gd name="connsiteY2347" fmla="*/ 1257713 h 6858000"/>
              <a:gd name="connsiteX2348" fmla="*/ 2577796 w 6530564"/>
              <a:gd name="connsiteY2348" fmla="*/ 1276001 h 6858000"/>
              <a:gd name="connsiteX2349" fmla="*/ 2560312 w 6530564"/>
              <a:gd name="connsiteY2349" fmla="*/ 1291636 h 6858000"/>
              <a:gd name="connsiteX2350" fmla="*/ 2559859 w 6530564"/>
              <a:gd name="connsiteY2350" fmla="*/ 1291860 h 6858000"/>
              <a:gd name="connsiteX2351" fmla="*/ 2560069 w 6530564"/>
              <a:gd name="connsiteY2351" fmla="*/ 1281620 h 6858000"/>
              <a:gd name="connsiteX2352" fmla="*/ 2548516 w 6530564"/>
              <a:gd name="connsiteY2352" fmla="*/ 1284699 h 6858000"/>
              <a:gd name="connsiteX2353" fmla="*/ 2549928 w 6530564"/>
              <a:gd name="connsiteY2353" fmla="*/ 1294165 h 6858000"/>
              <a:gd name="connsiteX2354" fmla="*/ 2549342 w 6530564"/>
              <a:gd name="connsiteY2354" fmla="*/ 1297035 h 6858000"/>
              <a:gd name="connsiteX2355" fmla="*/ 2541806 w 6530564"/>
              <a:gd name="connsiteY2355" fmla="*/ 1300742 h 6858000"/>
              <a:gd name="connsiteX2356" fmla="*/ 2470077 w 6530564"/>
              <a:gd name="connsiteY2356" fmla="*/ 1321264 h 6858000"/>
              <a:gd name="connsiteX2357" fmla="*/ 2536602 w 6530564"/>
              <a:gd name="connsiteY2357" fmla="*/ 1262438 h 6858000"/>
              <a:gd name="connsiteX2358" fmla="*/ 2712436 w 6530564"/>
              <a:gd name="connsiteY2358" fmla="*/ 1174174 h 6858000"/>
              <a:gd name="connsiteX2359" fmla="*/ 2745575 w 6530564"/>
              <a:gd name="connsiteY2359" fmla="*/ 1156796 h 6858000"/>
              <a:gd name="connsiteX2360" fmla="*/ 4763650 w 6530564"/>
              <a:gd name="connsiteY2360" fmla="*/ 1149529 h 6858000"/>
              <a:gd name="connsiteX2361" fmla="*/ 4771720 w 6530564"/>
              <a:gd name="connsiteY2361" fmla="*/ 1151618 h 6858000"/>
              <a:gd name="connsiteX2362" fmla="*/ 4767049 w 6530564"/>
              <a:gd name="connsiteY2362" fmla="*/ 1152615 h 6858000"/>
              <a:gd name="connsiteX2363" fmla="*/ 3314885 w 6530564"/>
              <a:gd name="connsiteY2363" fmla="*/ 1145389 h 6858000"/>
              <a:gd name="connsiteX2364" fmla="*/ 3311211 w 6530564"/>
              <a:gd name="connsiteY2364" fmla="*/ 1151058 h 6858000"/>
              <a:gd name="connsiteX2365" fmla="*/ 3306541 w 6530564"/>
              <a:gd name="connsiteY2365" fmla="*/ 1152057 h 6858000"/>
              <a:gd name="connsiteX2366" fmla="*/ 3287857 w 6530564"/>
              <a:gd name="connsiteY2366" fmla="*/ 1156047 h 6858000"/>
              <a:gd name="connsiteX2367" fmla="*/ 3264500 w 6530564"/>
              <a:gd name="connsiteY2367" fmla="*/ 1161037 h 6858000"/>
              <a:gd name="connsiteX2368" fmla="*/ 3259830 w 6530564"/>
              <a:gd name="connsiteY2368" fmla="*/ 1162034 h 6858000"/>
              <a:gd name="connsiteX2369" fmla="*/ 4063207 w 6530564"/>
              <a:gd name="connsiteY2369" fmla="*/ 1058776 h 6858000"/>
              <a:gd name="connsiteX2370" fmla="*/ 4059509 w 6530564"/>
              <a:gd name="connsiteY2370" fmla="*/ 1058914 h 6858000"/>
              <a:gd name="connsiteX2371" fmla="*/ 4059417 w 6530564"/>
              <a:gd name="connsiteY2371" fmla="*/ 1058899 h 6858000"/>
              <a:gd name="connsiteX2372" fmla="*/ 4063207 w 6530564"/>
              <a:gd name="connsiteY2372" fmla="*/ 1058776 h 6858000"/>
              <a:gd name="connsiteX2373" fmla="*/ 4081891 w 6530564"/>
              <a:gd name="connsiteY2373" fmla="*/ 1054786 h 6858000"/>
              <a:gd name="connsiteX2374" fmla="*/ 4111912 w 6530564"/>
              <a:gd name="connsiteY2374" fmla="*/ 1058138 h 6858000"/>
              <a:gd name="connsiteX2375" fmla="*/ 4112910 w 6530564"/>
              <a:gd name="connsiteY2375" fmla="*/ 1062810 h 6858000"/>
              <a:gd name="connsiteX2376" fmla="*/ 4191639 w 6530564"/>
              <a:gd name="connsiteY2376" fmla="*/ 1065528 h 6858000"/>
              <a:gd name="connsiteX2377" fmla="*/ 4224337 w 6530564"/>
              <a:gd name="connsiteY2377" fmla="*/ 1058542 h 6858000"/>
              <a:gd name="connsiteX2378" fmla="*/ 4215991 w 6530564"/>
              <a:gd name="connsiteY2378" fmla="*/ 1065208 h 6858000"/>
              <a:gd name="connsiteX2379" fmla="*/ 4290049 w 6530564"/>
              <a:gd name="connsiteY2379" fmla="*/ 1068923 h 6858000"/>
              <a:gd name="connsiteX2380" fmla="*/ 4379117 w 6530564"/>
              <a:gd name="connsiteY2380" fmla="*/ 1074315 h 6858000"/>
              <a:gd name="connsiteX2381" fmla="*/ 4385785 w 6530564"/>
              <a:gd name="connsiteY2381" fmla="*/ 1082660 h 6858000"/>
              <a:gd name="connsiteX2382" fmla="*/ 4398799 w 6530564"/>
              <a:gd name="connsiteY2382" fmla="*/ 1074995 h 6858000"/>
              <a:gd name="connsiteX2383" fmla="*/ 4443833 w 6530564"/>
              <a:gd name="connsiteY2383" fmla="*/ 1080026 h 6858000"/>
              <a:gd name="connsiteX2384" fmla="*/ 4461839 w 6530564"/>
              <a:gd name="connsiteY2384" fmla="*/ 1095716 h 6858000"/>
              <a:gd name="connsiteX2385" fmla="*/ 4489863 w 6530564"/>
              <a:gd name="connsiteY2385" fmla="*/ 1089728 h 6858000"/>
              <a:gd name="connsiteX2386" fmla="*/ 4486191 w 6530564"/>
              <a:gd name="connsiteY2386" fmla="*/ 1095398 h 6858000"/>
              <a:gd name="connsiteX2387" fmla="*/ 4565917 w 6530564"/>
              <a:gd name="connsiteY2387" fmla="*/ 1102785 h 6858000"/>
              <a:gd name="connsiteX2388" fmla="*/ 4547233 w 6530564"/>
              <a:gd name="connsiteY2388" fmla="*/ 1106777 h 6858000"/>
              <a:gd name="connsiteX2389" fmla="*/ 4609273 w 6530564"/>
              <a:gd name="connsiteY2389" fmla="*/ 1122827 h 6858000"/>
              <a:gd name="connsiteX2390" fmla="*/ 4611947 w 6530564"/>
              <a:gd name="connsiteY2390" fmla="*/ 1112488 h 6858000"/>
              <a:gd name="connsiteX2391" fmla="*/ 4628956 w 6530564"/>
              <a:gd name="connsiteY2391" fmla="*/ 1123507 h 6858000"/>
              <a:gd name="connsiteX2392" fmla="*/ 4668320 w 6530564"/>
              <a:gd name="connsiteY2392" fmla="*/ 1124867 h 6858000"/>
              <a:gd name="connsiteX2393" fmla="*/ 4679657 w 6530564"/>
              <a:gd name="connsiteY2393" fmla="*/ 1132212 h 6858000"/>
              <a:gd name="connsiteX2394" fmla="*/ 4685326 w 6530564"/>
              <a:gd name="connsiteY2394" fmla="*/ 1135884 h 6858000"/>
              <a:gd name="connsiteX2395" fmla="*/ 4684329 w 6530564"/>
              <a:gd name="connsiteY2395" fmla="*/ 1131215 h 6858000"/>
              <a:gd name="connsiteX2396" fmla="*/ 4673989 w 6530564"/>
              <a:gd name="connsiteY2396" fmla="*/ 1128538 h 6858000"/>
              <a:gd name="connsiteX2397" fmla="*/ 4716346 w 6530564"/>
              <a:gd name="connsiteY2397" fmla="*/ 1143910 h 6858000"/>
              <a:gd name="connsiteX2398" fmla="*/ 4737026 w 6530564"/>
              <a:gd name="connsiteY2398" fmla="*/ 1149261 h 6858000"/>
              <a:gd name="connsiteX2399" fmla="*/ 4733035 w 6530564"/>
              <a:gd name="connsiteY2399" fmla="*/ 1130577 h 6858000"/>
              <a:gd name="connsiteX2400" fmla="*/ 4760516 w 6530564"/>
              <a:gd name="connsiteY2400" fmla="*/ 1146683 h 6858000"/>
              <a:gd name="connsiteX2401" fmla="*/ 4763650 w 6530564"/>
              <a:gd name="connsiteY2401" fmla="*/ 1149529 h 6858000"/>
              <a:gd name="connsiteX2402" fmla="*/ 4761379 w 6530564"/>
              <a:gd name="connsiteY2402" fmla="*/ 1148942 h 6858000"/>
              <a:gd name="connsiteX2403" fmla="*/ 4752037 w 6530564"/>
              <a:gd name="connsiteY2403" fmla="*/ 1150938 h 6858000"/>
              <a:gd name="connsiteX2404" fmla="*/ 4757706 w 6530564"/>
              <a:gd name="connsiteY2404" fmla="*/ 1154611 h 6858000"/>
              <a:gd name="connsiteX2405" fmla="*/ 4772717 w 6530564"/>
              <a:gd name="connsiteY2405" fmla="*/ 1156287 h 6858000"/>
              <a:gd name="connsiteX2406" fmla="*/ 4799066 w 6530564"/>
              <a:gd name="connsiteY2406" fmla="*/ 1165310 h 6858000"/>
              <a:gd name="connsiteX2407" fmla="*/ 4881786 w 6530564"/>
              <a:gd name="connsiteY2407" fmla="*/ 1186712 h 6858000"/>
              <a:gd name="connsiteX2408" fmla="*/ 4886457 w 6530564"/>
              <a:gd name="connsiteY2408" fmla="*/ 1185713 h 6858000"/>
              <a:gd name="connsiteX2409" fmla="*/ 4878113 w 6530564"/>
              <a:gd name="connsiteY2409" fmla="*/ 1192381 h 6858000"/>
              <a:gd name="connsiteX2410" fmla="*/ 4883782 w 6530564"/>
              <a:gd name="connsiteY2410" fmla="*/ 1196053 h 6858000"/>
              <a:gd name="connsiteX2411" fmla="*/ 4887456 w 6530564"/>
              <a:gd name="connsiteY2411" fmla="*/ 1190385 h 6858000"/>
              <a:gd name="connsiteX2412" fmla="*/ 4920471 w 6530564"/>
              <a:gd name="connsiteY2412" fmla="*/ 1207753 h 6858000"/>
              <a:gd name="connsiteX2413" fmla="*/ 4968499 w 6530564"/>
              <a:gd name="connsiteY2413" fmla="*/ 1226796 h 6858000"/>
              <a:gd name="connsiteX2414" fmla="*/ 4972171 w 6530564"/>
              <a:gd name="connsiteY2414" fmla="*/ 1221128 h 6858000"/>
              <a:gd name="connsiteX2415" fmla="*/ 4988181 w 6530564"/>
              <a:gd name="connsiteY2415" fmla="*/ 1227477 h 6858000"/>
              <a:gd name="connsiteX2416" fmla="*/ 4996843 w 6530564"/>
              <a:gd name="connsiteY2416" fmla="*/ 1245163 h 6858000"/>
              <a:gd name="connsiteX2417" fmla="*/ 5025867 w 6530564"/>
              <a:gd name="connsiteY2417" fmla="*/ 1243845 h 6858000"/>
              <a:gd name="connsiteX2418" fmla="*/ 5026865 w 6530564"/>
              <a:gd name="connsiteY2418" fmla="*/ 1248516 h 6858000"/>
              <a:gd name="connsiteX2419" fmla="*/ 5039201 w 6530564"/>
              <a:gd name="connsiteY2419" fmla="*/ 1260533 h 6858000"/>
              <a:gd name="connsiteX2420" fmla="*/ 5054211 w 6530564"/>
              <a:gd name="connsiteY2420" fmla="*/ 1262212 h 6858000"/>
              <a:gd name="connsiteX2421" fmla="*/ 5059881 w 6530564"/>
              <a:gd name="connsiteY2421" fmla="*/ 1265883 h 6858000"/>
              <a:gd name="connsiteX2422" fmla="*/ 5060879 w 6530564"/>
              <a:gd name="connsiteY2422" fmla="*/ 1270554 h 6858000"/>
              <a:gd name="connsiteX2423" fmla="*/ 5065550 w 6530564"/>
              <a:gd name="connsiteY2423" fmla="*/ 1269557 h 6858000"/>
              <a:gd name="connsiteX2424" fmla="*/ 5063554 w 6530564"/>
              <a:gd name="connsiteY2424" fmla="*/ 1260214 h 6858000"/>
              <a:gd name="connsiteX2425" fmla="*/ 5085233 w 6530564"/>
              <a:gd name="connsiteY2425" fmla="*/ 1270236 h 6858000"/>
              <a:gd name="connsiteX2426" fmla="*/ 5089903 w 6530564"/>
              <a:gd name="connsiteY2426" fmla="*/ 1269239 h 6858000"/>
              <a:gd name="connsiteX2427" fmla="*/ 5092897 w 6530564"/>
              <a:gd name="connsiteY2427" fmla="*/ 1283251 h 6858000"/>
              <a:gd name="connsiteX2428" fmla="*/ 5135255 w 6530564"/>
              <a:gd name="connsiteY2428" fmla="*/ 1298622 h 6858000"/>
              <a:gd name="connsiteX2429" fmla="*/ 5140923 w 6530564"/>
              <a:gd name="connsiteY2429" fmla="*/ 1302296 h 6858000"/>
              <a:gd name="connsiteX2430" fmla="*/ 5136253 w 6530564"/>
              <a:gd name="connsiteY2430" fmla="*/ 1303293 h 6858000"/>
              <a:gd name="connsiteX2431" fmla="*/ 5125914 w 6530564"/>
              <a:gd name="connsiteY2431" fmla="*/ 1300618 h 6858000"/>
              <a:gd name="connsiteX2432" fmla="*/ 5126911 w 6530564"/>
              <a:gd name="connsiteY2432" fmla="*/ 1305290 h 6858000"/>
              <a:gd name="connsiteX2433" fmla="*/ 5141923 w 6530564"/>
              <a:gd name="connsiteY2433" fmla="*/ 1306967 h 6858000"/>
              <a:gd name="connsiteX2434" fmla="*/ 5185279 w 6530564"/>
              <a:gd name="connsiteY2434" fmla="*/ 1327010 h 6858000"/>
              <a:gd name="connsiteX2435" fmla="*/ 5188951 w 6530564"/>
              <a:gd name="connsiteY2435" fmla="*/ 1321339 h 6858000"/>
              <a:gd name="connsiteX2436" fmla="*/ 5201287 w 6530564"/>
              <a:gd name="connsiteY2436" fmla="*/ 1333357 h 6858000"/>
              <a:gd name="connsiteX2437" fmla="*/ 5212625 w 6530564"/>
              <a:gd name="connsiteY2437" fmla="*/ 1340704 h 6858000"/>
              <a:gd name="connsiteX2438" fmla="*/ 5234302 w 6530564"/>
              <a:gd name="connsiteY2438" fmla="*/ 1350726 h 6858000"/>
              <a:gd name="connsiteX2439" fmla="*/ 5261651 w 6530564"/>
              <a:gd name="connsiteY2439" fmla="*/ 1364420 h 6858000"/>
              <a:gd name="connsiteX2440" fmla="*/ 5263645 w 6530564"/>
              <a:gd name="connsiteY2440" fmla="*/ 1373761 h 6858000"/>
              <a:gd name="connsiteX2441" fmla="*/ 5269315 w 6530564"/>
              <a:gd name="connsiteY2441" fmla="*/ 1377435 h 6858000"/>
              <a:gd name="connsiteX2442" fmla="*/ 5279654 w 6530564"/>
              <a:gd name="connsiteY2442" fmla="*/ 1380109 h 6858000"/>
              <a:gd name="connsiteX2443" fmla="*/ 5284325 w 6530564"/>
              <a:gd name="connsiteY2443" fmla="*/ 1379110 h 6858000"/>
              <a:gd name="connsiteX2444" fmla="*/ 5307001 w 6530564"/>
              <a:gd name="connsiteY2444" fmla="*/ 1393803 h 6858000"/>
              <a:gd name="connsiteX2445" fmla="*/ 5311671 w 6530564"/>
              <a:gd name="connsiteY2445" fmla="*/ 1392806 h 6858000"/>
              <a:gd name="connsiteX2446" fmla="*/ 5374031 w 6530564"/>
              <a:gd name="connsiteY2446" fmla="*/ 1433210 h 6858000"/>
              <a:gd name="connsiteX2447" fmla="*/ 5375029 w 6530564"/>
              <a:gd name="connsiteY2447" fmla="*/ 1437880 h 6858000"/>
              <a:gd name="connsiteX2448" fmla="*/ 5379701 w 6530564"/>
              <a:gd name="connsiteY2448" fmla="*/ 1436882 h 6858000"/>
              <a:gd name="connsiteX2449" fmla="*/ 5497073 w 6530564"/>
              <a:gd name="connsiteY2449" fmla="*/ 1529027 h 6858000"/>
              <a:gd name="connsiteX2450" fmla="*/ 5580429 w 6530564"/>
              <a:gd name="connsiteY2450" fmla="*/ 1599135 h 6858000"/>
              <a:gd name="connsiteX2451" fmla="*/ 5606099 w 6530564"/>
              <a:gd name="connsiteY2451" fmla="*/ 1627840 h 6858000"/>
              <a:gd name="connsiteX2452" fmla="*/ 5746464 w 6530564"/>
              <a:gd name="connsiteY2452" fmla="*/ 1759030 h 6858000"/>
              <a:gd name="connsiteX2453" fmla="*/ 5757803 w 6530564"/>
              <a:gd name="connsiteY2453" fmla="*/ 1766375 h 6858000"/>
              <a:gd name="connsiteX2454" fmla="*/ 5758800 w 6530564"/>
              <a:gd name="connsiteY2454" fmla="*/ 1771047 h 6858000"/>
              <a:gd name="connsiteX2455" fmla="*/ 5801477 w 6530564"/>
              <a:gd name="connsiteY2455" fmla="*/ 1810771 h 6858000"/>
              <a:gd name="connsiteX2456" fmla="*/ 5807146 w 6530564"/>
              <a:gd name="connsiteY2456" fmla="*/ 1814445 h 6858000"/>
              <a:gd name="connsiteX2457" fmla="*/ 5812815 w 6530564"/>
              <a:gd name="connsiteY2457" fmla="*/ 1818118 h 6858000"/>
              <a:gd name="connsiteX2458" fmla="*/ 5863156 w 6530564"/>
              <a:gd name="connsiteY2458" fmla="*/ 1870858 h 6858000"/>
              <a:gd name="connsiteX2459" fmla="*/ 5854493 w 6530564"/>
              <a:gd name="connsiteY2459" fmla="*/ 1853171 h 6858000"/>
              <a:gd name="connsiteX2460" fmla="*/ 5860163 w 6530564"/>
              <a:gd name="connsiteY2460" fmla="*/ 1856844 h 6858000"/>
              <a:gd name="connsiteX2461" fmla="*/ 5861160 w 6530564"/>
              <a:gd name="connsiteY2461" fmla="*/ 1861515 h 6858000"/>
              <a:gd name="connsiteX2462" fmla="*/ 5865831 w 6530564"/>
              <a:gd name="connsiteY2462" fmla="*/ 1860516 h 6858000"/>
              <a:gd name="connsiteX2463" fmla="*/ 5870503 w 6530564"/>
              <a:gd name="connsiteY2463" fmla="*/ 1859519 h 6858000"/>
              <a:gd name="connsiteX2464" fmla="*/ 5876171 w 6530564"/>
              <a:gd name="connsiteY2464" fmla="*/ 1863192 h 6858000"/>
              <a:gd name="connsiteX2465" fmla="*/ 5901841 w 6530564"/>
              <a:gd name="connsiteY2465" fmla="*/ 1891897 h 6858000"/>
              <a:gd name="connsiteX2466" fmla="*/ 5900842 w 6530564"/>
              <a:gd name="connsiteY2466" fmla="*/ 1887226 h 6858000"/>
              <a:gd name="connsiteX2467" fmla="*/ 5906513 w 6530564"/>
              <a:gd name="connsiteY2467" fmla="*/ 1890900 h 6858000"/>
              <a:gd name="connsiteX2468" fmla="*/ 5913179 w 6530564"/>
              <a:gd name="connsiteY2468" fmla="*/ 1899244 h 6858000"/>
              <a:gd name="connsiteX2469" fmla="*/ 5897169 w 6530564"/>
              <a:gd name="connsiteY2469" fmla="*/ 1892896 h 6858000"/>
              <a:gd name="connsiteX2470" fmla="*/ 5904836 w 6530564"/>
              <a:gd name="connsiteY2470" fmla="*/ 1905910 h 6858000"/>
              <a:gd name="connsiteX2471" fmla="*/ 5900163 w 6530564"/>
              <a:gd name="connsiteY2471" fmla="*/ 1906909 h 6858000"/>
              <a:gd name="connsiteX2472" fmla="*/ 5901161 w 6530564"/>
              <a:gd name="connsiteY2472" fmla="*/ 1911580 h 6858000"/>
              <a:gd name="connsiteX2473" fmla="*/ 5911502 w 6530564"/>
              <a:gd name="connsiteY2473" fmla="*/ 1914255 h 6858000"/>
              <a:gd name="connsiteX2474" fmla="*/ 5925833 w 6530564"/>
              <a:gd name="connsiteY2474" fmla="*/ 1935614 h 6858000"/>
              <a:gd name="connsiteX2475" fmla="*/ 5922160 w 6530564"/>
              <a:gd name="connsiteY2475" fmla="*/ 1941283 h 6858000"/>
              <a:gd name="connsiteX2476" fmla="*/ 5943160 w 6530564"/>
              <a:gd name="connsiteY2476" fmla="*/ 1970986 h 6858000"/>
              <a:gd name="connsiteX2477" fmla="*/ 5948829 w 6530564"/>
              <a:gd name="connsiteY2477" fmla="*/ 1974660 h 6858000"/>
              <a:gd name="connsiteX2478" fmla="*/ 5955496 w 6530564"/>
              <a:gd name="connsiteY2478" fmla="*/ 1983002 h 6858000"/>
              <a:gd name="connsiteX2479" fmla="*/ 5965836 w 6530564"/>
              <a:gd name="connsiteY2479" fmla="*/ 1985679 h 6858000"/>
              <a:gd name="connsiteX2480" fmla="*/ 5966833 w 6530564"/>
              <a:gd name="connsiteY2480" fmla="*/ 1990349 h 6858000"/>
              <a:gd name="connsiteX2481" fmla="*/ 5963161 w 6530564"/>
              <a:gd name="connsiteY2481" fmla="*/ 1996018 h 6858000"/>
              <a:gd name="connsiteX2482" fmla="*/ 5964158 w 6530564"/>
              <a:gd name="connsiteY2482" fmla="*/ 2000689 h 6858000"/>
              <a:gd name="connsiteX2483" fmla="*/ 5969828 w 6530564"/>
              <a:gd name="connsiteY2483" fmla="*/ 2004363 h 6858000"/>
              <a:gd name="connsiteX2484" fmla="*/ 5973499 w 6530564"/>
              <a:gd name="connsiteY2484" fmla="*/ 1998694 h 6858000"/>
              <a:gd name="connsiteX2485" fmla="*/ 5972502 w 6530564"/>
              <a:gd name="connsiteY2485" fmla="*/ 1994021 h 6858000"/>
              <a:gd name="connsiteX2486" fmla="*/ 5971505 w 6530564"/>
              <a:gd name="connsiteY2486" fmla="*/ 1989352 h 6858000"/>
              <a:gd name="connsiteX2487" fmla="*/ 5975177 w 6530564"/>
              <a:gd name="connsiteY2487" fmla="*/ 1983681 h 6858000"/>
              <a:gd name="connsiteX2488" fmla="*/ 5979849 w 6530564"/>
              <a:gd name="connsiteY2488" fmla="*/ 1982684 h 6858000"/>
              <a:gd name="connsiteX2489" fmla="*/ 5986515 w 6530564"/>
              <a:gd name="connsiteY2489" fmla="*/ 1991028 h 6858000"/>
              <a:gd name="connsiteX2490" fmla="*/ 5987513 w 6530564"/>
              <a:gd name="connsiteY2490" fmla="*/ 1995699 h 6858000"/>
              <a:gd name="connsiteX2491" fmla="*/ 5983841 w 6530564"/>
              <a:gd name="connsiteY2491" fmla="*/ 2001368 h 6858000"/>
              <a:gd name="connsiteX2492" fmla="*/ 5991504 w 6530564"/>
              <a:gd name="connsiteY2492" fmla="*/ 2014383 h 6858000"/>
              <a:gd name="connsiteX2493" fmla="*/ 5997174 w 6530564"/>
              <a:gd name="connsiteY2493" fmla="*/ 2018057 h 6858000"/>
              <a:gd name="connsiteX2494" fmla="*/ 5996177 w 6530564"/>
              <a:gd name="connsiteY2494" fmla="*/ 2013386 h 6858000"/>
              <a:gd name="connsiteX2495" fmla="*/ 5989508 w 6530564"/>
              <a:gd name="connsiteY2495" fmla="*/ 2005041 h 6858000"/>
              <a:gd name="connsiteX2496" fmla="*/ 5993182 w 6530564"/>
              <a:gd name="connsiteY2496" fmla="*/ 1999373 h 6858000"/>
              <a:gd name="connsiteX2497" fmla="*/ 5999848 w 6530564"/>
              <a:gd name="connsiteY2497" fmla="*/ 2007716 h 6858000"/>
              <a:gd name="connsiteX2498" fmla="*/ 6017173 w 6530564"/>
              <a:gd name="connsiteY2498" fmla="*/ 2043089 h 6858000"/>
              <a:gd name="connsiteX2499" fmla="*/ 6013501 w 6530564"/>
              <a:gd name="connsiteY2499" fmla="*/ 2048758 h 6858000"/>
              <a:gd name="connsiteX2500" fmla="*/ 6002163 w 6530564"/>
              <a:gd name="connsiteY2500" fmla="*/ 2041411 h 6858000"/>
              <a:gd name="connsiteX2501" fmla="*/ 6039490 w 6530564"/>
              <a:gd name="connsiteY2501" fmla="*/ 2101816 h 6858000"/>
              <a:gd name="connsiteX2502" fmla="*/ 6064163 w 6530564"/>
              <a:gd name="connsiteY2502" fmla="*/ 2125850 h 6858000"/>
              <a:gd name="connsiteX2503" fmla="*/ 6068833 w 6530564"/>
              <a:gd name="connsiteY2503" fmla="*/ 2124853 h 6858000"/>
              <a:gd name="connsiteX2504" fmla="*/ 6076497 w 6530564"/>
              <a:gd name="connsiteY2504" fmla="*/ 2137868 h 6858000"/>
              <a:gd name="connsiteX2505" fmla="*/ 6080171 w 6530564"/>
              <a:gd name="connsiteY2505" fmla="*/ 2132198 h 6858000"/>
              <a:gd name="connsiteX2506" fmla="*/ 6081170 w 6530564"/>
              <a:gd name="connsiteY2506" fmla="*/ 2136869 h 6858000"/>
              <a:gd name="connsiteX2507" fmla="*/ 6095499 w 6530564"/>
              <a:gd name="connsiteY2507" fmla="*/ 2158228 h 6858000"/>
              <a:gd name="connsiteX2508" fmla="*/ 6108834 w 6530564"/>
              <a:gd name="connsiteY2508" fmla="*/ 2174916 h 6858000"/>
              <a:gd name="connsiteX2509" fmla="*/ 6118495 w 6530564"/>
              <a:gd name="connsiteY2509" fmla="*/ 2197274 h 6858000"/>
              <a:gd name="connsiteX2510" fmla="*/ 6133507 w 6530564"/>
              <a:gd name="connsiteY2510" fmla="*/ 2198951 h 6858000"/>
              <a:gd name="connsiteX2511" fmla="*/ 6135503 w 6530564"/>
              <a:gd name="connsiteY2511" fmla="*/ 2208293 h 6858000"/>
              <a:gd name="connsiteX2512" fmla="*/ 6130831 w 6530564"/>
              <a:gd name="connsiteY2512" fmla="*/ 2209292 h 6858000"/>
              <a:gd name="connsiteX2513" fmla="*/ 6131829 w 6530564"/>
              <a:gd name="connsiteY2513" fmla="*/ 2213962 h 6858000"/>
              <a:gd name="connsiteX2514" fmla="*/ 6132827 w 6530564"/>
              <a:gd name="connsiteY2514" fmla="*/ 2218633 h 6858000"/>
              <a:gd name="connsiteX2515" fmla="*/ 6124482 w 6530564"/>
              <a:gd name="connsiteY2515" fmla="*/ 2225300 h 6858000"/>
              <a:gd name="connsiteX2516" fmla="*/ 6219136 w 6530564"/>
              <a:gd name="connsiteY2516" fmla="*/ 2371140 h 6858000"/>
              <a:gd name="connsiteX2517" fmla="*/ 6233467 w 6530564"/>
              <a:gd name="connsiteY2517" fmla="*/ 2392499 h 6858000"/>
              <a:gd name="connsiteX2518" fmla="*/ 6244127 w 6530564"/>
              <a:gd name="connsiteY2518" fmla="*/ 2419528 h 6858000"/>
              <a:gd name="connsiteX2519" fmla="*/ 6260453 w 6530564"/>
              <a:gd name="connsiteY2519" fmla="*/ 2450229 h 6858000"/>
              <a:gd name="connsiteX2520" fmla="*/ 6279775 w 6530564"/>
              <a:gd name="connsiteY2520" fmla="*/ 2494943 h 6858000"/>
              <a:gd name="connsiteX2521" fmla="*/ 6295105 w 6530564"/>
              <a:gd name="connsiteY2521" fmla="*/ 2520973 h 6858000"/>
              <a:gd name="connsiteX2522" fmla="*/ 6296102 w 6530564"/>
              <a:gd name="connsiteY2522" fmla="*/ 2525645 h 6858000"/>
              <a:gd name="connsiteX2523" fmla="*/ 6313429 w 6530564"/>
              <a:gd name="connsiteY2523" fmla="*/ 2561017 h 6858000"/>
              <a:gd name="connsiteX2524" fmla="*/ 6329756 w 6530564"/>
              <a:gd name="connsiteY2524" fmla="*/ 2591718 h 6858000"/>
              <a:gd name="connsiteX2525" fmla="*/ 6337421 w 6530564"/>
              <a:gd name="connsiteY2525" fmla="*/ 2604732 h 6858000"/>
              <a:gd name="connsiteX2526" fmla="*/ 6338419 w 6530564"/>
              <a:gd name="connsiteY2526" fmla="*/ 2609405 h 6858000"/>
              <a:gd name="connsiteX2527" fmla="*/ 6336741 w 6530564"/>
              <a:gd name="connsiteY2527" fmla="*/ 2624414 h 6858000"/>
              <a:gd name="connsiteX2528" fmla="*/ 6337739 w 6530564"/>
              <a:gd name="connsiteY2528" fmla="*/ 2629085 h 6858000"/>
              <a:gd name="connsiteX2529" fmla="*/ 6344407 w 6530564"/>
              <a:gd name="connsiteY2529" fmla="*/ 2637430 h 6858000"/>
              <a:gd name="connsiteX2530" fmla="*/ 6349077 w 6530564"/>
              <a:gd name="connsiteY2530" fmla="*/ 2636431 h 6858000"/>
              <a:gd name="connsiteX2531" fmla="*/ 6354067 w 6530564"/>
              <a:gd name="connsiteY2531" fmla="*/ 2659786 h 6858000"/>
              <a:gd name="connsiteX2532" fmla="*/ 6359736 w 6530564"/>
              <a:gd name="connsiteY2532" fmla="*/ 2663460 h 6858000"/>
              <a:gd name="connsiteX2533" fmla="*/ 6358737 w 6530564"/>
              <a:gd name="connsiteY2533" fmla="*/ 2658789 h 6858000"/>
              <a:gd name="connsiteX2534" fmla="*/ 6349077 w 6530564"/>
              <a:gd name="connsiteY2534" fmla="*/ 2636431 h 6858000"/>
              <a:gd name="connsiteX2535" fmla="*/ 6353747 w 6530564"/>
              <a:gd name="connsiteY2535" fmla="*/ 2635434 h 6858000"/>
              <a:gd name="connsiteX2536" fmla="*/ 6355743 w 6530564"/>
              <a:gd name="connsiteY2536" fmla="*/ 2644776 h 6858000"/>
              <a:gd name="connsiteX2537" fmla="*/ 6356743 w 6530564"/>
              <a:gd name="connsiteY2537" fmla="*/ 2649446 h 6858000"/>
              <a:gd name="connsiteX2538" fmla="*/ 6364407 w 6530564"/>
              <a:gd name="connsiteY2538" fmla="*/ 2662461 h 6858000"/>
              <a:gd name="connsiteX2539" fmla="*/ 6368398 w 6530564"/>
              <a:gd name="connsiteY2539" fmla="*/ 2681145 h 6858000"/>
              <a:gd name="connsiteX2540" fmla="*/ 6362729 w 6530564"/>
              <a:gd name="connsiteY2540" fmla="*/ 2677473 h 6858000"/>
              <a:gd name="connsiteX2541" fmla="*/ 6364725 w 6530564"/>
              <a:gd name="connsiteY2541" fmla="*/ 2686814 h 6858000"/>
              <a:gd name="connsiteX2542" fmla="*/ 6366721 w 6530564"/>
              <a:gd name="connsiteY2542" fmla="*/ 2696158 h 6858000"/>
              <a:gd name="connsiteX2543" fmla="*/ 6374387 w 6530564"/>
              <a:gd name="connsiteY2543" fmla="*/ 2709173 h 6858000"/>
              <a:gd name="connsiteX2544" fmla="*/ 6376383 w 6530564"/>
              <a:gd name="connsiteY2544" fmla="*/ 2718513 h 6858000"/>
              <a:gd name="connsiteX2545" fmla="*/ 6382051 w 6530564"/>
              <a:gd name="connsiteY2545" fmla="*/ 2722187 h 6858000"/>
              <a:gd name="connsiteX2546" fmla="*/ 6389717 w 6530564"/>
              <a:gd name="connsiteY2546" fmla="*/ 2735202 h 6858000"/>
              <a:gd name="connsiteX2547" fmla="*/ 6391713 w 6530564"/>
              <a:gd name="connsiteY2547" fmla="*/ 2744545 h 6858000"/>
              <a:gd name="connsiteX2548" fmla="*/ 6388038 w 6530564"/>
              <a:gd name="connsiteY2548" fmla="*/ 2750212 h 6858000"/>
              <a:gd name="connsiteX2549" fmla="*/ 6393708 w 6530564"/>
              <a:gd name="connsiteY2549" fmla="*/ 2753886 h 6858000"/>
              <a:gd name="connsiteX2550" fmla="*/ 6391033 w 6530564"/>
              <a:gd name="connsiteY2550" fmla="*/ 2764226 h 6858000"/>
              <a:gd name="connsiteX2551" fmla="*/ 6397701 w 6530564"/>
              <a:gd name="connsiteY2551" fmla="*/ 2772572 h 6858000"/>
              <a:gd name="connsiteX2552" fmla="*/ 6401373 w 6530564"/>
              <a:gd name="connsiteY2552" fmla="*/ 2766901 h 6858000"/>
              <a:gd name="connsiteX2553" fmla="*/ 6404367 w 6530564"/>
              <a:gd name="connsiteY2553" fmla="*/ 2780914 h 6858000"/>
              <a:gd name="connsiteX2554" fmla="*/ 6405364 w 6530564"/>
              <a:gd name="connsiteY2554" fmla="*/ 2785585 h 6858000"/>
              <a:gd name="connsiteX2555" fmla="*/ 6414027 w 6530564"/>
              <a:gd name="connsiteY2555" fmla="*/ 2803272 h 6858000"/>
              <a:gd name="connsiteX2556" fmla="*/ 6418019 w 6530564"/>
              <a:gd name="connsiteY2556" fmla="*/ 2821954 h 6858000"/>
              <a:gd name="connsiteX2557" fmla="*/ 6421013 w 6530564"/>
              <a:gd name="connsiteY2557" fmla="*/ 2835968 h 6858000"/>
              <a:gd name="connsiteX2558" fmla="*/ 6427000 w 6530564"/>
              <a:gd name="connsiteY2558" fmla="*/ 2863995 h 6858000"/>
              <a:gd name="connsiteX2559" fmla="*/ 6425323 w 6530564"/>
              <a:gd name="connsiteY2559" fmla="*/ 2879006 h 6858000"/>
              <a:gd name="connsiteX2560" fmla="*/ 6419655 w 6530564"/>
              <a:gd name="connsiteY2560" fmla="*/ 2875334 h 6858000"/>
              <a:gd name="connsiteX2561" fmla="*/ 6413985 w 6530564"/>
              <a:gd name="connsiteY2561" fmla="*/ 2871660 h 6858000"/>
              <a:gd name="connsiteX2562" fmla="*/ 6414983 w 6530564"/>
              <a:gd name="connsiteY2562" fmla="*/ 2876331 h 6858000"/>
              <a:gd name="connsiteX2563" fmla="*/ 6415981 w 6530564"/>
              <a:gd name="connsiteY2563" fmla="*/ 2881001 h 6858000"/>
              <a:gd name="connsiteX2564" fmla="*/ 6421651 w 6530564"/>
              <a:gd name="connsiteY2564" fmla="*/ 2884673 h 6858000"/>
              <a:gd name="connsiteX2565" fmla="*/ 6427318 w 6530564"/>
              <a:gd name="connsiteY2565" fmla="*/ 2888347 h 6858000"/>
              <a:gd name="connsiteX2566" fmla="*/ 6431991 w 6530564"/>
              <a:gd name="connsiteY2566" fmla="*/ 2887350 h 6858000"/>
              <a:gd name="connsiteX2567" fmla="*/ 6431673 w 6530564"/>
              <a:gd name="connsiteY2567" fmla="*/ 2862996 h 6858000"/>
              <a:gd name="connsiteX2568" fmla="*/ 6430674 w 6530564"/>
              <a:gd name="connsiteY2568" fmla="*/ 2858326 h 6858000"/>
              <a:gd name="connsiteX2569" fmla="*/ 6426681 w 6530564"/>
              <a:gd name="connsiteY2569" fmla="*/ 2839641 h 6858000"/>
              <a:gd name="connsiteX2570" fmla="*/ 6424687 w 6530564"/>
              <a:gd name="connsiteY2570" fmla="*/ 2830300 h 6858000"/>
              <a:gd name="connsiteX2571" fmla="*/ 6434347 w 6530564"/>
              <a:gd name="connsiteY2571" fmla="*/ 2852656 h 6858000"/>
              <a:gd name="connsiteX2572" fmla="*/ 6445005 w 6530564"/>
              <a:gd name="connsiteY2572" fmla="*/ 2879684 h 6858000"/>
              <a:gd name="connsiteX2573" fmla="*/ 6442331 w 6530564"/>
              <a:gd name="connsiteY2573" fmla="*/ 2890025 h 6858000"/>
              <a:gd name="connsiteX2574" fmla="*/ 6444325 w 6530564"/>
              <a:gd name="connsiteY2574" fmla="*/ 2899366 h 6858000"/>
              <a:gd name="connsiteX2575" fmla="*/ 6449315 w 6530564"/>
              <a:gd name="connsiteY2575" fmla="*/ 2922721 h 6858000"/>
              <a:gd name="connsiteX2576" fmla="*/ 6443648 w 6530564"/>
              <a:gd name="connsiteY2576" fmla="*/ 2919049 h 6858000"/>
              <a:gd name="connsiteX2577" fmla="*/ 6438977 w 6530564"/>
              <a:gd name="connsiteY2577" fmla="*/ 2920046 h 6858000"/>
              <a:gd name="connsiteX2578" fmla="*/ 6439974 w 6530564"/>
              <a:gd name="connsiteY2578" fmla="*/ 2924716 h 6858000"/>
              <a:gd name="connsiteX2579" fmla="*/ 6440971 w 6530564"/>
              <a:gd name="connsiteY2579" fmla="*/ 2929388 h 6858000"/>
              <a:gd name="connsiteX2580" fmla="*/ 6446641 w 6530564"/>
              <a:gd name="connsiteY2580" fmla="*/ 2933062 h 6858000"/>
              <a:gd name="connsiteX2581" fmla="*/ 6447639 w 6530564"/>
              <a:gd name="connsiteY2581" fmla="*/ 2937733 h 6858000"/>
              <a:gd name="connsiteX2582" fmla="*/ 6448636 w 6530564"/>
              <a:gd name="connsiteY2582" fmla="*/ 2942403 h 6858000"/>
              <a:gd name="connsiteX2583" fmla="*/ 6457299 w 6530564"/>
              <a:gd name="connsiteY2583" fmla="*/ 2960089 h 6858000"/>
              <a:gd name="connsiteX2584" fmla="*/ 6462289 w 6530564"/>
              <a:gd name="connsiteY2584" fmla="*/ 2983446 h 6858000"/>
              <a:gd name="connsiteX2585" fmla="*/ 6458617 w 6530564"/>
              <a:gd name="connsiteY2585" fmla="*/ 2989113 h 6858000"/>
              <a:gd name="connsiteX2586" fmla="*/ 6452947 w 6530564"/>
              <a:gd name="connsiteY2586" fmla="*/ 2985442 h 6858000"/>
              <a:gd name="connsiteX2587" fmla="*/ 6436301 w 6530564"/>
              <a:gd name="connsiteY2587" fmla="*/ 2930386 h 6858000"/>
              <a:gd name="connsiteX2588" fmla="*/ 6435303 w 6530564"/>
              <a:gd name="connsiteY2588" fmla="*/ 2925715 h 6858000"/>
              <a:gd name="connsiteX2589" fmla="*/ 6431630 w 6530564"/>
              <a:gd name="connsiteY2589" fmla="*/ 2931384 h 6858000"/>
              <a:gd name="connsiteX2590" fmla="*/ 6448275 w 6530564"/>
              <a:gd name="connsiteY2590" fmla="*/ 2986439 h 6858000"/>
              <a:gd name="connsiteX2591" fmla="*/ 6436259 w 6530564"/>
              <a:gd name="connsiteY2591" fmla="*/ 2998774 h 6858000"/>
              <a:gd name="connsiteX2592" fmla="*/ 6437895 w 6530564"/>
              <a:gd name="connsiteY2592" fmla="*/ 3052152 h 6858000"/>
              <a:gd name="connsiteX2593" fmla="*/ 6440443 w 6530564"/>
              <a:gd name="connsiteY2593" fmla="*/ 3246975 h 6858000"/>
              <a:gd name="connsiteX2594" fmla="*/ 6441441 w 6530564"/>
              <a:gd name="connsiteY2594" fmla="*/ 3251646 h 6858000"/>
              <a:gd name="connsiteX2595" fmla="*/ 6442439 w 6530564"/>
              <a:gd name="connsiteY2595" fmla="*/ 3256318 h 6858000"/>
              <a:gd name="connsiteX2596" fmla="*/ 6446113 w 6530564"/>
              <a:gd name="connsiteY2596" fmla="*/ 3250648 h 6858000"/>
              <a:gd name="connsiteX2597" fmla="*/ 6444561 w 6530564"/>
              <a:gd name="connsiteY2597" fmla="*/ 3060496 h 6858000"/>
              <a:gd name="connsiteX2598" fmla="*/ 6445559 w 6530564"/>
              <a:gd name="connsiteY2598" fmla="*/ 3065167 h 6858000"/>
              <a:gd name="connsiteX2599" fmla="*/ 6452905 w 6530564"/>
              <a:gd name="connsiteY2599" fmla="*/ 3053828 h 6858000"/>
              <a:gd name="connsiteX2600" fmla="*/ 6455899 w 6530564"/>
              <a:gd name="connsiteY2600" fmla="*/ 3067841 h 6858000"/>
              <a:gd name="connsiteX2601" fmla="*/ 6451227 w 6530564"/>
              <a:gd name="connsiteY2601" fmla="*/ 3068840 h 6858000"/>
              <a:gd name="connsiteX2602" fmla="*/ 6452226 w 6530564"/>
              <a:gd name="connsiteY2602" fmla="*/ 3073511 h 6858000"/>
              <a:gd name="connsiteX2603" fmla="*/ 6453223 w 6530564"/>
              <a:gd name="connsiteY2603" fmla="*/ 3078181 h 6858000"/>
              <a:gd name="connsiteX2604" fmla="*/ 6457895 w 6530564"/>
              <a:gd name="connsiteY2604" fmla="*/ 3077183 h 6858000"/>
              <a:gd name="connsiteX2605" fmla="*/ 6458213 w 6530564"/>
              <a:gd name="connsiteY2605" fmla="*/ 3101536 h 6858000"/>
              <a:gd name="connsiteX2606" fmla="*/ 6460209 w 6530564"/>
              <a:gd name="connsiteY2606" fmla="*/ 3110879 h 6858000"/>
              <a:gd name="connsiteX2607" fmla="*/ 6463203 w 6530564"/>
              <a:gd name="connsiteY2607" fmla="*/ 3124891 h 6858000"/>
              <a:gd name="connsiteX2608" fmla="*/ 6464201 w 6530564"/>
              <a:gd name="connsiteY2608" fmla="*/ 3129561 h 6858000"/>
              <a:gd name="connsiteX2609" fmla="*/ 6460527 w 6530564"/>
              <a:gd name="connsiteY2609" fmla="*/ 3135231 h 6858000"/>
              <a:gd name="connsiteX2610" fmla="*/ 6462523 w 6530564"/>
              <a:gd name="connsiteY2610" fmla="*/ 3144574 h 6858000"/>
              <a:gd name="connsiteX2611" fmla="*/ 6468192 w 6530564"/>
              <a:gd name="connsiteY2611" fmla="*/ 3148246 h 6858000"/>
              <a:gd name="connsiteX2612" fmla="*/ 6492143 w 6530564"/>
              <a:gd name="connsiteY2612" fmla="*/ 3260351 h 6858000"/>
              <a:gd name="connsiteX2613" fmla="*/ 6493779 w 6530564"/>
              <a:gd name="connsiteY2613" fmla="*/ 3313728 h 6858000"/>
              <a:gd name="connsiteX2614" fmla="*/ 6497452 w 6530564"/>
              <a:gd name="connsiteY2614" fmla="*/ 3308059 h 6858000"/>
              <a:gd name="connsiteX2615" fmla="*/ 6508067 w 6530564"/>
              <a:gd name="connsiteY2615" fmla="*/ 3403475 h 6858000"/>
              <a:gd name="connsiteX2616" fmla="*/ 6513737 w 6530564"/>
              <a:gd name="connsiteY2616" fmla="*/ 3407147 h 6858000"/>
              <a:gd name="connsiteX2617" fmla="*/ 6514056 w 6530564"/>
              <a:gd name="connsiteY2617" fmla="*/ 3431501 h 6858000"/>
              <a:gd name="connsiteX2618" fmla="*/ 6510383 w 6530564"/>
              <a:gd name="connsiteY2618" fmla="*/ 3437170 h 6858000"/>
              <a:gd name="connsiteX2619" fmla="*/ 6517049 w 6530564"/>
              <a:gd name="connsiteY2619" fmla="*/ 3445513 h 6858000"/>
              <a:gd name="connsiteX2620" fmla="*/ 6518367 w 6530564"/>
              <a:gd name="connsiteY2620" fmla="*/ 3474537 h 6858000"/>
              <a:gd name="connsiteX2621" fmla="*/ 6519363 w 6530564"/>
              <a:gd name="connsiteY2621" fmla="*/ 3479209 h 6858000"/>
              <a:gd name="connsiteX2622" fmla="*/ 6517687 w 6530564"/>
              <a:gd name="connsiteY2622" fmla="*/ 3494220 h 6858000"/>
              <a:gd name="connsiteX2623" fmla="*/ 6518686 w 6530564"/>
              <a:gd name="connsiteY2623" fmla="*/ 3498890 h 6858000"/>
              <a:gd name="connsiteX2624" fmla="*/ 6519683 w 6530564"/>
              <a:gd name="connsiteY2624" fmla="*/ 3503561 h 6858000"/>
              <a:gd name="connsiteX2625" fmla="*/ 6517965 w 6530564"/>
              <a:gd name="connsiteY2625" fmla="*/ 3586960 h 6858000"/>
              <a:gd name="connsiteX2626" fmla="*/ 6520957 w 6530564"/>
              <a:gd name="connsiteY2626" fmla="*/ 3600973 h 6858000"/>
              <a:gd name="connsiteX2627" fmla="*/ 6521957 w 6530564"/>
              <a:gd name="connsiteY2627" fmla="*/ 3605644 h 6858000"/>
              <a:gd name="connsiteX2628" fmla="*/ 6525949 w 6530564"/>
              <a:gd name="connsiteY2628" fmla="*/ 3624328 h 6858000"/>
              <a:gd name="connsiteX2629" fmla="*/ 6518240 w 6530564"/>
              <a:gd name="connsiteY2629" fmla="*/ 3679702 h 6858000"/>
              <a:gd name="connsiteX2630" fmla="*/ 6499429 w 6530564"/>
              <a:gd name="connsiteY2630" fmla="*/ 3888856 h 6858000"/>
              <a:gd name="connsiteX2631" fmla="*/ 6500429 w 6530564"/>
              <a:gd name="connsiteY2631" fmla="*/ 3893529 h 6858000"/>
              <a:gd name="connsiteX2632" fmla="*/ 6496756 w 6530564"/>
              <a:gd name="connsiteY2632" fmla="*/ 3899196 h 6858000"/>
              <a:gd name="connsiteX2633" fmla="*/ 6474945 w 6530564"/>
              <a:gd name="connsiteY2633" fmla="*/ 3968571 h 6858000"/>
              <a:gd name="connsiteX2634" fmla="*/ 6456817 w 6530564"/>
              <a:gd name="connsiteY2634" fmla="*/ 4036740 h 6858000"/>
              <a:gd name="connsiteX2635" fmla="*/ 6457067 w 6530564"/>
              <a:gd name="connsiteY2635" fmla="*/ 4035275 h 6858000"/>
              <a:gd name="connsiteX2636" fmla="*/ 6458983 w 6530564"/>
              <a:gd name="connsiteY2636" fmla="*/ 4019603 h 6858000"/>
              <a:gd name="connsiteX2637" fmla="*/ 6461660 w 6530564"/>
              <a:gd name="connsiteY2637" fmla="*/ 4009263 h 6858000"/>
              <a:gd name="connsiteX2638" fmla="*/ 6468688 w 6530564"/>
              <a:gd name="connsiteY2638" fmla="*/ 3973572 h 6858000"/>
              <a:gd name="connsiteX2639" fmla="*/ 6480067 w 6530564"/>
              <a:gd name="connsiteY2639" fmla="*/ 3912531 h 6858000"/>
              <a:gd name="connsiteX2640" fmla="*/ 6482742 w 6530564"/>
              <a:gd name="connsiteY2640" fmla="*/ 3902189 h 6858000"/>
              <a:gd name="connsiteX2641" fmla="*/ 6485417 w 6530564"/>
              <a:gd name="connsiteY2641" fmla="*/ 3891851 h 6858000"/>
              <a:gd name="connsiteX2642" fmla="*/ 6479749 w 6530564"/>
              <a:gd name="connsiteY2642" fmla="*/ 3888177 h 6858000"/>
              <a:gd name="connsiteX2643" fmla="*/ 6469727 w 6530564"/>
              <a:gd name="connsiteY2643" fmla="*/ 3909856 h 6858000"/>
              <a:gd name="connsiteX2644" fmla="*/ 6470724 w 6530564"/>
              <a:gd name="connsiteY2644" fmla="*/ 3914527 h 6858000"/>
              <a:gd name="connsiteX2645" fmla="*/ 6451319 w 6530564"/>
              <a:gd name="connsiteY2645" fmla="*/ 4006588 h 6858000"/>
              <a:gd name="connsiteX2646" fmla="*/ 6452317 w 6530564"/>
              <a:gd name="connsiteY2646" fmla="*/ 4011259 h 6858000"/>
              <a:gd name="connsiteX2647" fmla="*/ 6438623 w 6530564"/>
              <a:gd name="connsiteY2647" fmla="*/ 4038605 h 6858000"/>
              <a:gd name="connsiteX2648" fmla="*/ 6430597 w 6530564"/>
              <a:gd name="connsiteY2648" fmla="*/ 4069625 h 6858000"/>
              <a:gd name="connsiteX2649" fmla="*/ 6417467 w 6530564"/>
              <a:gd name="connsiteY2649" fmla="*/ 4131042 h 6858000"/>
              <a:gd name="connsiteX2650" fmla="*/ 6397652 w 6530564"/>
              <a:gd name="connsiteY2650" fmla="*/ 4184394 h 6858000"/>
              <a:gd name="connsiteX2651" fmla="*/ 6395501 w 6530564"/>
              <a:gd name="connsiteY2651" fmla="*/ 4179691 h 6858000"/>
              <a:gd name="connsiteX2652" fmla="*/ 6310617 w 6530564"/>
              <a:gd name="connsiteY2652" fmla="*/ 4422501 h 6858000"/>
              <a:gd name="connsiteX2653" fmla="*/ 6305947 w 6530564"/>
              <a:gd name="connsiteY2653" fmla="*/ 4423498 h 6858000"/>
              <a:gd name="connsiteX2654" fmla="*/ 6306945 w 6530564"/>
              <a:gd name="connsiteY2654" fmla="*/ 4428171 h 6858000"/>
              <a:gd name="connsiteX2655" fmla="*/ 6307942 w 6530564"/>
              <a:gd name="connsiteY2655" fmla="*/ 4432841 h 6858000"/>
              <a:gd name="connsiteX2656" fmla="*/ 6292252 w 6530564"/>
              <a:gd name="connsiteY2656" fmla="*/ 4450844 h 6858000"/>
              <a:gd name="connsiteX2657" fmla="*/ 6268855 w 6530564"/>
              <a:gd name="connsiteY2657" fmla="*/ 4524223 h 6858000"/>
              <a:gd name="connsiteX2658" fmla="*/ 6265862 w 6530564"/>
              <a:gd name="connsiteY2658" fmla="*/ 4510210 h 6858000"/>
              <a:gd name="connsiteX2659" fmla="*/ 6258833 w 6530564"/>
              <a:gd name="connsiteY2659" fmla="*/ 4545902 h 6858000"/>
              <a:gd name="connsiteX2660" fmla="*/ 6253165 w 6530564"/>
              <a:gd name="connsiteY2660" fmla="*/ 4542228 h 6858000"/>
              <a:gd name="connsiteX2661" fmla="*/ 6214077 w 6530564"/>
              <a:gd name="connsiteY2661" fmla="*/ 4633610 h 6858000"/>
              <a:gd name="connsiteX2662" fmla="*/ 6209407 w 6530564"/>
              <a:gd name="connsiteY2662" fmla="*/ 4634608 h 6858000"/>
              <a:gd name="connsiteX2663" fmla="*/ 6170001 w 6530564"/>
              <a:gd name="connsiteY2663" fmla="*/ 4701637 h 6858000"/>
              <a:gd name="connsiteX2664" fmla="*/ 6124246 w 6530564"/>
              <a:gd name="connsiteY2664" fmla="*/ 4784676 h 6858000"/>
              <a:gd name="connsiteX2665" fmla="*/ 6094991 w 6530564"/>
              <a:gd name="connsiteY2665" fmla="*/ 4822064 h 6858000"/>
              <a:gd name="connsiteX2666" fmla="*/ 6068122 w 6530564"/>
              <a:gd name="connsiteY2666" fmla="*/ 4864900 h 6858000"/>
              <a:gd name="connsiteX2667" fmla="*/ 6067155 w 6530564"/>
              <a:gd name="connsiteY2667" fmla="*/ 4860368 h 6858000"/>
              <a:gd name="connsiteX2668" fmla="*/ 6063481 w 6530564"/>
              <a:gd name="connsiteY2668" fmla="*/ 4866038 h 6858000"/>
              <a:gd name="connsiteX2669" fmla="*/ 6060805 w 6530564"/>
              <a:gd name="connsiteY2669" fmla="*/ 4876378 h 6858000"/>
              <a:gd name="connsiteX2670" fmla="*/ 6059807 w 6530564"/>
              <a:gd name="connsiteY2670" fmla="*/ 4871705 h 6858000"/>
              <a:gd name="connsiteX2671" fmla="*/ 6037769 w 6530564"/>
              <a:gd name="connsiteY2671" fmla="*/ 4905720 h 6858000"/>
              <a:gd name="connsiteX2672" fmla="*/ 6038767 w 6530564"/>
              <a:gd name="connsiteY2672" fmla="*/ 4910391 h 6858000"/>
              <a:gd name="connsiteX2673" fmla="*/ 6036091 w 6530564"/>
              <a:gd name="connsiteY2673" fmla="*/ 4920731 h 6858000"/>
              <a:gd name="connsiteX2674" fmla="*/ 6034095 w 6530564"/>
              <a:gd name="connsiteY2674" fmla="*/ 4911389 h 6858000"/>
              <a:gd name="connsiteX2675" fmla="*/ 6023077 w 6530564"/>
              <a:gd name="connsiteY2675" fmla="*/ 4928396 h 6858000"/>
              <a:gd name="connsiteX2676" fmla="*/ 6022078 w 6530564"/>
              <a:gd name="connsiteY2676" fmla="*/ 4923723 h 6858000"/>
              <a:gd name="connsiteX2677" fmla="*/ 6021081 w 6530564"/>
              <a:gd name="connsiteY2677" fmla="*/ 4919054 h 6858000"/>
              <a:gd name="connsiteX2678" fmla="*/ 6016409 w 6530564"/>
              <a:gd name="connsiteY2678" fmla="*/ 4920052 h 6858000"/>
              <a:gd name="connsiteX2679" fmla="*/ 6018405 w 6530564"/>
              <a:gd name="connsiteY2679" fmla="*/ 4929393 h 6858000"/>
              <a:gd name="connsiteX2680" fmla="*/ 6019404 w 6530564"/>
              <a:gd name="connsiteY2680" fmla="*/ 4934065 h 6858000"/>
              <a:gd name="connsiteX2681" fmla="*/ 6015730 w 6530564"/>
              <a:gd name="connsiteY2681" fmla="*/ 4939735 h 6858000"/>
              <a:gd name="connsiteX2682" fmla="*/ 6011059 w 6530564"/>
              <a:gd name="connsiteY2682" fmla="*/ 4940732 h 6858000"/>
              <a:gd name="connsiteX2683" fmla="*/ 6006389 w 6530564"/>
              <a:gd name="connsiteY2683" fmla="*/ 4941731 h 6858000"/>
              <a:gd name="connsiteX2684" fmla="*/ 6007386 w 6530564"/>
              <a:gd name="connsiteY2684" fmla="*/ 4946401 h 6858000"/>
              <a:gd name="connsiteX2685" fmla="*/ 6008383 w 6530564"/>
              <a:gd name="connsiteY2685" fmla="*/ 4951071 h 6858000"/>
              <a:gd name="connsiteX2686" fmla="*/ 5996367 w 6530564"/>
              <a:gd name="connsiteY2686" fmla="*/ 4963407 h 6858000"/>
              <a:gd name="connsiteX2687" fmla="*/ 5995370 w 6530564"/>
              <a:gd name="connsiteY2687" fmla="*/ 4958737 h 6858000"/>
              <a:gd name="connsiteX2688" fmla="*/ 5991696 w 6530564"/>
              <a:gd name="connsiteY2688" fmla="*/ 4964406 h 6858000"/>
              <a:gd name="connsiteX2689" fmla="*/ 5988022 w 6530564"/>
              <a:gd name="connsiteY2689" fmla="*/ 4970074 h 6858000"/>
              <a:gd name="connsiteX2690" fmla="*/ 5985347 w 6530564"/>
              <a:gd name="connsiteY2690" fmla="*/ 4980414 h 6858000"/>
              <a:gd name="connsiteX2691" fmla="*/ 5984349 w 6530564"/>
              <a:gd name="connsiteY2691" fmla="*/ 4975743 h 6858000"/>
              <a:gd name="connsiteX2692" fmla="*/ 5967661 w 6530564"/>
              <a:gd name="connsiteY2692" fmla="*/ 4989076 h 6858000"/>
              <a:gd name="connsiteX2693" fmla="*/ 5965665 w 6530564"/>
              <a:gd name="connsiteY2693" fmla="*/ 4979735 h 6858000"/>
              <a:gd name="connsiteX2694" fmla="*/ 5949975 w 6530564"/>
              <a:gd name="connsiteY2694" fmla="*/ 4997740 h 6858000"/>
              <a:gd name="connsiteX2695" fmla="*/ 5948977 w 6530564"/>
              <a:gd name="connsiteY2695" fmla="*/ 4993069 h 6858000"/>
              <a:gd name="connsiteX2696" fmla="*/ 5952650 w 6530564"/>
              <a:gd name="connsiteY2696" fmla="*/ 4987400 h 6858000"/>
              <a:gd name="connsiteX2697" fmla="*/ 5951653 w 6530564"/>
              <a:gd name="connsiteY2697" fmla="*/ 4982729 h 6858000"/>
              <a:gd name="connsiteX2698" fmla="*/ 5947981 w 6530564"/>
              <a:gd name="connsiteY2698" fmla="*/ 4988397 h 6858000"/>
              <a:gd name="connsiteX2699" fmla="*/ 5944307 w 6530564"/>
              <a:gd name="connsiteY2699" fmla="*/ 4994067 h 6858000"/>
              <a:gd name="connsiteX2700" fmla="*/ 5941631 w 6530564"/>
              <a:gd name="connsiteY2700" fmla="*/ 5004407 h 6858000"/>
              <a:gd name="connsiteX2701" fmla="*/ 5950973 w 6530564"/>
              <a:gd name="connsiteY2701" fmla="*/ 5002410 h 6858000"/>
              <a:gd name="connsiteX2702" fmla="*/ 5947299 w 6530564"/>
              <a:gd name="connsiteY2702" fmla="*/ 5008080 h 6858000"/>
              <a:gd name="connsiteX2703" fmla="*/ 5929931 w 6530564"/>
              <a:gd name="connsiteY2703" fmla="*/ 5041095 h 6858000"/>
              <a:gd name="connsiteX2704" fmla="*/ 5947618 w 6530564"/>
              <a:gd name="connsiteY2704" fmla="*/ 5032434 h 6858000"/>
              <a:gd name="connsiteX2705" fmla="*/ 5931927 w 6530564"/>
              <a:gd name="connsiteY2705" fmla="*/ 5050439 h 6858000"/>
              <a:gd name="connsiteX2706" fmla="*/ 5920909 w 6530564"/>
              <a:gd name="connsiteY2706" fmla="*/ 5067445 h 6858000"/>
              <a:gd name="connsiteX2707" fmla="*/ 5912565 w 6530564"/>
              <a:gd name="connsiteY2707" fmla="*/ 5074111 h 6858000"/>
              <a:gd name="connsiteX2708" fmla="*/ 5910570 w 6530564"/>
              <a:gd name="connsiteY2708" fmla="*/ 5064770 h 6858000"/>
              <a:gd name="connsiteX2709" fmla="*/ 5895877 w 6530564"/>
              <a:gd name="connsiteY2709" fmla="*/ 5087444 h 6858000"/>
              <a:gd name="connsiteX2710" fmla="*/ 5890208 w 6530564"/>
              <a:gd name="connsiteY2710" fmla="*/ 5083772 h 6858000"/>
              <a:gd name="connsiteX2711" fmla="*/ 5893881 w 6530564"/>
              <a:gd name="connsiteY2711" fmla="*/ 5078103 h 6858000"/>
              <a:gd name="connsiteX2712" fmla="*/ 5892882 w 6530564"/>
              <a:gd name="connsiteY2712" fmla="*/ 5073432 h 6858000"/>
              <a:gd name="connsiteX2713" fmla="*/ 5888211 w 6530564"/>
              <a:gd name="connsiteY2713" fmla="*/ 5074430 h 6858000"/>
              <a:gd name="connsiteX2714" fmla="*/ 5884539 w 6530564"/>
              <a:gd name="connsiteY2714" fmla="*/ 5080098 h 6858000"/>
              <a:gd name="connsiteX2715" fmla="*/ 5885537 w 6530564"/>
              <a:gd name="connsiteY2715" fmla="*/ 5084770 h 6858000"/>
              <a:gd name="connsiteX2716" fmla="*/ 5881863 w 6530564"/>
              <a:gd name="connsiteY2716" fmla="*/ 5090439 h 6858000"/>
              <a:gd name="connsiteX2717" fmla="*/ 5878191 w 6530564"/>
              <a:gd name="connsiteY2717" fmla="*/ 5096109 h 6858000"/>
              <a:gd name="connsiteX2718" fmla="*/ 5873519 w 6530564"/>
              <a:gd name="connsiteY2718" fmla="*/ 5097107 h 6858000"/>
              <a:gd name="connsiteX2719" fmla="*/ 5874517 w 6530564"/>
              <a:gd name="connsiteY2719" fmla="*/ 5101778 h 6858000"/>
              <a:gd name="connsiteX2720" fmla="*/ 5869847 w 6530564"/>
              <a:gd name="connsiteY2720" fmla="*/ 5102775 h 6858000"/>
              <a:gd name="connsiteX2721" fmla="*/ 5868847 w 6530564"/>
              <a:gd name="connsiteY2721" fmla="*/ 5098105 h 6858000"/>
              <a:gd name="connsiteX2722" fmla="*/ 5871523 w 6530564"/>
              <a:gd name="connsiteY2722" fmla="*/ 5087764 h 6858000"/>
              <a:gd name="connsiteX2723" fmla="*/ 5878869 w 6530564"/>
              <a:gd name="connsiteY2723" fmla="*/ 5076427 h 6858000"/>
              <a:gd name="connsiteX2724" fmla="*/ 5874198 w 6530564"/>
              <a:gd name="connsiteY2724" fmla="*/ 5077424 h 6858000"/>
              <a:gd name="connsiteX2725" fmla="*/ 5870525 w 6530564"/>
              <a:gd name="connsiteY2725" fmla="*/ 5083093 h 6858000"/>
              <a:gd name="connsiteX2726" fmla="*/ 5859507 w 6530564"/>
              <a:gd name="connsiteY2726" fmla="*/ 5100100 h 6858000"/>
              <a:gd name="connsiteX2727" fmla="*/ 5860503 w 6530564"/>
              <a:gd name="connsiteY2727" fmla="*/ 5104770 h 6858000"/>
              <a:gd name="connsiteX2728" fmla="*/ 5854156 w 6530564"/>
              <a:gd name="connsiteY2728" fmla="*/ 5120780 h 6858000"/>
              <a:gd name="connsiteX2729" fmla="*/ 5803411 w 6530564"/>
              <a:gd name="connsiteY2729" fmla="*/ 5180463 h 6858000"/>
              <a:gd name="connsiteX2730" fmla="*/ 5798741 w 6530564"/>
              <a:gd name="connsiteY2730" fmla="*/ 5181460 h 6858000"/>
              <a:gd name="connsiteX2731" fmla="*/ 5795068 w 6530564"/>
              <a:gd name="connsiteY2731" fmla="*/ 5187130 h 6858000"/>
              <a:gd name="connsiteX2732" fmla="*/ 5783051 w 6530564"/>
              <a:gd name="connsiteY2732" fmla="*/ 5199465 h 6858000"/>
              <a:gd name="connsiteX2733" fmla="*/ 5779378 w 6530564"/>
              <a:gd name="connsiteY2733" fmla="*/ 5205135 h 6858000"/>
              <a:gd name="connsiteX2734" fmla="*/ 5767360 w 6530564"/>
              <a:gd name="connsiteY2734" fmla="*/ 5217470 h 6858000"/>
              <a:gd name="connsiteX2735" fmla="*/ 5755343 w 6530564"/>
              <a:gd name="connsiteY2735" fmla="*/ 5229806 h 6858000"/>
              <a:gd name="connsiteX2736" fmla="*/ 5718293 w 6530564"/>
              <a:gd name="connsiteY2736" fmla="*/ 5262142 h 6858000"/>
              <a:gd name="connsiteX2737" fmla="*/ 5680564 w 6530564"/>
              <a:gd name="connsiteY2737" fmla="*/ 5314161 h 6858000"/>
              <a:gd name="connsiteX2738" fmla="*/ 5668546 w 6530564"/>
              <a:gd name="connsiteY2738" fmla="*/ 5326497 h 6858000"/>
              <a:gd name="connsiteX2739" fmla="*/ 5679885 w 6530564"/>
              <a:gd name="connsiteY2739" fmla="*/ 5333842 h 6858000"/>
              <a:gd name="connsiteX2740" fmla="*/ 5712263 w 6530564"/>
              <a:gd name="connsiteY2740" fmla="*/ 5302506 h 6858000"/>
              <a:gd name="connsiteX2741" fmla="*/ 5746319 w 6530564"/>
              <a:gd name="connsiteY2741" fmla="*/ 5256155 h 6858000"/>
              <a:gd name="connsiteX2742" fmla="*/ 5762009 w 6530564"/>
              <a:gd name="connsiteY2742" fmla="*/ 5238151 h 6858000"/>
              <a:gd name="connsiteX2743" fmla="*/ 5763007 w 6530564"/>
              <a:gd name="connsiteY2743" fmla="*/ 5242821 h 6858000"/>
              <a:gd name="connsiteX2744" fmla="*/ 5758337 w 6530564"/>
              <a:gd name="connsiteY2744" fmla="*/ 5243820 h 6858000"/>
              <a:gd name="connsiteX2745" fmla="*/ 5759335 w 6530564"/>
              <a:gd name="connsiteY2745" fmla="*/ 5248491 h 6858000"/>
              <a:gd name="connsiteX2746" fmla="*/ 5764005 w 6530564"/>
              <a:gd name="connsiteY2746" fmla="*/ 5247493 h 6858000"/>
              <a:gd name="connsiteX2747" fmla="*/ 5767679 w 6530564"/>
              <a:gd name="connsiteY2747" fmla="*/ 5241824 h 6858000"/>
              <a:gd name="connsiteX2748" fmla="*/ 5764685 w 6530564"/>
              <a:gd name="connsiteY2748" fmla="*/ 5227811 h 6858000"/>
              <a:gd name="connsiteX2749" fmla="*/ 5776701 w 6530564"/>
              <a:gd name="connsiteY2749" fmla="*/ 5215474 h 6858000"/>
              <a:gd name="connsiteX2750" fmla="*/ 5786044 w 6530564"/>
              <a:gd name="connsiteY2750" fmla="*/ 5213479 h 6858000"/>
              <a:gd name="connsiteX2751" fmla="*/ 5787043 w 6530564"/>
              <a:gd name="connsiteY2751" fmla="*/ 5218150 h 6858000"/>
              <a:gd name="connsiteX2752" fmla="*/ 5790713 w 6530564"/>
              <a:gd name="connsiteY2752" fmla="*/ 5212480 h 6858000"/>
              <a:gd name="connsiteX2753" fmla="*/ 5789717 w 6530564"/>
              <a:gd name="connsiteY2753" fmla="*/ 5207810 h 6858000"/>
              <a:gd name="connsiteX2754" fmla="*/ 5792393 w 6530564"/>
              <a:gd name="connsiteY2754" fmla="*/ 5197469 h 6858000"/>
              <a:gd name="connsiteX2755" fmla="*/ 5800735 w 6530564"/>
              <a:gd name="connsiteY2755" fmla="*/ 5190803 h 6858000"/>
              <a:gd name="connsiteX2756" fmla="*/ 5805408 w 6530564"/>
              <a:gd name="connsiteY2756" fmla="*/ 5189806 h 6858000"/>
              <a:gd name="connsiteX2757" fmla="*/ 5804409 w 6530564"/>
              <a:gd name="connsiteY2757" fmla="*/ 5185134 h 6858000"/>
              <a:gd name="connsiteX2758" fmla="*/ 5808082 w 6530564"/>
              <a:gd name="connsiteY2758" fmla="*/ 5179466 h 6858000"/>
              <a:gd name="connsiteX2759" fmla="*/ 5859825 w 6530564"/>
              <a:gd name="connsiteY2759" fmla="*/ 5124453 h 6858000"/>
              <a:gd name="connsiteX2760" fmla="*/ 5863499 w 6530564"/>
              <a:gd name="connsiteY2760" fmla="*/ 5118782 h 6858000"/>
              <a:gd name="connsiteX2761" fmla="*/ 5862500 w 6530564"/>
              <a:gd name="connsiteY2761" fmla="*/ 5114113 h 6858000"/>
              <a:gd name="connsiteX2762" fmla="*/ 5867171 w 6530564"/>
              <a:gd name="connsiteY2762" fmla="*/ 5113115 h 6858000"/>
              <a:gd name="connsiteX2763" fmla="*/ 5868169 w 6530564"/>
              <a:gd name="connsiteY2763" fmla="*/ 5117785 h 6858000"/>
              <a:gd name="connsiteX2764" fmla="*/ 5889529 w 6530564"/>
              <a:gd name="connsiteY2764" fmla="*/ 5103454 h 6858000"/>
              <a:gd name="connsiteX2765" fmla="*/ 5888531 w 6530564"/>
              <a:gd name="connsiteY2765" fmla="*/ 5098783 h 6858000"/>
              <a:gd name="connsiteX2766" fmla="*/ 5886853 w 6530564"/>
              <a:gd name="connsiteY2766" fmla="*/ 5113794 h 6858000"/>
              <a:gd name="connsiteX2767" fmla="*/ 5918235 w 6530564"/>
              <a:gd name="connsiteY2767" fmla="*/ 5077785 h 6858000"/>
              <a:gd name="connsiteX2768" fmla="*/ 5937596 w 6530564"/>
              <a:gd name="connsiteY2768" fmla="*/ 5054110 h 6858000"/>
              <a:gd name="connsiteX2769" fmla="*/ 5956961 w 6530564"/>
              <a:gd name="connsiteY2769" fmla="*/ 5030438 h 6858000"/>
              <a:gd name="connsiteX2770" fmla="*/ 5991015 w 6530564"/>
              <a:gd name="connsiteY2770" fmla="*/ 4984087 h 6858000"/>
              <a:gd name="connsiteX2771" fmla="*/ 6003035 w 6530564"/>
              <a:gd name="connsiteY2771" fmla="*/ 4971752 h 6858000"/>
              <a:gd name="connsiteX2772" fmla="*/ 6010379 w 6530564"/>
              <a:gd name="connsiteY2772" fmla="*/ 4960413 h 6858000"/>
              <a:gd name="connsiteX2773" fmla="*/ 6018723 w 6530564"/>
              <a:gd name="connsiteY2773" fmla="*/ 4953747 h 6858000"/>
              <a:gd name="connsiteX2774" fmla="*/ 6029744 w 6530564"/>
              <a:gd name="connsiteY2774" fmla="*/ 4936740 h 6858000"/>
              <a:gd name="connsiteX2775" fmla="*/ 6041761 w 6530564"/>
              <a:gd name="connsiteY2775" fmla="*/ 4924404 h 6858000"/>
              <a:gd name="connsiteX2776" fmla="*/ 6048109 w 6530564"/>
              <a:gd name="connsiteY2776" fmla="*/ 4908395 h 6858000"/>
              <a:gd name="connsiteX2777" fmla="*/ 6052779 w 6530564"/>
              <a:gd name="connsiteY2777" fmla="*/ 4907398 h 6858000"/>
              <a:gd name="connsiteX2778" fmla="*/ 6166964 w 6530564"/>
              <a:gd name="connsiteY2778" fmla="*/ 4756012 h 6858000"/>
              <a:gd name="connsiteX2779" fmla="*/ 6171634 w 6530564"/>
              <a:gd name="connsiteY2779" fmla="*/ 4755014 h 6858000"/>
              <a:gd name="connsiteX2780" fmla="*/ 6176307 w 6530564"/>
              <a:gd name="connsiteY2780" fmla="*/ 4754017 h 6858000"/>
              <a:gd name="connsiteX2781" fmla="*/ 6168961 w 6530564"/>
              <a:gd name="connsiteY2781" fmla="*/ 4765354 h 6858000"/>
              <a:gd name="connsiteX2782" fmla="*/ 6161614 w 6530564"/>
              <a:gd name="connsiteY2782" fmla="*/ 4776693 h 6858000"/>
              <a:gd name="connsiteX2783" fmla="*/ 6154269 w 6530564"/>
              <a:gd name="connsiteY2783" fmla="*/ 4788031 h 6858000"/>
              <a:gd name="connsiteX2784" fmla="*/ 6155266 w 6530564"/>
              <a:gd name="connsiteY2784" fmla="*/ 4792702 h 6858000"/>
              <a:gd name="connsiteX2785" fmla="*/ 6136901 w 6530564"/>
              <a:gd name="connsiteY2785" fmla="*/ 4821047 h 6858000"/>
              <a:gd name="connsiteX2786" fmla="*/ 6137897 w 6530564"/>
              <a:gd name="connsiteY2786" fmla="*/ 4825717 h 6858000"/>
              <a:gd name="connsiteX2787" fmla="*/ 6142571 w 6530564"/>
              <a:gd name="connsiteY2787" fmla="*/ 4824719 h 6858000"/>
              <a:gd name="connsiteX2788" fmla="*/ 6146243 w 6530564"/>
              <a:gd name="connsiteY2788" fmla="*/ 4819049 h 6858000"/>
              <a:gd name="connsiteX2789" fmla="*/ 6149915 w 6530564"/>
              <a:gd name="connsiteY2789" fmla="*/ 4813382 h 6858000"/>
              <a:gd name="connsiteX2790" fmla="*/ 6153588 w 6530564"/>
              <a:gd name="connsiteY2790" fmla="*/ 4807712 h 6858000"/>
              <a:gd name="connsiteX2791" fmla="*/ 6160935 w 6530564"/>
              <a:gd name="connsiteY2791" fmla="*/ 4796376 h 6858000"/>
              <a:gd name="connsiteX2792" fmla="*/ 6149207 w 6530564"/>
              <a:gd name="connsiteY2792" fmla="*/ 4815058 h 6858000"/>
              <a:gd name="connsiteX2793" fmla="*/ 6138972 w 6530564"/>
              <a:gd name="connsiteY2793" fmla="*/ 4830325 h 6858000"/>
              <a:gd name="connsiteX2794" fmla="*/ 6138897 w 6530564"/>
              <a:gd name="connsiteY2794" fmla="*/ 4830389 h 6858000"/>
              <a:gd name="connsiteX2795" fmla="*/ 6138892 w 6530564"/>
              <a:gd name="connsiteY2795" fmla="*/ 4830440 h 6858000"/>
              <a:gd name="connsiteX2796" fmla="*/ 6137977 w 6530564"/>
              <a:gd name="connsiteY2796" fmla="*/ 4831806 h 6858000"/>
              <a:gd name="connsiteX2797" fmla="*/ 6128557 w 6530564"/>
              <a:gd name="connsiteY2797" fmla="*/ 4827713 h 6858000"/>
              <a:gd name="connsiteX2798" fmla="*/ 6092823 w 6530564"/>
              <a:gd name="connsiteY2798" fmla="*/ 4889075 h 6858000"/>
              <a:gd name="connsiteX2799" fmla="*/ 6097494 w 6530564"/>
              <a:gd name="connsiteY2799" fmla="*/ 4888076 h 6858000"/>
              <a:gd name="connsiteX2800" fmla="*/ 6086475 w 6530564"/>
              <a:gd name="connsiteY2800" fmla="*/ 4905082 h 6858000"/>
              <a:gd name="connsiteX2801" fmla="*/ 6081803 w 6530564"/>
              <a:gd name="connsiteY2801" fmla="*/ 4906081 h 6858000"/>
              <a:gd name="connsiteX2802" fmla="*/ 6082802 w 6530564"/>
              <a:gd name="connsiteY2802" fmla="*/ 4910751 h 6858000"/>
              <a:gd name="connsiteX2803" fmla="*/ 6078133 w 6530564"/>
              <a:gd name="connsiteY2803" fmla="*/ 4911750 h 6858000"/>
              <a:gd name="connsiteX2804" fmla="*/ 6070785 w 6530564"/>
              <a:gd name="connsiteY2804" fmla="*/ 4923087 h 6858000"/>
              <a:gd name="connsiteX2805" fmla="*/ 6068109 w 6530564"/>
              <a:gd name="connsiteY2805" fmla="*/ 4933427 h 6858000"/>
              <a:gd name="connsiteX2806" fmla="*/ 6064437 w 6530564"/>
              <a:gd name="connsiteY2806" fmla="*/ 4939097 h 6858000"/>
              <a:gd name="connsiteX2807" fmla="*/ 6053416 w 6530564"/>
              <a:gd name="connsiteY2807" fmla="*/ 4956103 h 6858000"/>
              <a:gd name="connsiteX2808" fmla="*/ 6054415 w 6530564"/>
              <a:gd name="connsiteY2808" fmla="*/ 4960774 h 6858000"/>
              <a:gd name="connsiteX2809" fmla="*/ 6050743 w 6530564"/>
              <a:gd name="connsiteY2809" fmla="*/ 4966443 h 6858000"/>
              <a:gd name="connsiteX2810" fmla="*/ 6016685 w 6530564"/>
              <a:gd name="connsiteY2810" fmla="*/ 5012793 h 6858000"/>
              <a:gd name="connsiteX2811" fmla="*/ 6011017 w 6530564"/>
              <a:gd name="connsiteY2811" fmla="*/ 5009120 h 6858000"/>
              <a:gd name="connsiteX2812" fmla="*/ 6014690 w 6530564"/>
              <a:gd name="connsiteY2812" fmla="*/ 5003451 h 6858000"/>
              <a:gd name="connsiteX2813" fmla="*/ 6018363 w 6530564"/>
              <a:gd name="connsiteY2813" fmla="*/ 4997783 h 6858000"/>
              <a:gd name="connsiteX2814" fmla="*/ 6013693 w 6530564"/>
              <a:gd name="connsiteY2814" fmla="*/ 4998780 h 6858000"/>
              <a:gd name="connsiteX2815" fmla="*/ 6010020 w 6530564"/>
              <a:gd name="connsiteY2815" fmla="*/ 5004450 h 6858000"/>
              <a:gd name="connsiteX2816" fmla="*/ 6006346 w 6530564"/>
              <a:gd name="connsiteY2816" fmla="*/ 5010117 h 6858000"/>
              <a:gd name="connsiteX2817" fmla="*/ 6007345 w 6530564"/>
              <a:gd name="connsiteY2817" fmla="*/ 5014789 h 6858000"/>
              <a:gd name="connsiteX2818" fmla="*/ 6008343 w 6530564"/>
              <a:gd name="connsiteY2818" fmla="*/ 5019460 h 6858000"/>
              <a:gd name="connsiteX2819" fmla="*/ 5973287 w 6530564"/>
              <a:gd name="connsiteY2819" fmla="*/ 5061138 h 6858000"/>
              <a:gd name="connsiteX2820" fmla="*/ 5974287 w 6530564"/>
              <a:gd name="connsiteY2820" fmla="*/ 5065808 h 6858000"/>
              <a:gd name="connsiteX2821" fmla="*/ 5894837 w 6530564"/>
              <a:gd name="connsiteY2821" fmla="*/ 5151162 h 6858000"/>
              <a:gd name="connsiteX2822" fmla="*/ 5783008 w 6530564"/>
              <a:gd name="connsiteY2822" fmla="*/ 5267853 h 6858000"/>
              <a:gd name="connsiteX2823" fmla="*/ 5758973 w 6530564"/>
              <a:gd name="connsiteY2823" fmla="*/ 5292525 h 6858000"/>
              <a:gd name="connsiteX2824" fmla="*/ 5754302 w 6530564"/>
              <a:gd name="connsiteY2824" fmla="*/ 5293524 h 6858000"/>
              <a:gd name="connsiteX2825" fmla="*/ 5741289 w 6530564"/>
              <a:gd name="connsiteY2825" fmla="*/ 5301187 h 6858000"/>
              <a:gd name="connsiteX2826" fmla="*/ 5737613 w 6530564"/>
              <a:gd name="connsiteY2826" fmla="*/ 5306857 h 6858000"/>
              <a:gd name="connsiteX2827" fmla="*/ 5742285 w 6530564"/>
              <a:gd name="connsiteY2827" fmla="*/ 5305858 h 6858000"/>
              <a:gd name="connsiteX2828" fmla="*/ 5681201 w 6530564"/>
              <a:gd name="connsiteY2828" fmla="*/ 5362868 h 6858000"/>
              <a:gd name="connsiteX2829" fmla="*/ 5632136 w 6530564"/>
              <a:gd name="connsiteY2829" fmla="*/ 5407539 h 6858000"/>
              <a:gd name="connsiteX2830" fmla="*/ 5615447 w 6530564"/>
              <a:gd name="connsiteY2830" fmla="*/ 5420874 h 6858000"/>
              <a:gd name="connsiteX2831" fmla="*/ 5569055 w 6530564"/>
              <a:gd name="connsiteY2831" fmla="*/ 5455206 h 6858000"/>
              <a:gd name="connsiteX2832" fmla="*/ 5536677 w 6530564"/>
              <a:gd name="connsiteY2832" fmla="*/ 5486546 h 6858000"/>
              <a:gd name="connsiteX2833" fmla="*/ 5347435 w 6530564"/>
              <a:gd name="connsiteY2833" fmla="*/ 5629544 h 6858000"/>
              <a:gd name="connsiteX2834" fmla="*/ 5192251 w 6530564"/>
              <a:gd name="connsiteY2834" fmla="*/ 5726192 h 6858000"/>
              <a:gd name="connsiteX2835" fmla="*/ 5029405 w 6530564"/>
              <a:gd name="connsiteY2835" fmla="*/ 5809826 h 6858000"/>
              <a:gd name="connsiteX2836" fmla="*/ 5011718 w 6530564"/>
              <a:gd name="connsiteY2836" fmla="*/ 5818489 h 6858000"/>
              <a:gd name="connsiteX2837" fmla="*/ 4685383 w 6530564"/>
              <a:gd name="connsiteY2837" fmla="*/ 5937051 h 6858000"/>
              <a:gd name="connsiteX2838" fmla="*/ 4514510 w 6530564"/>
              <a:gd name="connsiteY2838" fmla="*/ 5980274 h 6858000"/>
              <a:gd name="connsiteX2839" fmla="*/ 4434660 w 6530564"/>
              <a:gd name="connsiteY2839" fmla="*/ 5991919 h 6858000"/>
              <a:gd name="connsiteX2840" fmla="*/ 4450453 w 6530564"/>
              <a:gd name="connsiteY2840" fmla="*/ 5989074 h 6858000"/>
              <a:gd name="connsiteX2841" fmla="*/ 4493869 w 6530564"/>
              <a:gd name="connsiteY2841" fmla="*/ 5977967 h 6858000"/>
              <a:gd name="connsiteX2842" fmla="*/ 4498541 w 6530564"/>
              <a:gd name="connsiteY2842" fmla="*/ 5976969 h 6858000"/>
              <a:gd name="connsiteX2843" fmla="*/ 4637673 w 6530564"/>
              <a:gd name="connsiteY2843" fmla="*/ 5942359 h 6858000"/>
              <a:gd name="connsiteX2844" fmla="*/ 4642343 w 6530564"/>
              <a:gd name="connsiteY2844" fmla="*/ 5941362 h 6858000"/>
              <a:gd name="connsiteX2845" fmla="*/ 4646017 w 6530564"/>
              <a:gd name="connsiteY2845" fmla="*/ 5935692 h 6858000"/>
              <a:gd name="connsiteX2846" fmla="*/ 4636675 w 6530564"/>
              <a:gd name="connsiteY2846" fmla="*/ 5937688 h 6858000"/>
              <a:gd name="connsiteX2847" fmla="*/ 4637673 w 6530564"/>
              <a:gd name="connsiteY2847" fmla="*/ 5942359 h 6858000"/>
              <a:gd name="connsiteX2848" fmla="*/ 4497543 w 6530564"/>
              <a:gd name="connsiteY2848" fmla="*/ 5972298 h 6858000"/>
              <a:gd name="connsiteX2849" fmla="*/ 4490875 w 6530564"/>
              <a:gd name="connsiteY2849" fmla="*/ 5963954 h 6858000"/>
              <a:gd name="connsiteX2850" fmla="*/ 4486203 w 6530564"/>
              <a:gd name="connsiteY2850" fmla="*/ 5964951 h 6858000"/>
              <a:gd name="connsiteX2851" fmla="*/ 4487203 w 6530564"/>
              <a:gd name="connsiteY2851" fmla="*/ 5969623 h 6858000"/>
              <a:gd name="connsiteX2852" fmla="*/ 4389111 w 6530564"/>
              <a:gd name="connsiteY2852" fmla="*/ 5990578 h 6858000"/>
              <a:gd name="connsiteX2853" fmla="*/ 4390107 w 6530564"/>
              <a:gd name="connsiteY2853" fmla="*/ 5995251 h 6858000"/>
              <a:gd name="connsiteX2854" fmla="*/ 4370427 w 6530564"/>
              <a:gd name="connsiteY2854" fmla="*/ 5994571 h 6858000"/>
              <a:gd name="connsiteX2855" fmla="*/ 4361085 w 6530564"/>
              <a:gd name="connsiteY2855" fmla="*/ 5996567 h 6858000"/>
              <a:gd name="connsiteX2856" fmla="*/ 4361763 w 6530564"/>
              <a:gd name="connsiteY2856" fmla="*/ 5976885 h 6858000"/>
              <a:gd name="connsiteX2857" fmla="*/ 4380447 w 6530564"/>
              <a:gd name="connsiteY2857" fmla="*/ 5972893 h 6858000"/>
              <a:gd name="connsiteX2858" fmla="*/ 4408475 w 6530564"/>
              <a:gd name="connsiteY2858" fmla="*/ 5966906 h 6858000"/>
              <a:gd name="connsiteX2859" fmla="*/ 4413145 w 6530564"/>
              <a:gd name="connsiteY2859" fmla="*/ 5965908 h 6858000"/>
              <a:gd name="connsiteX2860" fmla="*/ 4417816 w 6530564"/>
              <a:gd name="connsiteY2860" fmla="*/ 5964910 h 6858000"/>
              <a:gd name="connsiteX2861" fmla="*/ 4427159 w 6530564"/>
              <a:gd name="connsiteY2861" fmla="*/ 5962914 h 6858000"/>
              <a:gd name="connsiteX2862" fmla="*/ 4431829 w 6530564"/>
              <a:gd name="connsiteY2862" fmla="*/ 5961917 h 6858000"/>
              <a:gd name="connsiteX2863" fmla="*/ 4426161 w 6530564"/>
              <a:gd name="connsiteY2863" fmla="*/ 5958243 h 6858000"/>
              <a:gd name="connsiteX2864" fmla="*/ 4416819 w 6530564"/>
              <a:gd name="connsiteY2864" fmla="*/ 5960239 h 6858000"/>
              <a:gd name="connsiteX2865" fmla="*/ 4412147 w 6530564"/>
              <a:gd name="connsiteY2865" fmla="*/ 5961238 h 6858000"/>
              <a:gd name="connsiteX2866" fmla="*/ 4411149 w 6530564"/>
              <a:gd name="connsiteY2866" fmla="*/ 5956566 h 6858000"/>
              <a:gd name="connsiteX2867" fmla="*/ 4406479 w 6530564"/>
              <a:gd name="connsiteY2867" fmla="*/ 5957564 h 6858000"/>
              <a:gd name="connsiteX2868" fmla="*/ 4401807 w 6530564"/>
              <a:gd name="connsiteY2868" fmla="*/ 5958561 h 6858000"/>
              <a:gd name="connsiteX2869" fmla="*/ 4402805 w 6530564"/>
              <a:gd name="connsiteY2869" fmla="*/ 5963232 h 6858000"/>
              <a:gd name="connsiteX2870" fmla="*/ 4379449 w 6530564"/>
              <a:gd name="connsiteY2870" fmla="*/ 5968223 h 6858000"/>
              <a:gd name="connsiteX2871" fmla="*/ 4360765 w 6530564"/>
              <a:gd name="connsiteY2871" fmla="*/ 5972214 h 6858000"/>
              <a:gd name="connsiteX2872" fmla="*/ 4332741 w 6530564"/>
              <a:gd name="connsiteY2872" fmla="*/ 5978202 h 6858000"/>
              <a:gd name="connsiteX2873" fmla="*/ 4328067 w 6530564"/>
              <a:gd name="connsiteY2873" fmla="*/ 5979200 h 6858000"/>
              <a:gd name="connsiteX2874" fmla="*/ 4333738 w 6530564"/>
              <a:gd name="connsiteY2874" fmla="*/ 5982874 h 6858000"/>
              <a:gd name="connsiteX2875" fmla="*/ 4352421 w 6530564"/>
              <a:gd name="connsiteY2875" fmla="*/ 5978882 h 6858000"/>
              <a:gd name="connsiteX2876" fmla="*/ 4347071 w 6530564"/>
              <a:gd name="connsiteY2876" fmla="*/ 5999562 h 6858000"/>
              <a:gd name="connsiteX2877" fmla="*/ 4337729 w 6530564"/>
              <a:gd name="connsiteY2877" fmla="*/ 6001556 h 6858000"/>
              <a:gd name="connsiteX2878" fmla="*/ 4333057 w 6530564"/>
              <a:gd name="connsiteY2878" fmla="*/ 6002555 h 6858000"/>
              <a:gd name="connsiteX2879" fmla="*/ 4336731 w 6530564"/>
              <a:gd name="connsiteY2879" fmla="*/ 5996886 h 6858000"/>
              <a:gd name="connsiteX2880" fmla="*/ 4331061 w 6530564"/>
              <a:gd name="connsiteY2880" fmla="*/ 5993214 h 6858000"/>
              <a:gd name="connsiteX2881" fmla="*/ 4322719 w 6530564"/>
              <a:gd name="connsiteY2881" fmla="*/ 5999880 h 6858000"/>
              <a:gd name="connsiteX2882" fmla="*/ 4318046 w 6530564"/>
              <a:gd name="connsiteY2882" fmla="*/ 6000879 h 6858000"/>
              <a:gd name="connsiteX2883" fmla="*/ 4298365 w 6530564"/>
              <a:gd name="connsiteY2883" fmla="*/ 6000199 h 6858000"/>
              <a:gd name="connsiteX2884" fmla="*/ 4287027 w 6530564"/>
              <a:gd name="connsiteY2884" fmla="*/ 5992853 h 6858000"/>
              <a:gd name="connsiteX2885" fmla="*/ 4253332 w 6530564"/>
              <a:gd name="connsiteY2885" fmla="*/ 5995167 h 6858000"/>
              <a:gd name="connsiteX2886" fmla="*/ 4250657 w 6530564"/>
              <a:gd name="connsiteY2886" fmla="*/ 6005506 h 6858000"/>
              <a:gd name="connsiteX2887" fmla="*/ 4243989 w 6530564"/>
              <a:gd name="connsiteY2887" fmla="*/ 5997163 h 6858000"/>
              <a:gd name="connsiteX2888" fmla="*/ 4216961 w 6530564"/>
              <a:gd name="connsiteY2888" fmla="*/ 6007822 h 6858000"/>
              <a:gd name="connsiteX2889" fmla="*/ 4183267 w 6530564"/>
              <a:gd name="connsiteY2889" fmla="*/ 6010136 h 6858000"/>
              <a:gd name="connsiteX2890" fmla="*/ 4178595 w 6530564"/>
              <a:gd name="connsiteY2890" fmla="*/ 6011135 h 6858000"/>
              <a:gd name="connsiteX2891" fmla="*/ 4162587 w 6530564"/>
              <a:gd name="connsiteY2891" fmla="*/ 6004786 h 6858000"/>
              <a:gd name="connsiteX2892" fmla="*/ 4126216 w 6530564"/>
              <a:gd name="connsiteY2892" fmla="*/ 6017440 h 6858000"/>
              <a:gd name="connsiteX2893" fmla="*/ 4086851 w 6530564"/>
              <a:gd name="connsiteY2893" fmla="*/ 6016083 h 6858000"/>
              <a:gd name="connsiteX2894" fmla="*/ 4067171 w 6530564"/>
              <a:gd name="connsiteY2894" fmla="*/ 6015403 h 6858000"/>
              <a:gd name="connsiteX2895" fmla="*/ 4040821 w 6530564"/>
              <a:gd name="connsiteY2895" fmla="*/ 6006380 h 6858000"/>
              <a:gd name="connsiteX2896" fmla="*/ 3944405 w 6530564"/>
              <a:gd name="connsiteY2896" fmla="*/ 6012325 h 6858000"/>
              <a:gd name="connsiteX2897" fmla="*/ 3925723 w 6530564"/>
              <a:gd name="connsiteY2897" fmla="*/ 6016317 h 6858000"/>
              <a:gd name="connsiteX2898" fmla="*/ 3911709 w 6530564"/>
              <a:gd name="connsiteY2898" fmla="*/ 6019311 h 6858000"/>
              <a:gd name="connsiteX2899" fmla="*/ 3784954 w 6530564"/>
              <a:gd name="connsiteY2899" fmla="*/ 5997550 h 6858000"/>
              <a:gd name="connsiteX2900" fmla="*/ 3731576 w 6530564"/>
              <a:gd name="connsiteY2900" fmla="*/ 5999185 h 6858000"/>
              <a:gd name="connsiteX2901" fmla="*/ 3701555 w 6530564"/>
              <a:gd name="connsiteY2901" fmla="*/ 5995831 h 6858000"/>
              <a:gd name="connsiteX2902" fmla="*/ 3706225 w 6530564"/>
              <a:gd name="connsiteY2902" fmla="*/ 5994832 h 6858000"/>
              <a:gd name="connsiteX2903" fmla="*/ 3591805 w 6530564"/>
              <a:gd name="connsiteY2903" fmla="*/ 5985087 h 6858000"/>
              <a:gd name="connsiteX2904" fmla="*/ 3573122 w 6530564"/>
              <a:gd name="connsiteY2904" fmla="*/ 5989079 h 6858000"/>
              <a:gd name="connsiteX2905" fmla="*/ 3537430 w 6530564"/>
              <a:gd name="connsiteY2905" fmla="*/ 5982053 h 6858000"/>
              <a:gd name="connsiteX2906" fmla="*/ 3541104 w 6530564"/>
              <a:gd name="connsiteY2906" fmla="*/ 5976384 h 6858000"/>
              <a:gd name="connsiteX2907" fmla="*/ 3465050 w 6530564"/>
              <a:gd name="connsiteY2907" fmla="*/ 5963328 h 6858000"/>
              <a:gd name="connsiteX2908" fmla="*/ 3430358 w 6530564"/>
              <a:gd name="connsiteY2908" fmla="*/ 5960971 h 6858000"/>
              <a:gd name="connsiteX2909" fmla="*/ 3439699 w 6530564"/>
              <a:gd name="connsiteY2909" fmla="*/ 5958974 h 6858000"/>
              <a:gd name="connsiteX2910" fmla="*/ 3363648 w 6530564"/>
              <a:gd name="connsiteY2910" fmla="*/ 5945918 h 6858000"/>
              <a:gd name="connsiteX2911" fmla="*/ 3280927 w 6530564"/>
              <a:gd name="connsiteY2911" fmla="*/ 5924516 h 6858000"/>
              <a:gd name="connsiteX2912" fmla="*/ 3275257 w 6530564"/>
              <a:gd name="connsiteY2912" fmla="*/ 5920844 h 6858000"/>
              <a:gd name="connsiteX2913" fmla="*/ 3261244 w 6530564"/>
              <a:gd name="connsiteY2913" fmla="*/ 5923839 h 6858000"/>
              <a:gd name="connsiteX2914" fmla="*/ 3215214 w 6530564"/>
              <a:gd name="connsiteY2914" fmla="*/ 5914135 h 6858000"/>
              <a:gd name="connsiteX2915" fmla="*/ 3201879 w 6530564"/>
              <a:gd name="connsiteY2915" fmla="*/ 5897447 h 6858000"/>
              <a:gd name="connsiteX2916" fmla="*/ 3172855 w 6530564"/>
              <a:gd name="connsiteY2916" fmla="*/ 5898763 h 6858000"/>
              <a:gd name="connsiteX2917" fmla="*/ 3171857 w 6530564"/>
              <a:gd name="connsiteY2917" fmla="*/ 5894093 h 6858000"/>
              <a:gd name="connsiteX2918" fmla="*/ 3099478 w 6530564"/>
              <a:gd name="connsiteY2918" fmla="*/ 5875367 h 6858000"/>
              <a:gd name="connsiteX2919" fmla="*/ 3119159 w 6530564"/>
              <a:gd name="connsiteY2919" fmla="*/ 5876046 h 6858000"/>
              <a:gd name="connsiteX2920" fmla="*/ 3059795 w 6530564"/>
              <a:gd name="connsiteY2920" fmla="*/ 5849654 h 6858000"/>
              <a:gd name="connsiteX2921" fmla="*/ 3056122 w 6530564"/>
              <a:gd name="connsiteY2921" fmla="*/ 5855324 h 6858000"/>
              <a:gd name="connsiteX2922" fmla="*/ 3039115 w 6530564"/>
              <a:gd name="connsiteY2922" fmla="*/ 5844305 h 6858000"/>
              <a:gd name="connsiteX2923" fmla="*/ 3003423 w 6530564"/>
              <a:gd name="connsiteY2923" fmla="*/ 5837278 h 6858000"/>
              <a:gd name="connsiteX2924" fmla="*/ 2986416 w 6530564"/>
              <a:gd name="connsiteY2924" fmla="*/ 5826258 h 6858000"/>
              <a:gd name="connsiteX2925" fmla="*/ 2981746 w 6530564"/>
              <a:gd name="connsiteY2925" fmla="*/ 5827257 h 6858000"/>
              <a:gd name="connsiteX2926" fmla="*/ 2993083 w 6530564"/>
              <a:gd name="connsiteY2926" fmla="*/ 5834603 h 6858000"/>
              <a:gd name="connsiteX2927" fmla="*/ 2953401 w 6530564"/>
              <a:gd name="connsiteY2927" fmla="*/ 5808891 h 6858000"/>
              <a:gd name="connsiteX2928" fmla="*/ 2937391 w 6530564"/>
              <a:gd name="connsiteY2928" fmla="*/ 5802543 h 6858000"/>
              <a:gd name="connsiteX2929" fmla="*/ 2940386 w 6530564"/>
              <a:gd name="connsiteY2929" fmla="*/ 5816557 h 6858000"/>
              <a:gd name="connsiteX2930" fmla="*/ 2935713 w 6530564"/>
              <a:gd name="connsiteY2930" fmla="*/ 5817555 h 6858000"/>
              <a:gd name="connsiteX2931" fmla="*/ 2902699 w 6530564"/>
              <a:gd name="connsiteY2931" fmla="*/ 5800186 h 6858000"/>
              <a:gd name="connsiteX2932" fmla="*/ 2901701 w 6530564"/>
              <a:gd name="connsiteY2932" fmla="*/ 5795516 h 6858000"/>
              <a:gd name="connsiteX2933" fmla="*/ 2912041 w 6530564"/>
              <a:gd name="connsiteY2933" fmla="*/ 5798190 h 6858000"/>
              <a:gd name="connsiteX2934" fmla="*/ 2917710 w 6530564"/>
              <a:gd name="connsiteY2934" fmla="*/ 5801864 h 6858000"/>
              <a:gd name="connsiteX2935" fmla="*/ 2916711 w 6530564"/>
              <a:gd name="connsiteY2935" fmla="*/ 5797193 h 6858000"/>
              <a:gd name="connsiteX2936" fmla="*/ 2900702 w 6530564"/>
              <a:gd name="connsiteY2936" fmla="*/ 5790845 h 6858000"/>
              <a:gd name="connsiteX2937" fmla="*/ 2878026 w 6530564"/>
              <a:gd name="connsiteY2937" fmla="*/ 5776152 h 6858000"/>
              <a:gd name="connsiteX2938" fmla="*/ 2830996 w 6530564"/>
              <a:gd name="connsiteY2938" fmla="*/ 5761779 h 6858000"/>
              <a:gd name="connsiteX2939" fmla="*/ 2802653 w 6530564"/>
              <a:gd name="connsiteY2939" fmla="*/ 5743413 h 6858000"/>
              <a:gd name="connsiteX2940" fmla="*/ 2796984 w 6530564"/>
              <a:gd name="connsiteY2940" fmla="*/ 5739740 h 6858000"/>
              <a:gd name="connsiteX2941" fmla="*/ 2792311 w 6530564"/>
              <a:gd name="connsiteY2941" fmla="*/ 5740738 h 6858000"/>
              <a:gd name="connsiteX2942" fmla="*/ 2707279 w 6530564"/>
              <a:gd name="connsiteY2942" fmla="*/ 5685642 h 6858000"/>
              <a:gd name="connsiteX2943" fmla="*/ 2676938 w 6530564"/>
              <a:gd name="connsiteY2943" fmla="*/ 5657935 h 6858000"/>
              <a:gd name="connsiteX2944" fmla="*/ 2520882 w 6530564"/>
              <a:gd name="connsiteY2944" fmla="*/ 5544750 h 6858000"/>
              <a:gd name="connsiteX2945" fmla="*/ 2389498 w 6530564"/>
              <a:gd name="connsiteY2945" fmla="*/ 5455598 h 6858000"/>
              <a:gd name="connsiteX2946" fmla="*/ 2399159 w 6530564"/>
              <a:gd name="connsiteY2946" fmla="*/ 5477954 h 6858000"/>
              <a:gd name="connsiteX2947" fmla="*/ 2364147 w 6530564"/>
              <a:gd name="connsiteY2947" fmla="*/ 5451245 h 6858000"/>
              <a:gd name="connsiteX2948" fmla="*/ 2347139 w 6530564"/>
              <a:gd name="connsiteY2948" fmla="*/ 5440226 h 6858000"/>
              <a:gd name="connsiteX2949" fmla="*/ 2345143 w 6530564"/>
              <a:gd name="connsiteY2949" fmla="*/ 5430885 h 6858000"/>
              <a:gd name="connsiteX2950" fmla="*/ 2340472 w 6530564"/>
              <a:gd name="connsiteY2950" fmla="*/ 5431882 h 6858000"/>
              <a:gd name="connsiteX2951" fmla="*/ 2322149 w 6530564"/>
              <a:gd name="connsiteY2951" fmla="*/ 5391840 h 6858000"/>
              <a:gd name="connsiteX2952" fmla="*/ 2315481 w 6530564"/>
              <a:gd name="connsiteY2952" fmla="*/ 5383495 h 6858000"/>
              <a:gd name="connsiteX2953" fmla="*/ 2309813 w 6530564"/>
              <a:gd name="connsiteY2953" fmla="*/ 5379823 h 6858000"/>
              <a:gd name="connsiteX2954" fmla="*/ 2304144 w 6530564"/>
              <a:gd name="connsiteY2954" fmla="*/ 5376149 h 6858000"/>
              <a:gd name="connsiteX2955" fmla="*/ 2280470 w 6530564"/>
              <a:gd name="connsiteY2955" fmla="*/ 5356786 h 6858000"/>
              <a:gd name="connsiteX2956" fmla="*/ 2274800 w 6530564"/>
              <a:gd name="connsiteY2956" fmla="*/ 5353113 h 6858000"/>
              <a:gd name="connsiteX2957" fmla="*/ 2275799 w 6530564"/>
              <a:gd name="connsiteY2957" fmla="*/ 5357784 h 6858000"/>
              <a:gd name="connsiteX2958" fmla="*/ 2282467 w 6530564"/>
              <a:gd name="connsiteY2958" fmla="*/ 5366128 h 6858000"/>
              <a:gd name="connsiteX2959" fmla="*/ 2258113 w 6530564"/>
              <a:gd name="connsiteY2959" fmla="*/ 5366446 h 6858000"/>
              <a:gd name="connsiteX2960" fmla="*/ 2257114 w 6530564"/>
              <a:gd name="connsiteY2960" fmla="*/ 5361775 h 6858000"/>
              <a:gd name="connsiteX2961" fmla="*/ 2230129 w 6530564"/>
              <a:gd name="connsiteY2961" fmla="*/ 5304046 h 6858000"/>
              <a:gd name="connsiteX2962" fmla="*/ 2224460 w 6530564"/>
              <a:gd name="connsiteY2962" fmla="*/ 5300373 h 6858000"/>
              <a:gd name="connsiteX2963" fmla="*/ 2223461 w 6530564"/>
              <a:gd name="connsiteY2963" fmla="*/ 5295703 h 6858000"/>
              <a:gd name="connsiteX2964" fmla="*/ 2184458 w 6530564"/>
              <a:gd name="connsiteY2964" fmla="*/ 5250308 h 6858000"/>
              <a:gd name="connsiteX2965" fmla="*/ 2156113 w 6530564"/>
              <a:gd name="connsiteY2965" fmla="*/ 5231944 h 6858000"/>
              <a:gd name="connsiteX2966" fmla="*/ 2155116 w 6530564"/>
              <a:gd name="connsiteY2966" fmla="*/ 5227273 h 6858000"/>
              <a:gd name="connsiteX2967" fmla="*/ 2150443 w 6530564"/>
              <a:gd name="connsiteY2967" fmla="*/ 5228270 h 6858000"/>
              <a:gd name="connsiteX2968" fmla="*/ 2139106 w 6530564"/>
              <a:gd name="connsiteY2968" fmla="*/ 5220925 h 6858000"/>
              <a:gd name="connsiteX2969" fmla="*/ 2140105 w 6530564"/>
              <a:gd name="connsiteY2969" fmla="*/ 5225596 h 6858000"/>
              <a:gd name="connsiteX2970" fmla="*/ 2146772 w 6530564"/>
              <a:gd name="connsiteY2970" fmla="*/ 5233939 h 6858000"/>
              <a:gd name="connsiteX2971" fmla="*/ 2129765 w 6530564"/>
              <a:gd name="connsiteY2971" fmla="*/ 5222920 h 6858000"/>
              <a:gd name="connsiteX2972" fmla="*/ 2109085 w 6530564"/>
              <a:gd name="connsiteY2972" fmla="*/ 5217571 h 6858000"/>
              <a:gd name="connsiteX2973" fmla="*/ 2093754 w 6530564"/>
              <a:gd name="connsiteY2973" fmla="*/ 5191540 h 6858000"/>
              <a:gd name="connsiteX2974" fmla="*/ 2098425 w 6530564"/>
              <a:gd name="connsiteY2974" fmla="*/ 5190542 h 6858000"/>
              <a:gd name="connsiteX2975" fmla="*/ 2097428 w 6530564"/>
              <a:gd name="connsiteY2975" fmla="*/ 5185872 h 6858000"/>
              <a:gd name="connsiteX2976" fmla="*/ 2091758 w 6530564"/>
              <a:gd name="connsiteY2976" fmla="*/ 5182198 h 6858000"/>
              <a:gd name="connsiteX2977" fmla="*/ 2084094 w 6530564"/>
              <a:gd name="connsiteY2977" fmla="*/ 5169184 h 6858000"/>
              <a:gd name="connsiteX2978" fmla="*/ 2078424 w 6530564"/>
              <a:gd name="connsiteY2978" fmla="*/ 5165510 h 6858000"/>
              <a:gd name="connsiteX2979" fmla="*/ 2074434 w 6530564"/>
              <a:gd name="connsiteY2979" fmla="*/ 5146826 h 6858000"/>
              <a:gd name="connsiteX2980" fmla="*/ 2093436 w 6530564"/>
              <a:gd name="connsiteY2980" fmla="*/ 5167188 h 6858000"/>
              <a:gd name="connsiteX2981" fmla="*/ 2090442 w 6530564"/>
              <a:gd name="connsiteY2981" fmla="*/ 5153174 h 6858000"/>
              <a:gd name="connsiteX2982" fmla="*/ 2078108 w 6530564"/>
              <a:gd name="connsiteY2982" fmla="*/ 5141157 h 6858000"/>
              <a:gd name="connsiteX2983" fmla="*/ 2013114 w 6530564"/>
              <a:gd name="connsiteY2983" fmla="*/ 5042706 h 6858000"/>
              <a:gd name="connsiteX2984" fmla="*/ 1971436 w 6530564"/>
              <a:gd name="connsiteY2984" fmla="*/ 5007652 h 6858000"/>
              <a:gd name="connsiteX2985" fmla="*/ 1975108 w 6530564"/>
              <a:gd name="connsiteY2985" fmla="*/ 5001984 h 6858000"/>
              <a:gd name="connsiteX2986" fmla="*/ 1968442 w 6530564"/>
              <a:gd name="connsiteY2986" fmla="*/ 4993638 h 6858000"/>
              <a:gd name="connsiteX2987" fmla="*/ 1962774 w 6530564"/>
              <a:gd name="connsiteY2987" fmla="*/ 4989966 h 6858000"/>
              <a:gd name="connsiteX2988" fmla="*/ 1963771 w 6530564"/>
              <a:gd name="connsiteY2988" fmla="*/ 4994637 h 6858000"/>
              <a:gd name="connsiteX2989" fmla="*/ 1951435 w 6530564"/>
              <a:gd name="connsiteY2989" fmla="*/ 4982619 h 6858000"/>
              <a:gd name="connsiteX2990" fmla="*/ 1955107 w 6530564"/>
              <a:gd name="connsiteY2990" fmla="*/ 4976952 h 6858000"/>
              <a:gd name="connsiteX2991" fmla="*/ 1923769 w 6530564"/>
              <a:gd name="connsiteY2991" fmla="*/ 4944572 h 6858000"/>
              <a:gd name="connsiteX2992" fmla="*/ 1922772 w 6530564"/>
              <a:gd name="connsiteY2992" fmla="*/ 4939901 h 6858000"/>
              <a:gd name="connsiteX2993" fmla="*/ 1918100 w 6530564"/>
              <a:gd name="connsiteY2993" fmla="*/ 4940898 h 6858000"/>
              <a:gd name="connsiteX2994" fmla="*/ 1913429 w 6530564"/>
              <a:gd name="connsiteY2994" fmla="*/ 4941897 h 6858000"/>
              <a:gd name="connsiteX2995" fmla="*/ 1912432 w 6530564"/>
              <a:gd name="connsiteY2995" fmla="*/ 4937227 h 6858000"/>
              <a:gd name="connsiteX2996" fmla="*/ 1902092 w 6530564"/>
              <a:gd name="connsiteY2996" fmla="*/ 4934551 h 6858000"/>
              <a:gd name="connsiteX2997" fmla="*/ 1904088 w 6530564"/>
              <a:gd name="connsiteY2997" fmla="*/ 4943893 h 6858000"/>
              <a:gd name="connsiteX2998" fmla="*/ 1898418 w 6530564"/>
              <a:gd name="connsiteY2998" fmla="*/ 4940221 h 6858000"/>
              <a:gd name="connsiteX2999" fmla="*/ 1873746 w 6530564"/>
              <a:gd name="connsiteY2999" fmla="*/ 4916186 h 6858000"/>
              <a:gd name="connsiteX3000" fmla="*/ 1855423 w 6530564"/>
              <a:gd name="connsiteY3000" fmla="*/ 4876142 h 6858000"/>
              <a:gd name="connsiteX3001" fmla="*/ 1845083 w 6530564"/>
              <a:gd name="connsiteY3001" fmla="*/ 4873468 h 6858000"/>
              <a:gd name="connsiteX3002" fmla="*/ 1840093 w 6530564"/>
              <a:gd name="connsiteY3002" fmla="*/ 4850113 h 6858000"/>
              <a:gd name="connsiteX3003" fmla="*/ 1831749 w 6530564"/>
              <a:gd name="connsiteY3003" fmla="*/ 4856779 h 6858000"/>
              <a:gd name="connsiteX3004" fmla="*/ 1828756 w 6530564"/>
              <a:gd name="connsiteY3004" fmla="*/ 4842767 h 6858000"/>
              <a:gd name="connsiteX3005" fmla="*/ 1767437 w 6530564"/>
              <a:gd name="connsiteY3005" fmla="*/ 4738646 h 6858000"/>
              <a:gd name="connsiteX3006" fmla="*/ 1759453 w 6530564"/>
              <a:gd name="connsiteY3006" fmla="*/ 4701279 h 6858000"/>
              <a:gd name="connsiteX3007" fmla="*/ 1748116 w 6530564"/>
              <a:gd name="connsiteY3007" fmla="*/ 4693932 h 6858000"/>
              <a:gd name="connsiteX3008" fmla="*/ 1730789 w 6530564"/>
              <a:gd name="connsiteY3008" fmla="*/ 4658560 h 6858000"/>
              <a:gd name="connsiteX3009" fmla="*/ 1720450 w 6530564"/>
              <a:gd name="connsiteY3009" fmla="*/ 4655885 h 6858000"/>
              <a:gd name="connsiteX3010" fmla="*/ 1724123 w 6530564"/>
              <a:gd name="connsiteY3010" fmla="*/ 4650215 h 6858000"/>
              <a:gd name="connsiteX3011" fmla="*/ 1694462 w 6530564"/>
              <a:gd name="connsiteY3011" fmla="*/ 4602826 h 6858000"/>
              <a:gd name="connsiteX3012" fmla="*/ 1686478 w 6530564"/>
              <a:gd name="connsiteY3012" fmla="*/ 4565458 h 6858000"/>
              <a:gd name="connsiteX3013" fmla="*/ 1667476 w 6530564"/>
              <a:gd name="connsiteY3013" fmla="*/ 4545098 h 6858000"/>
              <a:gd name="connsiteX3014" fmla="*/ 1666159 w 6530564"/>
              <a:gd name="connsiteY3014" fmla="*/ 4516074 h 6858000"/>
              <a:gd name="connsiteX3015" fmla="*/ 1643164 w 6530564"/>
              <a:gd name="connsiteY3015" fmla="*/ 4477028 h 6858000"/>
              <a:gd name="connsiteX3016" fmla="*/ 1647836 w 6530564"/>
              <a:gd name="connsiteY3016" fmla="*/ 4476029 h 6858000"/>
              <a:gd name="connsiteX3017" fmla="*/ 1625519 w 6530564"/>
              <a:gd name="connsiteY3017" fmla="*/ 4417302 h 6858000"/>
              <a:gd name="connsiteX3018" fmla="*/ 1636858 w 6530564"/>
              <a:gd name="connsiteY3018" fmla="*/ 4424649 h 6858000"/>
              <a:gd name="connsiteX3019" fmla="*/ 1643326 w 6530564"/>
              <a:gd name="connsiteY3019" fmla="*/ 4435630 h 6858000"/>
              <a:gd name="connsiteX3020" fmla="*/ 1642725 w 6530564"/>
              <a:gd name="connsiteY3020" fmla="*/ 4443543 h 6858000"/>
              <a:gd name="connsiteX3021" fmla="*/ 1636179 w 6530564"/>
              <a:gd name="connsiteY3021" fmla="*/ 4444330 h 6858000"/>
              <a:gd name="connsiteX3022" fmla="*/ 1649512 w 6530564"/>
              <a:gd name="connsiteY3022" fmla="*/ 4461018 h 6858000"/>
              <a:gd name="connsiteX3023" fmla="*/ 1665839 w 6530564"/>
              <a:gd name="connsiteY3023" fmla="*/ 4491720 h 6858000"/>
              <a:gd name="connsiteX3024" fmla="*/ 1666838 w 6530564"/>
              <a:gd name="connsiteY3024" fmla="*/ 4496392 h 6858000"/>
              <a:gd name="connsiteX3025" fmla="*/ 1667836 w 6530564"/>
              <a:gd name="connsiteY3025" fmla="*/ 4501062 h 6858000"/>
              <a:gd name="connsiteX3026" fmla="*/ 1672506 w 6530564"/>
              <a:gd name="connsiteY3026" fmla="*/ 4500064 h 6858000"/>
              <a:gd name="connsiteX3027" fmla="*/ 1672188 w 6530564"/>
              <a:gd name="connsiteY3027" fmla="*/ 4475711 h 6858000"/>
              <a:gd name="connsiteX3028" fmla="*/ 1666519 w 6530564"/>
              <a:gd name="connsiteY3028" fmla="*/ 4472037 h 6858000"/>
              <a:gd name="connsiteX3029" fmla="*/ 1665521 w 6530564"/>
              <a:gd name="connsiteY3029" fmla="*/ 4467367 h 6858000"/>
              <a:gd name="connsiteX3030" fmla="*/ 1659852 w 6530564"/>
              <a:gd name="connsiteY3030" fmla="*/ 4463695 h 6858000"/>
              <a:gd name="connsiteX3031" fmla="*/ 1652866 w 6530564"/>
              <a:gd name="connsiteY3031" fmla="*/ 4430997 h 6858000"/>
              <a:gd name="connsiteX3032" fmla="*/ 1664883 w 6530564"/>
              <a:gd name="connsiteY3032" fmla="*/ 4418662 h 6858000"/>
              <a:gd name="connsiteX3033" fmla="*/ 1653906 w 6530564"/>
              <a:gd name="connsiteY3033" fmla="*/ 4367280 h 6858000"/>
              <a:gd name="connsiteX3034" fmla="*/ 1626006 w 6530564"/>
              <a:gd name="connsiteY3034" fmla="*/ 4168104 h 6858000"/>
              <a:gd name="connsiteX3035" fmla="*/ 1620338 w 6530564"/>
              <a:gd name="connsiteY3035" fmla="*/ 4164430 h 6858000"/>
              <a:gd name="connsiteX3036" fmla="*/ 1616665 w 6530564"/>
              <a:gd name="connsiteY3036" fmla="*/ 4170100 h 6858000"/>
              <a:gd name="connsiteX3037" fmla="*/ 1646242 w 6530564"/>
              <a:gd name="connsiteY3037" fmla="*/ 4354265 h 6858000"/>
              <a:gd name="connsiteX3038" fmla="*/ 1641572 w 6530564"/>
              <a:gd name="connsiteY3038" fmla="*/ 4355264 h 6858000"/>
              <a:gd name="connsiteX3039" fmla="*/ 1634904 w 6530564"/>
              <a:gd name="connsiteY3039" fmla="*/ 4346919 h 6858000"/>
              <a:gd name="connsiteX3040" fmla="*/ 1642569 w 6530564"/>
              <a:gd name="connsiteY3040" fmla="*/ 4359934 h 6858000"/>
              <a:gd name="connsiteX3041" fmla="*/ 1638895 w 6530564"/>
              <a:gd name="connsiteY3041" fmla="*/ 4365602 h 6858000"/>
              <a:gd name="connsiteX3042" fmla="*/ 1623247 w 6530564"/>
              <a:gd name="connsiteY3042" fmla="*/ 4315219 h 6858000"/>
              <a:gd name="connsiteX3043" fmla="*/ 1621571 w 6530564"/>
              <a:gd name="connsiteY3043" fmla="*/ 4330231 h 6858000"/>
              <a:gd name="connsiteX3044" fmla="*/ 1605241 w 6530564"/>
              <a:gd name="connsiteY3044" fmla="*/ 4299529 h 6858000"/>
              <a:gd name="connsiteX3045" fmla="*/ 1595263 w 6530564"/>
              <a:gd name="connsiteY3045" fmla="*/ 4252820 h 6858000"/>
              <a:gd name="connsiteX3046" fmla="*/ 1584604 w 6530564"/>
              <a:gd name="connsiteY3046" fmla="*/ 4225791 h 6858000"/>
              <a:gd name="connsiteX3047" fmla="*/ 1560653 w 6530564"/>
              <a:gd name="connsiteY3047" fmla="*/ 4113688 h 6858000"/>
              <a:gd name="connsiteX3048" fmla="*/ 1557980 w 6530564"/>
              <a:gd name="connsiteY3048" fmla="*/ 4124028 h 6858000"/>
              <a:gd name="connsiteX3049" fmla="*/ 1556981 w 6530564"/>
              <a:gd name="connsiteY3049" fmla="*/ 4119356 h 6858000"/>
              <a:gd name="connsiteX3050" fmla="*/ 1555983 w 6530564"/>
              <a:gd name="connsiteY3050" fmla="*/ 4114685 h 6858000"/>
              <a:gd name="connsiteX3051" fmla="*/ 1553987 w 6530564"/>
              <a:gd name="connsiteY3051" fmla="*/ 4105344 h 6858000"/>
              <a:gd name="connsiteX3052" fmla="*/ 1535347 w 6530564"/>
              <a:gd name="connsiteY3052" fmla="*/ 4040947 h 6858000"/>
              <a:gd name="connsiteX3053" fmla="*/ 1533348 w 6530564"/>
              <a:gd name="connsiteY3053" fmla="*/ 4031606 h 6858000"/>
              <a:gd name="connsiteX3054" fmla="*/ 1530356 w 6530564"/>
              <a:gd name="connsiteY3054" fmla="*/ 4017592 h 6858000"/>
              <a:gd name="connsiteX3055" fmla="*/ 1524368 w 6530564"/>
              <a:gd name="connsiteY3055" fmla="*/ 3989566 h 6858000"/>
              <a:gd name="connsiteX3056" fmla="*/ 1523369 w 6530564"/>
              <a:gd name="connsiteY3056" fmla="*/ 3984895 h 6858000"/>
              <a:gd name="connsiteX3057" fmla="*/ 1522372 w 6530564"/>
              <a:gd name="connsiteY3057" fmla="*/ 3980224 h 6858000"/>
              <a:gd name="connsiteX3058" fmla="*/ 1517699 w 6530564"/>
              <a:gd name="connsiteY3058" fmla="*/ 3981221 h 6858000"/>
              <a:gd name="connsiteX3059" fmla="*/ 1526045 w 6530564"/>
              <a:gd name="connsiteY3059" fmla="*/ 3974555 h 6858000"/>
              <a:gd name="connsiteX3060" fmla="*/ 1518380 w 6530564"/>
              <a:gd name="connsiteY3060" fmla="*/ 3961540 h 6858000"/>
              <a:gd name="connsiteX3061" fmla="*/ 1514707 w 6530564"/>
              <a:gd name="connsiteY3061" fmla="*/ 3967209 h 6858000"/>
              <a:gd name="connsiteX3062" fmla="*/ 1512710 w 6530564"/>
              <a:gd name="connsiteY3062" fmla="*/ 3957867 h 6858000"/>
              <a:gd name="connsiteX3063" fmla="*/ 1504408 w 6530564"/>
              <a:gd name="connsiteY3063" fmla="*/ 3896146 h 6858000"/>
              <a:gd name="connsiteX3064" fmla="*/ 1505087 w 6530564"/>
              <a:gd name="connsiteY3064" fmla="*/ 3876464 h 6858000"/>
              <a:gd name="connsiteX3065" fmla="*/ 1503093 w 6530564"/>
              <a:gd name="connsiteY3065" fmla="*/ 3867123 h 6858000"/>
              <a:gd name="connsiteX3066" fmla="*/ 1505767 w 6530564"/>
              <a:gd name="connsiteY3066" fmla="*/ 3856782 h 6858000"/>
              <a:gd name="connsiteX3067" fmla="*/ 1511436 w 6530564"/>
              <a:gd name="connsiteY3067" fmla="*/ 3860456 h 6858000"/>
              <a:gd name="connsiteX3068" fmla="*/ 1517105 w 6530564"/>
              <a:gd name="connsiteY3068" fmla="*/ 3864128 h 6858000"/>
              <a:gd name="connsiteX3069" fmla="*/ 1516108 w 6530564"/>
              <a:gd name="connsiteY3069" fmla="*/ 3859457 h 6858000"/>
              <a:gd name="connsiteX3070" fmla="*/ 1520779 w 6530564"/>
              <a:gd name="connsiteY3070" fmla="*/ 3858458 h 6858000"/>
              <a:gd name="connsiteX3071" fmla="*/ 1514112 w 6530564"/>
              <a:gd name="connsiteY3071" fmla="*/ 3850114 h 6858000"/>
              <a:gd name="connsiteX3072" fmla="*/ 1502774 w 6530564"/>
              <a:gd name="connsiteY3072" fmla="*/ 3842769 h 6858000"/>
              <a:gd name="connsiteX3073" fmla="*/ 1499101 w 6530564"/>
              <a:gd name="connsiteY3073" fmla="*/ 3848438 h 6858000"/>
              <a:gd name="connsiteX3074" fmla="*/ 1491436 w 6530564"/>
              <a:gd name="connsiteY3074" fmla="*/ 3835424 h 6858000"/>
              <a:gd name="connsiteX3075" fmla="*/ 1491118 w 6530564"/>
              <a:gd name="connsiteY3075" fmla="*/ 3811070 h 6858000"/>
              <a:gd name="connsiteX3076" fmla="*/ 1496785 w 6530564"/>
              <a:gd name="connsiteY3076" fmla="*/ 3814743 h 6858000"/>
              <a:gd name="connsiteX3077" fmla="*/ 1495787 w 6530564"/>
              <a:gd name="connsiteY3077" fmla="*/ 3810073 h 6858000"/>
              <a:gd name="connsiteX3078" fmla="*/ 1493791 w 6530564"/>
              <a:gd name="connsiteY3078" fmla="*/ 3800730 h 6858000"/>
              <a:gd name="connsiteX3079" fmla="*/ 1492794 w 6530564"/>
              <a:gd name="connsiteY3079" fmla="*/ 3796059 h 6858000"/>
              <a:gd name="connsiteX3080" fmla="*/ 1491796 w 6530564"/>
              <a:gd name="connsiteY3080" fmla="*/ 3791389 h 6858000"/>
              <a:gd name="connsiteX3081" fmla="*/ 1487804 w 6530564"/>
              <a:gd name="connsiteY3081" fmla="*/ 3772705 h 6858000"/>
              <a:gd name="connsiteX3082" fmla="*/ 1484809 w 6530564"/>
              <a:gd name="connsiteY3082" fmla="*/ 3758693 h 6858000"/>
              <a:gd name="connsiteX3083" fmla="*/ 1486487 w 6530564"/>
              <a:gd name="connsiteY3083" fmla="*/ 3743680 h 6858000"/>
              <a:gd name="connsiteX3084" fmla="*/ 1484853 w 6530564"/>
              <a:gd name="connsiteY3084" fmla="*/ 3690303 h 6858000"/>
              <a:gd name="connsiteX3085" fmla="*/ 1480182 w 6530564"/>
              <a:gd name="connsiteY3085" fmla="*/ 3691301 h 6858000"/>
              <a:gd name="connsiteX3086" fmla="*/ 1478906 w 6530564"/>
              <a:gd name="connsiteY3086" fmla="*/ 3593889 h 6858000"/>
              <a:gd name="connsiteX3087" fmla="*/ 1481582 w 6530564"/>
              <a:gd name="connsiteY3087" fmla="*/ 3583549 h 6858000"/>
              <a:gd name="connsiteX3088" fmla="*/ 1480585 w 6530564"/>
              <a:gd name="connsiteY3088" fmla="*/ 3578879 h 6858000"/>
              <a:gd name="connsiteX3089" fmla="*/ 1476911 w 6530564"/>
              <a:gd name="connsiteY3089" fmla="*/ 3584548 h 6858000"/>
              <a:gd name="connsiteX3090" fmla="*/ 1476591 w 6530564"/>
              <a:gd name="connsiteY3090" fmla="*/ 3560194 h 6858000"/>
              <a:gd name="connsiteX3091" fmla="*/ 1480266 w 6530564"/>
              <a:gd name="connsiteY3091" fmla="*/ 3554525 h 6858000"/>
              <a:gd name="connsiteX3092" fmla="*/ 1474596 w 6530564"/>
              <a:gd name="connsiteY3092" fmla="*/ 3550853 h 6858000"/>
              <a:gd name="connsiteX3093" fmla="*/ 1477271 w 6530564"/>
              <a:gd name="connsiteY3093" fmla="*/ 3540513 h 6858000"/>
              <a:gd name="connsiteX3094" fmla="*/ 1477950 w 6530564"/>
              <a:gd name="connsiteY3094" fmla="*/ 3520831 h 6858000"/>
              <a:gd name="connsiteX3095" fmla="*/ 1476953 w 6530564"/>
              <a:gd name="connsiteY3095" fmla="*/ 3516159 h 6858000"/>
              <a:gd name="connsiteX3096" fmla="*/ 1473959 w 6530564"/>
              <a:gd name="connsiteY3096" fmla="*/ 3502146 h 6858000"/>
              <a:gd name="connsiteX3097" fmla="*/ 1478631 w 6530564"/>
              <a:gd name="connsiteY3097" fmla="*/ 3501149 h 6858000"/>
              <a:gd name="connsiteX3098" fmla="*/ 1485742 w 6530564"/>
              <a:gd name="connsiteY3098" fmla="*/ 3328682 h 6858000"/>
              <a:gd name="connsiteX3099" fmla="*/ 1490413 w 6530564"/>
              <a:gd name="connsiteY3099" fmla="*/ 3327685 h 6858000"/>
              <a:gd name="connsiteX3100" fmla="*/ 1490732 w 6530564"/>
              <a:gd name="connsiteY3100" fmla="*/ 3352037 h 6858000"/>
              <a:gd name="connsiteX3101" fmla="*/ 1492048 w 6530564"/>
              <a:gd name="connsiteY3101" fmla="*/ 3381061 h 6858000"/>
              <a:gd name="connsiteX3102" fmla="*/ 1488015 w 6530564"/>
              <a:gd name="connsiteY3102" fmla="*/ 3430765 h 6858000"/>
              <a:gd name="connsiteX3103" fmla="*/ 1496593 w 6530564"/>
              <a:gd name="connsiteY3103" fmla="*/ 3585226 h 6858000"/>
              <a:gd name="connsiteX3104" fmla="*/ 1492920 w 6530564"/>
              <a:gd name="connsiteY3104" fmla="*/ 3590896 h 6858000"/>
              <a:gd name="connsiteX3105" fmla="*/ 1494916 w 6530564"/>
              <a:gd name="connsiteY3105" fmla="*/ 3600237 h 6858000"/>
              <a:gd name="connsiteX3106" fmla="*/ 1493239 w 6530564"/>
              <a:gd name="connsiteY3106" fmla="*/ 3615248 h 6858000"/>
              <a:gd name="connsiteX3107" fmla="*/ 1496911 w 6530564"/>
              <a:gd name="connsiteY3107" fmla="*/ 3609580 h 6858000"/>
              <a:gd name="connsiteX3108" fmla="*/ 1495235 w 6530564"/>
              <a:gd name="connsiteY3108" fmla="*/ 3624591 h 6858000"/>
              <a:gd name="connsiteX3109" fmla="*/ 1498229 w 6530564"/>
              <a:gd name="connsiteY3109" fmla="*/ 3638603 h 6858000"/>
              <a:gd name="connsiteX3110" fmla="*/ 1501903 w 6530564"/>
              <a:gd name="connsiteY3110" fmla="*/ 3632933 h 6858000"/>
              <a:gd name="connsiteX3111" fmla="*/ 1504577 w 6530564"/>
              <a:gd name="connsiteY3111" fmla="*/ 3622595 h 6858000"/>
              <a:gd name="connsiteX3112" fmla="*/ 1500585 w 6530564"/>
              <a:gd name="connsiteY3112" fmla="*/ 3603911 h 6858000"/>
              <a:gd name="connsiteX3113" fmla="*/ 1504258 w 6530564"/>
              <a:gd name="connsiteY3113" fmla="*/ 3598241 h 6858000"/>
              <a:gd name="connsiteX3114" fmla="*/ 1508929 w 6530564"/>
              <a:gd name="connsiteY3114" fmla="*/ 3597243 h 6858000"/>
              <a:gd name="connsiteX3115" fmla="*/ 1507930 w 6530564"/>
              <a:gd name="connsiteY3115" fmla="*/ 3592574 h 6858000"/>
              <a:gd name="connsiteX3116" fmla="*/ 1506933 w 6530564"/>
              <a:gd name="connsiteY3116" fmla="*/ 3587901 h 6858000"/>
              <a:gd name="connsiteX3117" fmla="*/ 1500267 w 6530564"/>
              <a:gd name="connsiteY3117" fmla="*/ 3579558 h 6858000"/>
              <a:gd name="connsiteX3118" fmla="*/ 1499268 w 6530564"/>
              <a:gd name="connsiteY3118" fmla="*/ 3574887 h 6858000"/>
              <a:gd name="connsiteX3119" fmla="*/ 1498270 w 6530564"/>
              <a:gd name="connsiteY3119" fmla="*/ 3570216 h 6858000"/>
              <a:gd name="connsiteX3120" fmla="*/ 1497951 w 6530564"/>
              <a:gd name="connsiteY3120" fmla="*/ 3545863 h 6858000"/>
              <a:gd name="connsiteX3121" fmla="*/ 1502303 w 6530564"/>
              <a:gd name="connsiteY3121" fmla="*/ 3520512 h 6858000"/>
              <a:gd name="connsiteX3122" fmla="*/ 1503052 w 6530564"/>
              <a:gd name="connsiteY3122" fmla="*/ 3524015 h 6858000"/>
              <a:gd name="connsiteX3123" fmla="*/ 1503302 w 6530564"/>
              <a:gd name="connsiteY3123" fmla="*/ 3525183 h 6858000"/>
              <a:gd name="connsiteX3124" fmla="*/ 1504300 w 6530564"/>
              <a:gd name="connsiteY3124" fmla="*/ 3529853 h 6858000"/>
              <a:gd name="connsiteX3125" fmla="*/ 1507974 w 6530564"/>
              <a:gd name="connsiteY3125" fmla="*/ 3524184 h 6858000"/>
              <a:gd name="connsiteX3126" fmla="*/ 1504979 w 6530564"/>
              <a:gd name="connsiteY3126" fmla="*/ 3510172 h 6858000"/>
              <a:gd name="connsiteX3127" fmla="*/ 1502984 w 6530564"/>
              <a:gd name="connsiteY3127" fmla="*/ 3500831 h 6858000"/>
              <a:gd name="connsiteX3128" fmla="*/ 1505701 w 6530564"/>
              <a:gd name="connsiteY3128" fmla="*/ 3422101 h 6858000"/>
              <a:gd name="connsiteX3129" fmla="*/ 1504702 w 6530564"/>
              <a:gd name="connsiteY3129" fmla="*/ 3417432 h 6858000"/>
              <a:gd name="connsiteX3130" fmla="*/ 1513725 w 6530564"/>
              <a:gd name="connsiteY3130" fmla="*/ 3391082 h 6858000"/>
              <a:gd name="connsiteX3131" fmla="*/ 1517081 w 6530564"/>
              <a:gd name="connsiteY3131" fmla="*/ 3361059 h 6858000"/>
              <a:gd name="connsiteX3132" fmla="*/ 1537845 w 6530564"/>
              <a:gd name="connsiteY3132" fmla="*/ 3229635 h 6858000"/>
              <a:gd name="connsiteX3133" fmla="*/ 1537470 w 6530564"/>
              <a:gd name="connsiteY3133" fmla="*/ 3237096 h 6858000"/>
              <a:gd name="connsiteX3134" fmla="*/ 1536167 w 6530564"/>
              <a:gd name="connsiteY3134" fmla="*/ 3244645 h 6858000"/>
              <a:gd name="connsiteX3135" fmla="*/ 1537380 w 6530564"/>
              <a:gd name="connsiteY3135" fmla="*/ 3238891 h 6858000"/>
              <a:gd name="connsiteX3136" fmla="*/ 1537470 w 6530564"/>
              <a:gd name="connsiteY3136" fmla="*/ 3237096 h 6858000"/>
              <a:gd name="connsiteX3137" fmla="*/ 1547897 w 6530564"/>
              <a:gd name="connsiteY3137" fmla="*/ 3176681 h 6858000"/>
              <a:gd name="connsiteX3138" fmla="*/ 1545573 w 6530564"/>
              <a:gd name="connsiteY3138" fmla="*/ 3277555 h 6858000"/>
              <a:gd name="connsiteX3139" fmla="*/ 1597367 w 6530564"/>
              <a:gd name="connsiteY3139" fmla="*/ 3833692 h 6858000"/>
              <a:gd name="connsiteX3140" fmla="*/ 1601925 w 6530564"/>
              <a:gd name="connsiteY3140" fmla="*/ 3855026 h 6858000"/>
              <a:gd name="connsiteX3141" fmla="*/ 1610266 w 6530564"/>
              <a:gd name="connsiteY3141" fmla="*/ 3808629 h 6858000"/>
              <a:gd name="connsiteX3142" fmla="*/ 1591906 w 6530564"/>
              <a:gd name="connsiteY3142" fmla="*/ 3017877 h 6858000"/>
              <a:gd name="connsiteX3143" fmla="*/ 1617063 w 6530564"/>
              <a:gd name="connsiteY3143" fmla="*/ 2889971 h 6858000"/>
              <a:gd name="connsiteX3144" fmla="*/ 1617864 w 6530564"/>
              <a:gd name="connsiteY3144" fmla="*/ 2892622 h 6858000"/>
              <a:gd name="connsiteX3145" fmla="*/ 1623449 w 6530564"/>
              <a:gd name="connsiteY3145" fmla="*/ 2898755 h 6858000"/>
              <a:gd name="connsiteX3146" fmla="*/ 1621000 w 6530564"/>
              <a:gd name="connsiteY3146" fmla="*/ 2881573 h 6858000"/>
              <a:gd name="connsiteX3147" fmla="*/ 1619374 w 6530564"/>
              <a:gd name="connsiteY3147" fmla="*/ 2878224 h 6858000"/>
              <a:gd name="connsiteX3148" fmla="*/ 1620680 w 6530564"/>
              <a:gd name="connsiteY3148" fmla="*/ 2871580 h 6858000"/>
              <a:gd name="connsiteX3149" fmla="*/ 1624809 w 6530564"/>
              <a:gd name="connsiteY3149" fmla="*/ 2859392 h 6858000"/>
              <a:gd name="connsiteX3150" fmla="*/ 1626805 w 6530564"/>
              <a:gd name="connsiteY3150" fmla="*/ 2868734 h 6858000"/>
              <a:gd name="connsiteX3151" fmla="*/ 1653555 w 6530564"/>
              <a:gd name="connsiteY3151" fmla="*/ 2765334 h 6858000"/>
              <a:gd name="connsiteX3152" fmla="*/ 1659225 w 6530564"/>
              <a:gd name="connsiteY3152" fmla="*/ 2769008 h 6858000"/>
              <a:gd name="connsiteX3153" fmla="*/ 1687292 w 6530564"/>
              <a:gd name="connsiteY3153" fmla="*/ 2694632 h 6858000"/>
              <a:gd name="connsiteX3154" fmla="*/ 1721709 w 6530564"/>
              <a:gd name="connsiteY3154" fmla="*/ 2604247 h 6858000"/>
              <a:gd name="connsiteX3155" fmla="*/ 1765467 w 6530564"/>
              <a:gd name="connsiteY3155" fmla="*/ 2511867 h 6858000"/>
              <a:gd name="connsiteX3156" fmla="*/ 1770138 w 6530564"/>
              <a:gd name="connsiteY3156" fmla="*/ 2510869 h 6858000"/>
              <a:gd name="connsiteX3157" fmla="*/ 1767464 w 6530564"/>
              <a:gd name="connsiteY3157" fmla="*/ 2521209 h 6858000"/>
              <a:gd name="connsiteX3158" fmla="*/ 1772134 w 6530564"/>
              <a:gd name="connsiteY3158" fmla="*/ 2520212 h 6858000"/>
              <a:gd name="connsiteX3159" fmla="*/ 1771136 w 6530564"/>
              <a:gd name="connsiteY3159" fmla="*/ 2515541 h 6858000"/>
              <a:gd name="connsiteX3160" fmla="*/ 1774810 w 6530564"/>
              <a:gd name="connsiteY3160" fmla="*/ 2509871 h 6858000"/>
              <a:gd name="connsiteX3161" fmla="*/ 1792178 w 6530564"/>
              <a:gd name="connsiteY3161" fmla="*/ 2476856 h 6858000"/>
              <a:gd name="connsiteX3162" fmla="*/ 1790180 w 6530564"/>
              <a:gd name="connsiteY3162" fmla="*/ 2467514 h 6858000"/>
              <a:gd name="connsiteX3163" fmla="*/ 1793854 w 6530564"/>
              <a:gd name="connsiteY3163" fmla="*/ 2461845 h 6858000"/>
              <a:gd name="connsiteX3164" fmla="*/ 1795850 w 6530564"/>
              <a:gd name="connsiteY3164" fmla="*/ 2471187 h 6858000"/>
              <a:gd name="connsiteX3165" fmla="*/ 1801201 w 6530564"/>
              <a:gd name="connsiteY3165" fmla="*/ 2450507 h 6858000"/>
              <a:gd name="connsiteX3166" fmla="*/ 1802198 w 6530564"/>
              <a:gd name="connsiteY3166" fmla="*/ 2455177 h 6858000"/>
              <a:gd name="connsiteX3167" fmla="*/ 1803197 w 6530564"/>
              <a:gd name="connsiteY3167" fmla="*/ 2459849 h 6858000"/>
              <a:gd name="connsiteX3168" fmla="*/ 1807868 w 6530564"/>
              <a:gd name="connsiteY3168" fmla="*/ 2458850 h 6858000"/>
              <a:gd name="connsiteX3169" fmla="*/ 1806871 w 6530564"/>
              <a:gd name="connsiteY3169" fmla="*/ 2454180 h 6858000"/>
              <a:gd name="connsiteX3170" fmla="*/ 1804873 w 6530564"/>
              <a:gd name="connsiteY3170" fmla="*/ 2444837 h 6858000"/>
              <a:gd name="connsiteX3171" fmla="*/ 1807549 w 6530564"/>
              <a:gd name="connsiteY3171" fmla="*/ 2434499 h 6858000"/>
              <a:gd name="connsiteX3172" fmla="*/ 1812220 w 6530564"/>
              <a:gd name="connsiteY3172" fmla="*/ 2433500 h 6858000"/>
              <a:gd name="connsiteX3173" fmla="*/ 1815894 w 6530564"/>
              <a:gd name="connsiteY3173" fmla="*/ 2427831 h 6858000"/>
              <a:gd name="connsiteX3174" fmla="*/ 1814895 w 6530564"/>
              <a:gd name="connsiteY3174" fmla="*/ 2423160 h 6858000"/>
              <a:gd name="connsiteX3175" fmla="*/ 1822240 w 6530564"/>
              <a:gd name="connsiteY3175" fmla="*/ 2411823 h 6858000"/>
              <a:gd name="connsiteX3176" fmla="*/ 1825914 w 6530564"/>
              <a:gd name="connsiteY3176" fmla="*/ 2406152 h 6858000"/>
              <a:gd name="connsiteX3177" fmla="*/ 1826913 w 6530564"/>
              <a:gd name="connsiteY3177" fmla="*/ 2410824 h 6858000"/>
              <a:gd name="connsiteX3178" fmla="*/ 1830586 w 6530564"/>
              <a:gd name="connsiteY3178" fmla="*/ 2405155 h 6858000"/>
              <a:gd name="connsiteX3179" fmla="*/ 1833261 w 6530564"/>
              <a:gd name="connsiteY3179" fmla="*/ 2394815 h 6858000"/>
              <a:gd name="connsiteX3180" fmla="*/ 1845277 w 6530564"/>
              <a:gd name="connsiteY3180" fmla="*/ 2382479 h 6858000"/>
              <a:gd name="connsiteX3181" fmla="*/ 1851945 w 6530564"/>
              <a:gd name="connsiteY3181" fmla="*/ 2390824 h 6858000"/>
              <a:gd name="connsiteX3182" fmla="*/ 1861966 w 6530564"/>
              <a:gd name="connsiteY3182" fmla="*/ 2369146 h 6858000"/>
              <a:gd name="connsiteX3183" fmla="*/ 1866636 w 6530564"/>
              <a:gd name="connsiteY3183" fmla="*/ 2368147 h 6858000"/>
              <a:gd name="connsiteX3184" fmla="*/ 1867635 w 6530564"/>
              <a:gd name="connsiteY3184" fmla="*/ 2372820 h 6858000"/>
              <a:gd name="connsiteX3185" fmla="*/ 1863962 w 6530564"/>
              <a:gd name="connsiteY3185" fmla="*/ 2378487 h 6858000"/>
              <a:gd name="connsiteX3186" fmla="*/ 1864960 w 6530564"/>
              <a:gd name="connsiteY3186" fmla="*/ 2383159 h 6858000"/>
              <a:gd name="connsiteX3187" fmla="*/ 1869631 w 6530564"/>
              <a:gd name="connsiteY3187" fmla="*/ 2382161 h 6858000"/>
              <a:gd name="connsiteX3188" fmla="*/ 1868632 w 6530564"/>
              <a:gd name="connsiteY3188" fmla="*/ 2377489 h 6858000"/>
              <a:gd name="connsiteX3189" fmla="*/ 1872306 w 6530564"/>
              <a:gd name="connsiteY3189" fmla="*/ 2371821 h 6858000"/>
              <a:gd name="connsiteX3190" fmla="*/ 1870310 w 6530564"/>
              <a:gd name="connsiteY3190" fmla="*/ 2362478 h 6858000"/>
              <a:gd name="connsiteX3191" fmla="*/ 1865639 w 6530564"/>
              <a:gd name="connsiteY3191" fmla="*/ 2363477 h 6858000"/>
              <a:gd name="connsiteX3192" fmla="*/ 1877339 w 6530564"/>
              <a:gd name="connsiteY3192" fmla="*/ 2326787 h 6858000"/>
              <a:gd name="connsiteX3193" fmla="*/ 1864323 w 6530564"/>
              <a:gd name="connsiteY3193" fmla="*/ 2334453 h 6858000"/>
              <a:gd name="connsiteX3194" fmla="*/ 1875342 w 6530564"/>
              <a:gd name="connsiteY3194" fmla="*/ 2317445 h 6858000"/>
              <a:gd name="connsiteX3195" fmla="*/ 1886360 w 6530564"/>
              <a:gd name="connsiteY3195" fmla="*/ 2300440 h 6858000"/>
              <a:gd name="connsiteX3196" fmla="*/ 1893707 w 6530564"/>
              <a:gd name="connsiteY3196" fmla="*/ 2289102 h 6858000"/>
              <a:gd name="connsiteX3197" fmla="*/ 1895703 w 6530564"/>
              <a:gd name="connsiteY3197" fmla="*/ 2298443 h 6858000"/>
              <a:gd name="connsiteX3198" fmla="*/ 1905725 w 6530564"/>
              <a:gd name="connsiteY3198" fmla="*/ 2276764 h 6858000"/>
              <a:gd name="connsiteX3199" fmla="*/ 1910394 w 6530564"/>
              <a:gd name="connsiteY3199" fmla="*/ 2275767 h 6858000"/>
              <a:gd name="connsiteX3200" fmla="*/ 1912391 w 6530564"/>
              <a:gd name="connsiteY3200" fmla="*/ 2285110 h 6858000"/>
              <a:gd name="connsiteX3201" fmla="*/ 1917063 w 6530564"/>
              <a:gd name="connsiteY3201" fmla="*/ 2284111 h 6858000"/>
              <a:gd name="connsiteX3202" fmla="*/ 1916065 w 6530564"/>
              <a:gd name="connsiteY3202" fmla="*/ 2279441 h 6858000"/>
              <a:gd name="connsiteX3203" fmla="*/ 1920736 w 6530564"/>
              <a:gd name="connsiteY3203" fmla="*/ 2278443 h 6858000"/>
              <a:gd name="connsiteX3204" fmla="*/ 1918740 w 6530564"/>
              <a:gd name="connsiteY3204" fmla="*/ 2269100 h 6858000"/>
              <a:gd name="connsiteX3205" fmla="*/ 1922414 w 6530564"/>
              <a:gd name="connsiteY3205" fmla="*/ 2263431 h 6858000"/>
              <a:gd name="connsiteX3206" fmla="*/ 1926085 w 6530564"/>
              <a:gd name="connsiteY3206" fmla="*/ 2257763 h 6858000"/>
              <a:gd name="connsiteX3207" fmla="*/ 1930756 w 6530564"/>
              <a:gd name="connsiteY3207" fmla="*/ 2256764 h 6858000"/>
              <a:gd name="connsiteX3208" fmla="*/ 1931755 w 6530564"/>
              <a:gd name="connsiteY3208" fmla="*/ 2261436 h 6858000"/>
              <a:gd name="connsiteX3209" fmla="*/ 1929080 w 6530564"/>
              <a:gd name="connsiteY3209" fmla="*/ 2271775 h 6858000"/>
              <a:gd name="connsiteX3210" fmla="*/ 1926405 w 6530564"/>
              <a:gd name="connsiteY3210" fmla="*/ 2282115 h 6858000"/>
              <a:gd name="connsiteX3211" fmla="*/ 1934748 w 6530564"/>
              <a:gd name="connsiteY3211" fmla="*/ 2275449 h 6858000"/>
              <a:gd name="connsiteX3212" fmla="*/ 1940099 w 6530564"/>
              <a:gd name="connsiteY3212" fmla="*/ 2254769 h 6858000"/>
              <a:gd name="connsiteX3213" fmla="*/ 1939100 w 6530564"/>
              <a:gd name="connsiteY3213" fmla="*/ 2250098 h 6858000"/>
              <a:gd name="connsiteX3214" fmla="*/ 1940779 w 6530564"/>
              <a:gd name="connsiteY3214" fmla="*/ 2235086 h 6858000"/>
              <a:gd name="connsiteX3215" fmla="*/ 1945449 w 6530564"/>
              <a:gd name="connsiteY3215" fmla="*/ 2234089 h 6858000"/>
              <a:gd name="connsiteX3216" fmla="*/ 1985855 w 6530564"/>
              <a:gd name="connsiteY3216" fmla="*/ 2171731 h 6858000"/>
              <a:gd name="connsiteX3217" fmla="*/ 1989527 w 6530564"/>
              <a:gd name="connsiteY3217" fmla="*/ 2166061 h 6858000"/>
              <a:gd name="connsiteX3218" fmla="*/ 1993200 w 6530564"/>
              <a:gd name="connsiteY3218" fmla="*/ 2160392 h 6858000"/>
              <a:gd name="connsiteX3219" fmla="*/ 2000546 w 6530564"/>
              <a:gd name="connsiteY3219" fmla="*/ 2149055 h 6858000"/>
              <a:gd name="connsiteX3220" fmla="*/ 2004219 w 6530564"/>
              <a:gd name="connsiteY3220" fmla="*/ 2143386 h 6858000"/>
              <a:gd name="connsiteX3221" fmla="*/ 2015238 w 6530564"/>
              <a:gd name="connsiteY3221" fmla="*/ 2126379 h 6858000"/>
              <a:gd name="connsiteX3222" fmla="*/ 2022584 w 6530564"/>
              <a:gd name="connsiteY3222" fmla="*/ 2115041 h 6858000"/>
              <a:gd name="connsiteX3223" fmla="*/ 2027256 w 6530564"/>
              <a:gd name="connsiteY3223" fmla="*/ 2114043 h 6858000"/>
              <a:gd name="connsiteX3224" fmla="*/ 2057639 w 6530564"/>
              <a:gd name="connsiteY3224" fmla="*/ 2073362 h 6858000"/>
              <a:gd name="connsiteX3225" fmla="*/ 2070330 w 6530564"/>
              <a:gd name="connsiteY3225" fmla="*/ 2049893 h 6858000"/>
              <a:gd name="connsiteX3226" fmla="*/ 2084675 w 6530564"/>
              <a:gd name="connsiteY3226" fmla="*/ 2019414 h 6858000"/>
              <a:gd name="connsiteX3227" fmla="*/ 2085251 w 6530564"/>
              <a:gd name="connsiteY3227" fmla="*/ 2026039 h 6858000"/>
              <a:gd name="connsiteX3228" fmla="*/ 2069717 w 6530564"/>
              <a:gd name="connsiteY3228" fmla="*/ 2057748 h 6858000"/>
              <a:gd name="connsiteX3229" fmla="*/ 1934524 w 6530564"/>
              <a:gd name="connsiteY3229" fmla="*/ 2279281 h 6858000"/>
              <a:gd name="connsiteX3230" fmla="*/ 1942264 w 6530564"/>
              <a:gd name="connsiteY3230" fmla="*/ 2306017 h 6858000"/>
              <a:gd name="connsiteX3231" fmla="*/ 1939891 w 6530564"/>
              <a:gd name="connsiteY3231" fmla="*/ 2332886 h 6858000"/>
              <a:gd name="connsiteX3232" fmla="*/ 1744379 w 6530564"/>
              <a:gd name="connsiteY3232" fmla="*/ 2879600 h 6858000"/>
              <a:gd name="connsiteX3233" fmla="*/ 1717309 w 6530564"/>
              <a:gd name="connsiteY3233" fmla="*/ 3635697 h 6858000"/>
              <a:gd name="connsiteX3234" fmla="*/ 1724502 w 6530564"/>
              <a:gd name="connsiteY3234" fmla="*/ 3650384 h 6858000"/>
              <a:gd name="connsiteX3235" fmla="*/ 1738840 w 6530564"/>
              <a:gd name="connsiteY3235" fmla="*/ 3318804 h 6858000"/>
              <a:gd name="connsiteX3236" fmla="*/ 1762235 w 6530564"/>
              <a:gd name="connsiteY3236" fmla="*/ 3561205 h 6858000"/>
              <a:gd name="connsiteX3237" fmla="*/ 1759082 w 6530564"/>
              <a:gd name="connsiteY3237" fmla="*/ 3591538 h 6858000"/>
              <a:gd name="connsiteX3238" fmla="*/ 1769723 w 6530564"/>
              <a:gd name="connsiteY3238" fmla="*/ 3617611 h 6858000"/>
              <a:gd name="connsiteX3239" fmla="*/ 1769321 w 6530564"/>
              <a:gd name="connsiteY3239" fmla="*/ 3612476 h 6858000"/>
              <a:gd name="connsiteX3240" fmla="*/ 1833782 w 6530564"/>
              <a:gd name="connsiteY3240" fmla="*/ 2810787 h 6858000"/>
              <a:gd name="connsiteX3241" fmla="*/ 1970873 w 6530564"/>
              <a:gd name="connsiteY3241" fmla="*/ 2408113 h 6858000"/>
              <a:gd name="connsiteX3242" fmla="*/ 2031252 w 6530564"/>
              <a:gd name="connsiteY3242" fmla="*/ 2275389 h 6858000"/>
              <a:gd name="connsiteX3243" fmla="*/ 2065646 w 6530564"/>
              <a:gd name="connsiteY3243" fmla="*/ 2223293 h 6858000"/>
              <a:gd name="connsiteX3244" fmla="*/ 2102160 w 6530564"/>
              <a:gd name="connsiteY3244" fmla="*/ 2146947 h 6858000"/>
              <a:gd name="connsiteX3245" fmla="*/ 2129354 w 6530564"/>
              <a:gd name="connsiteY3245" fmla="*/ 2116277 h 6858000"/>
              <a:gd name="connsiteX3246" fmla="*/ 2168272 w 6530564"/>
              <a:gd name="connsiteY3246" fmla="*/ 2079992 h 6858000"/>
              <a:gd name="connsiteX3247" fmla="*/ 2217506 w 6530564"/>
              <a:gd name="connsiteY3247" fmla="*/ 1999754 h 6858000"/>
              <a:gd name="connsiteX3248" fmla="*/ 2332460 w 6530564"/>
              <a:gd name="connsiteY3248" fmla="*/ 1875815 h 6858000"/>
              <a:gd name="connsiteX3249" fmla="*/ 2704943 w 6530564"/>
              <a:gd name="connsiteY3249" fmla="*/ 1569790 h 6858000"/>
              <a:gd name="connsiteX3250" fmla="*/ 2964173 w 6530564"/>
              <a:gd name="connsiteY3250" fmla="*/ 1408599 h 6858000"/>
              <a:gd name="connsiteX3251" fmla="*/ 2984167 w 6530564"/>
              <a:gd name="connsiteY3251" fmla="*/ 1399357 h 6858000"/>
              <a:gd name="connsiteX3252" fmla="*/ 3008948 w 6530564"/>
              <a:gd name="connsiteY3252" fmla="*/ 1410376 h 6858000"/>
              <a:gd name="connsiteX3253" fmla="*/ 2995666 w 6530564"/>
              <a:gd name="connsiteY3253" fmla="*/ 1427255 h 6858000"/>
              <a:gd name="connsiteX3254" fmla="*/ 2856153 w 6530564"/>
              <a:gd name="connsiteY3254" fmla="*/ 1506659 h 6858000"/>
              <a:gd name="connsiteX3255" fmla="*/ 2836329 w 6530564"/>
              <a:gd name="connsiteY3255" fmla="*/ 1526166 h 6858000"/>
              <a:gd name="connsiteX3256" fmla="*/ 2834871 w 6530564"/>
              <a:gd name="connsiteY3256" fmla="*/ 1531611 h 6858000"/>
              <a:gd name="connsiteX3257" fmla="*/ 2839687 w 6530564"/>
              <a:gd name="connsiteY3257" fmla="*/ 1529983 h 6858000"/>
              <a:gd name="connsiteX3258" fmla="*/ 3105334 w 6530564"/>
              <a:gd name="connsiteY3258" fmla="*/ 1393869 h 6858000"/>
              <a:gd name="connsiteX3259" fmla="*/ 3190120 w 6530564"/>
              <a:gd name="connsiteY3259" fmla="*/ 1355273 h 6858000"/>
              <a:gd name="connsiteX3260" fmla="*/ 3200753 w 6530564"/>
              <a:gd name="connsiteY3260" fmla="*/ 1351005 h 6858000"/>
              <a:gd name="connsiteX3261" fmla="*/ 3205367 w 6530564"/>
              <a:gd name="connsiteY3261" fmla="*/ 1344182 h 6858000"/>
              <a:gd name="connsiteX3262" fmla="*/ 3191596 w 6530564"/>
              <a:gd name="connsiteY3262" fmla="*/ 1347596 h 6858000"/>
              <a:gd name="connsiteX3263" fmla="*/ 3208716 w 6530564"/>
              <a:gd name="connsiteY3263" fmla="*/ 1339231 h 6858000"/>
              <a:gd name="connsiteX3264" fmla="*/ 3209214 w 6530564"/>
              <a:gd name="connsiteY3264" fmla="*/ 1338493 h 6858000"/>
              <a:gd name="connsiteX3265" fmla="*/ 3058956 w 6530564"/>
              <a:gd name="connsiteY3265" fmla="*/ 1365383 h 6858000"/>
              <a:gd name="connsiteX3266" fmla="*/ 3207049 w 6530564"/>
              <a:gd name="connsiteY3266" fmla="*/ 1300185 h 6858000"/>
              <a:gd name="connsiteX3267" fmla="*/ 3244299 w 6530564"/>
              <a:gd name="connsiteY3267" fmla="*/ 1287715 h 6858000"/>
              <a:gd name="connsiteX3268" fmla="*/ 3186359 w 6530564"/>
              <a:gd name="connsiteY3268" fmla="*/ 1304100 h 6858000"/>
              <a:gd name="connsiteX3269" fmla="*/ 3018716 w 6530564"/>
              <a:gd name="connsiteY3269" fmla="*/ 1364251 h 6858000"/>
              <a:gd name="connsiteX3270" fmla="*/ 2856327 w 6530564"/>
              <a:gd name="connsiteY3270" fmla="*/ 1439503 h 6858000"/>
              <a:gd name="connsiteX3271" fmla="*/ 2869223 w 6530564"/>
              <a:gd name="connsiteY3271" fmla="*/ 1414441 h 6858000"/>
              <a:gd name="connsiteX3272" fmla="*/ 2862577 w 6530564"/>
              <a:gd name="connsiteY3272" fmla="*/ 1411805 h 6858000"/>
              <a:gd name="connsiteX3273" fmla="*/ 2756585 w 6530564"/>
              <a:gd name="connsiteY3273" fmla="*/ 1456757 h 6858000"/>
              <a:gd name="connsiteX3274" fmla="*/ 2462803 w 6530564"/>
              <a:gd name="connsiteY3274" fmla="*/ 1657418 h 6858000"/>
              <a:gd name="connsiteX3275" fmla="*/ 2392001 w 6530564"/>
              <a:gd name="connsiteY3275" fmla="*/ 1686740 h 6858000"/>
              <a:gd name="connsiteX3276" fmla="*/ 2329505 w 6530564"/>
              <a:gd name="connsiteY3276" fmla="*/ 1726455 h 6858000"/>
              <a:gd name="connsiteX3277" fmla="*/ 2277611 w 6530564"/>
              <a:gd name="connsiteY3277" fmla="*/ 1758833 h 6858000"/>
              <a:gd name="connsiteX3278" fmla="*/ 2266239 w 6530564"/>
              <a:gd name="connsiteY3278" fmla="*/ 1762069 h 6858000"/>
              <a:gd name="connsiteX3279" fmla="*/ 2282854 w 6530564"/>
              <a:gd name="connsiteY3279" fmla="*/ 1744404 h 6858000"/>
              <a:gd name="connsiteX3280" fmla="*/ 2374481 w 6530564"/>
              <a:gd name="connsiteY3280" fmla="*/ 1658891 h 6858000"/>
              <a:gd name="connsiteX3281" fmla="*/ 2515332 w 6530564"/>
              <a:gd name="connsiteY3281" fmla="*/ 1540883 h 6858000"/>
              <a:gd name="connsiteX3282" fmla="*/ 2663850 w 6530564"/>
              <a:gd name="connsiteY3282" fmla="*/ 1435891 h 6858000"/>
              <a:gd name="connsiteX3283" fmla="*/ 2681537 w 6530564"/>
              <a:gd name="connsiteY3283" fmla="*/ 1427227 h 6858000"/>
              <a:gd name="connsiteX3284" fmla="*/ 2987551 w 6530564"/>
              <a:gd name="connsiteY3284" fmla="*/ 1259281 h 6858000"/>
              <a:gd name="connsiteX3285" fmla="*/ 3149720 w 6530564"/>
              <a:gd name="connsiteY3285" fmla="*/ 1195329 h 6858000"/>
              <a:gd name="connsiteX3286" fmla="*/ 3259829 w 6530564"/>
              <a:gd name="connsiteY3286" fmla="*/ 1162036 h 6858000"/>
              <a:gd name="connsiteX3287" fmla="*/ 3210739 w 6530564"/>
              <a:gd name="connsiteY3287" fmla="*/ 1178017 h 6858000"/>
              <a:gd name="connsiteX3288" fmla="*/ 3169403 w 6530564"/>
              <a:gd name="connsiteY3288" fmla="*/ 1196006 h 6858000"/>
              <a:gd name="connsiteX3289" fmla="*/ 3164732 w 6530564"/>
              <a:gd name="connsiteY3289" fmla="*/ 1197005 h 6858000"/>
              <a:gd name="connsiteX3290" fmla="*/ 3029591 w 6530564"/>
              <a:gd name="connsiteY3290" fmla="*/ 1250298 h 6858000"/>
              <a:gd name="connsiteX3291" fmla="*/ 3024920 w 6530564"/>
              <a:gd name="connsiteY3291" fmla="*/ 1251297 h 6858000"/>
              <a:gd name="connsiteX3292" fmla="*/ 3025917 w 6530564"/>
              <a:gd name="connsiteY3292" fmla="*/ 1255966 h 6858000"/>
              <a:gd name="connsiteX3293" fmla="*/ 3035260 w 6530564"/>
              <a:gd name="connsiteY3293" fmla="*/ 1253970 h 6858000"/>
              <a:gd name="connsiteX3294" fmla="*/ 3165731 w 6530564"/>
              <a:gd name="connsiteY3294" fmla="*/ 1201677 h 6858000"/>
              <a:gd name="connsiteX3295" fmla="*/ 3171401 w 6530564"/>
              <a:gd name="connsiteY3295" fmla="*/ 1205351 h 6858000"/>
              <a:gd name="connsiteX3296" fmla="*/ 3176071 w 6530564"/>
              <a:gd name="connsiteY3296" fmla="*/ 1204352 h 6858000"/>
              <a:gd name="connsiteX3297" fmla="*/ 3175073 w 6530564"/>
              <a:gd name="connsiteY3297" fmla="*/ 1199680 h 6858000"/>
              <a:gd name="connsiteX3298" fmla="*/ 3270170 w 6530564"/>
              <a:gd name="connsiteY3298" fmla="*/ 1164711 h 6858000"/>
              <a:gd name="connsiteX3299" fmla="*/ 3288855 w 6530564"/>
              <a:gd name="connsiteY3299" fmla="*/ 1160719 h 6858000"/>
              <a:gd name="connsiteX3300" fmla="*/ 3298195 w 6530564"/>
              <a:gd name="connsiteY3300" fmla="*/ 1158724 h 6858000"/>
              <a:gd name="connsiteX3301" fmla="*/ 3297518 w 6530564"/>
              <a:gd name="connsiteY3301" fmla="*/ 1178405 h 6858000"/>
              <a:gd name="connsiteX3302" fmla="*/ 3283504 w 6530564"/>
              <a:gd name="connsiteY3302" fmla="*/ 1181399 h 6858000"/>
              <a:gd name="connsiteX3303" fmla="*/ 3251805 w 6530564"/>
              <a:gd name="connsiteY3303" fmla="*/ 1193056 h 6858000"/>
              <a:gd name="connsiteX3304" fmla="*/ 3247133 w 6530564"/>
              <a:gd name="connsiteY3304" fmla="*/ 1194053 h 6858000"/>
              <a:gd name="connsiteX3305" fmla="*/ 3234118 w 6530564"/>
              <a:gd name="connsiteY3305" fmla="*/ 1201718 h 6858000"/>
              <a:gd name="connsiteX3306" fmla="*/ 3229448 w 6530564"/>
              <a:gd name="connsiteY3306" fmla="*/ 1202715 h 6858000"/>
              <a:gd name="connsiteX3307" fmla="*/ 3235117 w 6530564"/>
              <a:gd name="connsiteY3307" fmla="*/ 1206389 h 6858000"/>
              <a:gd name="connsiteX3308" fmla="*/ 3248132 w 6530564"/>
              <a:gd name="connsiteY3308" fmla="*/ 1198724 h 6858000"/>
              <a:gd name="connsiteX3309" fmla="*/ 3252802 w 6530564"/>
              <a:gd name="connsiteY3309" fmla="*/ 1197727 h 6858000"/>
              <a:gd name="connsiteX3310" fmla="*/ 3249131 w 6530564"/>
              <a:gd name="connsiteY3310" fmla="*/ 1203396 h 6858000"/>
              <a:gd name="connsiteX3311" fmla="*/ 3253801 w 6530564"/>
              <a:gd name="connsiteY3311" fmla="*/ 1202397 h 6858000"/>
              <a:gd name="connsiteX3312" fmla="*/ 3263143 w 6530564"/>
              <a:gd name="connsiteY3312" fmla="*/ 1200401 h 6858000"/>
              <a:gd name="connsiteX3313" fmla="*/ 3262146 w 6530564"/>
              <a:gd name="connsiteY3313" fmla="*/ 1195729 h 6858000"/>
              <a:gd name="connsiteX3314" fmla="*/ 3279831 w 6530564"/>
              <a:gd name="connsiteY3314" fmla="*/ 1187067 h 6858000"/>
              <a:gd name="connsiteX3315" fmla="*/ 3303187 w 6530564"/>
              <a:gd name="connsiteY3315" fmla="*/ 1182078 h 6858000"/>
              <a:gd name="connsiteX3316" fmla="*/ 3326541 w 6530564"/>
              <a:gd name="connsiteY3316" fmla="*/ 1177088 h 6858000"/>
              <a:gd name="connsiteX3317" fmla="*/ 3334885 w 6530564"/>
              <a:gd name="connsiteY3317" fmla="*/ 1170421 h 6858000"/>
              <a:gd name="connsiteX3318" fmla="*/ 3325543 w 6530564"/>
              <a:gd name="connsiteY3318" fmla="*/ 1172418 h 6858000"/>
              <a:gd name="connsiteX3319" fmla="*/ 3306859 w 6530564"/>
              <a:gd name="connsiteY3319" fmla="*/ 1176409 h 6858000"/>
              <a:gd name="connsiteX3320" fmla="*/ 3312209 w 6530564"/>
              <a:gd name="connsiteY3320" fmla="*/ 1155729 h 6858000"/>
              <a:gd name="connsiteX3321" fmla="*/ 3311211 w 6530564"/>
              <a:gd name="connsiteY3321" fmla="*/ 1151058 h 6858000"/>
              <a:gd name="connsiteX3322" fmla="*/ 3320555 w 6530564"/>
              <a:gd name="connsiteY3322" fmla="*/ 1149062 h 6858000"/>
              <a:gd name="connsiteX3323" fmla="*/ 3324227 w 6530564"/>
              <a:gd name="connsiteY3323" fmla="*/ 1143393 h 6858000"/>
              <a:gd name="connsiteX3324" fmla="*/ 3318557 w 6530564"/>
              <a:gd name="connsiteY3324" fmla="*/ 1139720 h 6858000"/>
              <a:gd name="connsiteX3325" fmla="*/ 3323230 w 6530564"/>
              <a:gd name="connsiteY3325" fmla="*/ 1138722 h 6858000"/>
              <a:gd name="connsiteX3326" fmla="*/ 3402637 w 6530564"/>
              <a:gd name="connsiteY3326" fmla="*/ 1121757 h 6858000"/>
              <a:gd name="connsiteX3327" fmla="*/ 3348580 w 6530564"/>
              <a:gd name="connsiteY3327" fmla="*/ 1143073 h 6858000"/>
              <a:gd name="connsiteX3328" fmla="*/ 3343909 w 6530564"/>
              <a:gd name="connsiteY3328" fmla="*/ 1144072 h 6858000"/>
              <a:gd name="connsiteX3329" fmla="*/ 3325225 w 6530564"/>
              <a:gd name="connsiteY3329" fmla="*/ 1148063 h 6858000"/>
              <a:gd name="connsiteX3330" fmla="*/ 3321552 w 6530564"/>
              <a:gd name="connsiteY3330" fmla="*/ 1153733 h 6858000"/>
              <a:gd name="connsiteX3331" fmla="*/ 3327221 w 6530564"/>
              <a:gd name="connsiteY3331" fmla="*/ 1157406 h 6858000"/>
              <a:gd name="connsiteX3332" fmla="*/ 3331892 w 6530564"/>
              <a:gd name="connsiteY3332" fmla="*/ 1156408 h 6858000"/>
              <a:gd name="connsiteX3333" fmla="*/ 3335565 w 6530564"/>
              <a:gd name="connsiteY3333" fmla="*/ 1150740 h 6858000"/>
              <a:gd name="connsiteX3334" fmla="*/ 3340236 w 6530564"/>
              <a:gd name="connsiteY3334" fmla="*/ 1149741 h 6858000"/>
              <a:gd name="connsiteX3335" fmla="*/ 3358920 w 6530564"/>
              <a:gd name="connsiteY3335" fmla="*/ 1145750 h 6858000"/>
              <a:gd name="connsiteX3336" fmla="*/ 3369260 w 6530564"/>
              <a:gd name="connsiteY3336" fmla="*/ 1148425 h 6858000"/>
              <a:gd name="connsiteX3337" fmla="*/ 3402955 w 6530564"/>
              <a:gd name="connsiteY3337" fmla="*/ 1146109 h 6858000"/>
              <a:gd name="connsiteX3338" fmla="*/ 3405630 w 6530564"/>
              <a:gd name="connsiteY3338" fmla="*/ 1135769 h 6858000"/>
              <a:gd name="connsiteX3339" fmla="*/ 3415970 w 6530564"/>
              <a:gd name="connsiteY3339" fmla="*/ 1138446 h 6858000"/>
              <a:gd name="connsiteX3340" fmla="*/ 3438328 w 6530564"/>
              <a:gd name="connsiteY3340" fmla="*/ 1128784 h 6858000"/>
              <a:gd name="connsiteX3341" fmla="*/ 3471025 w 6530564"/>
              <a:gd name="connsiteY3341" fmla="*/ 1121798 h 6858000"/>
              <a:gd name="connsiteX3342" fmla="*/ 3474697 w 6530564"/>
              <a:gd name="connsiteY3342" fmla="*/ 1116129 h 6858000"/>
              <a:gd name="connsiteX3343" fmla="*/ 3490707 w 6530564"/>
              <a:gd name="connsiteY3343" fmla="*/ 1122479 h 6858000"/>
              <a:gd name="connsiteX3344" fmla="*/ 3526079 w 6530564"/>
              <a:gd name="connsiteY3344" fmla="*/ 1105153 h 6858000"/>
              <a:gd name="connsiteX3345" fmla="*/ 3569117 w 6530564"/>
              <a:gd name="connsiteY3345" fmla="*/ 1100842 h 6858000"/>
              <a:gd name="connsiteX3346" fmla="*/ 3583129 w 6530564"/>
              <a:gd name="connsiteY3346" fmla="*/ 1097849 h 6858000"/>
              <a:gd name="connsiteX3347" fmla="*/ 3613152 w 6530564"/>
              <a:gd name="connsiteY3347" fmla="*/ 1101202 h 6858000"/>
              <a:gd name="connsiteX3348" fmla="*/ 3706573 w 6530564"/>
              <a:gd name="connsiteY3348" fmla="*/ 1081242 h 6858000"/>
              <a:gd name="connsiteX3349" fmla="*/ 3708908 w 6530564"/>
              <a:gd name="connsiteY3349" fmla="*/ 1080744 h 6858000"/>
              <a:gd name="connsiteX3350" fmla="*/ 3725257 w 6530564"/>
              <a:gd name="connsiteY3350" fmla="*/ 1077251 h 6858000"/>
              <a:gd name="connsiteX3351" fmla="*/ 3729928 w 6530564"/>
              <a:gd name="connsiteY3351" fmla="*/ 1076254 h 6858000"/>
              <a:gd name="connsiteX3352" fmla="*/ 3739269 w 6530564"/>
              <a:gd name="connsiteY3352" fmla="*/ 1074258 h 6858000"/>
              <a:gd name="connsiteX3353" fmla="*/ 3866705 w 6530564"/>
              <a:gd name="connsiteY3353" fmla="*/ 1076336 h 6858000"/>
              <a:gd name="connsiteX3354" fmla="*/ 3919084 w 6530564"/>
              <a:gd name="connsiteY3354" fmla="*/ 1070031 h 6858000"/>
              <a:gd name="connsiteX3355" fmla="*/ 3951782 w 6530564"/>
              <a:gd name="connsiteY3355" fmla="*/ 1063046 h 6858000"/>
              <a:gd name="connsiteX3356" fmla="*/ 3943436 w 6530564"/>
              <a:gd name="connsiteY3356" fmla="*/ 1069713 h 6858000"/>
              <a:gd name="connsiteX3357" fmla="*/ 4000821 w 6530564"/>
              <a:gd name="connsiteY3357" fmla="*/ 1061115 h 6858000"/>
              <a:gd name="connsiteX3358" fmla="*/ 4059509 w 6530564"/>
              <a:gd name="connsiteY3358" fmla="*/ 1058914 h 6858000"/>
              <a:gd name="connsiteX3359" fmla="*/ 4065917 w 6530564"/>
              <a:gd name="connsiteY3359" fmla="*/ 1060029 h 6858000"/>
              <a:gd name="connsiteX3360" fmla="*/ 4081891 w 6530564"/>
              <a:gd name="connsiteY3360" fmla="*/ 1054786 h 6858000"/>
              <a:gd name="connsiteX3361" fmla="*/ 3073381 w 6530564"/>
              <a:gd name="connsiteY3361" fmla="*/ 1003429 h 6858000"/>
              <a:gd name="connsiteX3362" fmla="*/ 3075110 w 6530564"/>
              <a:gd name="connsiteY3362" fmla="*/ 1006131 h 6858000"/>
              <a:gd name="connsiteX3363" fmla="*/ 3070439 w 6530564"/>
              <a:gd name="connsiteY3363" fmla="*/ 1007129 h 6858000"/>
              <a:gd name="connsiteX3364" fmla="*/ 3062096 w 6530564"/>
              <a:gd name="connsiteY3364" fmla="*/ 1013796 h 6858000"/>
              <a:gd name="connsiteX3365" fmla="*/ 3066767 w 6530564"/>
              <a:gd name="connsiteY3365" fmla="*/ 1012799 h 6858000"/>
              <a:gd name="connsiteX3366" fmla="*/ 3071437 w 6530564"/>
              <a:gd name="connsiteY3366" fmla="*/ 1011800 h 6858000"/>
              <a:gd name="connsiteX3367" fmla="*/ 2960649 w 6530564"/>
              <a:gd name="connsiteY3367" fmla="*/ 1064775 h 6858000"/>
              <a:gd name="connsiteX3368" fmla="*/ 2925558 w 6530564"/>
              <a:gd name="connsiteY3368" fmla="*/ 1075554 h 6858000"/>
              <a:gd name="connsiteX3369" fmla="*/ 2899162 w 6530564"/>
              <a:gd name="connsiteY3369" fmla="*/ 1086428 h 6858000"/>
              <a:gd name="connsiteX3370" fmla="*/ 2903371 w 6530564"/>
              <a:gd name="connsiteY3370" fmla="*/ 1080657 h 6858000"/>
              <a:gd name="connsiteX3371" fmla="*/ 2939957 w 6530564"/>
              <a:gd name="connsiteY3371" fmla="*/ 1052562 h 6858000"/>
              <a:gd name="connsiteX3372" fmla="*/ 5800514 w 6530564"/>
              <a:gd name="connsiteY3372" fmla="*/ 966736 h 6858000"/>
              <a:gd name="connsiteX3373" fmla="*/ 5823561 w 6530564"/>
              <a:gd name="connsiteY3373" fmla="*/ 985857 h 6858000"/>
              <a:gd name="connsiteX3374" fmla="*/ 5812369 w 6530564"/>
              <a:gd name="connsiteY3374" fmla="*/ 974867 h 6858000"/>
              <a:gd name="connsiteX3375" fmla="*/ 4691065 w 6530564"/>
              <a:gd name="connsiteY3375" fmla="*/ 966665 h 6858000"/>
              <a:gd name="connsiteX3376" fmla="*/ 4697929 w 6530564"/>
              <a:gd name="connsiteY3376" fmla="*/ 967981 h 6858000"/>
              <a:gd name="connsiteX3377" fmla="*/ 4702739 w 6530564"/>
              <a:gd name="connsiteY3377" fmla="*/ 970365 h 6858000"/>
              <a:gd name="connsiteX3378" fmla="*/ 3242294 w 6530564"/>
              <a:gd name="connsiteY3378" fmla="*/ 953477 h 6858000"/>
              <a:gd name="connsiteX3379" fmla="*/ 3244945 w 6530564"/>
              <a:gd name="connsiteY3379" fmla="*/ 955193 h 6858000"/>
              <a:gd name="connsiteX3380" fmla="*/ 3222587 w 6530564"/>
              <a:gd name="connsiteY3380" fmla="*/ 964854 h 6858000"/>
              <a:gd name="connsiteX3381" fmla="*/ 3203904 w 6530564"/>
              <a:gd name="connsiteY3381" fmla="*/ 968846 h 6858000"/>
              <a:gd name="connsiteX3382" fmla="*/ 3166536 w 6530564"/>
              <a:gd name="connsiteY3382" fmla="*/ 976829 h 6858000"/>
              <a:gd name="connsiteX3383" fmla="*/ 3102137 w 6530564"/>
              <a:gd name="connsiteY3383" fmla="*/ 995473 h 6858000"/>
              <a:gd name="connsiteX3384" fmla="*/ 3102436 w 6530564"/>
              <a:gd name="connsiteY3384" fmla="*/ 994324 h 6858000"/>
              <a:gd name="connsiteX3385" fmla="*/ 3217427 w 6530564"/>
              <a:gd name="connsiteY3385" fmla="*/ 959472 h 6858000"/>
              <a:gd name="connsiteX3386" fmla="*/ 3376913 w 6530564"/>
              <a:gd name="connsiteY3386" fmla="*/ 922116 h 6858000"/>
              <a:gd name="connsiteX3387" fmla="*/ 3336954 w 6530564"/>
              <a:gd name="connsiteY3387" fmla="*/ 930653 h 6858000"/>
              <a:gd name="connsiteX3388" fmla="*/ 3358282 w 6530564"/>
              <a:gd name="connsiteY3388" fmla="*/ 925510 h 6858000"/>
              <a:gd name="connsiteX3389" fmla="*/ 3950309 w 6530564"/>
              <a:gd name="connsiteY3389" fmla="*/ 744665 h 6858000"/>
              <a:gd name="connsiteX3390" fmla="*/ 4826941 w 6530564"/>
              <a:gd name="connsiteY3390" fmla="*/ 861419 h 6858000"/>
              <a:gd name="connsiteX3391" fmla="*/ 4812928 w 6530564"/>
              <a:gd name="connsiteY3391" fmla="*/ 864412 h 6858000"/>
              <a:gd name="connsiteX3392" fmla="*/ 4895649 w 6530564"/>
              <a:gd name="connsiteY3392" fmla="*/ 885814 h 6858000"/>
              <a:gd name="connsiteX3393" fmla="*/ 4995377 w 6530564"/>
              <a:gd name="connsiteY3393" fmla="*/ 918233 h 6858000"/>
              <a:gd name="connsiteX3394" fmla="*/ 5053743 w 6530564"/>
              <a:gd name="connsiteY3394" fmla="*/ 939953 h 6858000"/>
              <a:gd name="connsiteX3395" fmla="*/ 5054740 w 6530564"/>
              <a:gd name="connsiteY3395" fmla="*/ 944624 h 6858000"/>
              <a:gd name="connsiteX3396" fmla="*/ 5059411 w 6530564"/>
              <a:gd name="connsiteY3396" fmla="*/ 943626 h 6858000"/>
              <a:gd name="connsiteX3397" fmla="*/ 5065081 w 6530564"/>
              <a:gd name="connsiteY3397" fmla="*/ 947300 h 6858000"/>
              <a:gd name="connsiteX3398" fmla="*/ 5075420 w 6530564"/>
              <a:gd name="connsiteY3398" fmla="*/ 949975 h 6858000"/>
              <a:gd name="connsiteX3399" fmla="*/ 5101770 w 6530564"/>
              <a:gd name="connsiteY3399" fmla="*/ 958998 h 6858000"/>
              <a:gd name="connsiteX3400" fmla="*/ 5187483 w 6530564"/>
              <a:gd name="connsiteY3400" fmla="*/ 994412 h 6858000"/>
              <a:gd name="connsiteX3401" fmla="*/ 5220499 w 6530564"/>
              <a:gd name="connsiteY3401" fmla="*/ 1011779 h 6858000"/>
              <a:gd name="connsiteX3402" fmla="*/ 5296871 w 6530564"/>
              <a:gd name="connsiteY3402" fmla="*/ 1049189 h 6858000"/>
              <a:gd name="connsiteX3403" fmla="*/ 5292201 w 6530564"/>
              <a:gd name="connsiteY3403" fmla="*/ 1050187 h 6858000"/>
              <a:gd name="connsiteX3404" fmla="*/ 5308209 w 6530564"/>
              <a:gd name="connsiteY3404" fmla="*/ 1056534 h 6858000"/>
              <a:gd name="connsiteX3405" fmla="*/ 6165817 w 6530564"/>
              <a:gd name="connsiteY3405" fmla="*/ 1732932 h 6858000"/>
              <a:gd name="connsiteX3406" fmla="*/ 6507308 w 6530564"/>
              <a:gd name="connsiteY3406" fmla="*/ 2262564 h 6858000"/>
              <a:gd name="connsiteX3407" fmla="*/ 6530564 w 6530564"/>
              <a:gd name="connsiteY3407" fmla="*/ 2317112 h 6858000"/>
              <a:gd name="connsiteX3408" fmla="*/ 6530564 w 6530564"/>
              <a:gd name="connsiteY3408" fmla="*/ 2701060 h 6858000"/>
              <a:gd name="connsiteX3409" fmla="*/ 6526175 w 6530564"/>
              <a:gd name="connsiteY3409" fmla="*/ 2710932 h 6858000"/>
              <a:gd name="connsiteX3410" fmla="*/ 6455513 w 6530564"/>
              <a:gd name="connsiteY3410" fmla="*/ 2608808 h 6858000"/>
              <a:gd name="connsiteX3411" fmla="*/ 6454515 w 6530564"/>
              <a:gd name="connsiteY3411" fmla="*/ 2604137 h 6858000"/>
              <a:gd name="connsiteX3412" fmla="*/ 6452519 w 6530564"/>
              <a:gd name="connsiteY3412" fmla="*/ 2594796 h 6858000"/>
              <a:gd name="connsiteX3413" fmla="*/ 6446850 w 6530564"/>
              <a:gd name="connsiteY3413" fmla="*/ 2591122 h 6858000"/>
              <a:gd name="connsiteX3414" fmla="*/ 6421859 w 6530564"/>
              <a:gd name="connsiteY3414" fmla="*/ 2542736 h 6858000"/>
              <a:gd name="connsiteX3415" fmla="*/ 6413197 w 6530564"/>
              <a:gd name="connsiteY3415" fmla="*/ 2525048 h 6858000"/>
              <a:gd name="connsiteX3416" fmla="*/ 6407529 w 6530564"/>
              <a:gd name="connsiteY3416" fmla="*/ 2521375 h 6858000"/>
              <a:gd name="connsiteX3417" fmla="*/ 6406530 w 6530564"/>
              <a:gd name="connsiteY3417" fmla="*/ 2516706 h 6858000"/>
              <a:gd name="connsiteX3418" fmla="*/ 6401861 w 6530564"/>
              <a:gd name="connsiteY3418" fmla="*/ 2517703 h 6858000"/>
              <a:gd name="connsiteX3419" fmla="*/ 6400861 w 6530564"/>
              <a:gd name="connsiteY3419" fmla="*/ 2513032 h 6858000"/>
              <a:gd name="connsiteX3420" fmla="*/ 6387528 w 6530564"/>
              <a:gd name="connsiteY3420" fmla="*/ 2496344 h 6858000"/>
              <a:gd name="connsiteX3421" fmla="*/ 6385850 w 6530564"/>
              <a:gd name="connsiteY3421" fmla="*/ 2511354 h 6858000"/>
              <a:gd name="connsiteX3422" fmla="*/ 6374513 w 6530564"/>
              <a:gd name="connsiteY3422" fmla="*/ 2504009 h 6858000"/>
              <a:gd name="connsiteX3423" fmla="*/ 6360859 w 6530564"/>
              <a:gd name="connsiteY3423" fmla="*/ 2462967 h 6858000"/>
              <a:gd name="connsiteX3424" fmla="*/ 6299541 w 6530564"/>
              <a:gd name="connsiteY3424" fmla="*/ 2358847 h 6858000"/>
              <a:gd name="connsiteX3425" fmla="*/ 6284212 w 6530564"/>
              <a:gd name="connsiteY3425" fmla="*/ 2332816 h 6858000"/>
              <a:gd name="connsiteX3426" fmla="*/ 6231556 w 6530564"/>
              <a:gd name="connsiteY3426" fmla="*/ 2246383 h 6858000"/>
              <a:gd name="connsiteX3427" fmla="*/ 6228563 w 6530564"/>
              <a:gd name="connsiteY3427" fmla="*/ 2232369 h 6858000"/>
              <a:gd name="connsiteX3428" fmla="*/ 6217223 w 6530564"/>
              <a:gd name="connsiteY3428" fmla="*/ 2225023 h 6858000"/>
              <a:gd name="connsiteX3429" fmla="*/ 6220897 w 6530564"/>
              <a:gd name="connsiteY3429" fmla="*/ 2219353 h 6858000"/>
              <a:gd name="connsiteX3430" fmla="*/ 6178901 w 6530564"/>
              <a:gd name="connsiteY3430" fmla="*/ 2159947 h 6858000"/>
              <a:gd name="connsiteX3431" fmla="*/ 6188241 w 6530564"/>
              <a:gd name="connsiteY3431" fmla="*/ 2157951 h 6858000"/>
              <a:gd name="connsiteX3432" fmla="*/ 6171235 w 6530564"/>
              <a:gd name="connsiteY3432" fmla="*/ 2146932 h 6858000"/>
              <a:gd name="connsiteX3433" fmla="*/ 6150235 w 6530564"/>
              <a:gd name="connsiteY3433" fmla="*/ 2117229 h 6858000"/>
              <a:gd name="connsiteX3434" fmla="*/ 6149238 w 6530564"/>
              <a:gd name="connsiteY3434" fmla="*/ 2112559 h 6858000"/>
              <a:gd name="connsiteX3435" fmla="*/ 6153909 w 6530564"/>
              <a:gd name="connsiteY3435" fmla="*/ 2111560 h 6858000"/>
              <a:gd name="connsiteX3436" fmla="*/ 6158581 w 6530564"/>
              <a:gd name="connsiteY3436" fmla="*/ 2110562 h 6858000"/>
              <a:gd name="connsiteX3437" fmla="*/ 6157582 w 6530564"/>
              <a:gd name="connsiteY3437" fmla="*/ 2105892 h 6858000"/>
              <a:gd name="connsiteX3438" fmla="*/ 6147921 w 6530564"/>
              <a:gd name="connsiteY3438" fmla="*/ 2083534 h 6858000"/>
              <a:gd name="connsiteX3439" fmla="*/ 6152592 w 6530564"/>
              <a:gd name="connsiteY3439" fmla="*/ 2082535 h 6858000"/>
              <a:gd name="connsiteX3440" fmla="*/ 6151595 w 6530564"/>
              <a:gd name="connsiteY3440" fmla="*/ 2077865 h 6858000"/>
              <a:gd name="connsiteX3441" fmla="*/ 6145926 w 6530564"/>
              <a:gd name="connsiteY3441" fmla="*/ 2074193 h 6858000"/>
              <a:gd name="connsiteX3442" fmla="*/ 6089597 w 6530564"/>
              <a:gd name="connsiteY3442" fmla="*/ 1993426 h 6858000"/>
              <a:gd name="connsiteX3443" fmla="*/ 6019255 w 6530564"/>
              <a:gd name="connsiteY3443" fmla="*/ 1915656 h 6858000"/>
              <a:gd name="connsiteX3444" fmla="*/ 5960249 w 6530564"/>
              <a:gd name="connsiteY3444" fmla="*/ 1845230 h 6858000"/>
              <a:gd name="connsiteX3445" fmla="*/ 5903921 w 6530564"/>
              <a:gd name="connsiteY3445" fmla="*/ 1764465 h 6858000"/>
              <a:gd name="connsiteX3446" fmla="*/ 5875576 w 6530564"/>
              <a:gd name="connsiteY3446" fmla="*/ 1746097 h 6858000"/>
              <a:gd name="connsiteX3447" fmla="*/ 5874577 w 6530564"/>
              <a:gd name="connsiteY3447" fmla="*/ 1741428 h 6858000"/>
              <a:gd name="connsiteX3448" fmla="*/ 5867911 w 6530564"/>
              <a:gd name="connsiteY3448" fmla="*/ 1733084 h 6858000"/>
              <a:gd name="connsiteX3449" fmla="*/ 5864239 w 6530564"/>
              <a:gd name="connsiteY3449" fmla="*/ 1738752 h 6858000"/>
              <a:gd name="connsiteX3450" fmla="*/ 5653531 w 6530564"/>
              <a:gd name="connsiteY3450" fmla="*/ 1529790 h 6858000"/>
              <a:gd name="connsiteX3451" fmla="*/ 5652531 w 6530564"/>
              <a:gd name="connsiteY3451" fmla="*/ 1525119 h 6858000"/>
              <a:gd name="connsiteX3452" fmla="*/ 5697884 w 6530564"/>
              <a:gd name="connsiteY3452" fmla="*/ 1554504 h 6858000"/>
              <a:gd name="connsiteX3453" fmla="*/ 5701875 w 6530564"/>
              <a:gd name="connsiteY3453" fmla="*/ 1573189 h 6858000"/>
              <a:gd name="connsiteX3454" fmla="*/ 5742557 w 6530564"/>
              <a:gd name="connsiteY3454" fmla="*/ 1603571 h 6858000"/>
              <a:gd name="connsiteX3455" fmla="*/ 5779564 w 6530564"/>
              <a:gd name="connsiteY3455" fmla="*/ 1639622 h 6858000"/>
              <a:gd name="connsiteX3456" fmla="*/ 5840245 w 6530564"/>
              <a:gd name="connsiteY3456" fmla="*/ 1695037 h 6858000"/>
              <a:gd name="connsiteX3457" fmla="*/ 5879249 w 6530564"/>
              <a:gd name="connsiteY3457" fmla="*/ 1740430 h 6858000"/>
              <a:gd name="connsiteX3458" fmla="*/ 5934262 w 6530564"/>
              <a:gd name="connsiteY3458" fmla="*/ 1792171 h 6858000"/>
              <a:gd name="connsiteX3459" fmla="*/ 5935261 w 6530564"/>
              <a:gd name="connsiteY3459" fmla="*/ 1796841 h 6858000"/>
              <a:gd name="connsiteX3460" fmla="*/ 5936258 w 6530564"/>
              <a:gd name="connsiteY3460" fmla="*/ 1801513 h 6858000"/>
              <a:gd name="connsiteX3461" fmla="*/ 5940929 w 6530564"/>
              <a:gd name="connsiteY3461" fmla="*/ 1800515 h 6858000"/>
              <a:gd name="connsiteX3462" fmla="*/ 5955260 w 6530564"/>
              <a:gd name="connsiteY3462" fmla="*/ 1821873 h 6858000"/>
              <a:gd name="connsiteX3463" fmla="*/ 5956259 w 6530564"/>
              <a:gd name="connsiteY3463" fmla="*/ 1826546 h 6858000"/>
              <a:gd name="connsiteX3464" fmla="*/ 5961927 w 6530564"/>
              <a:gd name="connsiteY3464" fmla="*/ 1830220 h 6858000"/>
              <a:gd name="connsiteX3465" fmla="*/ 5960930 w 6530564"/>
              <a:gd name="connsiteY3465" fmla="*/ 1825547 h 6858000"/>
              <a:gd name="connsiteX3466" fmla="*/ 6004605 w 6530564"/>
              <a:gd name="connsiteY3466" fmla="*/ 1869943 h 6858000"/>
              <a:gd name="connsiteX3467" fmla="*/ 5999933 w 6530564"/>
              <a:gd name="connsiteY3467" fmla="*/ 1870942 h 6858000"/>
              <a:gd name="connsiteX3468" fmla="*/ 6000931 w 6530564"/>
              <a:gd name="connsiteY3468" fmla="*/ 1875612 h 6858000"/>
              <a:gd name="connsiteX3469" fmla="*/ 6006601 w 6530564"/>
              <a:gd name="connsiteY3469" fmla="*/ 1879284 h 6858000"/>
              <a:gd name="connsiteX3470" fmla="*/ 6011271 w 6530564"/>
              <a:gd name="connsiteY3470" fmla="*/ 1878287 h 6858000"/>
              <a:gd name="connsiteX3471" fmla="*/ 6012269 w 6530564"/>
              <a:gd name="connsiteY3471" fmla="*/ 1882958 h 6858000"/>
              <a:gd name="connsiteX3472" fmla="*/ 6027599 w 6530564"/>
              <a:gd name="connsiteY3472" fmla="*/ 1908989 h 6858000"/>
              <a:gd name="connsiteX3473" fmla="*/ 6037939 w 6530564"/>
              <a:gd name="connsiteY3473" fmla="*/ 1911662 h 6858000"/>
              <a:gd name="connsiteX3474" fmla="*/ 6044605 w 6530564"/>
              <a:gd name="connsiteY3474" fmla="*/ 1920008 h 6858000"/>
              <a:gd name="connsiteX3475" fmla="*/ 6040933 w 6530564"/>
              <a:gd name="connsiteY3475" fmla="*/ 1925676 h 6858000"/>
              <a:gd name="connsiteX3476" fmla="*/ 6046601 w 6530564"/>
              <a:gd name="connsiteY3476" fmla="*/ 1929349 h 6858000"/>
              <a:gd name="connsiteX3477" fmla="*/ 6052271 w 6530564"/>
              <a:gd name="connsiteY3477" fmla="*/ 1933023 h 6858000"/>
              <a:gd name="connsiteX3478" fmla="*/ 6084607 w 6530564"/>
              <a:gd name="connsiteY3478" fmla="*/ 1970071 h 6858000"/>
              <a:gd name="connsiteX3479" fmla="*/ 6075945 w 6530564"/>
              <a:gd name="connsiteY3479" fmla="*/ 1952386 h 6858000"/>
              <a:gd name="connsiteX3480" fmla="*/ 6057939 w 6530564"/>
              <a:gd name="connsiteY3480" fmla="*/ 1936695 h 6858000"/>
              <a:gd name="connsiteX3481" fmla="*/ 6056941 w 6530564"/>
              <a:gd name="connsiteY3481" fmla="*/ 1932024 h 6858000"/>
              <a:gd name="connsiteX3482" fmla="*/ 6055943 w 6530564"/>
              <a:gd name="connsiteY3482" fmla="*/ 1927353 h 6858000"/>
              <a:gd name="connsiteX3483" fmla="*/ 6049276 w 6530564"/>
              <a:gd name="connsiteY3483" fmla="*/ 1919009 h 6858000"/>
              <a:gd name="connsiteX3484" fmla="*/ 6017937 w 6530564"/>
              <a:gd name="connsiteY3484" fmla="*/ 1886631 h 6858000"/>
              <a:gd name="connsiteX3485" fmla="*/ 6015942 w 6530564"/>
              <a:gd name="connsiteY3485" fmla="*/ 1877290 h 6858000"/>
              <a:gd name="connsiteX3486" fmla="*/ 6014943 w 6530564"/>
              <a:gd name="connsiteY3486" fmla="*/ 1872617 h 6858000"/>
              <a:gd name="connsiteX3487" fmla="*/ 6012949 w 6530564"/>
              <a:gd name="connsiteY3487" fmla="*/ 1863276 h 6858000"/>
              <a:gd name="connsiteX3488" fmla="*/ 6008279 w 6530564"/>
              <a:gd name="connsiteY3488" fmla="*/ 1864274 h 6858000"/>
              <a:gd name="connsiteX3489" fmla="*/ 6003605 w 6530564"/>
              <a:gd name="connsiteY3489" fmla="*/ 1865272 h 6858000"/>
              <a:gd name="connsiteX3490" fmla="*/ 5985601 w 6530564"/>
              <a:gd name="connsiteY3490" fmla="*/ 1849581 h 6858000"/>
              <a:gd name="connsiteX3491" fmla="*/ 5965600 w 6530564"/>
              <a:gd name="connsiteY3491" fmla="*/ 1824550 h 6858000"/>
              <a:gd name="connsiteX3492" fmla="*/ 5964603 w 6530564"/>
              <a:gd name="connsiteY3492" fmla="*/ 1819878 h 6858000"/>
              <a:gd name="connsiteX3493" fmla="*/ 5963605 w 6530564"/>
              <a:gd name="connsiteY3493" fmla="*/ 1815208 h 6858000"/>
              <a:gd name="connsiteX3494" fmla="*/ 5945599 w 6530564"/>
              <a:gd name="connsiteY3494" fmla="*/ 1799518 h 6858000"/>
              <a:gd name="connsiteX3495" fmla="*/ 5951268 w 6530564"/>
              <a:gd name="connsiteY3495" fmla="*/ 1803190 h 6858000"/>
              <a:gd name="connsiteX3496" fmla="*/ 5950271 w 6530564"/>
              <a:gd name="connsiteY3496" fmla="*/ 1798519 h 6858000"/>
              <a:gd name="connsiteX3497" fmla="*/ 5944601 w 6530564"/>
              <a:gd name="connsiteY3497" fmla="*/ 1794847 h 6858000"/>
              <a:gd name="connsiteX3498" fmla="*/ 5938933 w 6530564"/>
              <a:gd name="connsiteY3498" fmla="*/ 1791173 h 6858000"/>
              <a:gd name="connsiteX3499" fmla="*/ 5931269 w 6530564"/>
              <a:gd name="connsiteY3499" fmla="*/ 1778159 h 6858000"/>
              <a:gd name="connsiteX3500" fmla="*/ 5919929 w 6530564"/>
              <a:gd name="connsiteY3500" fmla="*/ 1770811 h 6858000"/>
              <a:gd name="connsiteX3501" fmla="*/ 5930269 w 6530564"/>
              <a:gd name="connsiteY3501" fmla="*/ 1773488 h 6858000"/>
              <a:gd name="connsiteX3502" fmla="*/ 5913263 w 6530564"/>
              <a:gd name="connsiteY3502" fmla="*/ 1762468 h 6858000"/>
              <a:gd name="connsiteX3503" fmla="*/ 5894260 w 6530564"/>
              <a:gd name="connsiteY3503" fmla="*/ 1742107 h 6858000"/>
              <a:gd name="connsiteX3504" fmla="*/ 5908274 w 6530564"/>
              <a:gd name="connsiteY3504" fmla="*/ 1739112 h 6858000"/>
              <a:gd name="connsiteX3505" fmla="*/ 5885598 w 6530564"/>
              <a:gd name="connsiteY3505" fmla="*/ 1724422 h 6858000"/>
              <a:gd name="connsiteX3506" fmla="*/ 5890269 w 6530564"/>
              <a:gd name="connsiteY3506" fmla="*/ 1723424 h 6858000"/>
              <a:gd name="connsiteX3507" fmla="*/ 5889272 w 6530564"/>
              <a:gd name="connsiteY3507" fmla="*/ 1718751 h 6858000"/>
              <a:gd name="connsiteX3508" fmla="*/ 5883602 w 6530564"/>
              <a:gd name="connsiteY3508" fmla="*/ 1715079 h 6858000"/>
              <a:gd name="connsiteX3509" fmla="*/ 5866595 w 6530564"/>
              <a:gd name="connsiteY3509" fmla="*/ 1704060 h 6858000"/>
              <a:gd name="connsiteX3510" fmla="*/ 5859927 w 6530564"/>
              <a:gd name="connsiteY3510" fmla="*/ 1695716 h 6858000"/>
              <a:gd name="connsiteX3511" fmla="*/ 5854258 w 6530564"/>
              <a:gd name="connsiteY3511" fmla="*/ 1692043 h 6858000"/>
              <a:gd name="connsiteX3512" fmla="*/ 5855257 w 6530564"/>
              <a:gd name="connsiteY3512" fmla="*/ 1696713 h 6858000"/>
              <a:gd name="connsiteX3513" fmla="*/ 5856255 w 6530564"/>
              <a:gd name="connsiteY3513" fmla="*/ 1701383 h 6858000"/>
              <a:gd name="connsiteX3514" fmla="*/ 5824917 w 6530564"/>
              <a:gd name="connsiteY3514" fmla="*/ 1669006 h 6858000"/>
              <a:gd name="connsiteX3515" fmla="*/ 5839927 w 6530564"/>
              <a:gd name="connsiteY3515" fmla="*/ 1670683 h 6858000"/>
              <a:gd name="connsiteX3516" fmla="*/ 5805913 w 6530564"/>
              <a:gd name="connsiteY3516" fmla="*/ 1648645 h 6858000"/>
              <a:gd name="connsiteX3517" fmla="*/ 5774575 w 6530564"/>
              <a:gd name="connsiteY3517" fmla="*/ 1616266 h 6858000"/>
              <a:gd name="connsiteX3518" fmla="*/ 5780245 w 6530564"/>
              <a:gd name="connsiteY3518" fmla="*/ 1619939 h 6858000"/>
              <a:gd name="connsiteX3519" fmla="*/ 5784915 w 6530564"/>
              <a:gd name="connsiteY3519" fmla="*/ 1618942 h 6858000"/>
              <a:gd name="connsiteX3520" fmla="*/ 5789585 w 6530564"/>
              <a:gd name="connsiteY3520" fmla="*/ 1617944 h 6858000"/>
              <a:gd name="connsiteX3521" fmla="*/ 5782919 w 6530564"/>
              <a:gd name="connsiteY3521" fmla="*/ 1609599 h 6858000"/>
              <a:gd name="connsiteX3522" fmla="*/ 5787589 w 6530564"/>
              <a:gd name="connsiteY3522" fmla="*/ 1608602 h 6858000"/>
              <a:gd name="connsiteX3523" fmla="*/ 5793259 w 6530564"/>
              <a:gd name="connsiteY3523" fmla="*/ 1612274 h 6858000"/>
              <a:gd name="connsiteX3524" fmla="*/ 5794257 w 6530564"/>
              <a:gd name="connsiteY3524" fmla="*/ 1616947 h 6858000"/>
              <a:gd name="connsiteX3525" fmla="*/ 5799925 w 6530564"/>
              <a:gd name="connsiteY3525" fmla="*/ 1620620 h 6858000"/>
              <a:gd name="connsiteX3526" fmla="*/ 5805595 w 6530564"/>
              <a:gd name="connsiteY3526" fmla="*/ 1624292 h 6858000"/>
              <a:gd name="connsiteX3527" fmla="*/ 5930950 w 6530564"/>
              <a:gd name="connsiteY3527" fmla="*/ 1753805 h 6858000"/>
              <a:gd name="connsiteX3528" fmla="*/ 5931947 w 6530564"/>
              <a:gd name="connsiteY3528" fmla="*/ 1758476 h 6858000"/>
              <a:gd name="connsiteX3529" fmla="*/ 5937615 w 6530564"/>
              <a:gd name="connsiteY3529" fmla="*/ 1762149 h 6858000"/>
              <a:gd name="connsiteX3530" fmla="*/ 5962289 w 6530564"/>
              <a:gd name="connsiteY3530" fmla="*/ 1786184 h 6858000"/>
              <a:gd name="connsiteX3531" fmla="*/ 5969953 w 6530564"/>
              <a:gd name="connsiteY3531" fmla="*/ 1799200 h 6858000"/>
              <a:gd name="connsiteX3532" fmla="*/ 5975622 w 6530564"/>
              <a:gd name="connsiteY3532" fmla="*/ 1802871 h 6858000"/>
              <a:gd name="connsiteX3533" fmla="*/ 6005963 w 6530564"/>
              <a:gd name="connsiteY3533" fmla="*/ 1830579 h 6858000"/>
              <a:gd name="connsiteX3534" fmla="*/ 6011631 w 6530564"/>
              <a:gd name="connsiteY3534" fmla="*/ 1834252 h 6858000"/>
              <a:gd name="connsiteX3535" fmla="*/ 6014625 w 6530564"/>
              <a:gd name="connsiteY3535" fmla="*/ 1848264 h 6858000"/>
              <a:gd name="connsiteX3536" fmla="*/ 6044965 w 6530564"/>
              <a:gd name="connsiteY3536" fmla="*/ 1875972 h 6858000"/>
              <a:gd name="connsiteX3537" fmla="*/ 6050635 w 6530564"/>
              <a:gd name="connsiteY3537" fmla="*/ 1879645 h 6858000"/>
              <a:gd name="connsiteX3538" fmla="*/ 6051633 w 6530564"/>
              <a:gd name="connsiteY3538" fmla="*/ 1884316 h 6858000"/>
              <a:gd name="connsiteX3539" fmla="*/ 6140299 w 6530564"/>
              <a:gd name="connsiteY3539" fmla="*/ 2002132 h 6858000"/>
              <a:gd name="connsiteX3540" fmla="*/ 6152635 w 6530564"/>
              <a:gd name="connsiteY3540" fmla="*/ 2014149 h 6858000"/>
              <a:gd name="connsiteX3541" fmla="*/ 6155629 w 6530564"/>
              <a:gd name="connsiteY3541" fmla="*/ 2028161 h 6858000"/>
              <a:gd name="connsiteX3542" fmla="*/ 6164971 w 6530564"/>
              <a:gd name="connsiteY3542" fmla="*/ 2026165 h 6858000"/>
              <a:gd name="connsiteX3543" fmla="*/ 6171637 w 6530564"/>
              <a:gd name="connsiteY3543" fmla="*/ 2034509 h 6858000"/>
              <a:gd name="connsiteX3544" fmla="*/ 6208963 w 6530564"/>
              <a:gd name="connsiteY3544" fmla="*/ 2094914 h 6858000"/>
              <a:gd name="connsiteX3545" fmla="*/ 6209963 w 6530564"/>
              <a:gd name="connsiteY3545" fmla="*/ 2099585 h 6858000"/>
              <a:gd name="connsiteX3546" fmla="*/ 6211957 w 6530564"/>
              <a:gd name="connsiteY3546" fmla="*/ 2108927 h 6858000"/>
              <a:gd name="connsiteX3547" fmla="*/ 6216629 w 6530564"/>
              <a:gd name="connsiteY3547" fmla="*/ 2107929 h 6858000"/>
              <a:gd name="connsiteX3548" fmla="*/ 6264295 w 6530564"/>
              <a:gd name="connsiteY3548" fmla="*/ 2171008 h 6858000"/>
              <a:gd name="connsiteX3549" fmla="*/ 6321623 w 6530564"/>
              <a:gd name="connsiteY3549" fmla="*/ 2256444 h 6858000"/>
              <a:gd name="connsiteX3550" fmla="*/ 6351284 w 6530564"/>
              <a:gd name="connsiteY3550" fmla="*/ 2303835 h 6858000"/>
              <a:gd name="connsiteX3551" fmla="*/ 6352281 w 6530564"/>
              <a:gd name="connsiteY3551" fmla="*/ 2308505 h 6858000"/>
              <a:gd name="connsiteX3552" fmla="*/ 6353279 w 6530564"/>
              <a:gd name="connsiteY3552" fmla="*/ 2313176 h 6858000"/>
              <a:gd name="connsiteX3553" fmla="*/ 6354277 w 6530564"/>
              <a:gd name="connsiteY3553" fmla="*/ 2317847 h 6858000"/>
              <a:gd name="connsiteX3554" fmla="*/ 6358947 w 6530564"/>
              <a:gd name="connsiteY3554" fmla="*/ 2316850 h 6858000"/>
              <a:gd name="connsiteX3555" fmla="*/ 6369289 w 6530564"/>
              <a:gd name="connsiteY3555" fmla="*/ 2319526 h 6858000"/>
              <a:gd name="connsiteX3556" fmla="*/ 6385616 w 6530564"/>
              <a:gd name="connsiteY3556" fmla="*/ 2350226 h 6858000"/>
              <a:gd name="connsiteX3557" fmla="*/ 6396955 w 6530564"/>
              <a:gd name="connsiteY3557" fmla="*/ 2357572 h 6858000"/>
              <a:gd name="connsiteX3558" fmla="*/ 6361624 w 6530564"/>
              <a:gd name="connsiteY3558" fmla="*/ 2306510 h 6858000"/>
              <a:gd name="connsiteX3559" fmla="*/ 6359627 w 6530564"/>
              <a:gd name="connsiteY3559" fmla="*/ 2297168 h 6858000"/>
              <a:gd name="connsiteX3560" fmla="*/ 6353959 w 6530564"/>
              <a:gd name="connsiteY3560" fmla="*/ 2293494 h 6858000"/>
              <a:gd name="connsiteX3561" fmla="*/ 6314637 w 6530564"/>
              <a:gd name="connsiteY3561" fmla="*/ 2223747 h 6858000"/>
              <a:gd name="connsiteX3562" fmla="*/ 6212319 w 6530564"/>
              <a:gd name="connsiteY3562" fmla="*/ 2064893 h 6858000"/>
              <a:gd name="connsiteX3563" fmla="*/ 6107325 w 6530564"/>
              <a:gd name="connsiteY3563" fmla="*/ 1916375 h 6858000"/>
              <a:gd name="connsiteX3564" fmla="*/ 6088323 w 6530564"/>
              <a:gd name="connsiteY3564" fmla="*/ 1896015 h 6858000"/>
              <a:gd name="connsiteX3565" fmla="*/ 6007323 w 6530564"/>
              <a:gd name="connsiteY3565" fmla="*/ 1791215 h 6858000"/>
              <a:gd name="connsiteX3566" fmla="*/ 5975983 w 6530564"/>
              <a:gd name="connsiteY3566" fmla="*/ 1758836 h 6858000"/>
              <a:gd name="connsiteX3567" fmla="*/ 5907636 w 6530564"/>
              <a:gd name="connsiteY3567" fmla="*/ 1690407 h 6858000"/>
              <a:gd name="connsiteX3568" fmla="*/ 5789947 w 6530564"/>
              <a:gd name="connsiteY3568" fmla="*/ 1573908 h 6858000"/>
              <a:gd name="connsiteX3569" fmla="*/ 5761602 w 6530564"/>
              <a:gd name="connsiteY3569" fmla="*/ 1555544 h 6858000"/>
              <a:gd name="connsiteX3570" fmla="*/ 5729265 w 6530564"/>
              <a:gd name="connsiteY3570" fmla="*/ 1518494 h 6858000"/>
              <a:gd name="connsiteX3571" fmla="*/ 5718925 w 6530564"/>
              <a:gd name="connsiteY3571" fmla="*/ 1515819 h 6858000"/>
              <a:gd name="connsiteX3572" fmla="*/ 5658243 w 6530564"/>
              <a:gd name="connsiteY3572" fmla="*/ 1460405 h 6858000"/>
              <a:gd name="connsiteX3573" fmla="*/ 5637563 w 6530564"/>
              <a:gd name="connsiteY3573" fmla="*/ 1455055 h 6858000"/>
              <a:gd name="connsiteX3574" fmla="*/ 5624228 w 6530564"/>
              <a:gd name="connsiteY3574" fmla="*/ 1438365 h 6858000"/>
              <a:gd name="connsiteX3575" fmla="*/ 5452165 w 6530564"/>
              <a:gd name="connsiteY3575" fmla="*/ 1318832 h 6858000"/>
              <a:gd name="connsiteX3576" fmla="*/ 5377469 w 6530564"/>
              <a:gd name="connsiteY3576" fmla="*/ 1266412 h 6858000"/>
              <a:gd name="connsiteX3577" fmla="*/ 5334113 w 6530564"/>
              <a:gd name="connsiteY3577" fmla="*/ 1246370 h 6858000"/>
              <a:gd name="connsiteX3578" fmla="*/ 5321779 w 6530564"/>
              <a:gd name="connsiteY3578" fmla="*/ 1234352 h 6858000"/>
              <a:gd name="connsiteX3579" fmla="*/ 5300101 w 6530564"/>
              <a:gd name="connsiteY3579" fmla="*/ 1224331 h 6858000"/>
              <a:gd name="connsiteX3580" fmla="*/ 5299103 w 6530564"/>
              <a:gd name="connsiteY3580" fmla="*/ 1219660 h 6858000"/>
              <a:gd name="connsiteX3581" fmla="*/ 5325451 w 6530564"/>
              <a:gd name="connsiteY3581" fmla="*/ 1228683 h 6858000"/>
              <a:gd name="connsiteX3582" fmla="*/ 5326449 w 6530564"/>
              <a:gd name="connsiteY3582" fmla="*/ 1233354 h 6858000"/>
              <a:gd name="connsiteX3583" fmla="*/ 5336789 w 6530564"/>
              <a:gd name="connsiteY3583" fmla="*/ 1236030 h 6858000"/>
              <a:gd name="connsiteX3584" fmla="*/ 5341461 w 6530564"/>
              <a:gd name="connsiteY3584" fmla="*/ 1235032 h 6858000"/>
              <a:gd name="connsiteX3585" fmla="*/ 5347129 w 6530564"/>
              <a:gd name="connsiteY3585" fmla="*/ 1238705 h 6858000"/>
              <a:gd name="connsiteX3586" fmla="*/ 5351799 w 6530564"/>
              <a:gd name="connsiteY3586" fmla="*/ 1237706 h 6858000"/>
              <a:gd name="connsiteX3587" fmla="*/ 5384815 w 6530564"/>
              <a:gd name="connsiteY3587" fmla="*/ 1255074 h 6858000"/>
              <a:gd name="connsiteX3588" fmla="*/ 5390485 w 6530564"/>
              <a:gd name="connsiteY3588" fmla="*/ 1258747 h 6858000"/>
              <a:gd name="connsiteX3589" fmla="*/ 5395155 w 6530564"/>
              <a:gd name="connsiteY3589" fmla="*/ 1257748 h 6858000"/>
              <a:gd name="connsiteX3590" fmla="*/ 5396153 w 6530564"/>
              <a:gd name="connsiteY3590" fmla="*/ 1262419 h 6858000"/>
              <a:gd name="connsiteX3591" fmla="*/ 5392481 w 6530564"/>
              <a:gd name="connsiteY3591" fmla="*/ 1268089 h 6858000"/>
              <a:gd name="connsiteX3592" fmla="*/ 5416835 w 6530564"/>
              <a:gd name="connsiteY3592" fmla="*/ 1267768 h 6858000"/>
              <a:gd name="connsiteX3593" fmla="*/ 5457515 w 6530564"/>
              <a:gd name="connsiteY3593" fmla="*/ 1298152 h 6858000"/>
              <a:gd name="connsiteX3594" fmla="*/ 5452843 w 6530564"/>
              <a:gd name="connsiteY3594" fmla="*/ 1299151 h 6858000"/>
              <a:gd name="connsiteX3595" fmla="*/ 5458513 w 6530564"/>
              <a:gd name="connsiteY3595" fmla="*/ 1302825 h 6858000"/>
              <a:gd name="connsiteX3596" fmla="*/ 5443501 w 6530564"/>
              <a:gd name="connsiteY3596" fmla="*/ 1301145 h 6858000"/>
              <a:gd name="connsiteX3597" fmla="*/ 5469850 w 6530564"/>
              <a:gd name="connsiteY3597" fmla="*/ 1310170 h 6858000"/>
              <a:gd name="connsiteX3598" fmla="*/ 5476517 w 6530564"/>
              <a:gd name="connsiteY3598" fmla="*/ 1318514 h 6858000"/>
              <a:gd name="connsiteX3599" fmla="*/ 5482186 w 6530564"/>
              <a:gd name="connsiteY3599" fmla="*/ 1322188 h 6858000"/>
              <a:gd name="connsiteX3600" fmla="*/ 5485860 w 6530564"/>
              <a:gd name="connsiteY3600" fmla="*/ 1316519 h 6858000"/>
              <a:gd name="connsiteX3601" fmla="*/ 5519873 w 6530564"/>
              <a:gd name="connsiteY3601" fmla="*/ 1338556 h 6858000"/>
              <a:gd name="connsiteX3602" fmla="*/ 5525542 w 6530564"/>
              <a:gd name="connsiteY3602" fmla="*/ 1342228 h 6858000"/>
              <a:gd name="connsiteX3603" fmla="*/ 5530213 w 6530564"/>
              <a:gd name="connsiteY3603" fmla="*/ 1341231 h 6858000"/>
              <a:gd name="connsiteX3604" fmla="*/ 5637924 w 6530564"/>
              <a:gd name="connsiteY3604" fmla="*/ 1411021 h 6858000"/>
              <a:gd name="connsiteX3605" fmla="*/ 5645589 w 6530564"/>
              <a:gd name="connsiteY3605" fmla="*/ 1424035 h 6858000"/>
              <a:gd name="connsiteX3606" fmla="*/ 5655929 w 6530564"/>
              <a:gd name="connsiteY3606" fmla="*/ 1426710 h 6858000"/>
              <a:gd name="connsiteX3607" fmla="*/ 5738288 w 6530564"/>
              <a:gd name="connsiteY3607" fmla="*/ 1492145 h 6858000"/>
              <a:gd name="connsiteX3608" fmla="*/ 5821645 w 6530564"/>
              <a:gd name="connsiteY3608" fmla="*/ 1562252 h 6858000"/>
              <a:gd name="connsiteX3609" fmla="*/ 5829311 w 6530564"/>
              <a:gd name="connsiteY3609" fmla="*/ 1575267 h 6858000"/>
              <a:gd name="connsiteX3610" fmla="*/ 5832983 w 6530564"/>
              <a:gd name="connsiteY3610" fmla="*/ 1569599 h 6858000"/>
              <a:gd name="connsiteX3611" fmla="*/ 5876659 w 6530564"/>
              <a:gd name="connsiteY3611" fmla="*/ 1613995 h 6858000"/>
              <a:gd name="connsiteX3612" fmla="*/ 5906998 w 6530564"/>
              <a:gd name="connsiteY3612" fmla="*/ 1641700 h 6858000"/>
              <a:gd name="connsiteX3613" fmla="*/ 5956341 w 6530564"/>
              <a:gd name="connsiteY3613" fmla="*/ 1689770 h 6858000"/>
              <a:gd name="connsiteX3614" fmla="*/ 6019021 w 6530564"/>
              <a:gd name="connsiteY3614" fmla="*/ 1754527 h 6858000"/>
              <a:gd name="connsiteX3615" fmla="*/ 6021017 w 6530564"/>
              <a:gd name="connsiteY3615" fmla="*/ 1763868 h 6858000"/>
              <a:gd name="connsiteX3616" fmla="*/ 6085689 w 6530564"/>
              <a:gd name="connsiteY3616" fmla="*/ 1837968 h 6858000"/>
              <a:gd name="connsiteX3617" fmla="*/ 6097027 w 6530564"/>
              <a:gd name="connsiteY3617" fmla="*/ 1845313 h 6858000"/>
              <a:gd name="connsiteX3618" fmla="*/ 6124692 w 6530564"/>
              <a:gd name="connsiteY3618" fmla="*/ 1883360 h 6858000"/>
              <a:gd name="connsiteX3619" fmla="*/ 6148365 w 6530564"/>
              <a:gd name="connsiteY3619" fmla="*/ 1902723 h 6858000"/>
              <a:gd name="connsiteX3620" fmla="*/ 6207689 w 6530564"/>
              <a:gd name="connsiteY3620" fmla="*/ 1997502 h 6858000"/>
              <a:gd name="connsiteX3621" fmla="*/ 6292683 w 6530564"/>
              <a:gd name="connsiteY3621" fmla="*/ 2120986 h 6858000"/>
              <a:gd name="connsiteX3622" fmla="*/ 6319349 w 6530564"/>
              <a:gd name="connsiteY3622" fmla="*/ 2154362 h 6858000"/>
              <a:gd name="connsiteX3623" fmla="*/ 6313681 w 6530564"/>
              <a:gd name="connsiteY3623" fmla="*/ 2150689 h 6858000"/>
              <a:gd name="connsiteX3624" fmla="*/ 6343343 w 6530564"/>
              <a:gd name="connsiteY3624" fmla="*/ 2198078 h 6858000"/>
              <a:gd name="connsiteX3625" fmla="*/ 6346335 w 6530564"/>
              <a:gd name="connsiteY3625" fmla="*/ 2212090 h 6858000"/>
              <a:gd name="connsiteX3626" fmla="*/ 6424979 w 6530564"/>
              <a:gd name="connsiteY3626" fmla="*/ 2351584 h 6858000"/>
              <a:gd name="connsiteX3627" fmla="*/ 6420309 w 6530564"/>
              <a:gd name="connsiteY3627" fmla="*/ 2352581 h 6858000"/>
              <a:gd name="connsiteX3628" fmla="*/ 6421307 w 6530564"/>
              <a:gd name="connsiteY3628" fmla="*/ 2357252 h 6858000"/>
              <a:gd name="connsiteX3629" fmla="*/ 6426975 w 6530564"/>
              <a:gd name="connsiteY3629" fmla="*/ 2360926 h 6858000"/>
              <a:gd name="connsiteX3630" fmla="*/ 6451966 w 6530564"/>
              <a:gd name="connsiteY3630" fmla="*/ 2409313 h 6858000"/>
              <a:gd name="connsiteX3631" fmla="*/ 6452965 w 6530564"/>
              <a:gd name="connsiteY3631" fmla="*/ 2413983 h 6858000"/>
              <a:gd name="connsiteX3632" fmla="*/ 6453963 w 6530564"/>
              <a:gd name="connsiteY3632" fmla="*/ 2418656 h 6858000"/>
              <a:gd name="connsiteX3633" fmla="*/ 6458633 w 6530564"/>
              <a:gd name="connsiteY3633" fmla="*/ 2417657 h 6858000"/>
              <a:gd name="connsiteX3634" fmla="*/ 6457635 w 6530564"/>
              <a:gd name="connsiteY3634" fmla="*/ 2412986 h 6858000"/>
              <a:gd name="connsiteX3635" fmla="*/ 6466299 w 6530564"/>
              <a:gd name="connsiteY3635" fmla="*/ 2430673 h 6858000"/>
              <a:gd name="connsiteX3636" fmla="*/ 6475639 w 6530564"/>
              <a:gd name="connsiteY3636" fmla="*/ 2428676 h 6858000"/>
              <a:gd name="connsiteX3637" fmla="*/ 6467975 w 6530564"/>
              <a:gd name="connsiteY3637" fmla="*/ 2415661 h 6858000"/>
              <a:gd name="connsiteX3638" fmla="*/ 6472646 w 6530564"/>
              <a:gd name="connsiteY3638" fmla="*/ 2414663 h 6858000"/>
              <a:gd name="connsiteX3639" fmla="*/ 6445979 w 6530564"/>
              <a:gd name="connsiteY3639" fmla="*/ 2381288 h 6858000"/>
              <a:gd name="connsiteX3640" fmla="*/ 6443981 w 6530564"/>
              <a:gd name="connsiteY3640" fmla="*/ 2371946 h 6858000"/>
              <a:gd name="connsiteX3641" fmla="*/ 6442985 w 6530564"/>
              <a:gd name="connsiteY3641" fmla="*/ 2367276 h 6858000"/>
              <a:gd name="connsiteX3642" fmla="*/ 6441987 w 6530564"/>
              <a:gd name="connsiteY3642" fmla="*/ 2362603 h 6858000"/>
              <a:gd name="connsiteX3643" fmla="*/ 6437315 w 6530564"/>
              <a:gd name="connsiteY3643" fmla="*/ 2363602 h 6858000"/>
              <a:gd name="connsiteX3644" fmla="*/ 6435319 w 6530564"/>
              <a:gd name="connsiteY3644" fmla="*/ 2354259 h 6858000"/>
              <a:gd name="connsiteX3645" fmla="*/ 6445659 w 6530564"/>
              <a:gd name="connsiteY3645" fmla="*/ 2356934 h 6858000"/>
              <a:gd name="connsiteX3646" fmla="*/ 6437995 w 6530564"/>
              <a:gd name="connsiteY3646" fmla="*/ 2343919 h 6858000"/>
              <a:gd name="connsiteX3647" fmla="*/ 6436996 w 6530564"/>
              <a:gd name="connsiteY3647" fmla="*/ 2339248 h 6858000"/>
              <a:gd name="connsiteX3648" fmla="*/ 6435999 w 6530564"/>
              <a:gd name="connsiteY3648" fmla="*/ 2334578 h 6858000"/>
              <a:gd name="connsiteX3649" fmla="*/ 6435001 w 6530564"/>
              <a:gd name="connsiteY3649" fmla="*/ 2329906 h 6858000"/>
              <a:gd name="connsiteX3650" fmla="*/ 6426338 w 6530564"/>
              <a:gd name="connsiteY3650" fmla="*/ 2312220 h 6858000"/>
              <a:gd name="connsiteX3651" fmla="*/ 6420669 w 6530564"/>
              <a:gd name="connsiteY3651" fmla="*/ 2308548 h 6858000"/>
              <a:gd name="connsiteX3652" fmla="*/ 6396677 w 6530564"/>
              <a:gd name="connsiteY3652" fmla="*/ 2264832 h 6858000"/>
              <a:gd name="connsiteX3653" fmla="*/ 6394681 w 6530564"/>
              <a:gd name="connsiteY3653" fmla="*/ 2255488 h 6858000"/>
              <a:gd name="connsiteX3654" fmla="*/ 6390010 w 6530564"/>
              <a:gd name="connsiteY3654" fmla="*/ 2256487 h 6858000"/>
              <a:gd name="connsiteX3655" fmla="*/ 6367015 w 6530564"/>
              <a:gd name="connsiteY3655" fmla="*/ 2217441 h 6858000"/>
              <a:gd name="connsiteX3656" fmla="*/ 6362345 w 6530564"/>
              <a:gd name="connsiteY3656" fmla="*/ 2218440 h 6858000"/>
              <a:gd name="connsiteX3657" fmla="*/ 6361347 w 6530564"/>
              <a:gd name="connsiteY3657" fmla="*/ 2213768 h 6858000"/>
              <a:gd name="connsiteX3658" fmla="*/ 6366017 w 6530564"/>
              <a:gd name="connsiteY3658" fmla="*/ 2212771 h 6858000"/>
              <a:gd name="connsiteX3659" fmla="*/ 6365019 w 6530564"/>
              <a:gd name="connsiteY3659" fmla="*/ 2208100 h 6858000"/>
              <a:gd name="connsiteX3660" fmla="*/ 6359351 w 6530564"/>
              <a:gd name="connsiteY3660" fmla="*/ 2204426 h 6858000"/>
              <a:gd name="connsiteX3661" fmla="*/ 6289369 w 6530564"/>
              <a:gd name="connsiteY3661" fmla="*/ 2082620 h 6858000"/>
              <a:gd name="connsiteX3662" fmla="*/ 6272043 w 6530564"/>
              <a:gd name="connsiteY3662" fmla="*/ 2047249 h 6858000"/>
              <a:gd name="connsiteX3663" fmla="*/ 6253041 w 6530564"/>
              <a:gd name="connsiteY3663" fmla="*/ 2026887 h 6858000"/>
              <a:gd name="connsiteX3664" fmla="*/ 6226373 w 6530564"/>
              <a:gd name="connsiteY3664" fmla="*/ 1993510 h 6858000"/>
              <a:gd name="connsiteX3665" fmla="*/ 6037705 w 6530564"/>
              <a:gd name="connsiteY3665" fmla="*/ 1750534 h 6858000"/>
              <a:gd name="connsiteX3666" fmla="*/ 6040378 w 6530564"/>
              <a:gd name="connsiteY3666" fmla="*/ 1740194 h 6858000"/>
              <a:gd name="connsiteX3667" fmla="*/ 6041377 w 6530564"/>
              <a:gd name="connsiteY3667" fmla="*/ 1744864 h 6858000"/>
              <a:gd name="connsiteX3668" fmla="*/ 6046048 w 6530564"/>
              <a:gd name="connsiteY3668" fmla="*/ 1743867 h 6858000"/>
              <a:gd name="connsiteX3669" fmla="*/ 6039381 w 6530564"/>
              <a:gd name="connsiteY3669" fmla="*/ 1735524 h 6858000"/>
              <a:gd name="connsiteX3670" fmla="*/ 6036386 w 6530564"/>
              <a:gd name="connsiteY3670" fmla="*/ 1721512 h 6858000"/>
              <a:gd name="connsiteX3671" fmla="*/ 6014709 w 6530564"/>
              <a:gd name="connsiteY3671" fmla="*/ 1711489 h 6858000"/>
              <a:gd name="connsiteX3672" fmla="*/ 6013711 w 6530564"/>
              <a:gd name="connsiteY3672" fmla="*/ 1706819 h 6858000"/>
              <a:gd name="connsiteX3673" fmla="*/ 6008043 w 6530564"/>
              <a:gd name="connsiteY3673" fmla="*/ 1703145 h 6858000"/>
              <a:gd name="connsiteX3674" fmla="*/ 6007045 w 6530564"/>
              <a:gd name="connsiteY3674" fmla="*/ 1698475 h 6858000"/>
              <a:gd name="connsiteX3675" fmla="*/ 6002374 w 6530564"/>
              <a:gd name="connsiteY3675" fmla="*/ 1699472 h 6858000"/>
              <a:gd name="connsiteX3676" fmla="*/ 5995707 w 6530564"/>
              <a:gd name="connsiteY3676" fmla="*/ 1691128 h 6858000"/>
              <a:gd name="connsiteX3677" fmla="*/ 5981375 w 6530564"/>
              <a:gd name="connsiteY3677" fmla="*/ 1669769 h 6858000"/>
              <a:gd name="connsiteX3678" fmla="*/ 5986045 w 6530564"/>
              <a:gd name="connsiteY3678" fmla="*/ 1668771 h 6858000"/>
              <a:gd name="connsiteX3679" fmla="*/ 5991715 w 6530564"/>
              <a:gd name="connsiteY3679" fmla="*/ 1672443 h 6858000"/>
              <a:gd name="connsiteX3680" fmla="*/ 5985048 w 6530564"/>
              <a:gd name="connsiteY3680" fmla="*/ 1664101 h 6858000"/>
              <a:gd name="connsiteX3681" fmla="*/ 5979379 w 6530564"/>
              <a:gd name="connsiteY3681" fmla="*/ 1660427 h 6858000"/>
              <a:gd name="connsiteX3682" fmla="*/ 5961375 w 6530564"/>
              <a:gd name="connsiteY3682" fmla="*/ 1644738 h 6858000"/>
              <a:gd name="connsiteX3683" fmla="*/ 5960376 w 6530564"/>
              <a:gd name="connsiteY3683" fmla="*/ 1640066 h 6858000"/>
              <a:gd name="connsiteX3684" fmla="*/ 5953710 w 6530564"/>
              <a:gd name="connsiteY3684" fmla="*/ 1631721 h 6858000"/>
              <a:gd name="connsiteX3685" fmla="*/ 5949037 w 6530564"/>
              <a:gd name="connsiteY3685" fmla="*/ 1632720 h 6858000"/>
              <a:gd name="connsiteX3686" fmla="*/ 5950036 w 6530564"/>
              <a:gd name="connsiteY3686" fmla="*/ 1637390 h 6858000"/>
              <a:gd name="connsiteX3687" fmla="*/ 5942371 w 6530564"/>
              <a:gd name="connsiteY3687" fmla="*/ 1624375 h 6858000"/>
              <a:gd name="connsiteX3688" fmla="*/ 5933029 w 6530564"/>
              <a:gd name="connsiteY3688" fmla="*/ 1626372 h 6858000"/>
              <a:gd name="connsiteX3689" fmla="*/ 5931033 w 6530564"/>
              <a:gd name="connsiteY3689" fmla="*/ 1617029 h 6858000"/>
              <a:gd name="connsiteX3690" fmla="*/ 5925364 w 6530564"/>
              <a:gd name="connsiteY3690" fmla="*/ 1613357 h 6858000"/>
              <a:gd name="connsiteX3691" fmla="*/ 5924365 w 6530564"/>
              <a:gd name="connsiteY3691" fmla="*/ 1608686 h 6858000"/>
              <a:gd name="connsiteX3692" fmla="*/ 5919695 w 6530564"/>
              <a:gd name="connsiteY3692" fmla="*/ 1609683 h 6858000"/>
              <a:gd name="connsiteX3693" fmla="*/ 5920694 w 6530564"/>
              <a:gd name="connsiteY3693" fmla="*/ 1614354 h 6858000"/>
              <a:gd name="connsiteX3694" fmla="*/ 5872349 w 6530564"/>
              <a:gd name="connsiteY3694" fmla="*/ 1570957 h 6858000"/>
              <a:gd name="connsiteX3695" fmla="*/ 5865681 w 6530564"/>
              <a:gd name="connsiteY3695" fmla="*/ 1562613 h 6858000"/>
              <a:gd name="connsiteX3696" fmla="*/ 5855341 w 6530564"/>
              <a:gd name="connsiteY3696" fmla="*/ 1559936 h 6858000"/>
              <a:gd name="connsiteX3697" fmla="*/ 5856125 w 6530564"/>
              <a:gd name="connsiteY3697" fmla="*/ 1563605 h 6858000"/>
              <a:gd name="connsiteX3698" fmla="*/ 5841049 w 6530564"/>
              <a:gd name="connsiteY3698" fmla="*/ 1551621 h 6858000"/>
              <a:gd name="connsiteX3699" fmla="*/ 5789989 w 6530564"/>
              <a:gd name="connsiteY3699" fmla="*/ 1505521 h 6858000"/>
              <a:gd name="connsiteX3700" fmla="*/ 5763639 w 6530564"/>
              <a:gd name="connsiteY3700" fmla="*/ 1496497 h 6858000"/>
              <a:gd name="connsiteX3701" fmla="*/ 5760645 w 6530564"/>
              <a:gd name="connsiteY3701" fmla="*/ 1482484 h 6858000"/>
              <a:gd name="connsiteX3702" fmla="*/ 5731302 w 6530564"/>
              <a:gd name="connsiteY3702" fmla="*/ 1459447 h 6858000"/>
              <a:gd name="connsiteX3703" fmla="*/ 5710622 w 6530564"/>
              <a:gd name="connsiteY3703" fmla="*/ 1454098 h 6858000"/>
              <a:gd name="connsiteX3704" fmla="*/ 5691620 w 6530564"/>
              <a:gd name="connsiteY3704" fmla="*/ 1433737 h 6858000"/>
              <a:gd name="connsiteX3705" fmla="*/ 5696290 w 6530564"/>
              <a:gd name="connsiteY3705" fmla="*/ 1432738 h 6858000"/>
              <a:gd name="connsiteX3706" fmla="*/ 5706631 w 6530564"/>
              <a:gd name="connsiteY3706" fmla="*/ 1435415 h 6858000"/>
              <a:gd name="connsiteX3707" fmla="*/ 5699964 w 6530564"/>
              <a:gd name="connsiteY3707" fmla="*/ 1427069 h 6858000"/>
              <a:gd name="connsiteX3708" fmla="*/ 5694295 w 6530564"/>
              <a:gd name="connsiteY3708" fmla="*/ 1423397 h 6858000"/>
              <a:gd name="connsiteX3709" fmla="*/ 5710304 w 6530564"/>
              <a:gd name="connsiteY3709" fmla="*/ 1429745 h 6858000"/>
              <a:gd name="connsiteX3710" fmla="*/ 5687628 w 6530564"/>
              <a:gd name="connsiteY3710" fmla="*/ 1415053 h 6858000"/>
              <a:gd name="connsiteX3711" fmla="*/ 5681959 w 6530564"/>
              <a:gd name="connsiteY3711" fmla="*/ 1411380 h 6858000"/>
              <a:gd name="connsiteX3712" fmla="*/ 5665951 w 6530564"/>
              <a:gd name="connsiteY3712" fmla="*/ 1405033 h 6858000"/>
              <a:gd name="connsiteX3713" fmla="*/ 5672618 w 6530564"/>
              <a:gd name="connsiteY3713" fmla="*/ 1413376 h 6858000"/>
              <a:gd name="connsiteX3714" fmla="*/ 5673615 w 6530564"/>
              <a:gd name="connsiteY3714" fmla="*/ 1418048 h 6858000"/>
              <a:gd name="connsiteX3715" fmla="*/ 5656608 w 6530564"/>
              <a:gd name="connsiteY3715" fmla="*/ 1407029 h 6858000"/>
              <a:gd name="connsiteX3716" fmla="*/ 5665271 w 6530564"/>
              <a:gd name="connsiteY3716" fmla="*/ 1424714 h 6858000"/>
              <a:gd name="connsiteX3717" fmla="*/ 5639602 w 6530564"/>
              <a:gd name="connsiteY3717" fmla="*/ 1396008 h 6858000"/>
              <a:gd name="connsiteX3718" fmla="*/ 5645271 w 6530564"/>
              <a:gd name="connsiteY3718" fmla="*/ 1399681 h 6858000"/>
              <a:gd name="connsiteX3719" fmla="*/ 5654611 w 6530564"/>
              <a:gd name="connsiteY3719" fmla="*/ 1397686 h 6858000"/>
              <a:gd name="connsiteX3720" fmla="*/ 5643275 w 6530564"/>
              <a:gd name="connsiteY3720" fmla="*/ 1390339 h 6858000"/>
              <a:gd name="connsiteX3721" fmla="*/ 5642277 w 6530564"/>
              <a:gd name="connsiteY3721" fmla="*/ 1385668 h 6858000"/>
              <a:gd name="connsiteX3722" fmla="*/ 5641279 w 6530564"/>
              <a:gd name="connsiteY3722" fmla="*/ 1380997 h 6858000"/>
              <a:gd name="connsiteX3723" fmla="*/ 5645949 w 6530564"/>
              <a:gd name="connsiteY3723" fmla="*/ 1379999 h 6858000"/>
              <a:gd name="connsiteX3724" fmla="*/ 5635609 w 6530564"/>
              <a:gd name="connsiteY3724" fmla="*/ 1377324 h 6858000"/>
              <a:gd name="connsiteX3725" fmla="*/ 5629939 w 6530564"/>
              <a:gd name="connsiteY3725" fmla="*/ 1373652 h 6858000"/>
              <a:gd name="connsiteX3726" fmla="*/ 5616607 w 6530564"/>
              <a:gd name="connsiteY3726" fmla="*/ 1356962 h 6858000"/>
              <a:gd name="connsiteX3727" fmla="*/ 5622275 w 6530564"/>
              <a:gd name="connsiteY3727" fmla="*/ 1360636 h 6858000"/>
              <a:gd name="connsiteX3728" fmla="*/ 5632616 w 6530564"/>
              <a:gd name="connsiteY3728" fmla="*/ 1363312 h 6858000"/>
              <a:gd name="connsiteX3729" fmla="*/ 5620280 w 6530564"/>
              <a:gd name="connsiteY3729" fmla="*/ 1351294 h 6858000"/>
              <a:gd name="connsiteX3730" fmla="*/ 5614611 w 6530564"/>
              <a:gd name="connsiteY3730" fmla="*/ 1347621 h 6858000"/>
              <a:gd name="connsiteX3731" fmla="*/ 5608941 w 6530564"/>
              <a:gd name="connsiteY3731" fmla="*/ 1343947 h 6858000"/>
              <a:gd name="connsiteX3732" fmla="*/ 5599600 w 6530564"/>
              <a:gd name="connsiteY3732" fmla="*/ 1345945 h 6858000"/>
              <a:gd name="connsiteX3733" fmla="*/ 5606266 w 6530564"/>
              <a:gd name="connsiteY3733" fmla="*/ 1354289 h 6858000"/>
              <a:gd name="connsiteX3734" fmla="*/ 5610937 w 6530564"/>
              <a:gd name="connsiteY3734" fmla="*/ 1353291 h 6858000"/>
              <a:gd name="connsiteX3735" fmla="*/ 5616607 w 6530564"/>
              <a:gd name="connsiteY3735" fmla="*/ 1356962 h 6858000"/>
              <a:gd name="connsiteX3736" fmla="*/ 5625269 w 6530564"/>
              <a:gd name="connsiteY3736" fmla="*/ 1374649 h 6858000"/>
              <a:gd name="connsiteX3737" fmla="*/ 5619601 w 6530564"/>
              <a:gd name="connsiteY3737" fmla="*/ 1370976 h 6858000"/>
              <a:gd name="connsiteX3738" fmla="*/ 5620599 w 6530564"/>
              <a:gd name="connsiteY3738" fmla="*/ 1375646 h 6858000"/>
              <a:gd name="connsiteX3739" fmla="*/ 5621597 w 6530564"/>
              <a:gd name="connsiteY3739" fmla="*/ 1380318 h 6858000"/>
              <a:gd name="connsiteX3740" fmla="*/ 5626267 w 6530564"/>
              <a:gd name="connsiteY3740" fmla="*/ 1379320 h 6858000"/>
              <a:gd name="connsiteX3741" fmla="*/ 5631935 w 6530564"/>
              <a:gd name="connsiteY3741" fmla="*/ 1382993 h 6858000"/>
              <a:gd name="connsiteX3742" fmla="*/ 5627265 w 6530564"/>
              <a:gd name="connsiteY3742" fmla="*/ 1383992 h 6858000"/>
              <a:gd name="connsiteX3743" fmla="*/ 5632935 w 6530564"/>
              <a:gd name="connsiteY3743" fmla="*/ 1387664 h 6858000"/>
              <a:gd name="connsiteX3744" fmla="*/ 5633931 w 6530564"/>
              <a:gd name="connsiteY3744" fmla="*/ 1392336 h 6858000"/>
              <a:gd name="connsiteX3745" fmla="*/ 5594249 w 6530564"/>
              <a:gd name="connsiteY3745" fmla="*/ 1366625 h 6858000"/>
              <a:gd name="connsiteX3746" fmla="*/ 5598919 w 6530564"/>
              <a:gd name="connsiteY3746" fmla="*/ 1365626 h 6858000"/>
              <a:gd name="connsiteX3747" fmla="*/ 5603592 w 6530564"/>
              <a:gd name="connsiteY3747" fmla="*/ 1364627 h 6858000"/>
              <a:gd name="connsiteX3748" fmla="*/ 5597922 w 6530564"/>
              <a:gd name="connsiteY3748" fmla="*/ 1360955 h 6858000"/>
              <a:gd name="connsiteX3749" fmla="*/ 5593251 w 6530564"/>
              <a:gd name="connsiteY3749" fmla="*/ 1361952 h 6858000"/>
              <a:gd name="connsiteX3750" fmla="*/ 5587582 w 6530564"/>
              <a:gd name="connsiteY3750" fmla="*/ 1358280 h 6858000"/>
              <a:gd name="connsiteX3751" fmla="*/ 5574249 w 6530564"/>
              <a:gd name="connsiteY3751" fmla="*/ 1341592 h 6858000"/>
              <a:gd name="connsiteX3752" fmla="*/ 5573250 w 6530564"/>
              <a:gd name="connsiteY3752" fmla="*/ 1336920 h 6858000"/>
              <a:gd name="connsiteX3753" fmla="*/ 5567581 w 6530564"/>
              <a:gd name="connsiteY3753" fmla="*/ 1333248 h 6858000"/>
              <a:gd name="connsiteX3754" fmla="*/ 5562910 w 6530564"/>
              <a:gd name="connsiteY3754" fmla="*/ 1334245 h 6858000"/>
              <a:gd name="connsiteX3755" fmla="*/ 5563907 w 6530564"/>
              <a:gd name="connsiteY3755" fmla="*/ 1338917 h 6858000"/>
              <a:gd name="connsiteX3756" fmla="*/ 5540235 w 6530564"/>
              <a:gd name="connsiteY3756" fmla="*/ 1319554 h 6858000"/>
              <a:gd name="connsiteX3757" fmla="*/ 5534565 w 6530564"/>
              <a:gd name="connsiteY3757" fmla="*/ 1315881 h 6858000"/>
              <a:gd name="connsiteX3758" fmla="*/ 5529895 w 6530564"/>
              <a:gd name="connsiteY3758" fmla="*/ 1316878 h 6858000"/>
              <a:gd name="connsiteX3759" fmla="*/ 5530893 w 6530564"/>
              <a:gd name="connsiteY3759" fmla="*/ 1321550 h 6858000"/>
              <a:gd name="connsiteX3760" fmla="*/ 5510213 w 6530564"/>
              <a:gd name="connsiteY3760" fmla="*/ 1316199 h 6858000"/>
              <a:gd name="connsiteX3761" fmla="*/ 5439193 w 6530564"/>
              <a:gd name="connsiteY3761" fmla="*/ 1258110 h 6858000"/>
              <a:gd name="connsiteX3762" fmla="*/ 5435519 w 6530564"/>
              <a:gd name="connsiteY3762" fmla="*/ 1263778 h 6858000"/>
              <a:gd name="connsiteX3763" fmla="*/ 5434519 w 6530564"/>
              <a:gd name="connsiteY3763" fmla="*/ 1259108 h 6858000"/>
              <a:gd name="connsiteX3764" fmla="*/ 5428851 w 6530564"/>
              <a:gd name="connsiteY3764" fmla="*/ 1255434 h 6858000"/>
              <a:gd name="connsiteX3765" fmla="*/ 5429849 w 6530564"/>
              <a:gd name="connsiteY3765" fmla="*/ 1260105 h 6858000"/>
              <a:gd name="connsiteX3766" fmla="*/ 5392843 w 6530564"/>
              <a:gd name="connsiteY3766" fmla="*/ 1224054 h 6858000"/>
              <a:gd name="connsiteX3767" fmla="*/ 5384497 w 6530564"/>
              <a:gd name="connsiteY3767" fmla="*/ 1230720 h 6858000"/>
              <a:gd name="connsiteX3768" fmla="*/ 5377830 w 6530564"/>
              <a:gd name="connsiteY3768" fmla="*/ 1222376 h 6858000"/>
              <a:gd name="connsiteX3769" fmla="*/ 5366493 w 6530564"/>
              <a:gd name="connsiteY3769" fmla="*/ 1215031 h 6858000"/>
              <a:gd name="connsiteX3770" fmla="*/ 5371164 w 6530564"/>
              <a:gd name="connsiteY3770" fmla="*/ 1214034 h 6858000"/>
              <a:gd name="connsiteX3771" fmla="*/ 5370165 w 6530564"/>
              <a:gd name="connsiteY3771" fmla="*/ 1209361 h 6858000"/>
              <a:gd name="connsiteX3772" fmla="*/ 5359825 w 6530564"/>
              <a:gd name="connsiteY3772" fmla="*/ 1206686 h 6858000"/>
              <a:gd name="connsiteX3773" fmla="*/ 5355155 w 6530564"/>
              <a:gd name="connsiteY3773" fmla="*/ 1207685 h 6858000"/>
              <a:gd name="connsiteX3774" fmla="*/ 5316471 w 6530564"/>
              <a:gd name="connsiteY3774" fmla="*/ 1186644 h 6858000"/>
              <a:gd name="connsiteX3775" fmla="*/ 5328805 w 6530564"/>
              <a:gd name="connsiteY3775" fmla="*/ 1198660 h 6858000"/>
              <a:gd name="connsiteX3776" fmla="*/ 5339148 w 6530564"/>
              <a:gd name="connsiteY3776" fmla="*/ 1201337 h 6858000"/>
              <a:gd name="connsiteX3777" fmla="*/ 5339145 w 6530564"/>
              <a:gd name="connsiteY3777" fmla="*/ 1201337 h 6858000"/>
              <a:gd name="connsiteX3778" fmla="*/ 5340143 w 6530564"/>
              <a:gd name="connsiteY3778" fmla="*/ 1206007 h 6858000"/>
              <a:gd name="connsiteX3779" fmla="*/ 5345813 w 6530564"/>
              <a:gd name="connsiteY3779" fmla="*/ 1209681 h 6858000"/>
              <a:gd name="connsiteX3780" fmla="*/ 5341141 w 6530564"/>
              <a:gd name="connsiteY3780" fmla="*/ 1210678 h 6858000"/>
              <a:gd name="connsiteX3781" fmla="*/ 5335473 w 6530564"/>
              <a:gd name="connsiteY3781" fmla="*/ 1207006 h 6858000"/>
              <a:gd name="connsiteX3782" fmla="*/ 5336470 w 6530564"/>
              <a:gd name="connsiteY3782" fmla="*/ 1211676 h 6858000"/>
              <a:gd name="connsiteX3783" fmla="*/ 5342139 w 6530564"/>
              <a:gd name="connsiteY3783" fmla="*/ 1215350 h 6858000"/>
              <a:gd name="connsiteX3784" fmla="*/ 5347809 w 6530564"/>
              <a:gd name="connsiteY3784" fmla="*/ 1219022 h 6858000"/>
              <a:gd name="connsiteX3785" fmla="*/ 5337469 w 6530564"/>
              <a:gd name="connsiteY3785" fmla="*/ 1216347 h 6858000"/>
              <a:gd name="connsiteX3786" fmla="*/ 5331799 w 6530564"/>
              <a:gd name="connsiteY3786" fmla="*/ 1212674 h 6858000"/>
              <a:gd name="connsiteX3787" fmla="*/ 5326130 w 6530564"/>
              <a:gd name="connsiteY3787" fmla="*/ 1209000 h 6858000"/>
              <a:gd name="connsiteX3788" fmla="*/ 5314793 w 6530564"/>
              <a:gd name="connsiteY3788" fmla="*/ 1201655 h 6858000"/>
              <a:gd name="connsiteX3789" fmla="*/ 5316787 w 6530564"/>
              <a:gd name="connsiteY3789" fmla="*/ 1210996 h 6858000"/>
              <a:gd name="connsiteX3790" fmla="*/ 5317786 w 6530564"/>
              <a:gd name="connsiteY3790" fmla="*/ 1215668 h 6858000"/>
              <a:gd name="connsiteX3791" fmla="*/ 5294113 w 6530564"/>
              <a:gd name="connsiteY3791" fmla="*/ 1196306 h 6858000"/>
              <a:gd name="connsiteX3792" fmla="*/ 5298783 w 6530564"/>
              <a:gd name="connsiteY3792" fmla="*/ 1195307 h 6858000"/>
              <a:gd name="connsiteX3793" fmla="*/ 5297785 w 6530564"/>
              <a:gd name="connsiteY3793" fmla="*/ 1190636 h 6858000"/>
              <a:gd name="connsiteX3794" fmla="*/ 5293114 w 6530564"/>
              <a:gd name="connsiteY3794" fmla="*/ 1191633 h 6858000"/>
              <a:gd name="connsiteX3795" fmla="*/ 5288443 w 6530564"/>
              <a:gd name="connsiteY3795" fmla="*/ 1192631 h 6858000"/>
              <a:gd name="connsiteX3796" fmla="*/ 5282775 w 6530564"/>
              <a:gd name="connsiteY3796" fmla="*/ 1188958 h 6858000"/>
              <a:gd name="connsiteX3797" fmla="*/ 5265767 w 6530564"/>
              <a:gd name="connsiteY3797" fmla="*/ 1177939 h 6858000"/>
              <a:gd name="connsiteX3798" fmla="*/ 5237741 w 6530564"/>
              <a:gd name="connsiteY3798" fmla="*/ 1183927 h 6858000"/>
              <a:gd name="connsiteX3799" fmla="*/ 5264090 w 6530564"/>
              <a:gd name="connsiteY3799" fmla="*/ 1192949 h 6858000"/>
              <a:gd name="connsiteX3800" fmla="*/ 5254749 w 6530564"/>
              <a:gd name="connsiteY3800" fmla="*/ 1194947 h 6858000"/>
              <a:gd name="connsiteX3801" fmla="*/ 5255746 w 6530564"/>
              <a:gd name="connsiteY3801" fmla="*/ 1199616 h 6858000"/>
              <a:gd name="connsiteX3802" fmla="*/ 5210394 w 6530564"/>
              <a:gd name="connsiteY3802" fmla="*/ 1170233 h 6858000"/>
              <a:gd name="connsiteX3803" fmla="*/ 5166041 w 6530564"/>
              <a:gd name="connsiteY3803" fmla="*/ 1145520 h 6858000"/>
              <a:gd name="connsiteX3804" fmla="*/ 5175383 w 6530564"/>
              <a:gd name="connsiteY3804" fmla="*/ 1143524 h 6858000"/>
              <a:gd name="connsiteX3805" fmla="*/ 5152707 w 6530564"/>
              <a:gd name="connsiteY3805" fmla="*/ 1128832 h 6858000"/>
              <a:gd name="connsiteX3806" fmla="*/ 5132025 w 6530564"/>
              <a:gd name="connsiteY3806" fmla="*/ 1123480 h 6858000"/>
              <a:gd name="connsiteX3807" fmla="*/ 5122685 w 6530564"/>
              <a:gd name="connsiteY3807" fmla="*/ 1125476 h 6858000"/>
              <a:gd name="connsiteX3808" fmla="*/ 5046313 w 6530564"/>
              <a:gd name="connsiteY3808" fmla="*/ 1088067 h 6858000"/>
              <a:gd name="connsiteX3809" fmla="*/ 5030303 w 6530564"/>
              <a:gd name="connsiteY3809" fmla="*/ 1081718 h 6858000"/>
              <a:gd name="connsiteX3810" fmla="*/ 5086675 w 6530564"/>
              <a:gd name="connsiteY3810" fmla="*/ 1094097 h 6858000"/>
              <a:gd name="connsiteX3811" fmla="*/ 5085676 w 6530564"/>
              <a:gd name="connsiteY3811" fmla="*/ 1089426 h 6858000"/>
              <a:gd name="connsiteX3812" fmla="*/ 5095019 w 6530564"/>
              <a:gd name="connsiteY3812" fmla="*/ 1087429 h 6858000"/>
              <a:gd name="connsiteX3813" fmla="*/ 5029307 w 6530564"/>
              <a:gd name="connsiteY3813" fmla="*/ 1077048 h 6858000"/>
              <a:gd name="connsiteX3814" fmla="*/ 5028309 w 6530564"/>
              <a:gd name="connsiteY3814" fmla="*/ 1072377 h 6858000"/>
              <a:gd name="connsiteX3815" fmla="*/ 5032979 w 6530564"/>
              <a:gd name="connsiteY3815" fmla="*/ 1071380 h 6858000"/>
              <a:gd name="connsiteX3816" fmla="*/ 5027310 w 6530564"/>
              <a:gd name="connsiteY3816" fmla="*/ 1067706 h 6858000"/>
              <a:gd name="connsiteX3817" fmla="*/ 5005631 w 6530564"/>
              <a:gd name="connsiteY3817" fmla="*/ 1057685 h 6858000"/>
              <a:gd name="connsiteX3818" fmla="*/ 5000961 w 6530564"/>
              <a:gd name="connsiteY3818" fmla="*/ 1058683 h 6858000"/>
              <a:gd name="connsiteX3819" fmla="*/ 4995291 w 6530564"/>
              <a:gd name="connsiteY3819" fmla="*/ 1055010 h 6858000"/>
              <a:gd name="connsiteX3820" fmla="*/ 4983954 w 6530564"/>
              <a:gd name="connsiteY3820" fmla="*/ 1047662 h 6858000"/>
              <a:gd name="connsiteX3821" fmla="*/ 4982957 w 6530564"/>
              <a:gd name="connsiteY3821" fmla="*/ 1042992 h 6858000"/>
              <a:gd name="connsiteX3822" fmla="*/ 4977287 w 6530564"/>
              <a:gd name="connsiteY3822" fmla="*/ 1039320 h 6858000"/>
              <a:gd name="connsiteX3823" fmla="*/ 4973614 w 6530564"/>
              <a:gd name="connsiteY3823" fmla="*/ 1044988 h 6858000"/>
              <a:gd name="connsiteX3824" fmla="*/ 4942594 w 6530564"/>
              <a:gd name="connsiteY3824" fmla="*/ 1036963 h 6858000"/>
              <a:gd name="connsiteX3825" fmla="*/ 4947265 w 6530564"/>
              <a:gd name="connsiteY3825" fmla="*/ 1035964 h 6858000"/>
              <a:gd name="connsiteX3826" fmla="*/ 4946267 w 6530564"/>
              <a:gd name="connsiteY3826" fmla="*/ 1031294 h 6858000"/>
              <a:gd name="connsiteX3827" fmla="*/ 4941597 w 6530564"/>
              <a:gd name="connsiteY3827" fmla="*/ 1032293 h 6858000"/>
              <a:gd name="connsiteX3828" fmla="*/ 4936925 w 6530564"/>
              <a:gd name="connsiteY3828" fmla="*/ 1033290 h 6858000"/>
              <a:gd name="connsiteX3829" fmla="*/ 4921914 w 6530564"/>
              <a:gd name="connsiteY3829" fmla="*/ 1031612 h 6858000"/>
              <a:gd name="connsiteX3830" fmla="*/ 4927583 w 6530564"/>
              <a:gd name="connsiteY3830" fmla="*/ 1035286 h 6858000"/>
              <a:gd name="connsiteX3831" fmla="*/ 4973614 w 6530564"/>
              <a:gd name="connsiteY3831" fmla="*/ 1044988 h 6858000"/>
              <a:gd name="connsiteX3832" fmla="*/ 4964271 w 6530564"/>
              <a:gd name="connsiteY3832" fmla="*/ 1046983 h 6858000"/>
              <a:gd name="connsiteX3833" fmla="*/ 4965270 w 6530564"/>
              <a:gd name="connsiteY3833" fmla="*/ 1051656 h 6858000"/>
              <a:gd name="connsiteX3834" fmla="*/ 4969940 w 6530564"/>
              <a:gd name="connsiteY3834" fmla="*/ 1050657 h 6858000"/>
              <a:gd name="connsiteX3835" fmla="*/ 4975610 w 6530564"/>
              <a:gd name="connsiteY3835" fmla="*/ 1054330 h 6858000"/>
              <a:gd name="connsiteX3836" fmla="*/ 4980281 w 6530564"/>
              <a:gd name="connsiteY3836" fmla="*/ 1053332 h 6858000"/>
              <a:gd name="connsiteX3837" fmla="*/ 4976607 w 6530564"/>
              <a:gd name="connsiteY3837" fmla="*/ 1059002 h 6858000"/>
              <a:gd name="connsiteX3838" fmla="*/ 4945587 w 6530564"/>
              <a:gd name="connsiteY3838" fmla="*/ 1050975 h 6858000"/>
              <a:gd name="connsiteX3839" fmla="*/ 4888638 w 6530564"/>
              <a:gd name="connsiteY3839" fmla="*/ 1030174 h 6858000"/>
              <a:gd name="connsiteX3840" fmla="*/ 4883576 w 6530564"/>
              <a:gd name="connsiteY3840" fmla="*/ 1028576 h 6858000"/>
              <a:gd name="connsiteX3841" fmla="*/ 4677737 w 6530564"/>
              <a:gd name="connsiteY3841" fmla="*/ 918554 h 6858000"/>
              <a:gd name="connsiteX3842" fmla="*/ 4486061 w 6530564"/>
              <a:gd name="connsiteY3842" fmla="*/ 866223 h 6858000"/>
              <a:gd name="connsiteX3843" fmla="*/ 4048372 w 6530564"/>
              <a:gd name="connsiteY3843" fmla="*/ 829950 h 6858000"/>
              <a:gd name="connsiteX3844" fmla="*/ 2878191 w 6530564"/>
              <a:gd name="connsiteY3844" fmla="*/ 1029255 h 6858000"/>
              <a:gd name="connsiteX3845" fmla="*/ 2628640 w 6530564"/>
              <a:gd name="connsiteY3845" fmla="*/ 1161658 h 6858000"/>
              <a:gd name="connsiteX3846" fmla="*/ 2250745 w 6530564"/>
              <a:gd name="connsiteY3846" fmla="*/ 1414763 h 6858000"/>
              <a:gd name="connsiteX3847" fmla="*/ 2208076 w 6530564"/>
              <a:gd name="connsiteY3847" fmla="*/ 1423878 h 6858000"/>
              <a:gd name="connsiteX3848" fmla="*/ 2202136 w 6530564"/>
              <a:gd name="connsiteY3848" fmla="*/ 1413869 h 6858000"/>
              <a:gd name="connsiteX3849" fmla="*/ 2202084 w 6530564"/>
              <a:gd name="connsiteY3849" fmla="*/ 1411629 h 6858000"/>
              <a:gd name="connsiteX3850" fmla="*/ 2206238 w 6530564"/>
              <a:gd name="connsiteY3850" fmla="*/ 1407817 h 6858000"/>
              <a:gd name="connsiteX3851" fmla="*/ 2786866 w 6530564"/>
              <a:gd name="connsiteY3851" fmla="*/ 1028640 h 6858000"/>
              <a:gd name="connsiteX3852" fmla="*/ 2792535 w 6530564"/>
              <a:gd name="connsiteY3852" fmla="*/ 1032314 h 6858000"/>
              <a:gd name="connsiteX3853" fmla="*/ 2797204 w 6530564"/>
              <a:gd name="connsiteY3853" fmla="*/ 1031315 h 6858000"/>
              <a:gd name="connsiteX3854" fmla="*/ 2802875 w 6530564"/>
              <a:gd name="connsiteY3854" fmla="*/ 1034988 h 6858000"/>
              <a:gd name="connsiteX3855" fmla="*/ 2794529 w 6530564"/>
              <a:gd name="connsiteY3855" fmla="*/ 1041655 h 6858000"/>
              <a:gd name="connsiteX3856" fmla="*/ 2795528 w 6530564"/>
              <a:gd name="connsiteY3856" fmla="*/ 1046327 h 6858000"/>
              <a:gd name="connsiteX3857" fmla="*/ 2800199 w 6530564"/>
              <a:gd name="connsiteY3857" fmla="*/ 1045328 h 6858000"/>
              <a:gd name="connsiteX3858" fmla="*/ 2804871 w 6530564"/>
              <a:gd name="connsiteY3858" fmla="*/ 1044330 h 6858000"/>
              <a:gd name="connsiteX3859" fmla="*/ 2808543 w 6530564"/>
              <a:gd name="connsiteY3859" fmla="*/ 1038660 h 6858000"/>
              <a:gd name="connsiteX3860" fmla="*/ 2813215 w 6530564"/>
              <a:gd name="connsiteY3860" fmla="*/ 1037663 h 6858000"/>
              <a:gd name="connsiteX3861" fmla="*/ 2829222 w 6530564"/>
              <a:gd name="connsiteY3861" fmla="*/ 1044011 h 6858000"/>
              <a:gd name="connsiteX3862" fmla="*/ 2830901 w 6530564"/>
              <a:gd name="connsiteY3862" fmla="*/ 1029001 h 6858000"/>
              <a:gd name="connsiteX3863" fmla="*/ 2826228 w 6530564"/>
              <a:gd name="connsiteY3863" fmla="*/ 1029998 h 6858000"/>
              <a:gd name="connsiteX3864" fmla="*/ 2825231 w 6530564"/>
              <a:gd name="connsiteY3864" fmla="*/ 1025328 h 6858000"/>
              <a:gd name="connsiteX3865" fmla="*/ 2811218 w 6530564"/>
              <a:gd name="connsiteY3865" fmla="*/ 1028322 h 6858000"/>
              <a:gd name="connsiteX3866" fmla="*/ 2807546 w 6530564"/>
              <a:gd name="connsiteY3866" fmla="*/ 1033990 h 6858000"/>
              <a:gd name="connsiteX3867" fmla="*/ 2810219 w 6530564"/>
              <a:gd name="connsiteY3867" fmla="*/ 1023650 h 6858000"/>
              <a:gd name="connsiteX3868" fmla="*/ 2814891 w 6530564"/>
              <a:gd name="connsiteY3868" fmla="*/ 1022653 h 6858000"/>
              <a:gd name="connsiteX3869" fmla="*/ 2823235 w 6530564"/>
              <a:gd name="connsiteY3869" fmla="*/ 1015986 h 6858000"/>
              <a:gd name="connsiteX3870" fmla="*/ 2818565 w 6530564"/>
              <a:gd name="connsiteY3870" fmla="*/ 1016983 h 6858000"/>
              <a:gd name="connsiteX3871" fmla="*/ 3037465 w 6530564"/>
              <a:gd name="connsiteY3871" fmla="*/ 921374 h 6858000"/>
              <a:gd name="connsiteX3872" fmla="*/ 3058147 w 6530564"/>
              <a:gd name="connsiteY3872" fmla="*/ 926725 h 6858000"/>
              <a:gd name="connsiteX3873" fmla="*/ 3046809 w 6530564"/>
              <a:gd name="connsiteY3873" fmla="*/ 919377 h 6858000"/>
              <a:gd name="connsiteX3874" fmla="*/ 3051479 w 6530564"/>
              <a:gd name="connsiteY3874" fmla="*/ 918379 h 6858000"/>
              <a:gd name="connsiteX3875" fmla="*/ 3499823 w 6530564"/>
              <a:gd name="connsiteY3875" fmla="*/ 793288 h 6858000"/>
              <a:gd name="connsiteX3876" fmla="*/ 3644023 w 6530564"/>
              <a:gd name="connsiteY3876" fmla="*/ 771778 h 6858000"/>
              <a:gd name="connsiteX3877" fmla="*/ 3664087 w 6530564"/>
              <a:gd name="connsiteY3877" fmla="*/ 769873 h 6858000"/>
              <a:gd name="connsiteX3878" fmla="*/ 3801298 w 6530564"/>
              <a:gd name="connsiteY3878" fmla="*/ 765118 h 6858000"/>
              <a:gd name="connsiteX3879" fmla="*/ 3849108 w 6530564"/>
              <a:gd name="connsiteY3879" fmla="*/ 758706 h 6858000"/>
              <a:gd name="connsiteX3880" fmla="*/ 3858639 w 6530564"/>
              <a:gd name="connsiteY3880" fmla="*/ 750773 h 6858000"/>
              <a:gd name="connsiteX3881" fmla="*/ 1876892 w 6530564"/>
              <a:gd name="connsiteY3881" fmla="*/ 560831 h 6858000"/>
              <a:gd name="connsiteX3882" fmla="*/ 1898421 w 6530564"/>
              <a:gd name="connsiteY3882" fmla="*/ 560831 h 6858000"/>
              <a:gd name="connsiteX3883" fmla="*/ 1793475 w 6530564"/>
              <a:gd name="connsiteY3883" fmla="*/ 681915 h 6858000"/>
              <a:gd name="connsiteX3884" fmla="*/ 776305 w 6530564"/>
              <a:gd name="connsiteY3884" fmla="*/ 2172579 h 6858000"/>
              <a:gd name="connsiteX3885" fmla="*/ 760159 w 6530564"/>
              <a:gd name="connsiteY3885" fmla="*/ 2226393 h 6858000"/>
              <a:gd name="connsiteX3886" fmla="*/ 674049 w 6530564"/>
              <a:gd name="connsiteY3886" fmla="*/ 2724179 h 6858000"/>
              <a:gd name="connsiteX3887" fmla="*/ 622922 w 6530564"/>
              <a:gd name="connsiteY3887" fmla="*/ 3181602 h 6858000"/>
              <a:gd name="connsiteX3888" fmla="*/ 668667 w 6530564"/>
              <a:gd name="connsiteY3888" fmla="*/ 3073973 h 6858000"/>
              <a:gd name="connsiteX3889" fmla="*/ 725177 w 6530564"/>
              <a:gd name="connsiteY3889" fmla="*/ 2664982 h 6858000"/>
              <a:gd name="connsiteX3890" fmla="*/ 1438272 w 6530564"/>
              <a:gd name="connsiteY3890" fmla="*/ 1155483 h 6858000"/>
              <a:gd name="connsiteX3891" fmla="*/ 1629328 w 6530564"/>
              <a:gd name="connsiteY3891" fmla="*/ 999420 h 6858000"/>
              <a:gd name="connsiteX3892" fmla="*/ 1669692 w 6530564"/>
              <a:gd name="connsiteY3892" fmla="*/ 929461 h 6858000"/>
              <a:gd name="connsiteX3893" fmla="*/ 1739655 w 6530564"/>
              <a:gd name="connsiteY3893" fmla="*/ 848740 h 6858000"/>
              <a:gd name="connsiteX3894" fmla="*/ 1817693 w 6530564"/>
              <a:gd name="connsiteY3894" fmla="*/ 837977 h 6858000"/>
              <a:gd name="connsiteX3895" fmla="*/ 1715438 w 6530564"/>
              <a:gd name="connsiteY3895" fmla="*/ 953679 h 6858000"/>
              <a:gd name="connsiteX3896" fmla="*/ 1403290 w 6530564"/>
              <a:gd name="connsiteY3896" fmla="*/ 1335761 h 6858000"/>
              <a:gd name="connsiteX3897" fmla="*/ 1352163 w 6530564"/>
              <a:gd name="connsiteY3897" fmla="*/ 1448772 h 6858000"/>
              <a:gd name="connsiteX3898" fmla="*/ 1314489 w 6530564"/>
              <a:gd name="connsiteY3898" fmla="*/ 1532185 h 6858000"/>
              <a:gd name="connsiteX3899" fmla="*/ 1072307 w 6530564"/>
              <a:gd name="connsiteY3899" fmla="*/ 1965393 h 6858000"/>
              <a:gd name="connsiteX3900" fmla="*/ 1069616 w 6530564"/>
              <a:gd name="connsiteY3900" fmla="*/ 1997681 h 6858000"/>
              <a:gd name="connsiteX3901" fmla="*/ 1099217 w 6530564"/>
              <a:gd name="connsiteY3901" fmla="*/ 1970774 h 6858000"/>
              <a:gd name="connsiteX3902" fmla="*/ 1494782 w 6530564"/>
              <a:gd name="connsiteY3902" fmla="*/ 1327690 h 6858000"/>
              <a:gd name="connsiteX3903" fmla="*/ 1510927 w 6530564"/>
              <a:gd name="connsiteY3903" fmla="*/ 1303472 h 6858000"/>
              <a:gd name="connsiteX3904" fmla="*/ 1540528 w 6530564"/>
              <a:gd name="connsiteY3904" fmla="*/ 1300782 h 6858000"/>
              <a:gd name="connsiteX3905" fmla="*/ 1540528 w 6530564"/>
              <a:gd name="connsiteY3905" fmla="*/ 1330381 h 6858000"/>
              <a:gd name="connsiteX3906" fmla="*/ 1217616 w 6530564"/>
              <a:gd name="connsiteY3906" fmla="*/ 1836238 h 6858000"/>
              <a:gd name="connsiteX3907" fmla="*/ 1201472 w 6530564"/>
              <a:gd name="connsiteY3907" fmla="*/ 1865836 h 6858000"/>
              <a:gd name="connsiteX3908" fmla="*/ 1034634 w 6530564"/>
              <a:gd name="connsiteY3908" fmla="*/ 2315188 h 6858000"/>
              <a:gd name="connsiteX3909" fmla="*/ 886633 w 6530564"/>
              <a:gd name="connsiteY3909" fmla="*/ 3316138 h 6858000"/>
              <a:gd name="connsiteX3910" fmla="*/ 886633 w 6530564"/>
              <a:gd name="connsiteY3910" fmla="*/ 3345737 h 6858000"/>
              <a:gd name="connsiteX3911" fmla="*/ 910852 w 6530564"/>
              <a:gd name="connsiteY3911" fmla="*/ 3286541 h 6858000"/>
              <a:gd name="connsiteX3912" fmla="*/ 912039 w 6530564"/>
              <a:gd name="connsiteY3912" fmla="*/ 3267394 h 6858000"/>
              <a:gd name="connsiteX3913" fmla="*/ 911945 w 6530564"/>
              <a:gd name="connsiteY3913" fmla="*/ 3235898 h 6858000"/>
              <a:gd name="connsiteX3914" fmla="*/ 932891 w 6530564"/>
              <a:gd name="connsiteY3914" fmla="*/ 2963742 h 6858000"/>
              <a:gd name="connsiteX3915" fmla="*/ 935203 w 6530564"/>
              <a:gd name="connsiteY3915" fmla="*/ 2950827 h 6858000"/>
              <a:gd name="connsiteX3916" fmla="*/ 936942 w 6530564"/>
              <a:gd name="connsiteY3916" fmla="*/ 2948948 h 6858000"/>
              <a:gd name="connsiteX3917" fmla="*/ 967110 w 6530564"/>
              <a:gd name="connsiteY3917" fmla="*/ 2742550 h 6858000"/>
              <a:gd name="connsiteX3918" fmla="*/ 1653547 w 6530564"/>
              <a:gd name="connsiteY3918" fmla="*/ 1308854 h 6858000"/>
              <a:gd name="connsiteX3919" fmla="*/ 2092167 w 6530564"/>
              <a:gd name="connsiteY3919" fmla="*/ 889101 h 6858000"/>
              <a:gd name="connsiteX3920" fmla="*/ 2137913 w 6530564"/>
              <a:gd name="connsiteY3920" fmla="*/ 856811 h 6858000"/>
              <a:gd name="connsiteX3921" fmla="*/ 2108312 w 6530564"/>
              <a:gd name="connsiteY3921" fmla="*/ 940224 h 6858000"/>
              <a:gd name="connsiteX3922" fmla="*/ 2046421 w 6530564"/>
              <a:gd name="connsiteY3922" fmla="*/ 1055926 h 6858000"/>
              <a:gd name="connsiteX3923" fmla="*/ 2016821 w 6530564"/>
              <a:gd name="connsiteY3923" fmla="*/ 1093597 h 6858000"/>
              <a:gd name="connsiteX3924" fmla="*/ 1774638 w 6530564"/>
              <a:gd name="connsiteY3924" fmla="*/ 1349215 h 6858000"/>
              <a:gd name="connsiteX3925" fmla="*/ 1777328 w 6530564"/>
              <a:gd name="connsiteY3925" fmla="*/ 1386886 h 6858000"/>
              <a:gd name="connsiteX3926" fmla="*/ 1766565 w 6530564"/>
              <a:gd name="connsiteY3926" fmla="*/ 1421865 h 6858000"/>
              <a:gd name="connsiteX3927" fmla="*/ 1352163 w 6530564"/>
              <a:gd name="connsiteY3927" fmla="*/ 2091856 h 6858000"/>
              <a:gd name="connsiteX3928" fmla="*/ 1101907 w 6530564"/>
              <a:gd name="connsiteY3928" fmla="*/ 3087427 h 6858000"/>
              <a:gd name="connsiteX3929" fmla="*/ 1102580 w 6530564"/>
              <a:gd name="connsiteY3929" fmla="*/ 3094154 h 6858000"/>
              <a:gd name="connsiteX3930" fmla="*/ 1104570 w 6530564"/>
              <a:gd name="connsiteY3930" fmla="*/ 3100406 h 6858000"/>
              <a:gd name="connsiteX3931" fmla="*/ 1113843 w 6530564"/>
              <a:gd name="connsiteY3931" fmla="*/ 2999101 h 6858000"/>
              <a:gd name="connsiteX3932" fmla="*/ 1236682 w 6530564"/>
              <a:gd name="connsiteY3932" fmla="*/ 2487179 h 6858000"/>
              <a:gd name="connsiteX3933" fmla="*/ 1249712 w 6530564"/>
              <a:gd name="connsiteY3933" fmla="*/ 2472227 h 6858000"/>
              <a:gd name="connsiteX3934" fmla="*/ 1144152 w 6530564"/>
              <a:gd name="connsiteY3934" fmla="*/ 2998820 h 6858000"/>
              <a:gd name="connsiteX3935" fmla="*/ 1143877 w 6530564"/>
              <a:gd name="connsiteY3935" fmla="*/ 3001792 h 6858000"/>
              <a:gd name="connsiteX3936" fmla="*/ 1144625 w 6530564"/>
              <a:gd name="connsiteY3936" fmla="*/ 2999599 h 6858000"/>
              <a:gd name="connsiteX3937" fmla="*/ 1220307 w 6530564"/>
              <a:gd name="connsiteY3937" fmla="*/ 2673054 h 6858000"/>
              <a:gd name="connsiteX3938" fmla="*/ 1182634 w 6530564"/>
              <a:gd name="connsiteY3938" fmla="*/ 3001323 h 6858000"/>
              <a:gd name="connsiteX3939" fmla="*/ 1177230 w 6530564"/>
              <a:gd name="connsiteY3939" fmla="*/ 3017964 h 6858000"/>
              <a:gd name="connsiteX3940" fmla="*/ 1193129 w 6530564"/>
              <a:gd name="connsiteY3940" fmla="*/ 3023733 h 6858000"/>
              <a:gd name="connsiteX3941" fmla="*/ 1207684 w 6530564"/>
              <a:gd name="connsiteY3941" fmla="*/ 3006427 h 6858000"/>
              <a:gd name="connsiteX3942" fmla="*/ 1314361 w 6530564"/>
              <a:gd name="connsiteY3942" fmla="*/ 2537505 h 6858000"/>
              <a:gd name="connsiteX3943" fmla="*/ 1324018 w 6530564"/>
              <a:gd name="connsiteY3943" fmla="*/ 2510631 h 6858000"/>
              <a:gd name="connsiteX3944" fmla="*/ 1336954 w 6530564"/>
              <a:gd name="connsiteY3944" fmla="*/ 2510369 h 6858000"/>
              <a:gd name="connsiteX3945" fmla="*/ 1346335 w 6530564"/>
              <a:gd name="connsiteY3945" fmla="*/ 2515455 h 6858000"/>
              <a:gd name="connsiteX3946" fmla="*/ 1341475 w 6530564"/>
              <a:gd name="connsiteY3946" fmla="*/ 2526822 h 6858000"/>
              <a:gd name="connsiteX3947" fmla="*/ 1206129 w 6530564"/>
              <a:gd name="connsiteY3947" fmla="*/ 3017246 h 6858000"/>
              <a:gd name="connsiteX3948" fmla="*/ 1190428 w 6530564"/>
              <a:gd name="connsiteY3948" fmla="*/ 3134619 h 6858000"/>
              <a:gd name="connsiteX3949" fmla="*/ 1188018 w 6530564"/>
              <a:gd name="connsiteY3949" fmla="*/ 3178911 h 6858000"/>
              <a:gd name="connsiteX3950" fmla="*/ 1189026 w 6530564"/>
              <a:gd name="connsiteY3950" fmla="*/ 3548551 h 6858000"/>
              <a:gd name="connsiteX3951" fmla="*/ 1205813 w 6530564"/>
              <a:gd name="connsiteY3951" fmla="*/ 3671558 h 6858000"/>
              <a:gd name="connsiteX3952" fmla="*/ 1210772 w 6530564"/>
              <a:gd name="connsiteY3952" fmla="*/ 3356381 h 6858000"/>
              <a:gd name="connsiteX3953" fmla="*/ 1341421 w 6530564"/>
              <a:gd name="connsiteY3953" fmla="*/ 2696971 h 6858000"/>
              <a:gd name="connsiteX3954" fmla="*/ 1356818 w 6530564"/>
              <a:gd name="connsiteY3954" fmla="*/ 2655264 h 6858000"/>
              <a:gd name="connsiteX3955" fmla="*/ 1364300 w 6530564"/>
              <a:gd name="connsiteY3955" fmla="*/ 2638368 h 6858000"/>
              <a:gd name="connsiteX3956" fmla="*/ 1403642 w 6530564"/>
              <a:gd name="connsiteY3956" fmla="*/ 2528432 h 6858000"/>
              <a:gd name="connsiteX3957" fmla="*/ 1418816 w 6530564"/>
              <a:gd name="connsiteY3957" fmla="*/ 2487337 h 6858000"/>
              <a:gd name="connsiteX3958" fmla="*/ 1885305 w 6530564"/>
              <a:gd name="connsiteY3958" fmla="*/ 1726888 h 6858000"/>
              <a:gd name="connsiteX3959" fmla="*/ 1887481 w 6530564"/>
              <a:gd name="connsiteY3959" fmla="*/ 1724542 h 6858000"/>
              <a:gd name="connsiteX3960" fmla="*/ 1876956 w 6530564"/>
              <a:gd name="connsiteY3960" fmla="*/ 1747601 h 6858000"/>
              <a:gd name="connsiteX3961" fmla="*/ 1845344 w 6530564"/>
              <a:gd name="connsiteY3961" fmla="*/ 1795419 h 6858000"/>
              <a:gd name="connsiteX3962" fmla="*/ 1341756 w 6530564"/>
              <a:gd name="connsiteY3962" fmla="*/ 3026454 h 6858000"/>
              <a:gd name="connsiteX3963" fmla="*/ 1338404 w 6530564"/>
              <a:gd name="connsiteY3963" fmla="*/ 3067727 h 6858000"/>
              <a:gd name="connsiteX3964" fmla="*/ 1352994 w 6530564"/>
              <a:gd name="connsiteY3964" fmla="*/ 3439768 h 6858000"/>
              <a:gd name="connsiteX3965" fmla="*/ 1386580 w 6530564"/>
              <a:gd name="connsiteY3965" fmla="*/ 3777331 h 6858000"/>
              <a:gd name="connsiteX3966" fmla="*/ 1402977 w 6530564"/>
              <a:gd name="connsiteY3966" fmla="*/ 3692713 h 6858000"/>
              <a:gd name="connsiteX3967" fmla="*/ 1380729 w 6530564"/>
              <a:gd name="connsiteY3967" fmla="*/ 3389229 h 6858000"/>
              <a:gd name="connsiteX3968" fmla="*/ 1662254 w 6530564"/>
              <a:gd name="connsiteY3968" fmla="*/ 2191442 h 6858000"/>
              <a:gd name="connsiteX3969" fmla="*/ 1775928 w 6530564"/>
              <a:gd name="connsiteY3969" fmla="*/ 2049539 h 6858000"/>
              <a:gd name="connsiteX3970" fmla="*/ 1794248 w 6530564"/>
              <a:gd name="connsiteY3970" fmla="*/ 1992901 h 6858000"/>
              <a:gd name="connsiteX3971" fmla="*/ 1832245 w 6530564"/>
              <a:gd name="connsiteY3971" fmla="*/ 1923946 h 6858000"/>
              <a:gd name="connsiteX3972" fmla="*/ 1886833 w 6530564"/>
              <a:gd name="connsiteY3972" fmla="*/ 1904172 h 6858000"/>
              <a:gd name="connsiteX3973" fmla="*/ 1830946 w 6530564"/>
              <a:gd name="connsiteY3973" fmla="*/ 2003310 h 6858000"/>
              <a:gd name="connsiteX3974" fmla="*/ 1664800 w 6530564"/>
              <a:gd name="connsiteY3974" fmla="*/ 2326766 h 6858000"/>
              <a:gd name="connsiteX3975" fmla="*/ 1645352 w 6530564"/>
              <a:gd name="connsiteY3975" fmla="*/ 2416092 h 6858000"/>
              <a:gd name="connsiteX3976" fmla="*/ 1631044 w 6530564"/>
              <a:gd name="connsiteY3976" fmla="*/ 2482013 h 6858000"/>
              <a:gd name="connsiteX3977" fmla="*/ 1523196 w 6530564"/>
              <a:gd name="connsiteY3977" fmla="*/ 2831542 h 6858000"/>
              <a:gd name="connsiteX3978" fmla="*/ 1526229 w 6530564"/>
              <a:gd name="connsiteY3978" fmla="*/ 2855229 h 6858000"/>
              <a:gd name="connsiteX3979" fmla="*/ 1534614 w 6530564"/>
              <a:gd name="connsiteY3979" fmla="*/ 2850072 h 6858000"/>
              <a:gd name="connsiteX3980" fmla="*/ 1531478 w 6530564"/>
              <a:gd name="connsiteY3980" fmla="*/ 2868343 h 6858000"/>
              <a:gd name="connsiteX3981" fmla="*/ 1530525 w 6530564"/>
              <a:gd name="connsiteY3981" fmla="*/ 2870743 h 6858000"/>
              <a:gd name="connsiteX3982" fmla="*/ 1530643 w 6530564"/>
              <a:gd name="connsiteY3982" fmla="*/ 2867299 h 6858000"/>
              <a:gd name="connsiteX3983" fmla="*/ 1527396 w 6530564"/>
              <a:gd name="connsiteY3983" fmla="*/ 2860667 h 6858000"/>
              <a:gd name="connsiteX3984" fmla="*/ 1520049 w 6530564"/>
              <a:gd name="connsiteY3984" fmla="*/ 2872005 h 6858000"/>
              <a:gd name="connsiteX3985" fmla="*/ 1521048 w 6530564"/>
              <a:gd name="connsiteY3985" fmla="*/ 2876676 h 6858000"/>
              <a:gd name="connsiteX3986" fmla="*/ 1521727 w 6530564"/>
              <a:gd name="connsiteY3986" fmla="*/ 2856995 h 6858000"/>
              <a:gd name="connsiteX3987" fmla="*/ 1511385 w 6530564"/>
              <a:gd name="connsiteY3987" fmla="*/ 2854318 h 6858000"/>
              <a:gd name="connsiteX3988" fmla="*/ 1498690 w 6530564"/>
              <a:gd name="connsiteY3988" fmla="*/ 2886335 h 6858000"/>
              <a:gd name="connsiteX3989" fmla="*/ 1499687 w 6530564"/>
              <a:gd name="connsiteY3989" fmla="*/ 2891007 h 6858000"/>
              <a:gd name="connsiteX3990" fmla="*/ 1495017 w 6530564"/>
              <a:gd name="connsiteY3990" fmla="*/ 2892005 h 6858000"/>
              <a:gd name="connsiteX3991" fmla="*/ 1496015 w 6530564"/>
              <a:gd name="connsiteY3991" fmla="*/ 2896677 h 6858000"/>
              <a:gd name="connsiteX3992" fmla="*/ 1497013 w 6530564"/>
              <a:gd name="connsiteY3992" fmla="*/ 2901348 h 6858000"/>
              <a:gd name="connsiteX3993" fmla="*/ 1500687 w 6530564"/>
              <a:gd name="connsiteY3993" fmla="*/ 2895679 h 6858000"/>
              <a:gd name="connsiteX3994" fmla="*/ 1500005 w 6530564"/>
              <a:gd name="connsiteY3994" fmla="*/ 2915361 h 6858000"/>
              <a:gd name="connsiteX3995" fmla="*/ 1504677 w 6530564"/>
              <a:gd name="connsiteY3995" fmla="*/ 2914363 h 6858000"/>
              <a:gd name="connsiteX3996" fmla="*/ 1514701 w 6530564"/>
              <a:gd name="connsiteY3996" fmla="*/ 2892685 h 6858000"/>
              <a:gd name="connsiteX3997" fmla="*/ 1519370 w 6530564"/>
              <a:gd name="connsiteY3997" fmla="*/ 2891687 h 6858000"/>
              <a:gd name="connsiteX3998" fmla="*/ 1515697 w 6530564"/>
              <a:gd name="connsiteY3998" fmla="*/ 2897355 h 6858000"/>
              <a:gd name="connsiteX3999" fmla="*/ 1522365 w 6530564"/>
              <a:gd name="connsiteY3999" fmla="*/ 2905700 h 6858000"/>
              <a:gd name="connsiteX4000" fmla="*/ 1525039 w 6530564"/>
              <a:gd name="connsiteY4000" fmla="*/ 2895360 h 6858000"/>
              <a:gd name="connsiteX4001" fmla="*/ 1524041 w 6530564"/>
              <a:gd name="connsiteY4001" fmla="*/ 2890688 h 6858000"/>
              <a:gd name="connsiteX4002" fmla="*/ 1527714 w 6530564"/>
              <a:gd name="connsiteY4002" fmla="*/ 2885020 h 6858000"/>
              <a:gd name="connsiteX4003" fmla="*/ 1518010 w 6530564"/>
              <a:gd name="connsiteY4003" fmla="*/ 2931050 h 6858000"/>
              <a:gd name="connsiteX4004" fmla="*/ 1529349 w 6530564"/>
              <a:gd name="connsiteY4004" fmla="*/ 2938396 h 6858000"/>
              <a:gd name="connsiteX4005" fmla="*/ 1530348 w 6530564"/>
              <a:gd name="connsiteY4005" fmla="*/ 2943068 h 6858000"/>
              <a:gd name="connsiteX4006" fmla="*/ 1524678 w 6530564"/>
              <a:gd name="connsiteY4006" fmla="*/ 2939395 h 6858000"/>
              <a:gd name="connsiteX4007" fmla="*/ 1523680 w 6530564"/>
              <a:gd name="connsiteY4007" fmla="*/ 2934724 h 6858000"/>
              <a:gd name="connsiteX4008" fmla="*/ 1519008 w 6530564"/>
              <a:gd name="connsiteY4008" fmla="*/ 2935721 h 6858000"/>
              <a:gd name="connsiteX4009" fmla="*/ 1516334 w 6530564"/>
              <a:gd name="connsiteY4009" fmla="*/ 2946061 h 6858000"/>
              <a:gd name="connsiteX4010" fmla="*/ 1517333 w 6530564"/>
              <a:gd name="connsiteY4010" fmla="*/ 2950732 h 6858000"/>
              <a:gd name="connsiteX4011" fmla="*/ 1509986 w 6530564"/>
              <a:gd name="connsiteY4011" fmla="*/ 2962070 h 6858000"/>
              <a:gd name="connsiteX4012" fmla="*/ 1507991 w 6530564"/>
              <a:gd name="connsiteY4012" fmla="*/ 2952728 h 6858000"/>
              <a:gd name="connsiteX4013" fmla="*/ 1503320 w 6530564"/>
              <a:gd name="connsiteY4013" fmla="*/ 2953726 h 6858000"/>
              <a:gd name="connsiteX4014" fmla="*/ 1500643 w 6530564"/>
              <a:gd name="connsiteY4014" fmla="*/ 2964066 h 6858000"/>
              <a:gd name="connsiteX4015" fmla="*/ 1502641 w 6530564"/>
              <a:gd name="connsiteY4015" fmla="*/ 2973409 h 6858000"/>
              <a:gd name="connsiteX4016" fmla="*/ 1514976 w 6530564"/>
              <a:gd name="connsiteY4016" fmla="*/ 2985426 h 6858000"/>
              <a:gd name="connsiteX4017" fmla="*/ 1513299 w 6530564"/>
              <a:gd name="connsiteY4017" fmla="*/ 3000436 h 6858000"/>
              <a:gd name="connsiteX4018" fmla="*/ 1495570 w 6530564"/>
              <a:gd name="connsiteY4018" fmla="*/ 3077486 h 6858000"/>
              <a:gd name="connsiteX4019" fmla="*/ 1489902 w 6530564"/>
              <a:gd name="connsiteY4019" fmla="*/ 3073814 h 6858000"/>
              <a:gd name="connsiteX4020" fmla="*/ 1490900 w 6530564"/>
              <a:gd name="connsiteY4020" fmla="*/ 3078485 h 6858000"/>
              <a:gd name="connsiteX4021" fmla="*/ 1486228 w 6530564"/>
              <a:gd name="connsiteY4021" fmla="*/ 3079482 h 6858000"/>
              <a:gd name="connsiteX4022" fmla="*/ 1480559 w 6530564"/>
              <a:gd name="connsiteY4022" fmla="*/ 3075811 h 6858000"/>
              <a:gd name="connsiteX4023" fmla="*/ 1485591 w 6530564"/>
              <a:gd name="connsiteY4023" fmla="*/ 3030777 h 6858000"/>
              <a:gd name="connsiteX4024" fmla="*/ 1491260 w 6530564"/>
              <a:gd name="connsiteY4024" fmla="*/ 3034450 h 6858000"/>
              <a:gd name="connsiteX4025" fmla="*/ 1496610 w 6530564"/>
              <a:gd name="connsiteY4025" fmla="*/ 3013770 h 6858000"/>
              <a:gd name="connsiteX4026" fmla="*/ 1489264 w 6530564"/>
              <a:gd name="connsiteY4026" fmla="*/ 3025108 h 6858000"/>
              <a:gd name="connsiteX4027" fmla="*/ 1489944 w 6530564"/>
              <a:gd name="connsiteY4027" fmla="*/ 3005426 h 6858000"/>
              <a:gd name="connsiteX4028" fmla="*/ 1488945 w 6530564"/>
              <a:gd name="connsiteY4028" fmla="*/ 3000755 h 6858000"/>
              <a:gd name="connsiteX4029" fmla="*/ 1492619 w 6530564"/>
              <a:gd name="connsiteY4029" fmla="*/ 2995087 h 6858000"/>
              <a:gd name="connsiteX4030" fmla="*/ 1491621 w 6530564"/>
              <a:gd name="connsiteY4030" fmla="*/ 2990414 h 6858000"/>
              <a:gd name="connsiteX4031" fmla="*/ 1490623 w 6530564"/>
              <a:gd name="connsiteY4031" fmla="*/ 2985745 h 6858000"/>
              <a:gd name="connsiteX4032" fmla="*/ 1482279 w 6530564"/>
              <a:gd name="connsiteY4032" fmla="*/ 2992412 h 6858000"/>
              <a:gd name="connsiteX4033" fmla="*/ 1479604 w 6530564"/>
              <a:gd name="connsiteY4033" fmla="*/ 3002751 h 6858000"/>
              <a:gd name="connsiteX4034" fmla="*/ 1480602 w 6530564"/>
              <a:gd name="connsiteY4034" fmla="*/ 3007422 h 6858000"/>
              <a:gd name="connsiteX4035" fmla="*/ 1485271 w 6530564"/>
              <a:gd name="connsiteY4035" fmla="*/ 3006424 h 6858000"/>
              <a:gd name="connsiteX4036" fmla="*/ 1475889 w 6530564"/>
              <a:gd name="connsiteY4036" fmla="*/ 3076809 h 6858000"/>
              <a:gd name="connsiteX4037" fmla="*/ 1472215 w 6530564"/>
              <a:gd name="connsiteY4037" fmla="*/ 3082477 h 6858000"/>
              <a:gd name="connsiteX4038" fmla="*/ 1469540 w 6530564"/>
              <a:gd name="connsiteY4038" fmla="*/ 3092817 h 6858000"/>
              <a:gd name="connsiteX4039" fmla="*/ 1474211 w 6530564"/>
              <a:gd name="connsiteY4039" fmla="*/ 3091818 h 6858000"/>
              <a:gd name="connsiteX4040" fmla="*/ 1466185 w 6530564"/>
              <a:gd name="connsiteY4040" fmla="*/ 3122840 h 6858000"/>
              <a:gd name="connsiteX4041" fmla="*/ 1463510 w 6530564"/>
              <a:gd name="connsiteY4041" fmla="*/ 3133178 h 6858000"/>
              <a:gd name="connsiteX4042" fmla="*/ 1464509 w 6530564"/>
              <a:gd name="connsiteY4042" fmla="*/ 3137850 h 6858000"/>
              <a:gd name="connsiteX4043" fmla="*/ 1469179 w 6530564"/>
              <a:gd name="connsiteY4043" fmla="*/ 3136851 h 6858000"/>
              <a:gd name="connsiteX4044" fmla="*/ 1458437 w 6530564"/>
              <a:gd name="connsiteY4044" fmla="*/ 3246598 h 6858000"/>
              <a:gd name="connsiteX4045" fmla="*/ 1454763 w 6530564"/>
              <a:gd name="connsiteY4045" fmla="*/ 3252269 h 6858000"/>
              <a:gd name="connsiteX4046" fmla="*/ 1455762 w 6530564"/>
              <a:gd name="connsiteY4046" fmla="*/ 3256940 h 6858000"/>
              <a:gd name="connsiteX4047" fmla="*/ 1456759 w 6530564"/>
              <a:gd name="connsiteY4047" fmla="*/ 3261610 h 6858000"/>
              <a:gd name="connsiteX4048" fmla="*/ 1452407 w 6530564"/>
              <a:gd name="connsiteY4048" fmla="*/ 3286961 h 6858000"/>
              <a:gd name="connsiteX4049" fmla="*/ 1448735 w 6530564"/>
              <a:gd name="connsiteY4049" fmla="*/ 3292631 h 6858000"/>
              <a:gd name="connsiteX4050" fmla="*/ 1450729 w 6530564"/>
              <a:gd name="connsiteY4050" fmla="*/ 3301973 h 6858000"/>
              <a:gd name="connsiteX4051" fmla="*/ 1451728 w 6530564"/>
              <a:gd name="connsiteY4051" fmla="*/ 3306644 h 6858000"/>
              <a:gd name="connsiteX4052" fmla="*/ 1448054 w 6530564"/>
              <a:gd name="connsiteY4052" fmla="*/ 3312312 h 6858000"/>
              <a:gd name="connsiteX4053" fmla="*/ 1449053 w 6530564"/>
              <a:gd name="connsiteY4053" fmla="*/ 3316984 h 6858000"/>
              <a:gd name="connsiteX4054" fmla="*/ 1455040 w 6530564"/>
              <a:gd name="connsiteY4054" fmla="*/ 3345009 h 6858000"/>
              <a:gd name="connsiteX4055" fmla="*/ 1451367 w 6530564"/>
              <a:gd name="connsiteY4055" fmla="*/ 3350678 h 6858000"/>
              <a:gd name="connsiteX4056" fmla="*/ 1452366 w 6530564"/>
              <a:gd name="connsiteY4056" fmla="*/ 3355351 h 6858000"/>
              <a:gd name="connsiteX4057" fmla="*/ 1450688 w 6530564"/>
              <a:gd name="connsiteY4057" fmla="*/ 3370360 h 6858000"/>
              <a:gd name="connsiteX4058" fmla="*/ 1451686 w 6530564"/>
              <a:gd name="connsiteY4058" fmla="*/ 3375030 h 6858000"/>
              <a:gd name="connsiteX4059" fmla="*/ 1445656 w 6530564"/>
              <a:gd name="connsiteY4059" fmla="*/ 3415393 h 6858000"/>
              <a:gd name="connsiteX4060" fmla="*/ 1446653 w 6530564"/>
              <a:gd name="connsiteY4060" fmla="*/ 3420063 h 6858000"/>
              <a:gd name="connsiteX4061" fmla="*/ 1441983 w 6530564"/>
              <a:gd name="connsiteY4061" fmla="*/ 3421062 h 6858000"/>
              <a:gd name="connsiteX4062" fmla="*/ 1442981 w 6530564"/>
              <a:gd name="connsiteY4062" fmla="*/ 3425733 h 6858000"/>
              <a:gd name="connsiteX4063" fmla="*/ 1443979 w 6530564"/>
              <a:gd name="connsiteY4063" fmla="*/ 3430404 h 6858000"/>
              <a:gd name="connsiteX4064" fmla="*/ 1448650 w 6530564"/>
              <a:gd name="connsiteY4064" fmla="*/ 3429407 h 6858000"/>
              <a:gd name="connsiteX4065" fmla="*/ 1446973 w 6530564"/>
              <a:gd name="connsiteY4065" fmla="*/ 3444417 h 6858000"/>
              <a:gd name="connsiteX4066" fmla="*/ 1445976 w 6530564"/>
              <a:gd name="connsiteY4066" fmla="*/ 3439745 h 6858000"/>
              <a:gd name="connsiteX4067" fmla="*/ 1445295 w 6530564"/>
              <a:gd name="connsiteY4067" fmla="*/ 3459428 h 6858000"/>
              <a:gd name="connsiteX4068" fmla="*/ 1448290 w 6530564"/>
              <a:gd name="connsiteY4068" fmla="*/ 3473441 h 6858000"/>
              <a:gd name="connsiteX4069" fmla="*/ 1444616 w 6530564"/>
              <a:gd name="connsiteY4069" fmla="*/ 3479111 h 6858000"/>
              <a:gd name="connsiteX4070" fmla="*/ 1445615 w 6530564"/>
              <a:gd name="connsiteY4070" fmla="*/ 3483781 h 6858000"/>
              <a:gd name="connsiteX4071" fmla="*/ 1441943 w 6530564"/>
              <a:gd name="connsiteY4071" fmla="*/ 3489449 h 6858000"/>
              <a:gd name="connsiteX4072" fmla="*/ 1442939 w 6530564"/>
              <a:gd name="connsiteY4072" fmla="*/ 3494121 h 6858000"/>
              <a:gd name="connsiteX4073" fmla="*/ 1447611 w 6530564"/>
              <a:gd name="connsiteY4073" fmla="*/ 3493123 h 6858000"/>
              <a:gd name="connsiteX4074" fmla="*/ 1456592 w 6530564"/>
              <a:gd name="connsiteY4074" fmla="*/ 3535162 h 6858000"/>
              <a:gd name="connsiteX4075" fmla="*/ 1450922 w 6530564"/>
              <a:gd name="connsiteY4075" fmla="*/ 3531488 h 6858000"/>
              <a:gd name="connsiteX4076" fmla="*/ 1446252 w 6530564"/>
              <a:gd name="connsiteY4076" fmla="*/ 3532487 h 6858000"/>
              <a:gd name="connsiteX4077" fmla="*/ 1448249 w 6530564"/>
              <a:gd name="connsiteY4077" fmla="*/ 3541828 h 6858000"/>
              <a:gd name="connsiteX4078" fmla="*/ 1449247 w 6530564"/>
              <a:gd name="connsiteY4078" fmla="*/ 3546500 h 6858000"/>
              <a:gd name="connsiteX4079" fmla="*/ 1449883 w 6530564"/>
              <a:gd name="connsiteY4079" fmla="*/ 3595205 h 6858000"/>
              <a:gd name="connsiteX4080" fmla="*/ 1454554 w 6530564"/>
              <a:gd name="connsiteY4080" fmla="*/ 3594207 h 6858000"/>
              <a:gd name="connsiteX4081" fmla="*/ 1450880 w 6530564"/>
              <a:gd name="connsiteY4081" fmla="*/ 3599876 h 6858000"/>
              <a:gd name="connsiteX4082" fmla="*/ 1451878 w 6530564"/>
              <a:gd name="connsiteY4082" fmla="*/ 3604549 h 6858000"/>
              <a:gd name="connsiteX4083" fmla="*/ 1457866 w 6530564"/>
              <a:gd name="connsiteY4083" fmla="*/ 3632574 h 6858000"/>
              <a:gd name="connsiteX4084" fmla="*/ 1461993 w 6530564"/>
              <a:gd name="connsiteY4084" fmla="*/ 3635813 h 6858000"/>
              <a:gd name="connsiteX4085" fmla="*/ 1465432 w 6530564"/>
              <a:gd name="connsiteY4085" fmla="*/ 3645315 h 6858000"/>
              <a:gd name="connsiteX4086" fmla="*/ 1464828 w 6530564"/>
              <a:gd name="connsiteY4086" fmla="*/ 3645610 h 6858000"/>
              <a:gd name="connsiteX4087" fmla="*/ 1458859 w 6530564"/>
              <a:gd name="connsiteY4087" fmla="*/ 3645794 h 6858000"/>
              <a:gd name="connsiteX4088" fmla="*/ 1457188 w 6530564"/>
              <a:gd name="connsiteY4088" fmla="*/ 3652257 h 6858000"/>
              <a:gd name="connsiteX4089" fmla="*/ 1464365 w 6530564"/>
              <a:gd name="connsiteY4089" fmla="*/ 3645838 h 6858000"/>
              <a:gd name="connsiteX4090" fmla="*/ 1464828 w 6530564"/>
              <a:gd name="connsiteY4090" fmla="*/ 3645610 h 6858000"/>
              <a:gd name="connsiteX4091" fmla="*/ 1465530 w 6530564"/>
              <a:gd name="connsiteY4091" fmla="*/ 3645589 h 6858000"/>
              <a:gd name="connsiteX4092" fmla="*/ 1465432 w 6530564"/>
              <a:gd name="connsiteY4092" fmla="*/ 3645315 h 6858000"/>
              <a:gd name="connsiteX4093" fmla="*/ 1466575 w 6530564"/>
              <a:gd name="connsiteY4093" fmla="*/ 3644755 h 6858000"/>
              <a:gd name="connsiteX4094" fmla="*/ 1467526 w 6530564"/>
              <a:gd name="connsiteY4094" fmla="*/ 3654930 h 6858000"/>
              <a:gd name="connsiteX4095" fmla="*/ 1463852 w 6530564"/>
              <a:gd name="connsiteY4095" fmla="*/ 3660600 h 6858000"/>
              <a:gd name="connsiteX4096" fmla="*/ 1464851 w 6530564"/>
              <a:gd name="connsiteY4096" fmla="*/ 3665270 h 6858000"/>
              <a:gd name="connsiteX4097" fmla="*/ 1461179 w 6530564"/>
              <a:gd name="connsiteY4097" fmla="*/ 3670939 h 6858000"/>
              <a:gd name="connsiteX4098" fmla="*/ 1462178 w 6530564"/>
              <a:gd name="connsiteY4098" fmla="*/ 3675610 h 6858000"/>
              <a:gd name="connsiteX4099" fmla="*/ 1464173 w 6530564"/>
              <a:gd name="connsiteY4099" fmla="*/ 3684953 h 6858000"/>
              <a:gd name="connsiteX4100" fmla="*/ 1466168 w 6530564"/>
              <a:gd name="connsiteY4100" fmla="*/ 3694296 h 6858000"/>
              <a:gd name="connsiteX4101" fmla="*/ 1463494 w 6530564"/>
              <a:gd name="connsiteY4101" fmla="*/ 3704634 h 6858000"/>
              <a:gd name="connsiteX4102" fmla="*/ 1460818 w 6530564"/>
              <a:gd name="connsiteY4102" fmla="*/ 3714976 h 6858000"/>
              <a:gd name="connsiteX4103" fmla="*/ 1461815 w 6530564"/>
              <a:gd name="connsiteY4103" fmla="*/ 3719645 h 6858000"/>
              <a:gd name="connsiteX4104" fmla="*/ 1462814 w 6530564"/>
              <a:gd name="connsiteY4104" fmla="*/ 3724317 h 6858000"/>
              <a:gd name="connsiteX4105" fmla="*/ 1458143 w 6530564"/>
              <a:gd name="connsiteY4105" fmla="*/ 3725314 h 6858000"/>
              <a:gd name="connsiteX4106" fmla="*/ 1454470 w 6530564"/>
              <a:gd name="connsiteY4106" fmla="*/ 3730983 h 6858000"/>
              <a:gd name="connsiteX4107" fmla="*/ 1455467 w 6530564"/>
              <a:gd name="connsiteY4107" fmla="*/ 3735654 h 6858000"/>
              <a:gd name="connsiteX4108" fmla="*/ 1461137 w 6530564"/>
              <a:gd name="connsiteY4108" fmla="*/ 3739328 h 6858000"/>
              <a:gd name="connsiteX4109" fmla="*/ 1462135 w 6530564"/>
              <a:gd name="connsiteY4109" fmla="*/ 3743998 h 6858000"/>
              <a:gd name="connsiteX4110" fmla="*/ 1463132 w 6530564"/>
              <a:gd name="connsiteY4110" fmla="*/ 3748671 h 6858000"/>
              <a:gd name="connsiteX4111" fmla="*/ 1466126 w 6530564"/>
              <a:gd name="connsiteY4111" fmla="*/ 3762683 h 6858000"/>
              <a:gd name="connsiteX4112" fmla="*/ 1464449 w 6530564"/>
              <a:gd name="connsiteY4112" fmla="*/ 3777695 h 6858000"/>
              <a:gd name="connsiteX4113" fmla="*/ 1465447 w 6530564"/>
              <a:gd name="connsiteY4113" fmla="*/ 3782365 h 6858000"/>
              <a:gd name="connsiteX4114" fmla="*/ 1467443 w 6530564"/>
              <a:gd name="connsiteY4114" fmla="*/ 3791707 h 6858000"/>
              <a:gd name="connsiteX4115" fmla="*/ 1472113 w 6530564"/>
              <a:gd name="connsiteY4115" fmla="*/ 3790710 h 6858000"/>
              <a:gd name="connsiteX4116" fmla="*/ 1468442 w 6530564"/>
              <a:gd name="connsiteY4116" fmla="*/ 3796379 h 6858000"/>
              <a:gd name="connsiteX4117" fmla="*/ 1470437 w 6530564"/>
              <a:gd name="connsiteY4117" fmla="*/ 3805720 h 6858000"/>
              <a:gd name="connsiteX4118" fmla="*/ 1479418 w 6530564"/>
              <a:gd name="connsiteY4118" fmla="*/ 3847759 h 6858000"/>
              <a:gd name="connsiteX4119" fmla="*/ 1475745 w 6530564"/>
              <a:gd name="connsiteY4119" fmla="*/ 3853428 h 6858000"/>
              <a:gd name="connsiteX4120" fmla="*/ 1476743 w 6530564"/>
              <a:gd name="connsiteY4120" fmla="*/ 3858097 h 6858000"/>
              <a:gd name="connsiteX4121" fmla="*/ 1481415 w 6530564"/>
              <a:gd name="connsiteY4121" fmla="*/ 3857100 h 6858000"/>
              <a:gd name="connsiteX4122" fmla="*/ 1481734 w 6530564"/>
              <a:gd name="connsiteY4122" fmla="*/ 3881454 h 6858000"/>
              <a:gd name="connsiteX4123" fmla="*/ 1482731 w 6530564"/>
              <a:gd name="connsiteY4123" fmla="*/ 3886125 h 6858000"/>
              <a:gd name="connsiteX4124" fmla="*/ 1488400 w 6530564"/>
              <a:gd name="connsiteY4124" fmla="*/ 3889796 h 6858000"/>
              <a:gd name="connsiteX4125" fmla="*/ 1490714 w 6530564"/>
              <a:gd name="connsiteY4125" fmla="*/ 3923492 h 6858000"/>
              <a:gd name="connsiteX4126" fmla="*/ 1495385 w 6530564"/>
              <a:gd name="connsiteY4126" fmla="*/ 3922494 h 6858000"/>
              <a:gd name="connsiteX4127" fmla="*/ 1499376 w 6530564"/>
              <a:gd name="connsiteY4127" fmla="*/ 3941178 h 6858000"/>
              <a:gd name="connsiteX4128" fmla="*/ 1495705 w 6530564"/>
              <a:gd name="connsiteY4128" fmla="*/ 3946848 h 6858000"/>
              <a:gd name="connsiteX4129" fmla="*/ 1485365 w 6530564"/>
              <a:gd name="connsiteY4129" fmla="*/ 3944173 h 6858000"/>
              <a:gd name="connsiteX4130" fmla="*/ 1498697 w 6530564"/>
              <a:gd name="connsiteY4130" fmla="*/ 3960861 h 6858000"/>
              <a:gd name="connsiteX4131" fmla="*/ 1519336 w 6530564"/>
              <a:gd name="connsiteY4131" fmla="*/ 4034599 h 6858000"/>
              <a:gd name="connsiteX4132" fmla="*/ 1514664 w 6530564"/>
              <a:gd name="connsiteY4132" fmla="*/ 4035598 h 6858000"/>
              <a:gd name="connsiteX4133" fmla="*/ 1516661 w 6530564"/>
              <a:gd name="connsiteY4133" fmla="*/ 4044938 h 6858000"/>
              <a:gd name="connsiteX4134" fmla="*/ 1528636 w 6530564"/>
              <a:gd name="connsiteY4134" fmla="*/ 4100992 h 6858000"/>
              <a:gd name="connsiteX4135" fmla="*/ 1529635 w 6530564"/>
              <a:gd name="connsiteY4135" fmla="*/ 4105662 h 6858000"/>
              <a:gd name="connsiteX4136" fmla="*/ 1530632 w 6530564"/>
              <a:gd name="connsiteY4136" fmla="*/ 4110333 h 6858000"/>
              <a:gd name="connsiteX4137" fmla="*/ 1543966 w 6530564"/>
              <a:gd name="connsiteY4137" fmla="*/ 4127021 h 6858000"/>
              <a:gd name="connsiteX4138" fmla="*/ 1541290 w 6530564"/>
              <a:gd name="connsiteY4138" fmla="*/ 4137361 h 6858000"/>
              <a:gd name="connsiteX4139" fmla="*/ 1542289 w 6530564"/>
              <a:gd name="connsiteY4139" fmla="*/ 4142032 h 6858000"/>
              <a:gd name="connsiteX4140" fmla="*/ 1543286 w 6530564"/>
              <a:gd name="connsiteY4140" fmla="*/ 4146702 h 6858000"/>
              <a:gd name="connsiteX4141" fmla="*/ 1544284 w 6530564"/>
              <a:gd name="connsiteY4141" fmla="*/ 4151374 h 6858000"/>
              <a:gd name="connsiteX4142" fmla="*/ 1538933 w 6530564"/>
              <a:gd name="connsiteY4142" fmla="*/ 4172054 h 6858000"/>
              <a:gd name="connsiteX4143" fmla="*/ 1550590 w 6530564"/>
              <a:gd name="connsiteY4143" fmla="*/ 4203753 h 6858000"/>
              <a:gd name="connsiteX4144" fmla="*/ 1569592 w 6530564"/>
              <a:gd name="connsiteY4144" fmla="*/ 4224113 h 6858000"/>
              <a:gd name="connsiteX4145" fmla="*/ 1565241 w 6530564"/>
              <a:gd name="connsiteY4145" fmla="*/ 4249466 h 6858000"/>
              <a:gd name="connsiteX4146" fmla="*/ 1574902 w 6530564"/>
              <a:gd name="connsiteY4146" fmla="*/ 4271822 h 6858000"/>
              <a:gd name="connsiteX4147" fmla="*/ 1587238 w 6530564"/>
              <a:gd name="connsiteY4147" fmla="*/ 4283840 h 6858000"/>
              <a:gd name="connsiteX4148" fmla="*/ 1604882 w 6530564"/>
              <a:gd name="connsiteY4148" fmla="*/ 4343564 h 6858000"/>
              <a:gd name="connsiteX4149" fmla="*/ 1595539 w 6530564"/>
              <a:gd name="connsiteY4149" fmla="*/ 4345560 h 6858000"/>
              <a:gd name="connsiteX4150" fmla="*/ 1607875 w 6530564"/>
              <a:gd name="connsiteY4150" fmla="*/ 4357577 h 6858000"/>
              <a:gd name="connsiteX4151" fmla="*/ 1607196 w 6530564"/>
              <a:gd name="connsiteY4151" fmla="*/ 4377259 h 6858000"/>
              <a:gd name="connsiteX4152" fmla="*/ 1622525 w 6530564"/>
              <a:gd name="connsiteY4152" fmla="*/ 4403290 h 6858000"/>
              <a:gd name="connsiteX4153" fmla="*/ 1618736 w 6530564"/>
              <a:gd name="connsiteY4153" fmla="*/ 4400103 h 6858000"/>
              <a:gd name="connsiteX4154" fmla="*/ 1614862 w 6530564"/>
              <a:gd name="connsiteY4154" fmla="*/ 4390275 h 6858000"/>
              <a:gd name="connsiteX4155" fmla="*/ 1617316 w 6530564"/>
              <a:gd name="connsiteY4155" fmla="*/ 4398908 h 6858000"/>
              <a:gd name="connsiteX4156" fmla="*/ 1618736 w 6530564"/>
              <a:gd name="connsiteY4156" fmla="*/ 4400103 h 6858000"/>
              <a:gd name="connsiteX4157" fmla="*/ 1625519 w 6530564"/>
              <a:gd name="connsiteY4157" fmla="*/ 4417302 h 6858000"/>
              <a:gd name="connsiteX4158" fmla="*/ 1611506 w 6530564"/>
              <a:gd name="connsiteY4158" fmla="*/ 4420296 h 6858000"/>
              <a:gd name="connsiteX4159" fmla="*/ 1580528 w 6530564"/>
              <a:gd name="connsiteY4159" fmla="*/ 4343884 h 6858000"/>
              <a:gd name="connsiteX4160" fmla="*/ 1553861 w 6530564"/>
              <a:gd name="connsiteY4160" fmla="*/ 4310507 h 6858000"/>
              <a:gd name="connsiteX4161" fmla="*/ 1544200 w 6530564"/>
              <a:gd name="connsiteY4161" fmla="*/ 4288151 h 6858000"/>
              <a:gd name="connsiteX4162" fmla="*/ 1540208 w 6530564"/>
              <a:gd name="connsiteY4162" fmla="*/ 4269467 h 6858000"/>
              <a:gd name="connsiteX4163" fmla="*/ 1526874 w 6530564"/>
              <a:gd name="connsiteY4163" fmla="*/ 4252779 h 6858000"/>
              <a:gd name="connsiteX4164" fmla="*/ 1519888 w 6530564"/>
              <a:gd name="connsiteY4164" fmla="*/ 4220081 h 6858000"/>
              <a:gd name="connsiteX4165" fmla="*/ 1521566 w 6530564"/>
              <a:gd name="connsiteY4165" fmla="*/ 4205070 h 6858000"/>
              <a:gd name="connsiteX4166" fmla="*/ 1518573 w 6530564"/>
              <a:gd name="connsiteY4166" fmla="*/ 4191057 h 6858000"/>
              <a:gd name="connsiteX4167" fmla="*/ 1517576 w 6530564"/>
              <a:gd name="connsiteY4167" fmla="*/ 4186384 h 6858000"/>
              <a:gd name="connsiteX4168" fmla="*/ 1516577 w 6530564"/>
              <a:gd name="connsiteY4168" fmla="*/ 4181714 h 6858000"/>
              <a:gd name="connsiteX4169" fmla="*/ 1522245 w 6530564"/>
              <a:gd name="connsiteY4169" fmla="*/ 4185387 h 6858000"/>
              <a:gd name="connsiteX4170" fmla="*/ 1513583 w 6530564"/>
              <a:gd name="connsiteY4170" fmla="*/ 4167702 h 6858000"/>
              <a:gd name="connsiteX4171" fmla="*/ 1517256 w 6530564"/>
              <a:gd name="connsiteY4171" fmla="*/ 4162033 h 6858000"/>
              <a:gd name="connsiteX4172" fmla="*/ 1516257 w 6530564"/>
              <a:gd name="connsiteY4172" fmla="*/ 4157362 h 6858000"/>
              <a:gd name="connsiteX4173" fmla="*/ 1515260 w 6530564"/>
              <a:gd name="connsiteY4173" fmla="*/ 4152691 h 6858000"/>
              <a:gd name="connsiteX4174" fmla="*/ 1509591 w 6530564"/>
              <a:gd name="connsiteY4174" fmla="*/ 4149018 h 6858000"/>
              <a:gd name="connsiteX4175" fmla="*/ 1503605 w 6530564"/>
              <a:gd name="connsiteY4175" fmla="*/ 4120992 h 6858000"/>
              <a:gd name="connsiteX4176" fmla="*/ 1497934 w 6530564"/>
              <a:gd name="connsiteY4176" fmla="*/ 4117319 h 6858000"/>
              <a:gd name="connsiteX4177" fmla="*/ 1491948 w 6530564"/>
              <a:gd name="connsiteY4177" fmla="*/ 4089292 h 6858000"/>
              <a:gd name="connsiteX4178" fmla="*/ 1490948 w 6530564"/>
              <a:gd name="connsiteY4178" fmla="*/ 4084621 h 6858000"/>
              <a:gd name="connsiteX4179" fmla="*/ 1489951 w 6530564"/>
              <a:gd name="connsiteY4179" fmla="*/ 4079950 h 6858000"/>
              <a:gd name="connsiteX4180" fmla="*/ 1486277 w 6530564"/>
              <a:gd name="connsiteY4180" fmla="*/ 4085620 h 6858000"/>
              <a:gd name="connsiteX4181" fmla="*/ 1475301 w 6530564"/>
              <a:gd name="connsiteY4181" fmla="*/ 4034238 h 6858000"/>
              <a:gd name="connsiteX4182" fmla="*/ 1478294 w 6530564"/>
              <a:gd name="connsiteY4182" fmla="*/ 4048252 h 6858000"/>
              <a:gd name="connsiteX4183" fmla="*/ 1470629 w 6530564"/>
              <a:gd name="connsiteY4183" fmla="*/ 4035237 h 6858000"/>
              <a:gd name="connsiteX4184" fmla="*/ 1473623 w 6530564"/>
              <a:gd name="connsiteY4184" fmla="*/ 4049251 h 6858000"/>
              <a:gd name="connsiteX4185" fmla="*/ 1467954 w 6530564"/>
              <a:gd name="connsiteY4185" fmla="*/ 4045576 h 6858000"/>
              <a:gd name="connsiteX4186" fmla="*/ 1469951 w 6530564"/>
              <a:gd name="connsiteY4186" fmla="*/ 4054918 h 6858000"/>
              <a:gd name="connsiteX4187" fmla="*/ 1470949 w 6530564"/>
              <a:gd name="connsiteY4187" fmla="*/ 4059589 h 6858000"/>
              <a:gd name="connsiteX4188" fmla="*/ 1463242 w 6530564"/>
              <a:gd name="connsiteY4188" fmla="*/ 4114962 h 6858000"/>
              <a:gd name="connsiteX4189" fmla="*/ 1465238 w 6530564"/>
              <a:gd name="connsiteY4189" fmla="*/ 4124305 h 6858000"/>
              <a:gd name="connsiteX4190" fmla="*/ 1454896 w 6530564"/>
              <a:gd name="connsiteY4190" fmla="*/ 4121629 h 6858000"/>
              <a:gd name="connsiteX4191" fmla="*/ 1452901 w 6530564"/>
              <a:gd name="connsiteY4191" fmla="*/ 4112288 h 6858000"/>
              <a:gd name="connsiteX4192" fmla="*/ 1448230 w 6530564"/>
              <a:gd name="connsiteY4192" fmla="*/ 4113286 h 6858000"/>
              <a:gd name="connsiteX4193" fmla="*/ 1449228 w 6530564"/>
              <a:gd name="connsiteY4193" fmla="*/ 4117957 h 6858000"/>
              <a:gd name="connsiteX4194" fmla="*/ 1426595 w 6530564"/>
              <a:gd name="connsiteY4194" fmla="*/ 4034876 h 6858000"/>
              <a:gd name="connsiteX4195" fmla="*/ 1432264 w 6530564"/>
              <a:gd name="connsiteY4195" fmla="*/ 4038549 h 6858000"/>
              <a:gd name="connsiteX4196" fmla="*/ 1435937 w 6530564"/>
              <a:gd name="connsiteY4196" fmla="*/ 4032880 h 6858000"/>
              <a:gd name="connsiteX4197" fmla="*/ 1437931 w 6530564"/>
              <a:gd name="connsiteY4197" fmla="*/ 4042221 h 6858000"/>
              <a:gd name="connsiteX4198" fmla="*/ 1426954 w 6530564"/>
              <a:gd name="connsiteY4198" fmla="*/ 3990842 h 6858000"/>
              <a:gd name="connsiteX4199" fmla="*/ 1431626 w 6530564"/>
              <a:gd name="connsiteY4199" fmla="*/ 3989844 h 6858000"/>
              <a:gd name="connsiteX4200" fmla="*/ 1430629 w 6530564"/>
              <a:gd name="connsiteY4200" fmla="*/ 3985172 h 6858000"/>
              <a:gd name="connsiteX4201" fmla="*/ 1428631 w 6530564"/>
              <a:gd name="connsiteY4201" fmla="*/ 3975830 h 6858000"/>
              <a:gd name="connsiteX4202" fmla="*/ 1421646 w 6530564"/>
              <a:gd name="connsiteY4202" fmla="*/ 3943133 h 6858000"/>
              <a:gd name="connsiteX4203" fmla="*/ 1420648 w 6530564"/>
              <a:gd name="connsiteY4203" fmla="*/ 3938462 h 6858000"/>
              <a:gd name="connsiteX4204" fmla="*/ 1419652 w 6530564"/>
              <a:gd name="connsiteY4204" fmla="*/ 3933790 h 6858000"/>
              <a:gd name="connsiteX4205" fmla="*/ 1405000 w 6530564"/>
              <a:gd name="connsiteY4205" fmla="*/ 3888080 h 6858000"/>
              <a:gd name="connsiteX4206" fmla="*/ 1404002 w 6530564"/>
              <a:gd name="connsiteY4206" fmla="*/ 3883408 h 6858000"/>
              <a:gd name="connsiteX4207" fmla="*/ 1403004 w 6530564"/>
              <a:gd name="connsiteY4207" fmla="*/ 3878736 h 6858000"/>
              <a:gd name="connsiteX4208" fmla="*/ 1401007 w 6530564"/>
              <a:gd name="connsiteY4208" fmla="*/ 3869395 h 6858000"/>
              <a:gd name="connsiteX4209" fmla="*/ 1398335 w 6530564"/>
              <a:gd name="connsiteY4209" fmla="*/ 3879735 h 6858000"/>
              <a:gd name="connsiteX4210" fmla="*/ 1394660 w 6530564"/>
              <a:gd name="connsiteY4210" fmla="*/ 3885404 h 6858000"/>
              <a:gd name="connsiteX4211" fmla="*/ 1390668 w 6530564"/>
              <a:gd name="connsiteY4211" fmla="*/ 3866720 h 6858000"/>
              <a:gd name="connsiteX4212" fmla="*/ 1395340 w 6530564"/>
              <a:gd name="connsiteY4212" fmla="*/ 3865721 h 6858000"/>
              <a:gd name="connsiteX4213" fmla="*/ 1394342 w 6530564"/>
              <a:gd name="connsiteY4213" fmla="*/ 3861051 h 6858000"/>
              <a:gd name="connsiteX4214" fmla="*/ 1393344 w 6530564"/>
              <a:gd name="connsiteY4214" fmla="*/ 3856381 h 6858000"/>
              <a:gd name="connsiteX4215" fmla="*/ 1388672 w 6530564"/>
              <a:gd name="connsiteY4215" fmla="*/ 3857379 h 6858000"/>
              <a:gd name="connsiteX4216" fmla="*/ 1393024 w 6530564"/>
              <a:gd name="connsiteY4216" fmla="*/ 3832027 h 6858000"/>
              <a:gd name="connsiteX4217" fmla="*/ 1380689 w 6530564"/>
              <a:gd name="connsiteY4217" fmla="*/ 3820009 h 6858000"/>
              <a:gd name="connsiteX4218" fmla="*/ 1383004 w 6530564"/>
              <a:gd name="connsiteY4218" fmla="*/ 3853705 h 6858000"/>
              <a:gd name="connsiteX4219" fmla="*/ 1388672 w 6530564"/>
              <a:gd name="connsiteY4219" fmla="*/ 3857379 h 6858000"/>
              <a:gd name="connsiteX4220" fmla="*/ 1384002 w 6530564"/>
              <a:gd name="connsiteY4220" fmla="*/ 3858376 h 6858000"/>
              <a:gd name="connsiteX4221" fmla="*/ 1385000 w 6530564"/>
              <a:gd name="connsiteY4221" fmla="*/ 3863047 h 6858000"/>
              <a:gd name="connsiteX4222" fmla="*/ 1385998 w 6530564"/>
              <a:gd name="connsiteY4222" fmla="*/ 3867719 h 6858000"/>
              <a:gd name="connsiteX4223" fmla="*/ 1390668 w 6530564"/>
              <a:gd name="connsiteY4223" fmla="*/ 3866720 h 6858000"/>
              <a:gd name="connsiteX4224" fmla="*/ 1393163 w 6530564"/>
              <a:gd name="connsiteY4224" fmla="*/ 3878397 h 6858000"/>
              <a:gd name="connsiteX4225" fmla="*/ 1394660 w 6530564"/>
              <a:gd name="connsiteY4225" fmla="*/ 3885404 h 6858000"/>
              <a:gd name="connsiteX4226" fmla="*/ 1395658 w 6530564"/>
              <a:gd name="connsiteY4226" fmla="*/ 3890075 h 6858000"/>
              <a:gd name="connsiteX4227" fmla="*/ 1390987 w 6530564"/>
              <a:gd name="connsiteY4227" fmla="*/ 3891074 h 6858000"/>
              <a:gd name="connsiteX4228" fmla="*/ 1391984 w 6530564"/>
              <a:gd name="connsiteY4228" fmla="*/ 3895744 h 6858000"/>
              <a:gd name="connsiteX4229" fmla="*/ 1392983 w 6530564"/>
              <a:gd name="connsiteY4229" fmla="*/ 3900415 h 6858000"/>
              <a:gd name="connsiteX4230" fmla="*/ 1420606 w 6530564"/>
              <a:gd name="connsiteY4230" fmla="*/ 4006850 h 6858000"/>
              <a:gd name="connsiteX4231" fmla="*/ 1415936 w 6530564"/>
              <a:gd name="connsiteY4231" fmla="*/ 4007847 h 6858000"/>
              <a:gd name="connsiteX4232" fmla="*/ 1417931 w 6530564"/>
              <a:gd name="connsiteY4232" fmla="*/ 4017190 h 6858000"/>
              <a:gd name="connsiteX4233" fmla="*/ 1421923 w 6530564"/>
              <a:gd name="connsiteY4233" fmla="*/ 4035875 h 6858000"/>
              <a:gd name="connsiteX4234" fmla="*/ 1437890 w 6530564"/>
              <a:gd name="connsiteY4234" fmla="*/ 4110609 h 6858000"/>
              <a:gd name="connsiteX4235" fmla="*/ 1458528 w 6530564"/>
              <a:gd name="connsiteY4235" fmla="*/ 4184349 h 6858000"/>
              <a:gd name="connsiteX4236" fmla="*/ 1462839 w 6530564"/>
              <a:gd name="connsiteY4236" fmla="*/ 4227385 h 6858000"/>
              <a:gd name="connsiteX4237" fmla="*/ 1456490 w 6530564"/>
              <a:gd name="connsiteY4237" fmla="*/ 4243395 h 6858000"/>
              <a:gd name="connsiteX4238" fmla="*/ 1468105 w 6530564"/>
              <a:gd name="connsiteY4238" fmla="*/ 4343482 h 6858000"/>
              <a:gd name="connsiteX4239" fmla="*/ 1461439 w 6530564"/>
              <a:gd name="connsiteY4239" fmla="*/ 4335137 h 6858000"/>
              <a:gd name="connsiteX4240" fmla="*/ 1454730 w 6530564"/>
              <a:gd name="connsiteY4240" fmla="*/ 4395182 h 6858000"/>
              <a:gd name="connsiteX4241" fmla="*/ 1448063 w 6530564"/>
              <a:gd name="connsiteY4241" fmla="*/ 4386836 h 6858000"/>
              <a:gd name="connsiteX4242" fmla="*/ 1450058 w 6530564"/>
              <a:gd name="connsiteY4242" fmla="*/ 4396179 h 6858000"/>
              <a:gd name="connsiteX4243" fmla="*/ 1422075 w 6530564"/>
              <a:gd name="connsiteY4243" fmla="*/ 4333778 h 6858000"/>
              <a:gd name="connsiteX4244" fmla="*/ 1413412 w 6530564"/>
              <a:gd name="connsiteY4244" fmla="*/ 4316093 h 6858000"/>
              <a:gd name="connsiteX4245" fmla="*/ 1412414 w 6530564"/>
              <a:gd name="connsiteY4245" fmla="*/ 4311422 h 6858000"/>
              <a:gd name="connsiteX4246" fmla="*/ 1407741 w 6530564"/>
              <a:gd name="connsiteY4246" fmla="*/ 4312421 h 6858000"/>
              <a:gd name="connsiteX4247" fmla="*/ 1402752 w 6530564"/>
              <a:gd name="connsiteY4247" fmla="*/ 4289064 h 6858000"/>
              <a:gd name="connsiteX4248" fmla="*/ 1393410 w 6530564"/>
              <a:gd name="connsiteY4248" fmla="*/ 4291060 h 6858000"/>
              <a:gd name="connsiteX4249" fmla="*/ 1396404 w 6530564"/>
              <a:gd name="connsiteY4249" fmla="*/ 4305073 h 6858000"/>
              <a:gd name="connsiteX4250" fmla="*/ 1407063 w 6530564"/>
              <a:gd name="connsiteY4250" fmla="*/ 4332102 h 6858000"/>
              <a:gd name="connsiteX4251" fmla="*/ 1419993 w 6530564"/>
              <a:gd name="connsiteY4251" fmla="*/ 4461213 h 6858000"/>
              <a:gd name="connsiteX4252" fmla="*/ 1412648 w 6530564"/>
              <a:gd name="connsiteY4252" fmla="*/ 4472550 h 6858000"/>
              <a:gd name="connsiteX4253" fmla="*/ 1404983 w 6530564"/>
              <a:gd name="connsiteY4253" fmla="*/ 4459535 h 6858000"/>
              <a:gd name="connsiteX4254" fmla="*/ 1403985 w 6530564"/>
              <a:gd name="connsiteY4254" fmla="*/ 4454865 h 6858000"/>
              <a:gd name="connsiteX4255" fmla="*/ 1398316 w 6530564"/>
              <a:gd name="connsiteY4255" fmla="*/ 4451189 h 6858000"/>
              <a:gd name="connsiteX4256" fmla="*/ 1399315 w 6530564"/>
              <a:gd name="connsiteY4256" fmla="*/ 4455862 h 6858000"/>
              <a:gd name="connsiteX4257" fmla="*/ 1400312 w 6530564"/>
              <a:gd name="connsiteY4257" fmla="*/ 4460533 h 6858000"/>
              <a:gd name="connsiteX4258" fmla="*/ 1393645 w 6530564"/>
              <a:gd name="connsiteY4258" fmla="*/ 4452188 h 6858000"/>
              <a:gd name="connsiteX4259" fmla="*/ 1388655 w 6530564"/>
              <a:gd name="connsiteY4259" fmla="*/ 4428834 h 6858000"/>
              <a:gd name="connsiteX4260" fmla="*/ 1396421 w 6530564"/>
              <a:gd name="connsiteY4260" fmla="*/ 4442316 h 6858000"/>
              <a:gd name="connsiteX4261" fmla="*/ 1397319 w 6530564"/>
              <a:gd name="connsiteY4261" fmla="*/ 4446519 h 6858000"/>
              <a:gd name="connsiteX4262" fmla="*/ 1398362 w 6530564"/>
              <a:gd name="connsiteY4262" fmla="*/ 4445687 h 6858000"/>
              <a:gd name="connsiteX4263" fmla="*/ 1396421 w 6530564"/>
              <a:gd name="connsiteY4263" fmla="*/ 4442316 h 6858000"/>
              <a:gd name="connsiteX4264" fmla="*/ 1394700 w 6530564"/>
              <a:gd name="connsiteY4264" fmla="*/ 4434259 h 6858000"/>
              <a:gd name="connsiteX4265" fmla="*/ 1394325 w 6530564"/>
              <a:gd name="connsiteY4265" fmla="*/ 4432507 h 6858000"/>
              <a:gd name="connsiteX4266" fmla="*/ 1398995 w 6530564"/>
              <a:gd name="connsiteY4266" fmla="*/ 4431508 h 6858000"/>
              <a:gd name="connsiteX4267" fmla="*/ 1397996 w 6530564"/>
              <a:gd name="connsiteY4267" fmla="*/ 4426838 h 6858000"/>
              <a:gd name="connsiteX4268" fmla="*/ 1397000 w 6530564"/>
              <a:gd name="connsiteY4268" fmla="*/ 4422167 h 6858000"/>
              <a:gd name="connsiteX4269" fmla="*/ 1392329 w 6530564"/>
              <a:gd name="connsiteY4269" fmla="*/ 4423164 h 6858000"/>
              <a:gd name="connsiteX4270" fmla="*/ 1385662 w 6530564"/>
              <a:gd name="connsiteY4270" fmla="*/ 4414822 h 6858000"/>
              <a:gd name="connsiteX4271" fmla="*/ 1384664 w 6530564"/>
              <a:gd name="connsiteY4271" fmla="*/ 4410150 h 6858000"/>
              <a:gd name="connsiteX4272" fmla="*/ 1383666 w 6530564"/>
              <a:gd name="connsiteY4272" fmla="*/ 4405478 h 6858000"/>
              <a:gd name="connsiteX4273" fmla="*/ 1378801 w 6530564"/>
              <a:gd name="connsiteY4273" fmla="*/ 4382708 h 6858000"/>
              <a:gd name="connsiteX4274" fmla="*/ 1377677 w 6530564"/>
              <a:gd name="connsiteY4274" fmla="*/ 4377453 h 6858000"/>
              <a:gd name="connsiteX4275" fmla="*/ 1377996 w 6530564"/>
              <a:gd name="connsiteY4275" fmla="*/ 4401807 h 6858000"/>
              <a:gd name="connsiteX4276" fmla="*/ 1364344 w 6530564"/>
              <a:gd name="connsiteY4276" fmla="*/ 4360763 h 6858000"/>
              <a:gd name="connsiteX4277" fmla="*/ 1349899 w 6530564"/>
              <a:gd name="connsiteY4277" fmla="*/ 4354235 h 6858000"/>
              <a:gd name="connsiteX4278" fmla="*/ 1345078 w 6530564"/>
              <a:gd name="connsiteY4278" fmla="*/ 4351907 h 6858000"/>
              <a:gd name="connsiteX4279" fmla="*/ 1348800 w 6530564"/>
              <a:gd name="connsiteY4279" fmla="*/ 4372250 h 6858000"/>
              <a:gd name="connsiteX4280" fmla="*/ 1379072 w 6530564"/>
              <a:gd name="connsiteY4280" fmla="*/ 4419338 h 6858000"/>
              <a:gd name="connsiteX4281" fmla="*/ 1389836 w 6530564"/>
              <a:gd name="connsiteY4281" fmla="*/ 4454318 h 6858000"/>
              <a:gd name="connsiteX4282" fmla="*/ 1411363 w 6530564"/>
              <a:gd name="connsiteY4282" fmla="*/ 4524275 h 6858000"/>
              <a:gd name="connsiteX4283" fmla="*/ 1509583 w 6530564"/>
              <a:gd name="connsiteY4283" fmla="*/ 4667558 h 6858000"/>
              <a:gd name="connsiteX4284" fmla="*/ 1577273 w 6530564"/>
              <a:gd name="connsiteY4284" fmla="*/ 4795718 h 6858000"/>
              <a:gd name="connsiteX4285" fmla="*/ 1579917 w 6530564"/>
              <a:gd name="connsiteY4285" fmla="*/ 4798245 h 6858000"/>
              <a:gd name="connsiteX4286" fmla="*/ 1576604 w 6530564"/>
              <a:gd name="connsiteY4286" fmla="*/ 4759879 h 6858000"/>
              <a:gd name="connsiteX4287" fmla="*/ 1731897 w 6530564"/>
              <a:gd name="connsiteY4287" fmla="*/ 5029523 h 6858000"/>
              <a:gd name="connsiteX4288" fmla="*/ 1728521 w 6530564"/>
              <a:gd name="connsiteY4288" fmla="*/ 5034733 h 6858000"/>
              <a:gd name="connsiteX4289" fmla="*/ 1864742 w 6530564"/>
              <a:gd name="connsiteY4289" fmla="*/ 5210497 h 6858000"/>
              <a:gd name="connsiteX4290" fmla="*/ 1960966 w 6530564"/>
              <a:gd name="connsiteY4290" fmla="*/ 5314141 h 6858000"/>
              <a:gd name="connsiteX4291" fmla="*/ 1964240 w 6530564"/>
              <a:gd name="connsiteY4291" fmla="*/ 5316895 h 6858000"/>
              <a:gd name="connsiteX4292" fmla="*/ 1966833 w 6530564"/>
              <a:gd name="connsiteY4292" fmla="*/ 5320459 h 6858000"/>
              <a:gd name="connsiteX4293" fmla="*/ 2003292 w 6530564"/>
              <a:gd name="connsiteY4293" fmla="*/ 5359731 h 6858000"/>
              <a:gd name="connsiteX4294" fmla="*/ 2005134 w 6530564"/>
              <a:gd name="connsiteY4294" fmla="*/ 5358985 h 6858000"/>
              <a:gd name="connsiteX4295" fmla="*/ 2013584 w 6530564"/>
              <a:gd name="connsiteY4295" fmla="*/ 5364962 h 6858000"/>
              <a:gd name="connsiteX4296" fmla="*/ 2011996 w 6530564"/>
              <a:gd name="connsiteY4296" fmla="*/ 5368965 h 6858000"/>
              <a:gd name="connsiteX4297" fmla="*/ 2012621 w 6530564"/>
              <a:gd name="connsiteY4297" fmla="*/ 5369779 h 6858000"/>
              <a:gd name="connsiteX4298" fmla="*/ 2021956 w 6530564"/>
              <a:gd name="connsiteY4298" fmla="*/ 5379834 h 6858000"/>
              <a:gd name="connsiteX4299" fmla="*/ 2059336 w 6530564"/>
              <a:gd name="connsiteY4299" fmla="*/ 5413704 h 6858000"/>
              <a:gd name="connsiteX4300" fmla="*/ 2059384 w 6530564"/>
              <a:gd name="connsiteY4300" fmla="*/ 5410736 h 6858000"/>
              <a:gd name="connsiteX4301" fmla="*/ 2055262 w 6530564"/>
              <a:gd name="connsiteY4301" fmla="*/ 5400017 h 6858000"/>
              <a:gd name="connsiteX4302" fmla="*/ 2068636 w 6530564"/>
              <a:gd name="connsiteY4302" fmla="*/ 5419749 h 6858000"/>
              <a:gd name="connsiteX4303" fmla="*/ 2074568 w 6530564"/>
              <a:gd name="connsiteY4303" fmla="*/ 5427506 h 6858000"/>
              <a:gd name="connsiteX4304" fmla="*/ 2093075 w 6530564"/>
              <a:gd name="connsiteY4304" fmla="*/ 5444275 h 6858000"/>
              <a:gd name="connsiteX4305" fmla="*/ 2096976 w 6530564"/>
              <a:gd name="connsiteY4305" fmla="*/ 5446663 h 6858000"/>
              <a:gd name="connsiteX4306" fmla="*/ 2101272 w 6530564"/>
              <a:gd name="connsiteY4306" fmla="*/ 5451702 h 6858000"/>
              <a:gd name="connsiteX4307" fmla="*/ 2190614 w 6530564"/>
              <a:gd name="connsiteY4307" fmla="*/ 5532655 h 6858000"/>
              <a:gd name="connsiteX4308" fmla="*/ 2190957 w 6530564"/>
              <a:gd name="connsiteY4308" fmla="*/ 5532205 h 6858000"/>
              <a:gd name="connsiteX4309" fmla="*/ 2192913 w 6530564"/>
              <a:gd name="connsiteY4309" fmla="*/ 5534621 h 6858000"/>
              <a:gd name="connsiteX4310" fmla="*/ 2345065 w 6530564"/>
              <a:gd name="connsiteY4310" fmla="*/ 5651238 h 6858000"/>
              <a:gd name="connsiteX4311" fmla="*/ 2345801 w 6530564"/>
              <a:gd name="connsiteY4311" fmla="*/ 5651144 h 6858000"/>
              <a:gd name="connsiteX4312" fmla="*/ 2353680 w 6530564"/>
              <a:gd name="connsiteY4312" fmla="*/ 5653734 h 6858000"/>
              <a:gd name="connsiteX4313" fmla="*/ 2354677 w 6530564"/>
              <a:gd name="connsiteY4313" fmla="*/ 5658406 h 6858000"/>
              <a:gd name="connsiteX4314" fmla="*/ 2354729 w 6530564"/>
              <a:gd name="connsiteY4314" fmla="*/ 5658644 h 6858000"/>
              <a:gd name="connsiteX4315" fmla="*/ 2365695 w 6530564"/>
              <a:gd name="connsiteY4315" fmla="*/ 5667049 h 6858000"/>
              <a:gd name="connsiteX4316" fmla="*/ 2371685 w 6530564"/>
              <a:gd name="connsiteY4316" fmla="*/ 5669425 h 6858000"/>
              <a:gd name="connsiteX4317" fmla="*/ 2370688 w 6530564"/>
              <a:gd name="connsiteY4317" fmla="*/ 5664753 h 6858000"/>
              <a:gd name="connsiteX4318" fmla="*/ 2369689 w 6530564"/>
              <a:gd name="connsiteY4318" fmla="*/ 5660084 h 6858000"/>
              <a:gd name="connsiteX4319" fmla="*/ 2387695 w 6530564"/>
              <a:gd name="connsiteY4319" fmla="*/ 5675773 h 6858000"/>
              <a:gd name="connsiteX4320" fmla="*/ 2388692 w 6530564"/>
              <a:gd name="connsiteY4320" fmla="*/ 5680444 h 6858000"/>
              <a:gd name="connsiteX4321" fmla="*/ 2394361 w 6530564"/>
              <a:gd name="connsiteY4321" fmla="*/ 5684116 h 6858000"/>
              <a:gd name="connsiteX4322" fmla="*/ 2400030 w 6530564"/>
              <a:gd name="connsiteY4322" fmla="*/ 5687790 h 6858000"/>
              <a:gd name="connsiteX4323" fmla="*/ 2405825 w 6530564"/>
              <a:gd name="connsiteY4323" fmla="*/ 5692047 h 6858000"/>
              <a:gd name="connsiteX4324" fmla="*/ 2409797 w 6530564"/>
              <a:gd name="connsiteY4324" fmla="*/ 5696759 h 6858000"/>
              <a:gd name="connsiteX4325" fmla="*/ 2414794 w 6530564"/>
              <a:gd name="connsiteY4325" fmla="*/ 5700011 h 6858000"/>
              <a:gd name="connsiteX4326" fmla="*/ 2432881 w 6530564"/>
              <a:gd name="connsiteY4326" fmla="*/ 5701530 h 6858000"/>
              <a:gd name="connsiteX4327" fmla="*/ 2441390 w 6530564"/>
              <a:gd name="connsiteY4327" fmla="*/ 5698491 h 6858000"/>
              <a:gd name="connsiteX4328" fmla="*/ 2430801 w 6530564"/>
              <a:gd name="connsiteY4328" fmla="*/ 5694648 h 6858000"/>
              <a:gd name="connsiteX4329" fmla="*/ 2423109 w 6530564"/>
              <a:gd name="connsiteY4329" fmla="*/ 5687744 h 6858000"/>
              <a:gd name="connsiteX4330" fmla="*/ 2429054 w 6530564"/>
              <a:gd name="connsiteY4330" fmla="*/ 5686473 h 6858000"/>
              <a:gd name="connsiteX4331" fmla="*/ 2503749 w 6530564"/>
              <a:gd name="connsiteY4331" fmla="*/ 5738894 h 6858000"/>
              <a:gd name="connsiteX4332" fmla="*/ 2509419 w 6530564"/>
              <a:gd name="connsiteY4332" fmla="*/ 5742568 h 6858000"/>
              <a:gd name="connsiteX4333" fmla="*/ 2500075 w 6530564"/>
              <a:gd name="connsiteY4333" fmla="*/ 5744562 h 6858000"/>
              <a:gd name="connsiteX4334" fmla="*/ 2519077 w 6530564"/>
              <a:gd name="connsiteY4334" fmla="*/ 5764924 h 6858000"/>
              <a:gd name="connsiteX4335" fmla="*/ 2540756 w 6530564"/>
              <a:gd name="connsiteY4335" fmla="*/ 5774946 h 6858000"/>
              <a:gd name="connsiteX4336" fmla="*/ 2545427 w 6530564"/>
              <a:gd name="connsiteY4336" fmla="*/ 5773948 h 6858000"/>
              <a:gd name="connsiteX4337" fmla="*/ 2550097 w 6530564"/>
              <a:gd name="connsiteY4337" fmla="*/ 5772950 h 6858000"/>
              <a:gd name="connsiteX4338" fmla="*/ 2572773 w 6530564"/>
              <a:gd name="connsiteY4338" fmla="*/ 5787641 h 6858000"/>
              <a:gd name="connsiteX4339" fmla="*/ 2582118 w 6530564"/>
              <a:gd name="connsiteY4339" fmla="*/ 5785645 h 6858000"/>
              <a:gd name="connsiteX4340" fmla="*/ 2650143 w 6530564"/>
              <a:gd name="connsiteY4340" fmla="*/ 5829723 h 6858000"/>
              <a:gd name="connsiteX4341" fmla="*/ 2670824 w 6530564"/>
              <a:gd name="connsiteY4341" fmla="*/ 5835072 h 6858000"/>
              <a:gd name="connsiteX4342" fmla="*/ 2684158 w 6530564"/>
              <a:gd name="connsiteY4342" fmla="*/ 5851761 h 6858000"/>
              <a:gd name="connsiteX4343" fmla="*/ 2874588 w 6530564"/>
              <a:gd name="connsiteY4343" fmla="*/ 5942950 h 6858000"/>
              <a:gd name="connsiteX4344" fmla="*/ 2956629 w 6530564"/>
              <a:gd name="connsiteY4344" fmla="*/ 5984033 h 6858000"/>
              <a:gd name="connsiteX4345" fmla="*/ 3003657 w 6530564"/>
              <a:gd name="connsiteY4345" fmla="*/ 5998405 h 6858000"/>
              <a:gd name="connsiteX4346" fmla="*/ 3010325 w 6530564"/>
              <a:gd name="connsiteY4346" fmla="*/ 6006750 h 6858000"/>
              <a:gd name="connsiteX4347" fmla="*/ 3052682 w 6530564"/>
              <a:gd name="connsiteY4347" fmla="*/ 6022121 h 6858000"/>
              <a:gd name="connsiteX4348" fmla="*/ 3132727 w 6530564"/>
              <a:gd name="connsiteY4348" fmla="*/ 6053863 h 6858000"/>
              <a:gd name="connsiteX4349" fmla="*/ 3306831 w 6530564"/>
              <a:gd name="connsiteY4349" fmla="*/ 6114351 h 6858000"/>
              <a:gd name="connsiteX4350" fmla="*/ 3409233 w 6530564"/>
              <a:gd name="connsiteY4350" fmla="*/ 6136431 h 6858000"/>
              <a:gd name="connsiteX4351" fmla="*/ 3520977 w 6530564"/>
              <a:gd name="connsiteY4351" fmla="*/ 6156515 h 6858000"/>
              <a:gd name="connsiteX4352" fmla="*/ 3704103 w 6530564"/>
              <a:gd name="connsiteY4352" fmla="*/ 6190654 h 6858000"/>
              <a:gd name="connsiteX4353" fmla="*/ 3841878 w 6530564"/>
              <a:gd name="connsiteY4353" fmla="*/ 6195409 h 6858000"/>
              <a:gd name="connsiteX4354" fmla="*/ 3935617 w 6530564"/>
              <a:gd name="connsiteY4354" fmla="*/ 6199803 h 6858000"/>
              <a:gd name="connsiteX4355" fmla="*/ 4050037 w 6530564"/>
              <a:gd name="connsiteY4355" fmla="*/ 6209548 h 6858000"/>
              <a:gd name="connsiteX4356" fmla="*/ 4164456 w 6530564"/>
              <a:gd name="connsiteY4356" fmla="*/ 6219291 h 6858000"/>
              <a:gd name="connsiteX4357" fmla="*/ 4208491 w 6530564"/>
              <a:gd name="connsiteY4357" fmla="*/ 6219652 h 6858000"/>
              <a:gd name="connsiteX4358" fmla="*/ 4280553 w 6530564"/>
              <a:gd name="connsiteY4358" fmla="*/ 6214026 h 6858000"/>
              <a:gd name="connsiteX4359" fmla="*/ 4299237 w 6530564"/>
              <a:gd name="connsiteY4359" fmla="*/ 6210033 h 6858000"/>
              <a:gd name="connsiteX4360" fmla="*/ 4376966 w 6530564"/>
              <a:gd name="connsiteY4360" fmla="*/ 6208079 h 6858000"/>
              <a:gd name="connsiteX4361" fmla="*/ 4381639 w 6530564"/>
              <a:gd name="connsiteY4361" fmla="*/ 6207082 h 6858000"/>
              <a:gd name="connsiteX4362" fmla="*/ 4382636 w 6530564"/>
              <a:gd name="connsiteY4362" fmla="*/ 6211752 h 6858000"/>
              <a:gd name="connsiteX4363" fmla="*/ 4391979 w 6530564"/>
              <a:gd name="connsiteY4363" fmla="*/ 6209755 h 6858000"/>
              <a:gd name="connsiteX4364" fmla="*/ 4390980 w 6530564"/>
              <a:gd name="connsiteY4364" fmla="*/ 6205086 h 6858000"/>
              <a:gd name="connsiteX4365" fmla="*/ 4386310 w 6530564"/>
              <a:gd name="connsiteY4365" fmla="*/ 6206084 h 6858000"/>
              <a:gd name="connsiteX4366" fmla="*/ 4408667 w 6530564"/>
              <a:gd name="connsiteY4366" fmla="*/ 6196422 h 6858000"/>
              <a:gd name="connsiteX4367" fmla="*/ 4653556 w 6530564"/>
              <a:gd name="connsiteY4367" fmla="*/ 6153870 h 6858000"/>
              <a:gd name="connsiteX4368" fmla="*/ 4745978 w 6530564"/>
              <a:gd name="connsiteY4368" fmla="*/ 6129242 h 6858000"/>
              <a:gd name="connsiteX4369" fmla="*/ 4900802 w 6530564"/>
              <a:gd name="connsiteY4369" fmla="*/ 6076627 h 6858000"/>
              <a:gd name="connsiteX4370" fmla="*/ 5058301 w 6530564"/>
              <a:gd name="connsiteY4370" fmla="*/ 6013674 h 6858000"/>
              <a:gd name="connsiteX4371" fmla="*/ 5152401 w 6530564"/>
              <a:gd name="connsiteY4371" fmla="*/ 5974033 h 6858000"/>
              <a:gd name="connsiteX4372" fmla="*/ 5184101 w 6530564"/>
              <a:gd name="connsiteY4372" fmla="*/ 5962374 h 6858000"/>
              <a:gd name="connsiteX4373" fmla="*/ 5245504 w 6530564"/>
              <a:gd name="connsiteY4373" fmla="*/ 5929720 h 6858000"/>
              <a:gd name="connsiteX4374" fmla="*/ 5246501 w 6530564"/>
              <a:gd name="connsiteY4374" fmla="*/ 5934392 h 6858000"/>
              <a:gd name="connsiteX4375" fmla="*/ 5251173 w 6530564"/>
              <a:gd name="connsiteY4375" fmla="*/ 5933393 h 6858000"/>
              <a:gd name="connsiteX4376" fmla="*/ 5260514 w 6530564"/>
              <a:gd name="connsiteY4376" fmla="*/ 5931398 h 6858000"/>
              <a:gd name="connsiteX4377" fmla="*/ 5264188 w 6530564"/>
              <a:gd name="connsiteY4377" fmla="*/ 5925730 h 6858000"/>
              <a:gd name="connsiteX4378" fmla="*/ 5274527 w 6530564"/>
              <a:gd name="connsiteY4378" fmla="*/ 5928403 h 6858000"/>
              <a:gd name="connsiteX4379" fmla="*/ 5272531 w 6530564"/>
              <a:gd name="connsiteY4379" fmla="*/ 5919062 h 6858000"/>
              <a:gd name="connsiteX4380" fmla="*/ 5277203 w 6530564"/>
              <a:gd name="connsiteY4380" fmla="*/ 5918063 h 6858000"/>
              <a:gd name="connsiteX4381" fmla="*/ 5285546 w 6530564"/>
              <a:gd name="connsiteY4381" fmla="*/ 5911397 h 6858000"/>
              <a:gd name="connsiteX4382" fmla="*/ 5275207 w 6530564"/>
              <a:gd name="connsiteY4382" fmla="*/ 5908722 h 6858000"/>
              <a:gd name="connsiteX4383" fmla="*/ 5276205 w 6530564"/>
              <a:gd name="connsiteY4383" fmla="*/ 5913393 h 6858000"/>
              <a:gd name="connsiteX4384" fmla="*/ 5270536 w 6530564"/>
              <a:gd name="connsiteY4384" fmla="*/ 5909721 h 6858000"/>
              <a:gd name="connsiteX4385" fmla="*/ 5379329 w 6530564"/>
              <a:gd name="connsiteY4385" fmla="*/ 5847404 h 6858000"/>
              <a:gd name="connsiteX4386" fmla="*/ 5542857 w 6530564"/>
              <a:gd name="connsiteY4386" fmla="*/ 5744086 h 6858000"/>
              <a:gd name="connsiteX4387" fmla="*/ 5543855 w 6530564"/>
              <a:gd name="connsiteY4387" fmla="*/ 5748759 h 6858000"/>
              <a:gd name="connsiteX4388" fmla="*/ 5539183 w 6530564"/>
              <a:gd name="connsiteY4388" fmla="*/ 5749756 h 6858000"/>
              <a:gd name="connsiteX4389" fmla="*/ 5536507 w 6530564"/>
              <a:gd name="connsiteY4389" fmla="*/ 5760095 h 6858000"/>
              <a:gd name="connsiteX4390" fmla="*/ 5544853 w 6530564"/>
              <a:gd name="connsiteY4390" fmla="*/ 5753429 h 6858000"/>
              <a:gd name="connsiteX4391" fmla="*/ 5553195 w 6530564"/>
              <a:gd name="connsiteY4391" fmla="*/ 5746762 h 6858000"/>
              <a:gd name="connsiteX4392" fmla="*/ 5568208 w 6530564"/>
              <a:gd name="connsiteY4392" fmla="*/ 5748439 h 6858000"/>
              <a:gd name="connsiteX4393" fmla="*/ 5565793 w 6530564"/>
              <a:gd name="connsiteY4393" fmla="*/ 5742849 h 6858000"/>
              <a:gd name="connsiteX4394" fmla="*/ 5563150 w 6530564"/>
              <a:gd name="connsiteY4394" fmla="*/ 5743821 h 6858000"/>
              <a:gd name="connsiteX4395" fmla="*/ 5569884 w 6530564"/>
              <a:gd name="connsiteY4395" fmla="*/ 5733428 h 6858000"/>
              <a:gd name="connsiteX4396" fmla="*/ 5555871 w 6530564"/>
              <a:gd name="connsiteY4396" fmla="*/ 5736423 h 6858000"/>
              <a:gd name="connsiteX4397" fmla="*/ 5595597 w 6530564"/>
              <a:gd name="connsiteY4397" fmla="*/ 5693746 h 6858000"/>
              <a:gd name="connsiteX4398" fmla="*/ 5601265 w 6530564"/>
              <a:gd name="connsiteY4398" fmla="*/ 5697419 h 6858000"/>
              <a:gd name="connsiteX4399" fmla="*/ 5654005 w 6530564"/>
              <a:gd name="connsiteY4399" fmla="*/ 5647078 h 6858000"/>
              <a:gd name="connsiteX4400" fmla="*/ 5650333 w 6530564"/>
              <a:gd name="connsiteY4400" fmla="*/ 5652747 h 6858000"/>
              <a:gd name="connsiteX4401" fmla="*/ 5713411 w 6530564"/>
              <a:gd name="connsiteY4401" fmla="*/ 5605080 h 6858000"/>
              <a:gd name="connsiteX4402" fmla="*/ 5717085 w 6530564"/>
              <a:gd name="connsiteY4402" fmla="*/ 5599412 h 6858000"/>
              <a:gd name="connsiteX4403" fmla="*/ 5698401 w 6530564"/>
              <a:gd name="connsiteY4403" fmla="*/ 5603403 h 6858000"/>
              <a:gd name="connsiteX4404" fmla="*/ 5739123 w 6530564"/>
              <a:gd name="connsiteY4404" fmla="*/ 5565397 h 6858000"/>
              <a:gd name="connsiteX4405" fmla="*/ 5749465 w 6530564"/>
              <a:gd name="connsiteY4405" fmla="*/ 5568074 h 6858000"/>
              <a:gd name="connsiteX4406" fmla="*/ 5755813 w 6530564"/>
              <a:gd name="connsiteY4406" fmla="*/ 5552065 h 6858000"/>
              <a:gd name="connsiteX4407" fmla="*/ 5759485 w 6530564"/>
              <a:gd name="connsiteY4407" fmla="*/ 5546395 h 6858000"/>
              <a:gd name="connsiteX4408" fmla="*/ 5766831 w 6530564"/>
              <a:gd name="connsiteY4408" fmla="*/ 5535057 h 6858000"/>
              <a:gd name="connsiteX4409" fmla="*/ 5757489 w 6530564"/>
              <a:gd name="connsiteY4409" fmla="*/ 5537052 h 6858000"/>
              <a:gd name="connsiteX4410" fmla="*/ 5752817 w 6530564"/>
              <a:gd name="connsiteY4410" fmla="*/ 5538051 h 6858000"/>
              <a:gd name="connsiteX4411" fmla="*/ 5840612 w 6530564"/>
              <a:gd name="connsiteY4411" fmla="*/ 5446031 h 6858000"/>
              <a:gd name="connsiteX4412" fmla="*/ 5875984 w 6530564"/>
              <a:gd name="connsiteY4412" fmla="*/ 5428705 h 6858000"/>
              <a:gd name="connsiteX4413" fmla="*/ 5876981 w 6530564"/>
              <a:gd name="connsiteY4413" fmla="*/ 5433377 h 6858000"/>
              <a:gd name="connsiteX4414" fmla="*/ 5881654 w 6530564"/>
              <a:gd name="connsiteY4414" fmla="*/ 5432378 h 6858000"/>
              <a:gd name="connsiteX4415" fmla="*/ 5888999 w 6530564"/>
              <a:gd name="connsiteY4415" fmla="*/ 5421040 h 6858000"/>
              <a:gd name="connsiteX4416" fmla="*/ 5892673 w 6530564"/>
              <a:gd name="connsiteY4416" fmla="*/ 5415372 h 6858000"/>
              <a:gd name="connsiteX4417" fmla="*/ 5894349 w 6530564"/>
              <a:gd name="connsiteY4417" fmla="*/ 5400360 h 6858000"/>
              <a:gd name="connsiteX4418" fmla="*/ 5910040 w 6530564"/>
              <a:gd name="connsiteY4418" fmla="*/ 5382356 h 6858000"/>
              <a:gd name="connsiteX4419" fmla="*/ 5885009 w 6530564"/>
              <a:gd name="connsiteY4419" fmla="*/ 5402357 h 6858000"/>
              <a:gd name="connsiteX4420" fmla="*/ 5887003 w 6530564"/>
              <a:gd name="connsiteY4420" fmla="*/ 5411699 h 6858000"/>
              <a:gd name="connsiteX4421" fmla="*/ 5883331 w 6530564"/>
              <a:gd name="connsiteY4421" fmla="*/ 5417368 h 6858000"/>
              <a:gd name="connsiteX4422" fmla="*/ 5878661 w 6530564"/>
              <a:gd name="connsiteY4422" fmla="*/ 5418365 h 6858000"/>
              <a:gd name="connsiteX4423" fmla="*/ 5875984 w 6530564"/>
              <a:gd name="connsiteY4423" fmla="*/ 5428705 h 6858000"/>
              <a:gd name="connsiteX4424" fmla="*/ 5797893 w 6530564"/>
              <a:gd name="connsiteY4424" fmla="*/ 5474694 h 6858000"/>
              <a:gd name="connsiteX4425" fmla="*/ 5788553 w 6530564"/>
              <a:gd name="connsiteY4425" fmla="*/ 5476691 h 6858000"/>
              <a:gd name="connsiteX4426" fmla="*/ 5787554 w 6530564"/>
              <a:gd name="connsiteY4426" fmla="*/ 5472019 h 6858000"/>
              <a:gd name="connsiteX4427" fmla="*/ 5783880 w 6530564"/>
              <a:gd name="connsiteY4427" fmla="*/ 5477689 h 6858000"/>
              <a:gd name="connsiteX4428" fmla="*/ 5779209 w 6530564"/>
              <a:gd name="connsiteY4428" fmla="*/ 5478686 h 6858000"/>
              <a:gd name="connsiteX4429" fmla="*/ 5809467 w 6530564"/>
              <a:gd name="connsiteY4429" fmla="*/ 5437421 h 6858000"/>
              <a:gd name="connsiteX4430" fmla="*/ 5851753 w 6530564"/>
              <a:gd name="connsiteY4430" fmla="*/ 5406742 h 6858000"/>
              <a:gd name="connsiteX4431" fmla="*/ 5852311 w 6530564"/>
              <a:gd name="connsiteY4431" fmla="*/ 5409342 h 6858000"/>
              <a:gd name="connsiteX4432" fmla="*/ 5855983 w 6530564"/>
              <a:gd name="connsiteY4432" fmla="*/ 5403674 h 6858000"/>
              <a:gd name="connsiteX4433" fmla="*/ 5872672 w 6530564"/>
              <a:gd name="connsiteY4433" fmla="*/ 5390339 h 6858000"/>
              <a:gd name="connsiteX4434" fmla="*/ 5868998 w 6530564"/>
              <a:gd name="connsiteY4434" fmla="*/ 5396009 h 6858000"/>
              <a:gd name="connsiteX4435" fmla="*/ 5873671 w 6530564"/>
              <a:gd name="connsiteY4435" fmla="*/ 5395010 h 6858000"/>
              <a:gd name="connsiteX4436" fmla="*/ 5877343 w 6530564"/>
              <a:gd name="connsiteY4436" fmla="*/ 5389341 h 6858000"/>
              <a:gd name="connsiteX4437" fmla="*/ 5944096 w 6530564"/>
              <a:gd name="connsiteY4437" fmla="*/ 5336008 h 6858000"/>
              <a:gd name="connsiteX4438" fmla="*/ 5954436 w 6530564"/>
              <a:gd name="connsiteY4438" fmla="*/ 5338681 h 6858000"/>
              <a:gd name="connsiteX4439" fmla="*/ 5936071 w 6530564"/>
              <a:gd name="connsiteY4439" fmla="*/ 5367026 h 6858000"/>
              <a:gd name="connsiteX4440" fmla="*/ 6011847 w 6530564"/>
              <a:gd name="connsiteY4440" fmla="*/ 5287342 h 6858000"/>
              <a:gd name="connsiteX4441" fmla="*/ 6021190 w 6530564"/>
              <a:gd name="connsiteY4441" fmla="*/ 5285346 h 6858000"/>
              <a:gd name="connsiteX4442" fmla="*/ 6023863 w 6530564"/>
              <a:gd name="connsiteY4442" fmla="*/ 5275006 h 6858000"/>
              <a:gd name="connsiteX4443" fmla="*/ 6041233 w 6530564"/>
              <a:gd name="connsiteY4443" fmla="*/ 5241991 h 6858000"/>
              <a:gd name="connsiteX4444" fmla="*/ 6047899 w 6530564"/>
              <a:gd name="connsiteY4444" fmla="*/ 5250335 h 6858000"/>
              <a:gd name="connsiteX4445" fmla="*/ 6054247 w 6530564"/>
              <a:gd name="connsiteY4445" fmla="*/ 5234325 h 6858000"/>
              <a:gd name="connsiteX4446" fmla="*/ 6057920 w 6530564"/>
              <a:gd name="connsiteY4446" fmla="*/ 5228658 h 6858000"/>
              <a:gd name="connsiteX4447" fmla="*/ 6062591 w 6530564"/>
              <a:gd name="connsiteY4447" fmla="*/ 5227659 h 6858000"/>
              <a:gd name="connsiteX4448" fmla="*/ 6061593 w 6530564"/>
              <a:gd name="connsiteY4448" fmla="*/ 5222988 h 6858000"/>
              <a:gd name="connsiteX4449" fmla="*/ 6057920 w 6530564"/>
              <a:gd name="connsiteY4449" fmla="*/ 5228658 h 6858000"/>
              <a:gd name="connsiteX4450" fmla="*/ 6053250 w 6530564"/>
              <a:gd name="connsiteY4450" fmla="*/ 5229655 h 6858000"/>
              <a:gd name="connsiteX4451" fmla="*/ 6068941 w 6530564"/>
              <a:gd name="connsiteY4451" fmla="*/ 5211651 h 6858000"/>
              <a:gd name="connsiteX4452" fmla="*/ 6069937 w 6530564"/>
              <a:gd name="connsiteY4452" fmla="*/ 5216321 h 6858000"/>
              <a:gd name="connsiteX4453" fmla="*/ 6153103 w 6530564"/>
              <a:gd name="connsiteY4453" fmla="*/ 5056910 h 6858000"/>
              <a:gd name="connsiteX4454" fmla="*/ 6220259 w 6530564"/>
              <a:gd name="connsiteY4454" fmla="*/ 4891153 h 6858000"/>
              <a:gd name="connsiteX4455" fmla="*/ 6232593 w 6530564"/>
              <a:gd name="connsiteY4455" fmla="*/ 4903170 h 6858000"/>
              <a:gd name="connsiteX4456" fmla="*/ 6266691 w 6530564"/>
              <a:gd name="connsiteY4456" fmla="*/ 4788433 h 6858000"/>
              <a:gd name="connsiteX4457" fmla="*/ 6282822 w 6530564"/>
              <a:gd name="connsiteY4457" fmla="*/ 4732481 h 6858000"/>
              <a:gd name="connsiteX4458" fmla="*/ 6302855 w 6530564"/>
              <a:gd name="connsiteY4458" fmla="*/ 4672815 h 6858000"/>
              <a:gd name="connsiteX4459" fmla="*/ 6305460 w 6530564"/>
              <a:gd name="connsiteY4459" fmla="*/ 4672697 h 6858000"/>
              <a:gd name="connsiteX4460" fmla="*/ 6313804 w 6530564"/>
              <a:gd name="connsiteY4460" fmla="*/ 4666031 h 6858000"/>
              <a:gd name="connsiteX4461" fmla="*/ 6318475 w 6530564"/>
              <a:gd name="connsiteY4461" fmla="*/ 4665033 h 6858000"/>
              <a:gd name="connsiteX4462" fmla="*/ 6322827 w 6530564"/>
              <a:gd name="connsiteY4462" fmla="*/ 4639682 h 6858000"/>
              <a:gd name="connsiteX4463" fmla="*/ 6330175 w 6530564"/>
              <a:gd name="connsiteY4463" fmla="*/ 4628345 h 6858000"/>
              <a:gd name="connsiteX4464" fmla="*/ 6329177 w 6530564"/>
              <a:gd name="connsiteY4464" fmla="*/ 4623672 h 6858000"/>
              <a:gd name="connsiteX4465" fmla="*/ 6324505 w 6530564"/>
              <a:gd name="connsiteY4465" fmla="*/ 4624671 h 6858000"/>
              <a:gd name="connsiteX4466" fmla="*/ 6348900 w 6530564"/>
              <a:gd name="connsiteY4466" fmla="*/ 4555965 h 6858000"/>
              <a:gd name="connsiteX4467" fmla="*/ 6345907 w 6530564"/>
              <a:gd name="connsiteY4467" fmla="*/ 4541951 h 6858000"/>
              <a:gd name="connsiteX4468" fmla="*/ 6330216 w 6530564"/>
              <a:gd name="connsiteY4468" fmla="*/ 4559955 h 6858000"/>
              <a:gd name="connsiteX4469" fmla="*/ 6336883 w 6530564"/>
              <a:gd name="connsiteY4469" fmla="*/ 4568299 h 6858000"/>
              <a:gd name="connsiteX4470" fmla="*/ 6314844 w 6530564"/>
              <a:gd name="connsiteY4470" fmla="*/ 4602314 h 6858000"/>
              <a:gd name="connsiteX4471" fmla="*/ 6321192 w 6530564"/>
              <a:gd name="connsiteY4471" fmla="*/ 4586304 h 6858000"/>
              <a:gd name="connsiteX4472" fmla="*/ 6273761 w 6530564"/>
              <a:gd name="connsiteY4472" fmla="*/ 4684354 h 6858000"/>
              <a:gd name="connsiteX4473" fmla="*/ 6228327 w 6530564"/>
              <a:gd name="connsiteY4473" fmla="*/ 4791746 h 6858000"/>
              <a:gd name="connsiteX4474" fmla="*/ 6218983 w 6530564"/>
              <a:gd name="connsiteY4474" fmla="*/ 4793740 h 6858000"/>
              <a:gd name="connsiteX4475" fmla="*/ 6164885 w 6530564"/>
              <a:gd name="connsiteY4475" fmla="*/ 4883446 h 6858000"/>
              <a:gd name="connsiteX4476" fmla="*/ 6142846 w 6530564"/>
              <a:gd name="connsiteY4476" fmla="*/ 4917459 h 6858000"/>
              <a:gd name="connsiteX4477" fmla="*/ 6136497 w 6530564"/>
              <a:gd name="connsiteY4477" fmla="*/ 4933470 h 6858000"/>
              <a:gd name="connsiteX4478" fmla="*/ 6117135 w 6530564"/>
              <a:gd name="connsiteY4478" fmla="*/ 4957143 h 6858000"/>
              <a:gd name="connsiteX4479" fmla="*/ 6085074 w 6530564"/>
              <a:gd name="connsiteY4479" fmla="*/ 5012834 h 6858000"/>
              <a:gd name="connsiteX4480" fmla="*/ 6052017 w 6530564"/>
              <a:gd name="connsiteY4480" fmla="*/ 5063855 h 6858000"/>
              <a:gd name="connsiteX4481" fmla="*/ 5949849 w 6530564"/>
              <a:gd name="connsiteY4481" fmla="*/ 5202903 h 6858000"/>
              <a:gd name="connsiteX4482" fmla="*/ 5919467 w 6530564"/>
              <a:gd name="connsiteY4482" fmla="*/ 5243586 h 6858000"/>
              <a:gd name="connsiteX4483" fmla="*/ 5913797 w 6530564"/>
              <a:gd name="connsiteY4483" fmla="*/ 5239912 h 6858000"/>
              <a:gd name="connsiteX4484" fmla="*/ 5798296 w 6530564"/>
              <a:gd name="connsiteY4484" fmla="*/ 5362272 h 6858000"/>
              <a:gd name="connsiteX4485" fmla="*/ 5770589 w 6530564"/>
              <a:gd name="connsiteY4485" fmla="*/ 5392612 h 6858000"/>
              <a:gd name="connsiteX4486" fmla="*/ 5726193 w 6530564"/>
              <a:gd name="connsiteY4486" fmla="*/ 5436286 h 6858000"/>
              <a:gd name="connsiteX4487" fmla="*/ 5560309 w 6530564"/>
              <a:gd name="connsiteY4487" fmla="*/ 5574296 h 6858000"/>
              <a:gd name="connsiteX4488" fmla="*/ 5511241 w 6530564"/>
              <a:gd name="connsiteY4488" fmla="*/ 5618968 h 6858000"/>
              <a:gd name="connsiteX4489" fmla="*/ 5501899 w 6530564"/>
              <a:gd name="connsiteY4489" fmla="*/ 5620964 h 6858000"/>
              <a:gd name="connsiteX4490" fmla="*/ 5462853 w 6530564"/>
              <a:gd name="connsiteY4490" fmla="*/ 5643958 h 6858000"/>
              <a:gd name="connsiteX4491" fmla="*/ 5434147 w 6530564"/>
              <a:gd name="connsiteY4491" fmla="*/ 5669628 h 6858000"/>
              <a:gd name="connsiteX4492" fmla="*/ 5335695 w 6530564"/>
              <a:gd name="connsiteY4492" fmla="*/ 5734620 h 6858000"/>
              <a:gd name="connsiteX4493" fmla="*/ 5279961 w 6530564"/>
              <a:gd name="connsiteY4493" fmla="*/ 5770948 h 6858000"/>
              <a:gd name="connsiteX4494" fmla="*/ 5196201 w 6530564"/>
              <a:gd name="connsiteY4494" fmla="*/ 5813264 h 6858000"/>
              <a:gd name="connsiteX4495" fmla="*/ 5184185 w 6530564"/>
              <a:gd name="connsiteY4495" fmla="*/ 5825600 h 6858000"/>
              <a:gd name="connsiteX4496" fmla="*/ 5148811 w 6530564"/>
              <a:gd name="connsiteY4496" fmla="*/ 5842926 h 6858000"/>
              <a:gd name="connsiteX4497" fmla="*/ 5098429 w 6530564"/>
              <a:gd name="connsiteY4497" fmla="*/ 5858574 h 6858000"/>
              <a:gd name="connsiteX4498" fmla="*/ 5093078 w 6530564"/>
              <a:gd name="connsiteY4498" fmla="*/ 5879254 h 6858000"/>
              <a:gd name="connsiteX4499" fmla="*/ 5071717 w 6530564"/>
              <a:gd name="connsiteY4499" fmla="*/ 5893584 h 6858000"/>
              <a:gd name="connsiteX4500" fmla="*/ 4963607 w 6530564"/>
              <a:gd name="connsiteY4500" fmla="*/ 5936220 h 6858000"/>
              <a:gd name="connsiteX4501" fmla="*/ 4943924 w 6530564"/>
              <a:gd name="connsiteY4501" fmla="*/ 5935541 h 6858000"/>
              <a:gd name="connsiteX4502" fmla="*/ 4931907 w 6530564"/>
              <a:gd name="connsiteY4502" fmla="*/ 5947877 h 6858000"/>
              <a:gd name="connsiteX4503" fmla="*/ 4927236 w 6530564"/>
              <a:gd name="connsiteY4503" fmla="*/ 5948876 h 6858000"/>
              <a:gd name="connsiteX4504" fmla="*/ 4813453 w 6530564"/>
              <a:gd name="connsiteY4504" fmla="*/ 5987836 h 6858000"/>
              <a:gd name="connsiteX4505" fmla="*/ 4812455 w 6530564"/>
              <a:gd name="connsiteY4505" fmla="*/ 5983165 h 6858000"/>
              <a:gd name="connsiteX4506" fmla="*/ 4789099 w 6530564"/>
              <a:gd name="connsiteY4506" fmla="*/ 5988156 h 6858000"/>
              <a:gd name="connsiteX4507" fmla="*/ 4763071 w 6530564"/>
              <a:gd name="connsiteY4507" fmla="*/ 6003484 h 6858000"/>
              <a:gd name="connsiteX4508" fmla="*/ 4747061 w 6530564"/>
              <a:gd name="connsiteY4508" fmla="*/ 5997136 h 6858000"/>
              <a:gd name="connsiteX4509" fmla="*/ 4687335 w 6530564"/>
              <a:gd name="connsiteY4509" fmla="*/ 6014782 h 6858000"/>
              <a:gd name="connsiteX4510" fmla="*/ 4642621 w 6530564"/>
              <a:gd name="connsiteY4510" fmla="*/ 6034102 h 6858000"/>
              <a:gd name="connsiteX4511" fmla="*/ 4636952 w 6530564"/>
              <a:gd name="connsiteY4511" fmla="*/ 6030429 h 6858000"/>
              <a:gd name="connsiteX4512" fmla="*/ 4563214 w 6530564"/>
              <a:gd name="connsiteY4512" fmla="*/ 6051067 h 6858000"/>
              <a:gd name="connsiteX4513" fmla="*/ 4553871 w 6530564"/>
              <a:gd name="connsiteY4513" fmla="*/ 6053063 h 6858000"/>
              <a:gd name="connsiteX4514" fmla="*/ 4552873 w 6530564"/>
              <a:gd name="connsiteY4514" fmla="*/ 6048393 h 6858000"/>
              <a:gd name="connsiteX4515" fmla="*/ 4547205 w 6530564"/>
              <a:gd name="connsiteY4515" fmla="*/ 6044719 h 6858000"/>
              <a:gd name="connsiteX4516" fmla="*/ 4543531 w 6530564"/>
              <a:gd name="connsiteY4516" fmla="*/ 6050388 h 6858000"/>
              <a:gd name="connsiteX4517" fmla="*/ 4494145 w 6530564"/>
              <a:gd name="connsiteY4517" fmla="*/ 6070708 h 6858000"/>
              <a:gd name="connsiteX4518" fmla="*/ 4478137 w 6530564"/>
              <a:gd name="connsiteY4518" fmla="*/ 6064359 h 6858000"/>
              <a:gd name="connsiteX4519" fmla="*/ 4479134 w 6530564"/>
              <a:gd name="connsiteY4519" fmla="*/ 6069030 h 6858000"/>
              <a:gd name="connsiteX4520" fmla="*/ 4459453 w 6530564"/>
              <a:gd name="connsiteY4520" fmla="*/ 6068351 h 6858000"/>
              <a:gd name="connsiteX4521" fmla="*/ 4432425 w 6530564"/>
              <a:gd name="connsiteY4521" fmla="*/ 6079010 h 6858000"/>
              <a:gd name="connsiteX4522" fmla="*/ 4404399 w 6530564"/>
              <a:gd name="connsiteY4522" fmla="*/ 6084998 h 6858000"/>
              <a:gd name="connsiteX4523" fmla="*/ 4394059 w 6530564"/>
              <a:gd name="connsiteY4523" fmla="*/ 6082323 h 6858000"/>
              <a:gd name="connsiteX4524" fmla="*/ 4379047 w 6530564"/>
              <a:gd name="connsiteY4524" fmla="*/ 6080645 h 6858000"/>
              <a:gd name="connsiteX4525" fmla="*/ 4374376 w 6530564"/>
              <a:gd name="connsiteY4525" fmla="*/ 6081644 h 6858000"/>
              <a:gd name="connsiteX4526" fmla="*/ 4292971 w 6530564"/>
              <a:gd name="connsiteY4526" fmla="*/ 6089266 h 6858000"/>
              <a:gd name="connsiteX4527" fmla="*/ 4193882 w 6530564"/>
              <a:gd name="connsiteY4527" fmla="*/ 6105553 h 6858000"/>
              <a:gd name="connsiteX4528" fmla="*/ 4184541 w 6530564"/>
              <a:gd name="connsiteY4528" fmla="*/ 6107549 h 6858000"/>
              <a:gd name="connsiteX4529" fmla="*/ 4178872 w 6530564"/>
              <a:gd name="connsiteY4529" fmla="*/ 6103875 h 6858000"/>
              <a:gd name="connsiteX4530" fmla="*/ 4174201 w 6530564"/>
              <a:gd name="connsiteY4530" fmla="*/ 6104874 h 6858000"/>
              <a:gd name="connsiteX4531" fmla="*/ 4146175 w 6530564"/>
              <a:gd name="connsiteY4531" fmla="*/ 6110861 h 6858000"/>
              <a:gd name="connsiteX4532" fmla="*/ 4141503 w 6530564"/>
              <a:gd name="connsiteY4532" fmla="*/ 6111859 h 6858000"/>
              <a:gd name="connsiteX4533" fmla="*/ 4135835 w 6530564"/>
              <a:gd name="connsiteY4533" fmla="*/ 6108185 h 6858000"/>
              <a:gd name="connsiteX4534" fmla="*/ 4131163 w 6530564"/>
              <a:gd name="connsiteY4534" fmla="*/ 6109183 h 6858000"/>
              <a:gd name="connsiteX4535" fmla="*/ 4092798 w 6530564"/>
              <a:gd name="connsiteY4535" fmla="*/ 6112497 h 6858000"/>
              <a:gd name="connsiteX4536" fmla="*/ 4082458 w 6530564"/>
              <a:gd name="connsiteY4536" fmla="*/ 6109821 h 6858000"/>
              <a:gd name="connsiteX4537" fmla="*/ 4052435 w 6530564"/>
              <a:gd name="connsiteY4537" fmla="*/ 6106468 h 6858000"/>
              <a:gd name="connsiteX4538" fmla="*/ 4053433 w 6530564"/>
              <a:gd name="connsiteY4538" fmla="*/ 6111138 h 6858000"/>
              <a:gd name="connsiteX4539" fmla="*/ 4043093 w 6530564"/>
              <a:gd name="connsiteY4539" fmla="*/ 6108462 h 6858000"/>
              <a:gd name="connsiteX4540" fmla="*/ 4049935 w 6530564"/>
              <a:gd name="connsiteY4540" fmla="*/ 6103338 h 6858000"/>
              <a:gd name="connsiteX4541" fmla="*/ 4045742 w 6530564"/>
              <a:gd name="connsiteY4541" fmla="*/ 6095312 h 6858000"/>
              <a:gd name="connsiteX4542" fmla="*/ 4059782 w 6530564"/>
              <a:gd name="connsiteY4542" fmla="*/ 6095129 h 6858000"/>
              <a:gd name="connsiteX4543" fmla="*/ 4208575 w 6530564"/>
              <a:gd name="connsiteY4543" fmla="*/ 6082877 h 6858000"/>
              <a:gd name="connsiteX4544" fmla="*/ 4574233 w 6530564"/>
              <a:gd name="connsiteY4544" fmla="*/ 6034059 h 6858000"/>
              <a:gd name="connsiteX4545" fmla="*/ 4653639 w 6530564"/>
              <a:gd name="connsiteY4545" fmla="*/ 6017096 h 6858000"/>
              <a:gd name="connsiteX4546" fmla="*/ 4666657 w 6530564"/>
              <a:gd name="connsiteY4546" fmla="*/ 6009430 h 6858000"/>
              <a:gd name="connsiteX4547" fmla="*/ 4671326 w 6530564"/>
              <a:gd name="connsiteY4547" fmla="*/ 6008432 h 6858000"/>
              <a:gd name="connsiteX4548" fmla="*/ 4680669 w 6530564"/>
              <a:gd name="connsiteY4548" fmla="*/ 6006436 h 6858000"/>
              <a:gd name="connsiteX4549" fmla="*/ 4777762 w 6530564"/>
              <a:gd name="connsiteY4549" fmla="*/ 5980809 h 6858000"/>
              <a:gd name="connsiteX4550" fmla="*/ 4917575 w 6530564"/>
              <a:gd name="connsiteY4550" fmla="*/ 5926517 h 6858000"/>
              <a:gd name="connsiteX4551" fmla="*/ 5024691 w 6530564"/>
              <a:gd name="connsiteY4551" fmla="*/ 5879212 h 6858000"/>
              <a:gd name="connsiteX4552" fmla="*/ 5063735 w 6530564"/>
              <a:gd name="connsiteY4552" fmla="*/ 5856218 h 6858000"/>
              <a:gd name="connsiteX4553" fmla="*/ 5078746 w 6530564"/>
              <a:gd name="connsiteY4553" fmla="*/ 5857895 h 6858000"/>
              <a:gd name="connsiteX4554" fmla="*/ 5094437 w 6530564"/>
              <a:gd name="connsiteY4554" fmla="*/ 5839890 h 6858000"/>
              <a:gd name="connsiteX4555" fmla="*/ 5130807 w 6530564"/>
              <a:gd name="connsiteY4555" fmla="*/ 5827235 h 6858000"/>
              <a:gd name="connsiteX4556" fmla="*/ 5253613 w 6530564"/>
              <a:gd name="connsiteY4556" fmla="*/ 5761925 h 6858000"/>
              <a:gd name="connsiteX4557" fmla="*/ 5273974 w 6530564"/>
              <a:gd name="connsiteY4557" fmla="*/ 5742921 h 6858000"/>
              <a:gd name="connsiteX4558" fmla="*/ 5398457 w 6530564"/>
              <a:gd name="connsiteY4558" fmla="*/ 5662600 h 6858000"/>
              <a:gd name="connsiteX4559" fmla="*/ 5508927 w 6530564"/>
              <a:gd name="connsiteY4559" fmla="*/ 5585273 h 6858000"/>
              <a:gd name="connsiteX4560" fmla="*/ 5516272 w 6530564"/>
              <a:gd name="connsiteY4560" fmla="*/ 5573935 h 6858000"/>
              <a:gd name="connsiteX4561" fmla="*/ 5517271 w 6530564"/>
              <a:gd name="connsiteY4561" fmla="*/ 5578605 h 6858000"/>
              <a:gd name="connsiteX4562" fmla="*/ 5566338 w 6530564"/>
              <a:gd name="connsiteY4562" fmla="*/ 5533934 h 6858000"/>
              <a:gd name="connsiteX4563" fmla="*/ 5597039 w 6530564"/>
              <a:gd name="connsiteY4563" fmla="*/ 5517607 h 6858000"/>
              <a:gd name="connsiteX4564" fmla="*/ 5590371 w 6530564"/>
              <a:gd name="connsiteY4564" fmla="*/ 5509261 h 6858000"/>
              <a:gd name="connsiteX4565" fmla="*/ 5610733 w 6530564"/>
              <a:gd name="connsiteY4565" fmla="*/ 5490259 h 6858000"/>
              <a:gd name="connsiteX4566" fmla="*/ 5625744 w 6530564"/>
              <a:gd name="connsiteY4566" fmla="*/ 5491937 h 6858000"/>
              <a:gd name="connsiteX4567" fmla="*/ 5718210 w 6530564"/>
              <a:gd name="connsiteY4567" fmla="*/ 5398918 h 6858000"/>
              <a:gd name="connsiteX4568" fmla="*/ 5726553 w 6530564"/>
              <a:gd name="connsiteY4568" fmla="*/ 5392252 h 6858000"/>
              <a:gd name="connsiteX4569" fmla="*/ 5730227 w 6530564"/>
              <a:gd name="connsiteY4569" fmla="*/ 5386582 h 6858000"/>
              <a:gd name="connsiteX4570" fmla="*/ 5725555 w 6530564"/>
              <a:gd name="connsiteY4570" fmla="*/ 5387581 h 6858000"/>
              <a:gd name="connsiteX4571" fmla="*/ 5720884 w 6530564"/>
              <a:gd name="connsiteY4571" fmla="*/ 5388578 h 6858000"/>
              <a:gd name="connsiteX4572" fmla="*/ 5821693 w 6530564"/>
              <a:gd name="connsiteY4572" fmla="*/ 5288895 h 6858000"/>
              <a:gd name="connsiteX4573" fmla="*/ 5836704 w 6530564"/>
              <a:gd name="connsiteY4573" fmla="*/ 5290572 h 6858000"/>
              <a:gd name="connsiteX4574" fmla="*/ 5981591 w 6530564"/>
              <a:gd name="connsiteY4574" fmla="*/ 5122858 h 6858000"/>
              <a:gd name="connsiteX4575" fmla="*/ 6118812 w 6530564"/>
              <a:gd name="connsiteY4575" fmla="*/ 4942132 h 6858000"/>
              <a:gd name="connsiteX4576" fmla="*/ 6076412 w 6530564"/>
              <a:gd name="connsiteY4576" fmla="*/ 4995149 h 6858000"/>
              <a:gd name="connsiteX4577" fmla="*/ 6063397 w 6530564"/>
              <a:gd name="connsiteY4577" fmla="*/ 5002813 h 6858000"/>
              <a:gd name="connsiteX4578" fmla="*/ 5966579 w 6530564"/>
              <a:gd name="connsiteY4578" fmla="*/ 5121182 h 6858000"/>
              <a:gd name="connsiteX4579" fmla="*/ 5844729 w 6530564"/>
              <a:gd name="connsiteY4579" fmla="*/ 5259552 h 6858000"/>
              <a:gd name="connsiteX4580" fmla="*/ 5827043 w 6530564"/>
              <a:gd name="connsiteY4580" fmla="*/ 5268214 h 6858000"/>
              <a:gd name="connsiteX4581" fmla="*/ 5759611 w 6530564"/>
              <a:gd name="connsiteY4581" fmla="*/ 5341232 h 6858000"/>
              <a:gd name="connsiteX4582" fmla="*/ 5750269 w 6530564"/>
              <a:gd name="connsiteY4582" fmla="*/ 5343228 h 6858000"/>
              <a:gd name="connsiteX4583" fmla="*/ 5752265 w 6530564"/>
              <a:gd name="connsiteY4583" fmla="*/ 5352569 h 6858000"/>
              <a:gd name="connsiteX4584" fmla="*/ 5656807 w 6530564"/>
              <a:gd name="connsiteY4584" fmla="*/ 5431574 h 6858000"/>
              <a:gd name="connsiteX4585" fmla="*/ 5668823 w 6530564"/>
              <a:gd name="connsiteY4585" fmla="*/ 5419239 h 6858000"/>
              <a:gd name="connsiteX4586" fmla="*/ 5700204 w 6530564"/>
              <a:gd name="connsiteY4586" fmla="*/ 5383229 h 6858000"/>
              <a:gd name="connsiteX4587" fmla="*/ 5759291 w 6530564"/>
              <a:gd name="connsiteY4587" fmla="*/ 5316879 h 6858000"/>
              <a:gd name="connsiteX4588" fmla="*/ 5767637 w 6530564"/>
              <a:gd name="connsiteY4588" fmla="*/ 5310212 h 6858000"/>
              <a:gd name="connsiteX4589" fmla="*/ 5776978 w 6530564"/>
              <a:gd name="connsiteY4589" fmla="*/ 5308215 h 6858000"/>
              <a:gd name="connsiteX4590" fmla="*/ 5795344 w 6530564"/>
              <a:gd name="connsiteY4590" fmla="*/ 5279871 h 6858000"/>
              <a:gd name="connsiteX4591" fmla="*/ 5823052 w 6530564"/>
              <a:gd name="connsiteY4591" fmla="*/ 5249530 h 6858000"/>
              <a:gd name="connsiteX4592" fmla="*/ 5876789 w 6530564"/>
              <a:gd name="connsiteY4592" fmla="*/ 5203859 h 6858000"/>
              <a:gd name="connsiteX4593" fmla="*/ 5875791 w 6530564"/>
              <a:gd name="connsiteY4593" fmla="*/ 5199189 h 6858000"/>
              <a:gd name="connsiteX4594" fmla="*/ 5891483 w 6530564"/>
              <a:gd name="connsiteY4594" fmla="*/ 5181185 h 6858000"/>
              <a:gd name="connsiteX4595" fmla="*/ 5895155 w 6530564"/>
              <a:gd name="connsiteY4595" fmla="*/ 5175515 h 6858000"/>
              <a:gd name="connsiteX4596" fmla="*/ 5926536 w 6530564"/>
              <a:gd name="connsiteY4596" fmla="*/ 5139505 h 6858000"/>
              <a:gd name="connsiteX4597" fmla="*/ 5942227 w 6530564"/>
              <a:gd name="connsiteY4597" fmla="*/ 5121500 h 6858000"/>
              <a:gd name="connsiteX4598" fmla="*/ 5989296 w 6530564"/>
              <a:gd name="connsiteY4598" fmla="*/ 5067486 h 6858000"/>
              <a:gd name="connsiteX4599" fmla="*/ 6008661 w 6530564"/>
              <a:gd name="connsiteY4599" fmla="*/ 5043813 h 6858000"/>
              <a:gd name="connsiteX4600" fmla="*/ 6013332 w 6530564"/>
              <a:gd name="connsiteY4600" fmla="*/ 5042815 h 6858000"/>
              <a:gd name="connsiteX4601" fmla="*/ 6017005 w 6530564"/>
              <a:gd name="connsiteY4601" fmla="*/ 5037145 h 6858000"/>
              <a:gd name="connsiteX4602" fmla="*/ 6016007 w 6530564"/>
              <a:gd name="connsiteY4602" fmla="*/ 5032475 h 6858000"/>
              <a:gd name="connsiteX4603" fmla="*/ 6020679 w 6530564"/>
              <a:gd name="connsiteY4603" fmla="*/ 5031478 h 6858000"/>
              <a:gd name="connsiteX4604" fmla="*/ 6092463 w 6530564"/>
              <a:gd name="connsiteY4604" fmla="*/ 4933109 h 6858000"/>
              <a:gd name="connsiteX4605" fmla="*/ 6100805 w 6530564"/>
              <a:gd name="connsiteY4605" fmla="*/ 4926443 h 6858000"/>
              <a:gd name="connsiteX4606" fmla="*/ 6105477 w 6530564"/>
              <a:gd name="connsiteY4606" fmla="*/ 4925444 h 6858000"/>
              <a:gd name="connsiteX4607" fmla="*/ 6109151 w 6530564"/>
              <a:gd name="connsiteY4607" fmla="*/ 4919775 h 6858000"/>
              <a:gd name="connsiteX4608" fmla="*/ 6108152 w 6530564"/>
              <a:gd name="connsiteY4608" fmla="*/ 4915104 h 6858000"/>
              <a:gd name="connsiteX4609" fmla="*/ 6132867 w 6530564"/>
              <a:gd name="connsiteY4609" fmla="*/ 4870749 h 6858000"/>
              <a:gd name="connsiteX4610" fmla="*/ 6136541 w 6530564"/>
              <a:gd name="connsiteY4610" fmla="*/ 4865082 h 6858000"/>
              <a:gd name="connsiteX4611" fmla="*/ 6139215 w 6530564"/>
              <a:gd name="connsiteY4611" fmla="*/ 4854742 h 6858000"/>
              <a:gd name="connsiteX4612" fmla="*/ 6130068 w 6530564"/>
              <a:gd name="connsiteY4612" fmla="*/ 4856695 h 6858000"/>
              <a:gd name="connsiteX4613" fmla="*/ 6137803 w 6530564"/>
              <a:gd name="connsiteY4613" fmla="*/ 4845276 h 6858000"/>
              <a:gd name="connsiteX4614" fmla="*/ 6138892 w 6530564"/>
              <a:gd name="connsiteY4614" fmla="*/ 4830440 h 6858000"/>
              <a:gd name="connsiteX4615" fmla="*/ 6138972 w 6530564"/>
              <a:gd name="connsiteY4615" fmla="*/ 4830325 h 6858000"/>
              <a:gd name="connsiteX4616" fmla="*/ 6153373 w 6530564"/>
              <a:gd name="connsiteY4616" fmla="*/ 4818137 h 6858000"/>
              <a:gd name="connsiteX4617" fmla="*/ 6165606 w 6530564"/>
              <a:gd name="connsiteY4617" fmla="*/ 4795377 h 6858000"/>
              <a:gd name="connsiteX4618" fmla="*/ 6170277 w 6530564"/>
              <a:gd name="connsiteY4618" fmla="*/ 4794378 h 6858000"/>
              <a:gd name="connsiteX4619" fmla="*/ 6169280 w 6530564"/>
              <a:gd name="connsiteY4619" fmla="*/ 4789708 h 6858000"/>
              <a:gd name="connsiteX4620" fmla="*/ 6168281 w 6530564"/>
              <a:gd name="connsiteY4620" fmla="*/ 4785037 h 6858000"/>
              <a:gd name="connsiteX4621" fmla="*/ 6181297 w 6530564"/>
              <a:gd name="connsiteY4621" fmla="*/ 4777372 h 6858000"/>
              <a:gd name="connsiteX4622" fmla="*/ 6177623 w 6530564"/>
              <a:gd name="connsiteY4622" fmla="*/ 4783041 h 6858000"/>
              <a:gd name="connsiteX4623" fmla="*/ 6174949 w 6530564"/>
              <a:gd name="connsiteY4623" fmla="*/ 4793381 h 6858000"/>
              <a:gd name="connsiteX4624" fmla="*/ 6183293 w 6530564"/>
              <a:gd name="connsiteY4624" fmla="*/ 4786714 h 6858000"/>
              <a:gd name="connsiteX4625" fmla="*/ 6187964 w 6530564"/>
              <a:gd name="connsiteY4625" fmla="*/ 4785716 h 6858000"/>
              <a:gd name="connsiteX4626" fmla="*/ 6174269 w 6530564"/>
              <a:gd name="connsiteY4626" fmla="*/ 4813062 h 6858000"/>
              <a:gd name="connsiteX4627" fmla="*/ 6287136 w 6530564"/>
              <a:gd name="connsiteY4627" fmla="*/ 4632654 h 6858000"/>
              <a:gd name="connsiteX4628" fmla="*/ 6297159 w 6530564"/>
              <a:gd name="connsiteY4628" fmla="*/ 4610975 h 6858000"/>
              <a:gd name="connsiteX4629" fmla="*/ 6300830 w 6530564"/>
              <a:gd name="connsiteY4629" fmla="*/ 4605308 h 6858000"/>
              <a:gd name="connsiteX4630" fmla="*/ 6383677 w 6530564"/>
              <a:gd name="connsiteY4630" fmla="*/ 4421545 h 6858000"/>
              <a:gd name="connsiteX4631" fmla="*/ 6391023 w 6530564"/>
              <a:gd name="connsiteY4631" fmla="*/ 4410207 h 6858000"/>
              <a:gd name="connsiteX4632" fmla="*/ 6384674 w 6530564"/>
              <a:gd name="connsiteY4632" fmla="*/ 4426216 h 6858000"/>
              <a:gd name="connsiteX4633" fmla="*/ 6386671 w 6530564"/>
              <a:gd name="connsiteY4633" fmla="*/ 4435557 h 6858000"/>
              <a:gd name="connsiteX4634" fmla="*/ 6381321 w 6530564"/>
              <a:gd name="connsiteY4634" fmla="*/ 4456237 h 6858000"/>
              <a:gd name="connsiteX4635" fmla="*/ 6377647 w 6530564"/>
              <a:gd name="connsiteY4635" fmla="*/ 4461907 h 6858000"/>
              <a:gd name="connsiteX4636" fmla="*/ 6378645 w 6530564"/>
              <a:gd name="connsiteY4636" fmla="*/ 4466577 h 6858000"/>
              <a:gd name="connsiteX4637" fmla="*/ 6368942 w 6530564"/>
              <a:gd name="connsiteY4637" fmla="*/ 4512608 h 6858000"/>
              <a:gd name="connsiteX4638" fmla="*/ 6371617 w 6530564"/>
              <a:gd name="connsiteY4638" fmla="*/ 4502267 h 6858000"/>
              <a:gd name="connsiteX4639" fmla="*/ 6373613 w 6530564"/>
              <a:gd name="connsiteY4639" fmla="*/ 4511611 h 6858000"/>
              <a:gd name="connsiteX4640" fmla="*/ 6381957 w 6530564"/>
              <a:gd name="connsiteY4640" fmla="*/ 4504944 h 6858000"/>
              <a:gd name="connsiteX4641" fmla="*/ 6382956 w 6530564"/>
              <a:gd name="connsiteY4641" fmla="*/ 4509615 h 6858000"/>
              <a:gd name="connsiteX4642" fmla="*/ 6379282 w 6530564"/>
              <a:gd name="connsiteY4642" fmla="*/ 4515282 h 6858000"/>
              <a:gd name="connsiteX4643" fmla="*/ 6380281 w 6530564"/>
              <a:gd name="connsiteY4643" fmla="*/ 4519954 h 6858000"/>
              <a:gd name="connsiteX4644" fmla="*/ 6372255 w 6530564"/>
              <a:gd name="connsiteY4644" fmla="*/ 4550974 h 6858000"/>
              <a:gd name="connsiteX4645" fmla="*/ 6373253 w 6530564"/>
              <a:gd name="connsiteY4645" fmla="*/ 4555646 h 6858000"/>
              <a:gd name="connsiteX4646" fmla="*/ 6376927 w 6530564"/>
              <a:gd name="connsiteY4646" fmla="*/ 4549976 h 6858000"/>
              <a:gd name="connsiteX4647" fmla="*/ 6381598 w 6530564"/>
              <a:gd name="connsiteY4647" fmla="*/ 4548979 h 6858000"/>
              <a:gd name="connsiteX4648" fmla="*/ 6352849 w 6530564"/>
              <a:gd name="connsiteY4648" fmla="*/ 4643036 h 6858000"/>
              <a:gd name="connsiteX4649" fmla="*/ 6318434 w 6530564"/>
              <a:gd name="connsiteY4649" fmla="*/ 4733420 h 6858000"/>
              <a:gd name="connsiteX4650" fmla="*/ 6319431 w 6530564"/>
              <a:gd name="connsiteY4650" fmla="*/ 4738091 h 6858000"/>
              <a:gd name="connsiteX4651" fmla="*/ 6314760 w 6530564"/>
              <a:gd name="connsiteY4651" fmla="*/ 4739090 h 6858000"/>
              <a:gd name="connsiteX4652" fmla="*/ 6315757 w 6530564"/>
              <a:gd name="connsiteY4652" fmla="*/ 4743761 h 6858000"/>
              <a:gd name="connsiteX4653" fmla="*/ 6312085 w 6530564"/>
              <a:gd name="connsiteY4653" fmla="*/ 4749430 h 6858000"/>
              <a:gd name="connsiteX4654" fmla="*/ 6305737 w 6530564"/>
              <a:gd name="connsiteY4654" fmla="*/ 4765438 h 6858000"/>
              <a:gd name="connsiteX4655" fmla="*/ 6307733 w 6530564"/>
              <a:gd name="connsiteY4655" fmla="*/ 4774781 h 6858000"/>
              <a:gd name="connsiteX4656" fmla="*/ 6313083 w 6530564"/>
              <a:gd name="connsiteY4656" fmla="*/ 4754099 h 6858000"/>
              <a:gd name="connsiteX4657" fmla="*/ 6317755 w 6530564"/>
              <a:gd name="connsiteY4657" fmla="*/ 4753102 h 6858000"/>
              <a:gd name="connsiteX4658" fmla="*/ 6318753 w 6530564"/>
              <a:gd name="connsiteY4658" fmla="*/ 4757773 h 6858000"/>
              <a:gd name="connsiteX4659" fmla="*/ 6322425 w 6530564"/>
              <a:gd name="connsiteY4659" fmla="*/ 4752103 h 6858000"/>
              <a:gd name="connsiteX4660" fmla="*/ 6321427 w 6530564"/>
              <a:gd name="connsiteY4660" fmla="*/ 4747433 h 6858000"/>
              <a:gd name="connsiteX4661" fmla="*/ 6325101 w 6530564"/>
              <a:gd name="connsiteY4661" fmla="*/ 4741765 h 6858000"/>
              <a:gd name="connsiteX4662" fmla="*/ 6331449 w 6530564"/>
              <a:gd name="connsiteY4662" fmla="*/ 4725756 h 6858000"/>
              <a:gd name="connsiteX4663" fmla="*/ 6329453 w 6530564"/>
              <a:gd name="connsiteY4663" fmla="*/ 4716413 h 6858000"/>
              <a:gd name="connsiteX4664" fmla="*/ 6338795 w 6530564"/>
              <a:gd name="connsiteY4664" fmla="*/ 4714417 h 6858000"/>
              <a:gd name="connsiteX4665" fmla="*/ 6345823 w 6530564"/>
              <a:gd name="connsiteY4665" fmla="*/ 4678727 h 6858000"/>
              <a:gd name="connsiteX4666" fmla="*/ 6371215 w 6530564"/>
              <a:gd name="connsiteY4666" fmla="*/ 4614691 h 6858000"/>
              <a:gd name="connsiteX4667" fmla="*/ 6366544 w 6530564"/>
              <a:gd name="connsiteY4667" fmla="*/ 4615689 h 6858000"/>
              <a:gd name="connsiteX4668" fmla="*/ 6373891 w 6530564"/>
              <a:gd name="connsiteY4668" fmla="*/ 4604351 h 6858000"/>
              <a:gd name="connsiteX4669" fmla="*/ 6371895 w 6530564"/>
              <a:gd name="connsiteY4669" fmla="*/ 4595009 h 6858000"/>
              <a:gd name="connsiteX4670" fmla="*/ 6376566 w 6530564"/>
              <a:gd name="connsiteY4670" fmla="*/ 4594011 h 6858000"/>
              <a:gd name="connsiteX4671" fmla="*/ 6383911 w 6530564"/>
              <a:gd name="connsiteY4671" fmla="*/ 4582674 h 6858000"/>
              <a:gd name="connsiteX4672" fmla="*/ 6402637 w 6530564"/>
              <a:gd name="connsiteY4672" fmla="*/ 4510294 h 6858000"/>
              <a:gd name="connsiteX4673" fmla="*/ 6393296 w 6530564"/>
              <a:gd name="connsiteY4673" fmla="*/ 4512289 h 6858000"/>
              <a:gd name="connsiteX4674" fmla="*/ 6427395 w 6530564"/>
              <a:gd name="connsiteY4674" fmla="*/ 4397552 h 6858000"/>
              <a:gd name="connsiteX4675" fmla="*/ 6451471 w 6530564"/>
              <a:gd name="connsiteY4675" fmla="*/ 4304493 h 6858000"/>
              <a:gd name="connsiteX4676" fmla="*/ 6456141 w 6530564"/>
              <a:gd name="connsiteY4676" fmla="*/ 4303494 h 6858000"/>
              <a:gd name="connsiteX4677" fmla="*/ 6472191 w 6530564"/>
              <a:gd name="connsiteY4677" fmla="*/ 4241454 h 6858000"/>
              <a:gd name="connsiteX4678" fmla="*/ 6475185 w 6530564"/>
              <a:gd name="connsiteY4678" fmla="*/ 4255467 h 6858000"/>
              <a:gd name="connsiteX4679" fmla="*/ 6466523 w 6530564"/>
              <a:gd name="connsiteY4679" fmla="*/ 4237782 h 6858000"/>
              <a:gd name="connsiteX4680" fmla="*/ 6490918 w 6530564"/>
              <a:gd name="connsiteY4680" fmla="*/ 4169076 h 6858000"/>
              <a:gd name="connsiteX4681" fmla="*/ 6494591 w 6530564"/>
              <a:gd name="connsiteY4681" fmla="*/ 4163407 h 6858000"/>
              <a:gd name="connsiteX4682" fmla="*/ 6493593 w 6530564"/>
              <a:gd name="connsiteY4682" fmla="*/ 4158734 h 6858000"/>
              <a:gd name="connsiteX4683" fmla="*/ 6488922 w 6530564"/>
              <a:gd name="connsiteY4683" fmla="*/ 4159733 h 6858000"/>
              <a:gd name="connsiteX4684" fmla="*/ 6491597 w 6530564"/>
              <a:gd name="connsiteY4684" fmla="*/ 4149395 h 6858000"/>
              <a:gd name="connsiteX4685" fmla="*/ 6492596 w 6530564"/>
              <a:gd name="connsiteY4685" fmla="*/ 4154064 h 6858000"/>
              <a:gd name="connsiteX4686" fmla="*/ 6497267 w 6530564"/>
              <a:gd name="connsiteY4686" fmla="*/ 4153066 h 6858000"/>
              <a:gd name="connsiteX4687" fmla="*/ 6495271 w 6530564"/>
              <a:gd name="connsiteY4687" fmla="*/ 4143724 h 6858000"/>
              <a:gd name="connsiteX4688" fmla="*/ 6498943 w 6530564"/>
              <a:gd name="connsiteY4688" fmla="*/ 4138054 h 6858000"/>
              <a:gd name="connsiteX4689" fmla="*/ 6495950 w 6530564"/>
              <a:gd name="connsiteY4689" fmla="*/ 4124042 h 6858000"/>
              <a:gd name="connsiteX4690" fmla="*/ 6498625 w 6530564"/>
              <a:gd name="connsiteY4690" fmla="*/ 4113702 h 6858000"/>
              <a:gd name="connsiteX4691" fmla="*/ 6494951 w 6530564"/>
              <a:gd name="connsiteY4691" fmla="*/ 4119372 h 6858000"/>
              <a:gd name="connsiteX4692" fmla="*/ 6491279 w 6530564"/>
              <a:gd name="connsiteY4692" fmla="*/ 4125039 h 6858000"/>
              <a:gd name="connsiteX4693" fmla="*/ 6489284 w 6530564"/>
              <a:gd name="connsiteY4693" fmla="*/ 4115698 h 6858000"/>
              <a:gd name="connsiteX4694" fmla="*/ 6497309 w 6530564"/>
              <a:gd name="connsiteY4694" fmla="*/ 4084679 h 6858000"/>
              <a:gd name="connsiteX4695" fmla="*/ 6509686 w 6530564"/>
              <a:gd name="connsiteY4695" fmla="*/ 4028308 h 6858000"/>
              <a:gd name="connsiteX4696" fmla="*/ 6513359 w 6530564"/>
              <a:gd name="connsiteY4696" fmla="*/ 4022638 h 6858000"/>
              <a:gd name="connsiteX4697" fmla="*/ 6512361 w 6530564"/>
              <a:gd name="connsiteY4697" fmla="*/ 4017968 h 6858000"/>
              <a:gd name="connsiteX4698" fmla="*/ 6516714 w 6530564"/>
              <a:gd name="connsiteY4698" fmla="*/ 3992617 h 6858000"/>
              <a:gd name="connsiteX4699" fmla="*/ 6517393 w 6530564"/>
              <a:gd name="connsiteY4699" fmla="*/ 3972936 h 6858000"/>
              <a:gd name="connsiteX4700" fmla="*/ 6529091 w 6530564"/>
              <a:gd name="connsiteY4700" fmla="*/ 3936247 h 6858000"/>
              <a:gd name="connsiteX4701" fmla="*/ 6530564 w 6530564"/>
              <a:gd name="connsiteY4701" fmla="*/ 3935932 h 6858000"/>
              <a:gd name="connsiteX4702" fmla="*/ 6530564 w 6530564"/>
              <a:gd name="connsiteY4702" fmla="*/ 4704434 h 6858000"/>
              <a:gd name="connsiteX4703" fmla="*/ 6484646 w 6530564"/>
              <a:gd name="connsiteY4703" fmla="*/ 4808415 h 6858000"/>
              <a:gd name="connsiteX4704" fmla="*/ 5551795 w 6530564"/>
              <a:gd name="connsiteY4704" fmla="*/ 5854513 h 6858000"/>
              <a:gd name="connsiteX4705" fmla="*/ 5547125 w 6530564"/>
              <a:gd name="connsiteY4705" fmla="*/ 5855512 h 6858000"/>
              <a:gd name="connsiteX4706" fmla="*/ 5542455 w 6530564"/>
              <a:gd name="connsiteY4706" fmla="*/ 5856509 h 6858000"/>
              <a:gd name="connsiteX4707" fmla="*/ 5536785 w 6530564"/>
              <a:gd name="connsiteY4707" fmla="*/ 5852838 h 6858000"/>
              <a:gd name="connsiteX4708" fmla="*/ 5545129 w 6530564"/>
              <a:gd name="connsiteY4708" fmla="*/ 5846171 h 6858000"/>
              <a:gd name="connsiteX4709" fmla="*/ 5543133 w 6530564"/>
              <a:gd name="connsiteY4709" fmla="*/ 5836827 h 6858000"/>
              <a:gd name="connsiteX4710" fmla="*/ 5534788 w 6530564"/>
              <a:gd name="connsiteY4710" fmla="*/ 5843494 h 6858000"/>
              <a:gd name="connsiteX4711" fmla="*/ 5531117 w 6530564"/>
              <a:gd name="connsiteY4711" fmla="*/ 5849164 h 6858000"/>
              <a:gd name="connsiteX4712" fmla="*/ 5526445 w 6530564"/>
              <a:gd name="connsiteY4712" fmla="*/ 5850162 h 6858000"/>
              <a:gd name="connsiteX4713" fmla="*/ 5511435 w 6530564"/>
              <a:gd name="connsiteY4713" fmla="*/ 5848485 h 6858000"/>
              <a:gd name="connsiteX4714" fmla="*/ 5509757 w 6530564"/>
              <a:gd name="connsiteY4714" fmla="*/ 5863495 h 6858000"/>
              <a:gd name="connsiteX4715" fmla="*/ 5518102 w 6530564"/>
              <a:gd name="connsiteY4715" fmla="*/ 5856829 h 6858000"/>
              <a:gd name="connsiteX4716" fmla="*/ 5515425 w 6530564"/>
              <a:gd name="connsiteY4716" fmla="*/ 5867169 h 6858000"/>
              <a:gd name="connsiteX4717" fmla="*/ 5528441 w 6530564"/>
              <a:gd name="connsiteY4717" fmla="*/ 5859504 h 6858000"/>
              <a:gd name="connsiteX4718" fmla="*/ 5532115 w 6530564"/>
              <a:gd name="connsiteY4718" fmla="*/ 5853836 h 6858000"/>
              <a:gd name="connsiteX4719" fmla="*/ 5529439 w 6530564"/>
              <a:gd name="connsiteY4719" fmla="*/ 5864176 h 6858000"/>
              <a:gd name="connsiteX4720" fmla="*/ 5524768 w 6530564"/>
              <a:gd name="connsiteY4720" fmla="*/ 5865173 h 6858000"/>
              <a:gd name="connsiteX4721" fmla="*/ 5521095 w 6530564"/>
              <a:gd name="connsiteY4721" fmla="*/ 5870842 h 6858000"/>
              <a:gd name="connsiteX4722" fmla="*/ 5522093 w 6530564"/>
              <a:gd name="connsiteY4722" fmla="*/ 5875511 h 6858000"/>
              <a:gd name="connsiteX4723" fmla="*/ 5336527 w 6530564"/>
              <a:gd name="connsiteY4723" fmla="*/ 5986393 h 6858000"/>
              <a:gd name="connsiteX4724" fmla="*/ 5474406 w 6530564"/>
              <a:gd name="connsiteY4724" fmla="*/ 5921652 h 6858000"/>
              <a:gd name="connsiteX4725" fmla="*/ 5743583 w 6530564"/>
              <a:gd name="connsiteY4725" fmla="*/ 5764408 h 6858000"/>
              <a:gd name="connsiteX4726" fmla="*/ 5973095 w 6530564"/>
              <a:gd name="connsiteY4726" fmla="*/ 5598350 h 6858000"/>
              <a:gd name="connsiteX4727" fmla="*/ 5987645 w 6530564"/>
              <a:gd name="connsiteY4727" fmla="*/ 5585565 h 6858000"/>
              <a:gd name="connsiteX4728" fmla="*/ 6396010 w 6530564"/>
              <a:gd name="connsiteY4728" fmla="*/ 5084383 h 6858000"/>
              <a:gd name="connsiteX4729" fmla="*/ 6530564 w 6530564"/>
              <a:gd name="connsiteY4729" fmla="*/ 4845456 h 6858000"/>
              <a:gd name="connsiteX4730" fmla="*/ 6530564 w 6530564"/>
              <a:gd name="connsiteY4730" fmla="*/ 6858000 h 6858000"/>
              <a:gd name="connsiteX4731" fmla="*/ 1733020 w 6530564"/>
              <a:gd name="connsiteY4731" fmla="*/ 6858000 h 6858000"/>
              <a:gd name="connsiteX4732" fmla="*/ 1622264 w 6530564"/>
              <a:gd name="connsiteY4732" fmla="*/ 6769480 h 6858000"/>
              <a:gd name="connsiteX4733" fmla="*/ 1446345 w 6530564"/>
              <a:gd name="connsiteY4733" fmla="*/ 6620355 h 6858000"/>
              <a:gd name="connsiteX4734" fmla="*/ 1021180 w 6530564"/>
              <a:gd name="connsiteY4734" fmla="*/ 6222127 h 6858000"/>
              <a:gd name="connsiteX4735" fmla="*/ 994270 w 6530564"/>
              <a:gd name="connsiteY4735" fmla="*/ 6189838 h 6858000"/>
              <a:gd name="connsiteX4736" fmla="*/ 1002343 w 6530564"/>
              <a:gd name="connsiteY4736" fmla="*/ 6138714 h 6858000"/>
              <a:gd name="connsiteX4737" fmla="*/ 1040015 w 6530564"/>
              <a:gd name="connsiteY4737" fmla="*/ 6154859 h 6858000"/>
              <a:gd name="connsiteX4738" fmla="*/ 1255290 w 6530564"/>
              <a:gd name="connsiteY4738" fmla="*/ 6372807 h 6858000"/>
              <a:gd name="connsiteX4739" fmla="*/ 1301035 w 6530564"/>
              <a:gd name="connsiteY4739" fmla="*/ 6399714 h 6858000"/>
              <a:gd name="connsiteX4740" fmla="*/ 1311799 w 6530564"/>
              <a:gd name="connsiteY4740" fmla="*/ 6399714 h 6858000"/>
              <a:gd name="connsiteX4741" fmla="*/ 1306417 w 6530564"/>
              <a:gd name="connsiteY4741" fmla="*/ 6391643 h 6858000"/>
              <a:gd name="connsiteX4742" fmla="*/ 924306 w 6530564"/>
              <a:gd name="connsiteY4742" fmla="*/ 5969198 h 6858000"/>
              <a:gd name="connsiteX4743" fmla="*/ 811288 w 6530564"/>
              <a:gd name="connsiteY4743" fmla="*/ 5831971 h 6858000"/>
              <a:gd name="connsiteX4744" fmla="*/ 770924 w 6530564"/>
              <a:gd name="connsiteY4744" fmla="*/ 5805064 h 6858000"/>
              <a:gd name="connsiteX4745" fmla="*/ 894705 w 6530564"/>
              <a:gd name="connsiteY4745" fmla="*/ 6068755 h 6858000"/>
              <a:gd name="connsiteX4746" fmla="*/ 267721 w 6530564"/>
              <a:gd name="connsiteY4746" fmla="*/ 5019370 h 6858000"/>
              <a:gd name="connsiteX4747" fmla="*/ 326921 w 6530564"/>
              <a:gd name="connsiteY4747" fmla="*/ 5086639 h 6858000"/>
              <a:gd name="connsiteX4748" fmla="*/ 375357 w 6530564"/>
              <a:gd name="connsiteY4748" fmla="*/ 5167361 h 6858000"/>
              <a:gd name="connsiteX4749" fmla="*/ 493757 w 6530564"/>
              <a:gd name="connsiteY4749" fmla="*/ 5385309 h 6858000"/>
              <a:gd name="connsiteX4750" fmla="*/ 509903 w 6530564"/>
              <a:gd name="connsiteY4750" fmla="*/ 5377237 h 6858000"/>
              <a:gd name="connsiteX4751" fmla="*/ 386121 w 6530564"/>
              <a:gd name="connsiteY4751" fmla="*/ 5159289 h 6858000"/>
              <a:gd name="connsiteX4752" fmla="*/ 87429 w 6530564"/>
              <a:gd name="connsiteY4752" fmla="*/ 4255203 h 6858000"/>
              <a:gd name="connsiteX4753" fmla="*/ 146628 w 6530564"/>
              <a:gd name="connsiteY4753" fmla="*/ 2328641 h 6858000"/>
              <a:gd name="connsiteX4754" fmla="*/ 251574 w 6530564"/>
              <a:gd name="connsiteY4754" fmla="*/ 1973465 h 6858000"/>
              <a:gd name="connsiteX4755" fmla="*/ 273102 w 6530564"/>
              <a:gd name="connsiteY4755" fmla="*/ 1946557 h 6858000"/>
              <a:gd name="connsiteX4756" fmla="*/ 281175 w 6530564"/>
              <a:gd name="connsiteY4756" fmla="*/ 1965393 h 6858000"/>
              <a:gd name="connsiteX4757" fmla="*/ 65900 w 6530564"/>
              <a:gd name="connsiteY4757" fmla="*/ 3133169 h 6858000"/>
              <a:gd name="connsiteX4758" fmla="*/ 76665 w 6530564"/>
              <a:gd name="connsiteY4758" fmla="*/ 3754727 h 6858000"/>
              <a:gd name="connsiteX4759" fmla="*/ 79356 w 6530564"/>
              <a:gd name="connsiteY4759" fmla="*/ 3830068 h 6858000"/>
              <a:gd name="connsiteX4760" fmla="*/ 95501 w 6530564"/>
              <a:gd name="connsiteY4760" fmla="*/ 3862357 h 6858000"/>
              <a:gd name="connsiteX4761" fmla="*/ 117029 w 6530564"/>
              <a:gd name="connsiteY4761" fmla="*/ 3827377 h 6858000"/>
              <a:gd name="connsiteX4762" fmla="*/ 95501 w 6530564"/>
              <a:gd name="connsiteY4762" fmla="*/ 3534088 h 6858000"/>
              <a:gd name="connsiteX4763" fmla="*/ 711722 w 6530564"/>
              <a:gd name="connsiteY4763" fmla="*/ 1290020 h 6858000"/>
              <a:gd name="connsiteX4764" fmla="*/ 722486 w 6530564"/>
              <a:gd name="connsiteY4764" fmla="*/ 1273875 h 6858000"/>
              <a:gd name="connsiteX4765" fmla="*/ 741323 w 6530564"/>
              <a:gd name="connsiteY4765" fmla="*/ 1268493 h 6858000"/>
              <a:gd name="connsiteX4766" fmla="*/ 671359 w 6530564"/>
              <a:gd name="connsiteY4766" fmla="*/ 1411102 h 6858000"/>
              <a:gd name="connsiteX4767" fmla="*/ 238121 w 6530564"/>
              <a:gd name="connsiteY4767" fmla="*/ 2506229 h 6858000"/>
              <a:gd name="connsiteX4768" fmla="*/ 219284 w 6530564"/>
              <a:gd name="connsiteY4768" fmla="*/ 2638075 h 6858000"/>
              <a:gd name="connsiteX4769" fmla="*/ 230049 w 6530564"/>
              <a:gd name="connsiteY4769" fmla="*/ 2667673 h 6858000"/>
              <a:gd name="connsiteX4770" fmla="*/ 259647 w 6530564"/>
              <a:gd name="connsiteY4770" fmla="*/ 2648838 h 6858000"/>
              <a:gd name="connsiteX4771" fmla="*/ 289247 w 6530564"/>
              <a:gd name="connsiteY4771" fmla="*/ 2608477 h 6858000"/>
              <a:gd name="connsiteX4772" fmla="*/ 240811 w 6530564"/>
              <a:gd name="connsiteY4772" fmla="*/ 3528707 h 6858000"/>
              <a:gd name="connsiteX4773" fmla="*/ 256956 w 6530564"/>
              <a:gd name="connsiteY4773" fmla="*/ 3674006 h 6858000"/>
              <a:gd name="connsiteX4774" fmla="*/ 251574 w 6530564"/>
              <a:gd name="connsiteY4774" fmla="*/ 3528707 h 6858000"/>
              <a:gd name="connsiteX4775" fmla="*/ 302703 w 6530564"/>
              <a:gd name="connsiteY4775" fmla="*/ 2764539 h 6858000"/>
              <a:gd name="connsiteX4776" fmla="*/ 789760 w 6530564"/>
              <a:gd name="connsiteY4776" fmla="*/ 1427247 h 6858000"/>
              <a:gd name="connsiteX4777" fmla="*/ 811288 w 6530564"/>
              <a:gd name="connsiteY4777" fmla="*/ 1411102 h 6858000"/>
              <a:gd name="connsiteX4778" fmla="*/ 329611 w 6530564"/>
              <a:gd name="connsiteY4778" fmla="*/ 3267706 h 6858000"/>
              <a:gd name="connsiteX4779" fmla="*/ 353829 w 6530564"/>
              <a:gd name="connsiteY4779" fmla="*/ 3017468 h 6858000"/>
              <a:gd name="connsiteX4780" fmla="*/ 480303 w 6530564"/>
              <a:gd name="connsiteY4780" fmla="*/ 2377074 h 6858000"/>
              <a:gd name="connsiteX4781" fmla="*/ 536812 w 6530564"/>
              <a:gd name="connsiteY4781" fmla="*/ 2148363 h 6858000"/>
              <a:gd name="connsiteX4782" fmla="*/ 579867 w 6530564"/>
              <a:gd name="connsiteY4782" fmla="*/ 2126836 h 6858000"/>
              <a:gd name="connsiteX4783" fmla="*/ 604086 w 6530564"/>
              <a:gd name="connsiteY4783" fmla="*/ 2108002 h 6858000"/>
              <a:gd name="connsiteX4784" fmla="*/ 878561 w 6530564"/>
              <a:gd name="connsiteY4784" fmla="*/ 1516040 h 6858000"/>
              <a:gd name="connsiteX4785" fmla="*/ 916234 w 6530564"/>
              <a:gd name="connsiteY4785" fmla="*/ 1486443 h 6858000"/>
              <a:gd name="connsiteX4786" fmla="*/ 921615 w 6530564"/>
              <a:gd name="connsiteY4786" fmla="*/ 1537567 h 6858000"/>
              <a:gd name="connsiteX4787" fmla="*/ 813979 w 6530564"/>
              <a:gd name="connsiteY4787" fmla="*/ 1747443 h 6858000"/>
              <a:gd name="connsiteX4788" fmla="*/ 811288 w 6530564"/>
              <a:gd name="connsiteY4788" fmla="*/ 1763588 h 6858000"/>
              <a:gd name="connsiteX4789" fmla="*/ 822051 w 6530564"/>
              <a:gd name="connsiteY4789" fmla="*/ 1755515 h 6858000"/>
              <a:gd name="connsiteX4790" fmla="*/ 916234 w 6530564"/>
              <a:gd name="connsiteY4790" fmla="*/ 1664031 h 6858000"/>
              <a:gd name="connsiteX4791" fmla="*/ 1408672 w 6530564"/>
              <a:gd name="connsiteY4791" fmla="*/ 961751 h 6858000"/>
              <a:gd name="connsiteX4792" fmla="*/ 1849984 w 6530564"/>
              <a:gd name="connsiteY4792" fmla="*/ 576976 h 6858000"/>
              <a:gd name="connsiteX4793" fmla="*/ 1876892 w 6530564"/>
              <a:gd name="connsiteY4793" fmla="*/ 560831 h 6858000"/>
              <a:gd name="connsiteX4794" fmla="*/ 3989439 w 6530564"/>
              <a:gd name="connsiteY4794" fmla="*/ 394434 h 6858000"/>
              <a:gd name="connsiteX4795" fmla="*/ 4081738 w 6530564"/>
              <a:gd name="connsiteY4795" fmla="*/ 396538 h 6858000"/>
              <a:gd name="connsiteX4796" fmla="*/ 4080500 w 6530564"/>
              <a:gd name="connsiteY4796" fmla="*/ 396329 h 6858000"/>
              <a:gd name="connsiteX4797" fmla="*/ 4071877 w 6530564"/>
              <a:gd name="connsiteY4797" fmla="*/ 395619 h 6858000"/>
              <a:gd name="connsiteX4798" fmla="*/ 3502109 w 6530564"/>
              <a:gd name="connsiteY4798" fmla="*/ 0 h 6858000"/>
              <a:gd name="connsiteX4799" fmla="*/ 4589616 w 6530564"/>
              <a:gd name="connsiteY4799" fmla="*/ 0 h 6858000"/>
              <a:gd name="connsiteX4800" fmla="*/ 4634080 w 6530564"/>
              <a:gd name="connsiteY4800" fmla="*/ 6163 h 6858000"/>
              <a:gd name="connsiteX4801" fmla="*/ 5022582 w 6530564"/>
              <a:gd name="connsiteY4801" fmla="*/ 89954 h 6858000"/>
              <a:gd name="connsiteX4802" fmla="*/ 5418149 w 6530564"/>
              <a:gd name="connsiteY4802" fmla="*/ 216418 h 6858000"/>
              <a:gd name="connsiteX4803" fmla="*/ 5515022 w 6530564"/>
              <a:gd name="connsiteY4803" fmla="*/ 278306 h 6858000"/>
              <a:gd name="connsiteX4804" fmla="*/ 5679169 w 6530564"/>
              <a:gd name="connsiteY4804" fmla="*/ 353645 h 6858000"/>
              <a:gd name="connsiteX4805" fmla="*/ 5910587 w 6530564"/>
              <a:gd name="connsiteY4805" fmla="*/ 496254 h 6858000"/>
              <a:gd name="connsiteX4806" fmla="*/ 5940187 w 6530564"/>
              <a:gd name="connsiteY4806" fmla="*/ 531233 h 6858000"/>
              <a:gd name="connsiteX4807" fmla="*/ 6314226 w 6530564"/>
              <a:gd name="connsiteY4807" fmla="*/ 835286 h 6858000"/>
              <a:gd name="connsiteX4808" fmla="*/ 6400336 w 6530564"/>
              <a:gd name="connsiteY4808" fmla="*/ 878338 h 6858000"/>
              <a:gd name="connsiteX4809" fmla="*/ 6330373 w 6530564"/>
              <a:gd name="connsiteY4809" fmla="*/ 786854 h 6858000"/>
              <a:gd name="connsiteX4810" fmla="*/ 6136625 w 6530564"/>
              <a:gd name="connsiteY4810" fmla="*/ 638863 h 6858000"/>
              <a:gd name="connsiteX4811" fmla="*/ 6096262 w 6530564"/>
              <a:gd name="connsiteY4811" fmla="*/ 593120 h 6858000"/>
              <a:gd name="connsiteX4812" fmla="*/ 6077425 w 6530564"/>
              <a:gd name="connsiteY4812" fmla="*/ 555450 h 6858000"/>
              <a:gd name="connsiteX4813" fmla="*/ 5800259 w 6530564"/>
              <a:gd name="connsiteY4813" fmla="*/ 321356 h 6858000"/>
              <a:gd name="connsiteX4814" fmla="*/ 5560767 w 6530564"/>
              <a:gd name="connsiteY4814" fmla="*/ 197583 h 6858000"/>
              <a:gd name="connsiteX4815" fmla="*/ 4990292 w 6530564"/>
              <a:gd name="connsiteY4815" fmla="*/ 25376 h 6858000"/>
              <a:gd name="connsiteX4816" fmla="*/ 4858639 w 6530564"/>
              <a:gd name="connsiteY4816" fmla="*/ 0 h 6858000"/>
              <a:gd name="connsiteX4817" fmla="*/ 5574004 w 6530564"/>
              <a:gd name="connsiteY4817" fmla="*/ 0 h 6858000"/>
              <a:gd name="connsiteX4818" fmla="*/ 5574348 w 6530564"/>
              <a:gd name="connsiteY4818" fmla="*/ 150 h 6858000"/>
              <a:gd name="connsiteX4819" fmla="*/ 5641495 w 6530564"/>
              <a:gd name="connsiteY4819" fmla="*/ 17304 h 6858000"/>
              <a:gd name="connsiteX4820" fmla="*/ 5693716 w 6530564"/>
              <a:gd name="connsiteY4820" fmla="*/ 15413 h 6858000"/>
              <a:gd name="connsiteX4821" fmla="*/ 5701308 w 6530564"/>
              <a:gd name="connsiteY4821" fmla="*/ 0 h 6858000"/>
              <a:gd name="connsiteX4822" fmla="*/ 5893094 w 6530564"/>
              <a:gd name="connsiteY4822" fmla="*/ 0 h 6858000"/>
              <a:gd name="connsiteX4823" fmla="*/ 5928120 w 6530564"/>
              <a:gd name="connsiteY4823" fmla="*/ 15497 h 6858000"/>
              <a:gd name="connsiteX4824" fmla="*/ 6037061 w 6530564"/>
              <a:gd name="connsiteY4824" fmla="*/ 65738 h 6858000"/>
              <a:gd name="connsiteX4825" fmla="*/ 6287317 w 6530564"/>
              <a:gd name="connsiteY4825" fmla="*/ 211037 h 6858000"/>
              <a:gd name="connsiteX4826" fmla="*/ 6050517 w 6530564"/>
              <a:gd name="connsiteY4826" fmla="*/ 54974 h 6858000"/>
              <a:gd name="connsiteX4827" fmla="*/ 5964995 w 6530564"/>
              <a:gd name="connsiteY4827" fmla="*/ 3094 h 6858000"/>
              <a:gd name="connsiteX4828" fmla="*/ 5958708 w 6530564"/>
              <a:gd name="connsiteY4828" fmla="*/ 0 h 6858000"/>
              <a:gd name="connsiteX4829" fmla="*/ 6034737 w 6530564"/>
              <a:gd name="connsiteY4829" fmla="*/ 0 h 6858000"/>
              <a:gd name="connsiteX4830" fmla="*/ 6100298 w 6530564"/>
              <a:gd name="connsiteY4830" fmla="*/ 33785 h 6858000"/>
              <a:gd name="connsiteX4831" fmla="*/ 6333063 w 6530564"/>
              <a:gd name="connsiteY4831" fmla="*/ 176056 h 6858000"/>
              <a:gd name="connsiteX4832" fmla="*/ 6349209 w 6530564"/>
              <a:gd name="connsiteY4832" fmla="*/ 178747 h 6858000"/>
              <a:gd name="connsiteX4833" fmla="*/ 6319607 w 6530564"/>
              <a:gd name="connsiteY4833" fmla="*/ 100717 h 6858000"/>
              <a:gd name="connsiteX4834" fmla="*/ 6159296 w 6530564"/>
              <a:gd name="connsiteY4834" fmla="*/ 0 h 6858000"/>
              <a:gd name="connsiteX4835" fmla="*/ 6494412 w 6530564"/>
              <a:gd name="connsiteY4835" fmla="*/ 0 h 6858000"/>
              <a:gd name="connsiteX4836" fmla="*/ 6530564 w 6530564"/>
              <a:gd name="connsiteY4836" fmla="*/ 24963 h 6858000"/>
              <a:gd name="connsiteX4837" fmla="*/ 6530564 w 6530564"/>
              <a:gd name="connsiteY4837" fmla="*/ 2283869 h 6858000"/>
              <a:gd name="connsiteX4838" fmla="*/ 6452592 w 6530564"/>
              <a:gd name="connsiteY4838" fmla="*/ 2135053 h 6858000"/>
              <a:gd name="connsiteX4839" fmla="*/ 6165817 w 6530564"/>
              <a:gd name="connsiteY4839" fmla="*/ 1732932 h 6858000"/>
              <a:gd name="connsiteX4840" fmla="*/ 5773745 w 6530564"/>
              <a:gd name="connsiteY4840" fmla="*/ 1338044 h 6858000"/>
              <a:gd name="connsiteX4841" fmla="*/ 5784085 w 6530564"/>
              <a:gd name="connsiteY4841" fmla="*/ 1340719 h 6858000"/>
              <a:gd name="connsiteX4842" fmla="*/ 5718731 w 6530564"/>
              <a:gd name="connsiteY4842" fmla="*/ 1286303 h 6858000"/>
              <a:gd name="connsiteX4843" fmla="*/ 5679049 w 6530564"/>
              <a:gd name="connsiteY4843" fmla="*/ 1260591 h 6858000"/>
              <a:gd name="connsiteX4844" fmla="*/ 5559003 w 6530564"/>
              <a:gd name="connsiteY4844" fmla="*/ 1178786 h 6858000"/>
              <a:gd name="connsiteX4845" fmla="*/ 5513651 w 6530564"/>
              <a:gd name="connsiteY4845" fmla="*/ 1149403 h 6858000"/>
              <a:gd name="connsiteX4846" fmla="*/ 5089115 w 6530564"/>
              <a:gd name="connsiteY4846" fmla="*/ 922629 h 6858000"/>
              <a:gd name="connsiteX4847" fmla="*/ 5219861 w 6530564"/>
              <a:gd name="connsiteY4847" fmla="*/ 963072 h 6858000"/>
              <a:gd name="connsiteX4848" fmla="*/ 5243535 w 6530564"/>
              <a:gd name="connsiteY4848" fmla="*/ 982437 h 6858000"/>
              <a:gd name="connsiteX4849" fmla="*/ 5376279 w 6530564"/>
              <a:gd name="connsiteY4849" fmla="*/ 1032223 h 6858000"/>
              <a:gd name="connsiteX4850" fmla="*/ 5339271 w 6530564"/>
              <a:gd name="connsiteY4850" fmla="*/ 996174 h 6858000"/>
              <a:gd name="connsiteX4851" fmla="*/ 5227209 w 6530564"/>
              <a:gd name="connsiteY4851" fmla="*/ 951735 h 6858000"/>
              <a:gd name="connsiteX4852" fmla="*/ 5203535 w 6530564"/>
              <a:gd name="connsiteY4852" fmla="*/ 932372 h 6858000"/>
              <a:gd name="connsiteX4853" fmla="*/ 5115146 w 6530564"/>
              <a:gd name="connsiteY4853" fmla="*/ 907298 h 6858000"/>
              <a:gd name="connsiteX4854" fmla="*/ 5028434 w 6530564"/>
              <a:gd name="connsiteY4854" fmla="*/ 867212 h 6858000"/>
              <a:gd name="connsiteX4855" fmla="*/ 5004080 w 6530564"/>
              <a:gd name="connsiteY4855" fmla="*/ 867531 h 6858000"/>
              <a:gd name="connsiteX4856" fmla="*/ 4965395 w 6530564"/>
              <a:gd name="connsiteY4856" fmla="*/ 846491 h 6858000"/>
              <a:gd name="connsiteX4857" fmla="*/ 4917369 w 6530564"/>
              <a:gd name="connsiteY4857" fmla="*/ 827446 h 6858000"/>
              <a:gd name="connsiteX4858" fmla="*/ 4859320 w 6530564"/>
              <a:gd name="connsiteY4858" fmla="*/ 830080 h 6858000"/>
              <a:gd name="connsiteX4859" fmla="*/ 4876327 w 6530564"/>
              <a:gd name="connsiteY4859" fmla="*/ 841099 h 6858000"/>
              <a:gd name="connsiteX4860" fmla="*/ 3393185 w 6530564"/>
              <a:gd name="connsiteY4860" fmla="*/ 757460 h 6858000"/>
              <a:gd name="connsiteX4861" fmla="*/ 3342975 w 6530564"/>
              <a:gd name="connsiteY4861" fmla="*/ 770687 h 6858000"/>
              <a:gd name="connsiteX4862" fmla="*/ 3291917 w 6530564"/>
              <a:gd name="connsiteY4862" fmla="*/ 780409 h 6858000"/>
              <a:gd name="connsiteX4863" fmla="*/ 2400079 w 6530564"/>
              <a:gd name="connsiteY4863" fmla="*/ 1173988 h 6858000"/>
              <a:gd name="connsiteX4864" fmla="*/ 2269683 w 6530564"/>
              <a:gd name="connsiteY4864" fmla="*/ 1256599 h 6858000"/>
              <a:gd name="connsiteX4865" fmla="*/ 2246824 w 6530564"/>
              <a:gd name="connsiteY4865" fmla="*/ 1263510 h 6858000"/>
              <a:gd name="connsiteX4866" fmla="*/ 2244901 w 6530564"/>
              <a:gd name="connsiteY4866" fmla="*/ 1235531 h 6858000"/>
              <a:gd name="connsiteX4867" fmla="*/ 2297569 w 6530564"/>
              <a:gd name="connsiteY4867" fmla="*/ 1187778 h 6858000"/>
              <a:gd name="connsiteX4868" fmla="*/ 2654790 w 6530564"/>
              <a:gd name="connsiteY4868" fmla="*/ 989786 h 6858000"/>
              <a:gd name="connsiteX4869" fmla="*/ 2604795 w 6530564"/>
              <a:gd name="connsiteY4869" fmla="*/ 974104 h 6858000"/>
              <a:gd name="connsiteX4870" fmla="*/ 2728393 w 6530564"/>
              <a:gd name="connsiteY4870" fmla="*/ 907142 h 6858000"/>
              <a:gd name="connsiteX4871" fmla="*/ 3647056 w 6530564"/>
              <a:gd name="connsiteY4871" fmla="*/ 660175 h 6858000"/>
              <a:gd name="connsiteX4872" fmla="*/ 4318016 w 6530564"/>
              <a:gd name="connsiteY4872" fmla="*/ 687170 h 6858000"/>
              <a:gd name="connsiteX4873" fmla="*/ 4516487 w 6530564"/>
              <a:gd name="connsiteY4873" fmla="*/ 723856 h 6858000"/>
              <a:gd name="connsiteX4874" fmla="*/ 4557781 w 6530564"/>
              <a:gd name="connsiteY4874" fmla="*/ 698810 h 6858000"/>
              <a:gd name="connsiteX4875" fmla="*/ 4518180 w 6530564"/>
              <a:gd name="connsiteY4875" fmla="*/ 674824 h 6858000"/>
              <a:gd name="connsiteX4876" fmla="*/ 4454063 w 6530564"/>
              <a:gd name="connsiteY4876" fmla="*/ 649993 h 6858000"/>
              <a:gd name="connsiteX4877" fmla="*/ 4809052 w 6530564"/>
              <a:gd name="connsiteY4877" fmla="*/ 697851 h 6858000"/>
              <a:gd name="connsiteX4878" fmla="*/ 5011799 w 6530564"/>
              <a:gd name="connsiteY4878" fmla="*/ 764041 h 6858000"/>
              <a:gd name="connsiteX4879" fmla="*/ 4817092 w 6530564"/>
              <a:gd name="connsiteY4879" fmla="*/ 688021 h 6858000"/>
              <a:gd name="connsiteX4880" fmla="*/ 4528741 w 6530564"/>
              <a:gd name="connsiteY4880" fmla="*/ 619842 h 6858000"/>
              <a:gd name="connsiteX4881" fmla="*/ 3716648 w 6530564"/>
              <a:gd name="connsiteY4881" fmla="*/ 568249 h 6858000"/>
              <a:gd name="connsiteX4882" fmla="*/ 3612199 w 6530564"/>
              <a:gd name="connsiteY4882" fmla="*/ 582452 h 6858000"/>
              <a:gd name="connsiteX4883" fmla="*/ 3645435 w 6530564"/>
              <a:gd name="connsiteY4883" fmla="*/ 595629 h 6858000"/>
              <a:gd name="connsiteX4884" fmla="*/ 4335789 w 6530564"/>
              <a:gd name="connsiteY4884" fmla="*/ 618481 h 6858000"/>
              <a:gd name="connsiteX4885" fmla="*/ 4369439 w 6530564"/>
              <a:gd name="connsiteY4885" fmla="*/ 633599 h 6858000"/>
              <a:gd name="connsiteX4886" fmla="*/ 4330367 w 6530564"/>
              <a:gd name="connsiteY4886" fmla="*/ 650057 h 6858000"/>
              <a:gd name="connsiteX4887" fmla="*/ 4109450 w 6530564"/>
              <a:gd name="connsiteY4887" fmla="*/ 622223 h 6858000"/>
              <a:gd name="connsiteX4888" fmla="*/ 3144894 w 6530564"/>
              <a:gd name="connsiteY4888" fmla="*/ 720819 h 6858000"/>
              <a:gd name="connsiteX4889" fmla="*/ 2449900 w 6530564"/>
              <a:gd name="connsiteY4889" fmla="*/ 1027476 h 6858000"/>
              <a:gd name="connsiteX4890" fmla="*/ 2308845 w 6530564"/>
              <a:gd name="connsiteY4890" fmla="*/ 1098169 h 6858000"/>
              <a:gd name="connsiteX4891" fmla="*/ 3399136 w 6530564"/>
              <a:gd name="connsiteY4891" fmla="*/ 619861 h 6858000"/>
              <a:gd name="connsiteX4892" fmla="*/ 3330855 w 6530564"/>
              <a:gd name="connsiteY4892" fmla="*/ 604030 h 6858000"/>
              <a:gd name="connsiteX4893" fmla="*/ 3520230 w 6530564"/>
              <a:gd name="connsiteY4893" fmla="*/ 569654 h 6858000"/>
              <a:gd name="connsiteX4894" fmla="*/ 3790217 w 6530564"/>
              <a:gd name="connsiteY4894" fmla="*/ 542392 h 6858000"/>
              <a:gd name="connsiteX4895" fmla="*/ 3810723 w 6530564"/>
              <a:gd name="connsiteY4895" fmla="*/ 533954 h 6858000"/>
              <a:gd name="connsiteX4896" fmla="*/ 3790368 w 6530564"/>
              <a:gd name="connsiteY4896" fmla="*/ 524109 h 6858000"/>
              <a:gd name="connsiteX4897" fmla="*/ 3455830 w 6530564"/>
              <a:gd name="connsiteY4897" fmla="*/ 552995 h 6858000"/>
              <a:gd name="connsiteX4898" fmla="*/ 3373410 w 6530564"/>
              <a:gd name="connsiteY4898" fmla="*/ 556409 h 6858000"/>
              <a:gd name="connsiteX4899" fmla="*/ 3041191 w 6530564"/>
              <a:gd name="connsiteY4899" fmla="*/ 643608 h 6858000"/>
              <a:gd name="connsiteX4900" fmla="*/ 2341622 w 6530564"/>
              <a:gd name="connsiteY4900" fmla="*/ 957326 h 6858000"/>
              <a:gd name="connsiteX4901" fmla="*/ 1953599 w 6530564"/>
              <a:gd name="connsiteY4901" fmla="*/ 1238958 h 6858000"/>
              <a:gd name="connsiteX4902" fmla="*/ 1914658 w 6530564"/>
              <a:gd name="connsiteY4902" fmla="*/ 1265528 h 6858000"/>
              <a:gd name="connsiteX4903" fmla="*/ 1953768 w 6530564"/>
              <a:gd name="connsiteY4903" fmla="*/ 1192281 h 6858000"/>
              <a:gd name="connsiteX4904" fmla="*/ 2273195 w 6530564"/>
              <a:gd name="connsiteY4904" fmla="*/ 959778 h 6858000"/>
              <a:gd name="connsiteX4905" fmla="*/ 3429259 w 6530564"/>
              <a:gd name="connsiteY4905" fmla="*/ 514058 h 6858000"/>
              <a:gd name="connsiteX4906" fmla="*/ 3947467 w 6530564"/>
              <a:gd name="connsiteY4906" fmla="*/ 490544 h 6858000"/>
              <a:gd name="connsiteX4907" fmla="*/ 4596509 w 6530564"/>
              <a:gd name="connsiteY4907" fmla="*/ 566835 h 6858000"/>
              <a:gd name="connsiteX4908" fmla="*/ 4640121 w 6530564"/>
              <a:gd name="connsiteY4908" fmla="*/ 600103 h 6858000"/>
              <a:gd name="connsiteX4909" fmla="*/ 4657014 w 6530564"/>
              <a:gd name="connsiteY4909" fmla="*/ 612717 h 6858000"/>
              <a:gd name="connsiteX4910" fmla="*/ 5039385 w 6530564"/>
              <a:gd name="connsiteY4910" fmla="*/ 731785 h 6858000"/>
              <a:gd name="connsiteX4911" fmla="*/ 5051435 w 6530564"/>
              <a:gd name="connsiteY4911" fmla="*/ 731238 h 6858000"/>
              <a:gd name="connsiteX4912" fmla="*/ 5018085 w 6530564"/>
              <a:gd name="connsiteY4912" fmla="*/ 679555 h 6858000"/>
              <a:gd name="connsiteX4913" fmla="*/ 4427845 w 6530564"/>
              <a:gd name="connsiteY4913" fmla="*/ 489308 h 6858000"/>
              <a:gd name="connsiteX4914" fmla="*/ 4310509 w 6530564"/>
              <a:gd name="connsiteY4914" fmla="*/ 471335 h 6858000"/>
              <a:gd name="connsiteX4915" fmla="*/ 4176892 w 6530564"/>
              <a:gd name="connsiteY4915" fmla="*/ 462604 h 6858000"/>
              <a:gd name="connsiteX4916" fmla="*/ 3954287 w 6530564"/>
              <a:gd name="connsiteY4916" fmla="*/ 461274 h 6858000"/>
              <a:gd name="connsiteX4917" fmla="*/ 3706721 w 6530564"/>
              <a:gd name="connsiteY4917" fmla="*/ 469347 h 6858000"/>
              <a:gd name="connsiteX4918" fmla="*/ 3819638 w 6530564"/>
              <a:gd name="connsiteY4918" fmla="*/ 441228 h 6858000"/>
              <a:gd name="connsiteX4919" fmla="*/ 3678438 w 6530564"/>
              <a:gd name="connsiteY4919" fmla="*/ 446944 h 6858000"/>
              <a:gd name="connsiteX4920" fmla="*/ 3428450 w 6530564"/>
              <a:gd name="connsiteY4920" fmla="*/ 481785 h 6858000"/>
              <a:gd name="connsiteX4921" fmla="*/ 2876370 w 6530564"/>
              <a:gd name="connsiteY4921" fmla="*/ 622042 h 6858000"/>
              <a:gd name="connsiteX4922" fmla="*/ 2659974 w 6530564"/>
              <a:gd name="connsiteY4922" fmla="*/ 672328 h 6858000"/>
              <a:gd name="connsiteX4923" fmla="*/ 3002779 w 6530564"/>
              <a:gd name="connsiteY4923" fmla="*/ 546873 h 6858000"/>
              <a:gd name="connsiteX4924" fmla="*/ 3243522 w 6530564"/>
              <a:gd name="connsiteY4924" fmla="*/ 482631 h 6858000"/>
              <a:gd name="connsiteX4925" fmla="*/ 3245900 w 6530564"/>
              <a:gd name="connsiteY4925" fmla="*/ 478428 h 6858000"/>
              <a:gd name="connsiteX4926" fmla="*/ 3260028 w 6530564"/>
              <a:gd name="connsiteY4926" fmla="*/ 466656 h 6858000"/>
              <a:gd name="connsiteX4927" fmla="*/ 3251955 w 6530564"/>
              <a:gd name="connsiteY4927" fmla="*/ 461274 h 6858000"/>
              <a:gd name="connsiteX4928" fmla="*/ 3098571 w 6530564"/>
              <a:gd name="connsiteY4928" fmla="*/ 490872 h 6858000"/>
              <a:gd name="connsiteX4929" fmla="*/ 2651879 w 6530564"/>
              <a:gd name="connsiteY4929" fmla="*/ 673842 h 6858000"/>
              <a:gd name="connsiteX4930" fmla="*/ 2549624 w 6530564"/>
              <a:gd name="connsiteY4930" fmla="*/ 692677 h 6858000"/>
              <a:gd name="connsiteX4931" fmla="*/ 2455442 w 6530564"/>
              <a:gd name="connsiteY4931" fmla="*/ 727656 h 6858000"/>
              <a:gd name="connsiteX4932" fmla="*/ 2291295 w 6530564"/>
              <a:gd name="connsiteY4932" fmla="*/ 751874 h 6858000"/>
              <a:gd name="connsiteX4933" fmla="*/ 3763231 w 6530564"/>
              <a:gd name="connsiteY4933" fmla="*/ 200274 h 6858000"/>
              <a:gd name="connsiteX4934" fmla="*/ 2579224 w 6530564"/>
              <a:gd name="connsiteY4934" fmla="*/ 507017 h 6858000"/>
              <a:gd name="connsiteX4935" fmla="*/ 3604465 w 6530564"/>
              <a:gd name="connsiteY4935" fmla="*/ 146459 h 6858000"/>
              <a:gd name="connsiteX4936" fmla="*/ 4702363 w 6530564"/>
              <a:gd name="connsiteY4936" fmla="*/ 165295 h 6858000"/>
              <a:gd name="connsiteX4937" fmla="*/ 4632399 w 6530564"/>
              <a:gd name="connsiteY4937" fmla="*/ 133006 h 6858000"/>
              <a:gd name="connsiteX4938" fmla="*/ 3854723 w 6530564"/>
              <a:gd name="connsiteY4938" fmla="*/ 89954 h 6858000"/>
              <a:gd name="connsiteX4939" fmla="*/ 3763231 w 6530564"/>
              <a:gd name="connsiteY4939" fmla="*/ 76501 h 6858000"/>
              <a:gd name="connsiteX4940" fmla="*/ 3728249 w 6530564"/>
              <a:gd name="connsiteY4940" fmla="*/ 73810 h 6858000"/>
              <a:gd name="connsiteX4941" fmla="*/ 3356901 w 6530564"/>
              <a:gd name="connsiteY4941" fmla="*/ 157222 h 6858000"/>
              <a:gd name="connsiteX4942" fmla="*/ 2633042 w 6530564"/>
              <a:gd name="connsiteY4942" fmla="*/ 383243 h 6858000"/>
              <a:gd name="connsiteX4943" fmla="*/ 2565769 w 6530564"/>
              <a:gd name="connsiteY4943" fmla="*/ 396697 h 6858000"/>
              <a:gd name="connsiteX4944" fmla="*/ 3141627 w 6530564"/>
              <a:gd name="connsiteY4944" fmla="*/ 151840 h 6858000"/>
              <a:gd name="connsiteX4945" fmla="*/ 2756825 w 6530564"/>
              <a:gd name="connsiteY4945" fmla="*/ 229872 h 6858000"/>
              <a:gd name="connsiteX4946" fmla="*/ 2861770 w 6530564"/>
              <a:gd name="connsiteY4946" fmla="*/ 170676 h 6858000"/>
              <a:gd name="connsiteX4947" fmla="*/ 3120100 w 6530564"/>
              <a:gd name="connsiteY4947" fmla="*/ 103408 h 6858000"/>
              <a:gd name="connsiteX4948" fmla="*/ 3319228 w 6530564"/>
              <a:gd name="connsiteY4948" fmla="*/ 76501 h 6858000"/>
              <a:gd name="connsiteX4949" fmla="*/ 3399956 w 6530564"/>
              <a:gd name="connsiteY4949" fmla="*/ 33449 h 6858000"/>
              <a:gd name="connsiteX4950" fmla="*/ 3456465 w 6530564"/>
              <a:gd name="connsiteY4950" fmla="*/ 6542 h 6858000"/>
              <a:gd name="connsiteX4951" fmla="*/ 2942330 w 6530564"/>
              <a:gd name="connsiteY4951" fmla="*/ 0 h 6858000"/>
              <a:gd name="connsiteX4952" fmla="*/ 3174123 w 6530564"/>
              <a:gd name="connsiteY4952" fmla="*/ 0 h 6858000"/>
              <a:gd name="connsiteX4953" fmla="*/ 3100717 w 6530564"/>
              <a:gd name="connsiteY4953" fmla="*/ 23190 h 6858000"/>
              <a:gd name="connsiteX4954" fmla="*/ 3012463 w 6530564"/>
              <a:gd name="connsiteY4954" fmla="*/ 63047 h 6858000"/>
              <a:gd name="connsiteX4955" fmla="*/ 2439295 w 6530564"/>
              <a:gd name="connsiteY4955" fmla="*/ 291759 h 6858000"/>
              <a:gd name="connsiteX4956" fmla="*/ 2380096 w 6530564"/>
              <a:gd name="connsiteY4956" fmla="*/ 291759 h 6858000"/>
              <a:gd name="connsiteX4957" fmla="*/ 2396241 w 6530564"/>
              <a:gd name="connsiteY4957" fmla="*/ 229872 h 6858000"/>
              <a:gd name="connsiteX4958" fmla="*/ 2452751 w 6530564"/>
              <a:gd name="connsiteY4958" fmla="*/ 189511 h 6858000"/>
              <a:gd name="connsiteX4959" fmla="*/ 2834861 w 6530564"/>
              <a:gd name="connsiteY4959" fmla="*/ 39503 h 6858000"/>
              <a:gd name="connsiteX4960" fmla="*/ 2576296 w 6530564"/>
              <a:gd name="connsiteY4960" fmla="*/ 0 h 6858000"/>
              <a:gd name="connsiteX4961" fmla="*/ 2746997 w 6530564"/>
              <a:gd name="connsiteY4961" fmla="*/ 0 h 6858000"/>
              <a:gd name="connsiteX4962" fmla="*/ 2705697 w 6530564"/>
              <a:gd name="connsiteY4962" fmla="*/ 14613 h 6858000"/>
              <a:gd name="connsiteX4963" fmla="*/ 2509260 w 6530564"/>
              <a:gd name="connsiteY4963" fmla="*/ 87263 h 6858000"/>
              <a:gd name="connsiteX4964" fmla="*/ 2476969 w 6530564"/>
              <a:gd name="connsiteY4964" fmla="*/ 89954 h 6858000"/>
              <a:gd name="connsiteX4965" fmla="*/ 2482350 w 6530564"/>
              <a:gd name="connsiteY4965" fmla="*/ 52283 h 6858000"/>
              <a:gd name="connsiteX4966" fmla="*/ 2565769 w 6530564"/>
              <a:gd name="connsiteY4966" fmla="*/ 38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</a:cxnLst>
            <a:rect l="l" t="t" r="r" b="b"/>
            <a:pathLst>
              <a:path w="6530564" h="6858000">
                <a:moveTo>
                  <a:pt x="4044771" y="6093451"/>
                </a:moveTo>
                <a:lnTo>
                  <a:pt x="4045742" y="6095312"/>
                </a:lnTo>
                <a:lnTo>
                  <a:pt x="4035428" y="6095447"/>
                </a:lnTo>
                <a:cubicBezTo>
                  <a:pt x="4040099" y="6094449"/>
                  <a:pt x="4040099" y="6094449"/>
                  <a:pt x="4044771" y="6093451"/>
                </a:cubicBezTo>
                <a:close/>
                <a:moveTo>
                  <a:pt x="4313376" y="6001876"/>
                </a:moveTo>
                <a:cubicBezTo>
                  <a:pt x="4319045" y="6005548"/>
                  <a:pt x="4328387" y="6003552"/>
                  <a:pt x="4333057" y="6002555"/>
                </a:cubicBezTo>
                <a:cubicBezTo>
                  <a:pt x="4334056" y="6007226"/>
                  <a:pt x="4334056" y="6007226"/>
                  <a:pt x="4334056" y="6007226"/>
                </a:cubicBezTo>
                <a:cubicBezTo>
                  <a:pt x="4334056" y="6007226"/>
                  <a:pt x="4334056" y="6007226"/>
                  <a:pt x="4335053" y="6011898"/>
                </a:cubicBezTo>
                <a:cubicBezTo>
                  <a:pt x="4315371" y="6011217"/>
                  <a:pt x="4278005" y="6019202"/>
                  <a:pt x="4253651" y="6019520"/>
                </a:cubicBezTo>
                <a:cubicBezTo>
                  <a:pt x="4261995" y="6012854"/>
                  <a:pt x="4310701" y="6012216"/>
                  <a:pt x="4308706" y="6002875"/>
                </a:cubicBezTo>
                <a:close/>
                <a:moveTo>
                  <a:pt x="4371425" y="5999243"/>
                </a:moveTo>
                <a:lnTo>
                  <a:pt x="4381959" y="5999606"/>
                </a:lnTo>
                <a:lnTo>
                  <a:pt x="4343399" y="6005230"/>
                </a:lnTo>
                <a:cubicBezTo>
                  <a:pt x="4348069" y="6004231"/>
                  <a:pt x="4348069" y="6004231"/>
                  <a:pt x="4348069" y="6004231"/>
                </a:cubicBezTo>
                <a:cubicBezTo>
                  <a:pt x="4348069" y="6004231"/>
                  <a:pt x="4348069" y="6004231"/>
                  <a:pt x="4352740" y="6003234"/>
                </a:cubicBezTo>
                <a:cubicBezTo>
                  <a:pt x="4357411" y="6002237"/>
                  <a:pt x="4366753" y="6000241"/>
                  <a:pt x="4371425" y="5999243"/>
                </a:cubicBezTo>
                <a:close/>
                <a:moveTo>
                  <a:pt x="5313770" y="5992063"/>
                </a:moveTo>
                <a:cubicBezTo>
                  <a:pt x="5311185" y="5991394"/>
                  <a:pt x="5307682" y="5992143"/>
                  <a:pt x="5303509" y="5995476"/>
                </a:cubicBezTo>
                <a:cubicBezTo>
                  <a:pt x="5304507" y="6000145"/>
                  <a:pt x="5304507" y="6000145"/>
                  <a:pt x="5304507" y="6000145"/>
                </a:cubicBezTo>
                <a:lnTo>
                  <a:pt x="5254793" y="6024769"/>
                </a:lnTo>
                <a:lnTo>
                  <a:pt x="5317025" y="5995549"/>
                </a:lnTo>
                <a:close/>
                <a:moveTo>
                  <a:pt x="4434660" y="5991919"/>
                </a:moveTo>
                <a:lnTo>
                  <a:pt x="4395777" y="5998924"/>
                </a:lnTo>
                <a:cubicBezTo>
                  <a:pt x="4395777" y="5998924"/>
                  <a:pt x="4395777" y="5998924"/>
                  <a:pt x="4391107" y="5999922"/>
                </a:cubicBezTo>
                <a:lnTo>
                  <a:pt x="4381959" y="5999606"/>
                </a:lnTo>
                <a:close/>
                <a:moveTo>
                  <a:pt x="5563150" y="5743821"/>
                </a:moveTo>
                <a:lnTo>
                  <a:pt x="5562539" y="5744767"/>
                </a:lnTo>
                <a:cubicBezTo>
                  <a:pt x="5562539" y="5744767"/>
                  <a:pt x="5562539" y="5744767"/>
                  <a:pt x="5557868" y="5745764"/>
                </a:cubicBezTo>
                <a:close/>
                <a:moveTo>
                  <a:pt x="2418715" y="5683798"/>
                </a:moveTo>
                <a:lnTo>
                  <a:pt x="2423109" y="5687744"/>
                </a:lnTo>
                <a:lnTo>
                  <a:pt x="2419712" y="5688470"/>
                </a:lnTo>
                <a:cubicBezTo>
                  <a:pt x="2419712" y="5688470"/>
                  <a:pt x="2419712" y="5688470"/>
                  <a:pt x="2418715" y="5683798"/>
                </a:cubicBezTo>
                <a:close/>
                <a:moveTo>
                  <a:pt x="5855983" y="5403674"/>
                </a:moveTo>
                <a:lnTo>
                  <a:pt x="5851753" y="5406742"/>
                </a:lnTo>
                <a:lnTo>
                  <a:pt x="5851313" y="5404671"/>
                </a:lnTo>
                <a:cubicBezTo>
                  <a:pt x="5851313" y="5404671"/>
                  <a:pt x="5851313" y="5404671"/>
                  <a:pt x="5855983" y="5403674"/>
                </a:cubicBezTo>
                <a:close/>
                <a:moveTo>
                  <a:pt x="4512474" y="5165146"/>
                </a:moveTo>
                <a:lnTo>
                  <a:pt x="4513179" y="5165335"/>
                </a:lnTo>
                <a:lnTo>
                  <a:pt x="4508315" y="5167547"/>
                </a:lnTo>
                <a:cubicBezTo>
                  <a:pt x="4508315" y="5167547"/>
                  <a:pt x="4512474" y="5165146"/>
                  <a:pt x="4512474" y="5165146"/>
                </a:cubicBezTo>
                <a:close/>
                <a:moveTo>
                  <a:pt x="4373541" y="5128612"/>
                </a:moveTo>
                <a:lnTo>
                  <a:pt x="4362165" y="5131201"/>
                </a:lnTo>
                <a:lnTo>
                  <a:pt x="4370545" y="5130631"/>
                </a:lnTo>
                <a:close/>
                <a:moveTo>
                  <a:pt x="3626785" y="5124711"/>
                </a:moveTo>
                <a:cubicBezTo>
                  <a:pt x="3633346" y="5126470"/>
                  <a:pt x="3636626" y="5127349"/>
                  <a:pt x="3639907" y="5128227"/>
                </a:cubicBezTo>
                <a:cubicBezTo>
                  <a:pt x="3635747" y="5130630"/>
                  <a:pt x="3632467" y="5129750"/>
                  <a:pt x="3629186" y="5128871"/>
                </a:cubicBezTo>
                <a:cubicBezTo>
                  <a:pt x="3629186" y="5128871"/>
                  <a:pt x="3629186" y="5128871"/>
                  <a:pt x="3625905" y="5127992"/>
                </a:cubicBezTo>
                <a:cubicBezTo>
                  <a:pt x="3622627" y="5127114"/>
                  <a:pt x="3622627" y="5127114"/>
                  <a:pt x="3622627" y="5127114"/>
                </a:cubicBezTo>
                <a:lnTo>
                  <a:pt x="3619346" y="5126234"/>
                </a:lnTo>
                <a:cubicBezTo>
                  <a:pt x="3619346" y="5126234"/>
                  <a:pt x="3622627" y="5127114"/>
                  <a:pt x="3626785" y="5124711"/>
                </a:cubicBezTo>
                <a:close/>
                <a:moveTo>
                  <a:pt x="3360612" y="5081517"/>
                </a:moveTo>
                <a:cubicBezTo>
                  <a:pt x="3363892" y="5082396"/>
                  <a:pt x="3363892" y="5082396"/>
                  <a:pt x="3363892" y="5082396"/>
                </a:cubicBezTo>
                <a:cubicBezTo>
                  <a:pt x="3360612" y="5081517"/>
                  <a:pt x="3359734" y="5084797"/>
                  <a:pt x="3359734" y="5084797"/>
                </a:cubicBezTo>
                <a:cubicBezTo>
                  <a:pt x="3360612" y="5081517"/>
                  <a:pt x="3360612" y="5081517"/>
                  <a:pt x="3360612" y="5081517"/>
                </a:cubicBezTo>
                <a:close/>
                <a:moveTo>
                  <a:pt x="3200777" y="5049024"/>
                </a:moveTo>
                <a:lnTo>
                  <a:pt x="3203804" y="5050048"/>
                </a:lnTo>
                <a:cubicBezTo>
                  <a:pt x="3203804" y="5050048"/>
                  <a:pt x="3203804" y="5050048"/>
                  <a:pt x="3200523" y="5049169"/>
                </a:cubicBezTo>
                <a:close/>
                <a:moveTo>
                  <a:pt x="3219693" y="5047769"/>
                </a:moveTo>
                <a:cubicBezTo>
                  <a:pt x="3221616" y="5047130"/>
                  <a:pt x="3223933" y="5047092"/>
                  <a:pt x="3228523" y="5049640"/>
                </a:cubicBezTo>
                <a:cubicBezTo>
                  <a:pt x="3227645" y="5052921"/>
                  <a:pt x="3227645" y="5052921"/>
                  <a:pt x="3230924" y="5053799"/>
                </a:cubicBezTo>
                <a:cubicBezTo>
                  <a:pt x="3234205" y="5054678"/>
                  <a:pt x="3234205" y="5054678"/>
                  <a:pt x="3234205" y="5054678"/>
                </a:cubicBezTo>
                <a:cubicBezTo>
                  <a:pt x="3233325" y="5057959"/>
                  <a:pt x="3233325" y="5057959"/>
                  <a:pt x="3236606" y="5058838"/>
                </a:cubicBezTo>
                <a:cubicBezTo>
                  <a:pt x="3236606" y="5058838"/>
                  <a:pt x="3236606" y="5058838"/>
                  <a:pt x="3239886" y="5059716"/>
                </a:cubicBezTo>
                <a:cubicBezTo>
                  <a:pt x="3240766" y="5056436"/>
                  <a:pt x="3237485" y="5055556"/>
                  <a:pt x="3240766" y="5056436"/>
                </a:cubicBezTo>
                <a:cubicBezTo>
                  <a:pt x="3250605" y="5059072"/>
                  <a:pt x="3259569" y="5064990"/>
                  <a:pt x="3267886" y="5060188"/>
                </a:cubicBezTo>
                <a:cubicBezTo>
                  <a:pt x="3263727" y="5062589"/>
                  <a:pt x="3263727" y="5062589"/>
                  <a:pt x="3267006" y="5063467"/>
                </a:cubicBezTo>
                <a:cubicBezTo>
                  <a:pt x="3269409" y="5067627"/>
                  <a:pt x="3273569" y="5065226"/>
                  <a:pt x="3273569" y="5065226"/>
                </a:cubicBezTo>
                <a:cubicBezTo>
                  <a:pt x="3273569" y="5065226"/>
                  <a:pt x="3273569" y="5065226"/>
                  <a:pt x="3276848" y="5066104"/>
                </a:cubicBezTo>
                <a:cubicBezTo>
                  <a:pt x="3284930" y="5075301"/>
                  <a:pt x="3297408" y="5068098"/>
                  <a:pt x="3308771" y="5078174"/>
                </a:cubicBezTo>
                <a:cubicBezTo>
                  <a:pt x="3309651" y="5074894"/>
                  <a:pt x="3309651" y="5074894"/>
                  <a:pt x="3309651" y="5074894"/>
                </a:cubicBezTo>
                <a:cubicBezTo>
                  <a:pt x="3308771" y="5078174"/>
                  <a:pt x="3312052" y="5079053"/>
                  <a:pt x="3312052" y="5079053"/>
                </a:cubicBezTo>
                <a:cubicBezTo>
                  <a:pt x="3315333" y="5079933"/>
                  <a:pt x="3315333" y="5079933"/>
                  <a:pt x="3316211" y="5076651"/>
                </a:cubicBezTo>
                <a:cubicBezTo>
                  <a:pt x="3326051" y="5079288"/>
                  <a:pt x="3335893" y="5081925"/>
                  <a:pt x="3335893" y="5081925"/>
                </a:cubicBezTo>
                <a:cubicBezTo>
                  <a:pt x="3345734" y="5084562"/>
                  <a:pt x="3330211" y="5076888"/>
                  <a:pt x="3346612" y="5081283"/>
                </a:cubicBezTo>
                <a:cubicBezTo>
                  <a:pt x="3342454" y="5083684"/>
                  <a:pt x="3344855" y="5087843"/>
                  <a:pt x="3349015" y="5085441"/>
                </a:cubicBezTo>
                <a:cubicBezTo>
                  <a:pt x="3353173" y="5083040"/>
                  <a:pt x="3337650" y="5075365"/>
                  <a:pt x="3354053" y="5079760"/>
                </a:cubicBezTo>
                <a:cubicBezTo>
                  <a:pt x="3354053" y="5079760"/>
                  <a:pt x="3354053" y="5079760"/>
                  <a:pt x="3353173" y="5083040"/>
                </a:cubicBezTo>
                <a:cubicBezTo>
                  <a:pt x="3353173" y="5083040"/>
                  <a:pt x="3353173" y="5083040"/>
                  <a:pt x="3356453" y="5083919"/>
                </a:cubicBezTo>
                <a:cubicBezTo>
                  <a:pt x="3356453" y="5083919"/>
                  <a:pt x="3359734" y="5084797"/>
                  <a:pt x="3359734" y="5084797"/>
                </a:cubicBezTo>
                <a:cubicBezTo>
                  <a:pt x="3363013" y="5085677"/>
                  <a:pt x="3363013" y="5085677"/>
                  <a:pt x="3363013" y="5085677"/>
                </a:cubicBezTo>
                <a:cubicBezTo>
                  <a:pt x="3366295" y="5086556"/>
                  <a:pt x="3366295" y="5086556"/>
                  <a:pt x="3366295" y="5086556"/>
                </a:cubicBezTo>
                <a:cubicBezTo>
                  <a:pt x="3365415" y="5089835"/>
                  <a:pt x="3368696" y="5090715"/>
                  <a:pt x="3371975" y="5091594"/>
                </a:cubicBezTo>
                <a:cubicBezTo>
                  <a:pt x="3372854" y="5088314"/>
                  <a:pt x="3376135" y="5089193"/>
                  <a:pt x="3379415" y="5090071"/>
                </a:cubicBezTo>
                <a:cubicBezTo>
                  <a:pt x="3381816" y="5094231"/>
                  <a:pt x="3391657" y="5096868"/>
                  <a:pt x="3398218" y="5098625"/>
                </a:cubicBezTo>
                <a:cubicBezTo>
                  <a:pt x="3371975" y="5091594"/>
                  <a:pt x="3362135" y="5088957"/>
                  <a:pt x="3338294" y="5086085"/>
                </a:cubicBezTo>
                <a:cubicBezTo>
                  <a:pt x="3339815" y="5093525"/>
                  <a:pt x="3325815" y="5093289"/>
                  <a:pt x="3309415" y="5088893"/>
                </a:cubicBezTo>
                <a:cubicBezTo>
                  <a:pt x="3293014" y="5084499"/>
                  <a:pt x="3276613" y="5080105"/>
                  <a:pt x="3275734" y="5083385"/>
                </a:cubicBezTo>
                <a:cubicBezTo>
                  <a:pt x="3258454" y="5082271"/>
                  <a:pt x="3237249" y="5069557"/>
                  <a:pt x="3221727" y="5061883"/>
                </a:cubicBezTo>
                <a:cubicBezTo>
                  <a:pt x="3225009" y="5062762"/>
                  <a:pt x="3225009" y="5062762"/>
                  <a:pt x="3225887" y="5059480"/>
                </a:cubicBezTo>
                <a:cubicBezTo>
                  <a:pt x="3225887" y="5059480"/>
                  <a:pt x="3222606" y="5058602"/>
                  <a:pt x="3222606" y="5058602"/>
                </a:cubicBezTo>
                <a:cubicBezTo>
                  <a:pt x="3210364" y="5051805"/>
                  <a:pt x="3210364" y="5051805"/>
                  <a:pt x="3210364" y="5051805"/>
                </a:cubicBezTo>
                <a:cubicBezTo>
                  <a:pt x="3207083" y="5050927"/>
                  <a:pt x="3207083" y="5050927"/>
                  <a:pt x="3207083" y="5050927"/>
                </a:cubicBezTo>
                <a:lnTo>
                  <a:pt x="3207921" y="5047800"/>
                </a:lnTo>
                <a:lnTo>
                  <a:pt x="3213235" y="5049498"/>
                </a:lnTo>
                <a:cubicBezTo>
                  <a:pt x="3216244" y="5049646"/>
                  <a:pt x="3217771" y="5048407"/>
                  <a:pt x="3219693" y="5047769"/>
                </a:cubicBezTo>
                <a:close/>
                <a:moveTo>
                  <a:pt x="3204682" y="5046768"/>
                </a:moveTo>
                <a:cubicBezTo>
                  <a:pt x="3204682" y="5046768"/>
                  <a:pt x="3204682" y="5046768"/>
                  <a:pt x="3207964" y="5047647"/>
                </a:cubicBezTo>
                <a:lnTo>
                  <a:pt x="3207921" y="5047800"/>
                </a:lnTo>
                <a:close/>
                <a:moveTo>
                  <a:pt x="1727225" y="5030520"/>
                </a:moveTo>
                <a:lnTo>
                  <a:pt x="1725536" y="5030881"/>
                </a:lnTo>
                <a:lnTo>
                  <a:pt x="1727974" y="5034027"/>
                </a:lnTo>
                <a:close/>
                <a:moveTo>
                  <a:pt x="4899046" y="4955822"/>
                </a:moveTo>
                <a:cubicBezTo>
                  <a:pt x="4899046" y="4955822"/>
                  <a:pt x="4902327" y="4956701"/>
                  <a:pt x="4902327" y="4956701"/>
                </a:cubicBezTo>
                <a:cubicBezTo>
                  <a:pt x="4902327" y="4956701"/>
                  <a:pt x="4901447" y="4959982"/>
                  <a:pt x="4898167" y="4959102"/>
                </a:cubicBezTo>
                <a:cubicBezTo>
                  <a:pt x="4899046" y="4955822"/>
                  <a:pt x="4899046" y="4955822"/>
                  <a:pt x="4899046" y="4955822"/>
                </a:cubicBezTo>
                <a:close/>
                <a:moveTo>
                  <a:pt x="4909765" y="4955178"/>
                </a:moveTo>
                <a:lnTo>
                  <a:pt x="4908886" y="4958459"/>
                </a:lnTo>
                <a:cubicBezTo>
                  <a:pt x="4905607" y="4957581"/>
                  <a:pt x="4905607" y="4957581"/>
                  <a:pt x="4904727" y="4960860"/>
                </a:cubicBezTo>
                <a:close/>
                <a:moveTo>
                  <a:pt x="4886804" y="4949025"/>
                </a:moveTo>
                <a:cubicBezTo>
                  <a:pt x="4885925" y="4952305"/>
                  <a:pt x="4885925" y="4952305"/>
                  <a:pt x="4885925" y="4952305"/>
                </a:cubicBezTo>
                <a:cubicBezTo>
                  <a:pt x="4880887" y="4957988"/>
                  <a:pt x="4880887" y="4957988"/>
                  <a:pt x="4882645" y="4951427"/>
                </a:cubicBezTo>
                <a:cubicBezTo>
                  <a:pt x="4886804" y="4949025"/>
                  <a:pt x="4886804" y="4949025"/>
                  <a:pt x="4886804" y="4949025"/>
                </a:cubicBezTo>
                <a:close/>
                <a:moveTo>
                  <a:pt x="1904088" y="4943893"/>
                </a:moveTo>
                <a:lnTo>
                  <a:pt x="1909757" y="4947566"/>
                </a:lnTo>
                <a:cubicBezTo>
                  <a:pt x="1909757" y="4947566"/>
                  <a:pt x="1909757" y="4947566"/>
                  <a:pt x="1905087" y="4948563"/>
                </a:cubicBezTo>
                <a:close/>
                <a:moveTo>
                  <a:pt x="4977467" y="4879455"/>
                </a:moveTo>
                <a:lnTo>
                  <a:pt x="4858971" y="4948076"/>
                </a:lnTo>
                <a:cubicBezTo>
                  <a:pt x="4794519" y="4983128"/>
                  <a:pt x="4728689" y="5015573"/>
                  <a:pt x="4660094" y="5042804"/>
                </a:cubicBezTo>
                <a:cubicBezTo>
                  <a:pt x="4588740" y="5070496"/>
                  <a:pt x="4516871" y="5093703"/>
                  <a:pt x="4444457" y="5112467"/>
                </a:cubicBezTo>
                <a:lnTo>
                  <a:pt x="4389558" y="5124965"/>
                </a:lnTo>
                <a:lnTo>
                  <a:pt x="4383717" y="5128009"/>
                </a:lnTo>
                <a:cubicBezTo>
                  <a:pt x="4371129" y="5132548"/>
                  <a:pt x="4352545" y="5135479"/>
                  <a:pt x="4343187" y="5140882"/>
                </a:cubicBezTo>
                <a:cubicBezTo>
                  <a:pt x="4343187" y="5140882"/>
                  <a:pt x="4339907" y="5140002"/>
                  <a:pt x="4339907" y="5140002"/>
                </a:cubicBezTo>
                <a:cubicBezTo>
                  <a:pt x="4336627" y="5139123"/>
                  <a:pt x="4336627" y="5139123"/>
                  <a:pt x="4336627" y="5139123"/>
                </a:cubicBezTo>
                <a:cubicBezTo>
                  <a:pt x="4336627" y="5139123"/>
                  <a:pt x="4335748" y="5142403"/>
                  <a:pt x="4335748" y="5142403"/>
                </a:cubicBezTo>
                <a:cubicBezTo>
                  <a:pt x="4324149" y="5146327"/>
                  <a:pt x="4325027" y="5143047"/>
                  <a:pt x="4317590" y="5144570"/>
                </a:cubicBezTo>
                <a:cubicBezTo>
                  <a:pt x="4317590" y="5144570"/>
                  <a:pt x="4314308" y="5143691"/>
                  <a:pt x="4314308" y="5143691"/>
                </a:cubicBezTo>
                <a:cubicBezTo>
                  <a:pt x="4314308" y="5143691"/>
                  <a:pt x="4310149" y="5146092"/>
                  <a:pt x="4310149" y="5146092"/>
                </a:cubicBezTo>
                <a:cubicBezTo>
                  <a:pt x="4313430" y="5146971"/>
                  <a:pt x="4313430" y="5146971"/>
                  <a:pt x="4313430" y="5146971"/>
                </a:cubicBezTo>
                <a:cubicBezTo>
                  <a:pt x="4294391" y="5152417"/>
                  <a:pt x="4283671" y="5153060"/>
                  <a:pt x="4271193" y="5160265"/>
                </a:cubicBezTo>
                <a:cubicBezTo>
                  <a:pt x="4272073" y="5156984"/>
                  <a:pt x="4272073" y="5156984"/>
                  <a:pt x="4272073" y="5156984"/>
                </a:cubicBezTo>
                <a:lnTo>
                  <a:pt x="4268793" y="5156105"/>
                </a:lnTo>
                <a:cubicBezTo>
                  <a:pt x="4265512" y="5155227"/>
                  <a:pt x="4264633" y="5158507"/>
                  <a:pt x="4264633" y="5158507"/>
                </a:cubicBezTo>
                <a:cubicBezTo>
                  <a:pt x="4264633" y="5158507"/>
                  <a:pt x="4264633" y="5158507"/>
                  <a:pt x="4263755" y="5161788"/>
                </a:cubicBezTo>
                <a:cubicBezTo>
                  <a:pt x="4260474" y="5160908"/>
                  <a:pt x="4260474" y="5160908"/>
                  <a:pt x="4260474" y="5160908"/>
                </a:cubicBezTo>
                <a:cubicBezTo>
                  <a:pt x="4248875" y="5164832"/>
                  <a:pt x="4246475" y="5160672"/>
                  <a:pt x="4239034" y="5162195"/>
                </a:cubicBezTo>
                <a:cubicBezTo>
                  <a:pt x="4238156" y="5165476"/>
                  <a:pt x="4241437" y="5166354"/>
                  <a:pt x="4233996" y="5167877"/>
                </a:cubicBezTo>
                <a:cubicBezTo>
                  <a:pt x="4230715" y="5166997"/>
                  <a:pt x="4229837" y="5170278"/>
                  <a:pt x="4226557" y="5169398"/>
                </a:cubicBezTo>
                <a:cubicBezTo>
                  <a:pt x="4227435" y="5166119"/>
                  <a:pt x="4227435" y="5166119"/>
                  <a:pt x="4224157" y="5165240"/>
                </a:cubicBezTo>
                <a:cubicBezTo>
                  <a:pt x="4224157" y="5165240"/>
                  <a:pt x="4220876" y="5164361"/>
                  <a:pt x="4219997" y="5167641"/>
                </a:cubicBezTo>
                <a:cubicBezTo>
                  <a:pt x="4219997" y="5167641"/>
                  <a:pt x="4216716" y="5166762"/>
                  <a:pt x="4215837" y="5170042"/>
                </a:cubicBezTo>
                <a:cubicBezTo>
                  <a:pt x="4208397" y="5171565"/>
                  <a:pt x="4177761" y="5180935"/>
                  <a:pt x="4181921" y="5178534"/>
                </a:cubicBezTo>
                <a:cubicBezTo>
                  <a:pt x="4183441" y="5185973"/>
                  <a:pt x="4194398" y="5171329"/>
                  <a:pt x="4195921" y="5178768"/>
                </a:cubicBezTo>
                <a:cubicBezTo>
                  <a:pt x="4200079" y="5176367"/>
                  <a:pt x="4204239" y="5173966"/>
                  <a:pt x="4211678" y="5172443"/>
                </a:cubicBezTo>
                <a:cubicBezTo>
                  <a:pt x="4211678" y="5172443"/>
                  <a:pt x="4211678" y="5172443"/>
                  <a:pt x="4214959" y="5173322"/>
                </a:cubicBezTo>
                <a:cubicBezTo>
                  <a:pt x="4214959" y="5173322"/>
                  <a:pt x="4218239" y="5174202"/>
                  <a:pt x="4218239" y="5174202"/>
                </a:cubicBezTo>
                <a:cubicBezTo>
                  <a:pt x="4221518" y="5175080"/>
                  <a:pt x="4225678" y="5172679"/>
                  <a:pt x="4225678" y="5172679"/>
                </a:cubicBezTo>
                <a:cubicBezTo>
                  <a:pt x="4235519" y="5175316"/>
                  <a:pt x="4241437" y="5166354"/>
                  <a:pt x="4256315" y="5163309"/>
                </a:cubicBezTo>
                <a:cubicBezTo>
                  <a:pt x="4255435" y="5166590"/>
                  <a:pt x="4258715" y="5167468"/>
                  <a:pt x="4262875" y="5165067"/>
                </a:cubicBezTo>
                <a:cubicBezTo>
                  <a:pt x="4266157" y="5165946"/>
                  <a:pt x="4266157" y="5165946"/>
                  <a:pt x="4266157" y="5165946"/>
                </a:cubicBezTo>
                <a:cubicBezTo>
                  <a:pt x="4266157" y="5165946"/>
                  <a:pt x="4269436" y="5166824"/>
                  <a:pt x="4272717" y="5167703"/>
                </a:cubicBezTo>
                <a:cubicBezTo>
                  <a:pt x="4273595" y="5164424"/>
                  <a:pt x="4276877" y="5165302"/>
                  <a:pt x="4273595" y="5164424"/>
                </a:cubicBezTo>
                <a:cubicBezTo>
                  <a:pt x="4273595" y="5164424"/>
                  <a:pt x="4274474" y="5161144"/>
                  <a:pt x="4274474" y="5161144"/>
                </a:cubicBezTo>
                <a:cubicBezTo>
                  <a:pt x="4284315" y="5163779"/>
                  <a:pt x="4282792" y="5156341"/>
                  <a:pt x="4290233" y="5154819"/>
                </a:cubicBezTo>
                <a:cubicBezTo>
                  <a:pt x="4300952" y="5154174"/>
                  <a:pt x="4308392" y="5152652"/>
                  <a:pt x="4312551" y="5150251"/>
                </a:cubicBezTo>
                <a:cubicBezTo>
                  <a:pt x="4312551" y="5150251"/>
                  <a:pt x="4315831" y="5151131"/>
                  <a:pt x="4315831" y="5151131"/>
                </a:cubicBezTo>
                <a:cubicBezTo>
                  <a:pt x="4315831" y="5151131"/>
                  <a:pt x="4315831" y="5151131"/>
                  <a:pt x="4319110" y="5152009"/>
                </a:cubicBezTo>
                <a:cubicBezTo>
                  <a:pt x="4327430" y="5147207"/>
                  <a:pt x="4327430" y="5147207"/>
                  <a:pt x="4334869" y="5145684"/>
                </a:cubicBezTo>
                <a:cubicBezTo>
                  <a:pt x="4331589" y="5144804"/>
                  <a:pt x="4331589" y="5144804"/>
                  <a:pt x="4330709" y="5148085"/>
                </a:cubicBezTo>
                <a:cubicBezTo>
                  <a:pt x="4330709" y="5148085"/>
                  <a:pt x="4330709" y="5148085"/>
                  <a:pt x="4333989" y="5148964"/>
                </a:cubicBezTo>
                <a:cubicBezTo>
                  <a:pt x="4333989" y="5148964"/>
                  <a:pt x="4338149" y="5146563"/>
                  <a:pt x="4338149" y="5146563"/>
                </a:cubicBezTo>
                <a:cubicBezTo>
                  <a:pt x="4342309" y="5144162"/>
                  <a:pt x="4342309" y="5144162"/>
                  <a:pt x="4342309" y="5144162"/>
                </a:cubicBezTo>
                <a:cubicBezTo>
                  <a:pt x="4345588" y="5145042"/>
                  <a:pt x="4345588" y="5145042"/>
                  <a:pt x="4353029" y="5143519"/>
                </a:cubicBezTo>
                <a:cubicBezTo>
                  <a:pt x="4349748" y="5142639"/>
                  <a:pt x="4353907" y="5140237"/>
                  <a:pt x="4361347" y="5138715"/>
                </a:cubicBezTo>
                <a:cubicBezTo>
                  <a:pt x="4360467" y="5141996"/>
                  <a:pt x="4357187" y="5141116"/>
                  <a:pt x="4356309" y="5144397"/>
                </a:cubicBezTo>
                <a:cubicBezTo>
                  <a:pt x="4367906" y="5140474"/>
                  <a:pt x="4361347" y="5138715"/>
                  <a:pt x="4368785" y="5137194"/>
                </a:cubicBezTo>
                <a:cubicBezTo>
                  <a:pt x="4379505" y="5136549"/>
                  <a:pt x="4372066" y="5138072"/>
                  <a:pt x="4387825" y="5131747"/>
                </a:cubicBezTo>
                <a:cubicBezTo>
                  <a:pt x="4390225" y="5135906"/>
                  <a:pt x="4386065" y="5138307"/>
                  <a:pt x="4385187" y="5141588"/>
                </a:cubicBezTo>
                <a:cubicBezTo>
                  <a:pt x="4393506" y="5136784"/>
                  <a:pt x="4397665" y="5134383"/>
                  <a:pt x="4401825" y="5131982"/>
                </a:cubicBezTo>
                <a:cubicBezTo>
                  <a:pt x="4400945" y="5135263"/>
                  <a:pt x="4400945" y="5135263"/>
                  <a:pt x="4400945" y="5135263"/>
                </a:cubicBezTo>
                <a:cubicBezTo>
                  <a:pt x="4400945" y="5135263"/>
                  <a:pt x="4400945" y="5135263"/>
                  <a:pt x="4404225" y="5136142"/>
                </a:cubicBezTo>
                <a:cubicBezTo>
                  <a:pt x="4404225" y="5136142"/>
                  <a:pt x="4405105" y="5132862"/>
                  <a:pt x="4408385" y="5133740"/>
                </a:cubicBezTo>
                <a:cubicBezTo>
                  <a:pt x="4412543" y="5131339"/>
                  <a:pt x="4419984" y="5129816"/>
                  <a:pt x="4420862" y="5126537"/>
                </a:cubicBezTo>
                <a:cubicBezTo>
                  <a:pt x="4420862" y="5126537"/>
                  <a:pt x="4425022" y="5124136"/>
                  <a:pt x="4428303" y="5125014"/>
                </a:cubicBezTo>
                <a:cubicBezTo>
                  <a:pt x="4428303" y="5125014"/>
                  <a:pt x="4428303" y="5125014"/>
                  <a:pt x="4432461" y="5122611"/>
                </a:cubicBezTo>
                <a:cubicBezTo>
                  <a:pt x="4432461" y="5122611"/>
                  <a:pt x="4432461" y="5122611"/>
                  <a:pt x="4429181" y="5121733"/>
                </a:cubicBezTo>
                <a:cubicBezTo>
                  <a:pt x="4429181" y="5121733"/>
                  <a:pt x="4429181" y="5121733"/>
                  <a:pt x="4425901" y="5120854"/>
                </a:cubicBezTo>
                <a:cubicBezTo>
                  <a:pt x="4438378" y="5113651"/>
                  <a:pt x="4449097" y="5113006"/>
                  <a:pt x="4456537" y="5111486"/>
                </a:cubicBezTo>
                <a:cubicBezTo>
                  <a:pt x="4455658" y="5114765"/>
                  <a:pt x="4451499" y="5117167"/>
                  <a:pt x="4450621" y="5120446"/>
                </a:cubicBezTo>
                <a:cubicBezTo>
                  <a:pt x="4469658" y="5115001"/>
                  <a:pt x="4488695" y="5109553"/>
                  <a:pt x="4475575" y="5106039"/>
                </a:cubicBezTo>
                <a:cubicBezTo>
                  <a:pt x="4493735" y="5103872"/>
                  <a:pt x="4493735" y="5103872"/>
                  <a:pt x="4506211" y="5096669"/>
                </a:cubicBezTo>
                <a:cubicBezTo>
                  <a:pt x="4506211" y="5096669"/>
                  <a:pt x="4505333" y="5099949"/>
                  <a:pt x="4502053" y="5099070"/>
                </a:cubicBezTo>
                <a:cubicBezTo>
                  <a:pt x="4502053" y="5099070"/>
                  <a:pt x="4501174" y="5102350"/>
                  <a:pt x="4501174" y="5102350"/>
                </a:cubicBezTo>
                <a:cubicBezTo>
                  <a:pt x="4497015" y="5104753"/>
                  <a:pt x="4500295" y="5105631"/>
                  <a:pt x="4500295" y="5105631"/>
                </a:cubicBezTo>
                <a:cubicBezTo>
                  <a:pt x="4503575" y="5106509"/>
                  <a:pt x="4503575" y="5106509"/>
                  <a:pt x="4507735" y="5104109"/>
                </a:cubicBezTo>
                <a:cubicBezTo>
                  <a:pt x="4506857" y="5107388"/>
                  <a:pt x="4506857" y="5107388"/>
                  <a:pt x="4506857" y="5107388"/>
                </a:cubicBezTo>
                <a:cubicBezTo>
                  <a:pt x="4503575" y="5106509"/>
                  <a:pt x="4502697" y="5109791"/>
                  <a:pt x="4502697" y="5109791"/>
                </a:cubicBezTo>
                <a:cubicBezTo>
                  <a:pt x="4499417" y="5108911"/>
                  <a:pt x="4499417" y="5108911"/>
                  <a:pt x="4499417" y="5108911"/>
                </a:cubicBezTo>
                <a:cubicBezTo>
                  <a:pt x="4499417" y="5108911"/>
                  <a:pt x="4495258" y="5111312"/>
                  <a:pt x="4495258" y="5111312"/>
                </a:cubicBezTo>
                <a:cubicBezTo>
                  <a:pt x="4495258" y="5111312"/>
                  <a:pt x="4491098" y="5113713"/>
                  <a:pt x="4491098" y="5113713"/>
                </a:cubicBezTo>
                <a:cubicBezTo>
                  <a:pt x="4448861" y="5127007"/>
                  <a:pt x="4410786" y="5137900"/>
                  <a:pt x="4368551" y="5151193"/>
                </a:cubicBezTo>
                <a:cubicBezTo>
                  <a:pt x="4365269" y="5150314"/>
                  <a:pt x="4365269" y="5150314"/>
                  <a:pt x="4365269" y="5150314"/>
                </a:cubicBezTo>
                <a:cubicBezTo>
                  <a:pt x="4361990" y="5149436"/>
                  <a:pt x="4361112" y="5152715"/>
                  <a:pt x="4361112" y="5152715"/>
                </a:cubicBezTo>
                <a:cubicBezTo>
                  <a:pt x="4348633" y="5159921"/>
                  <a:pt x="4349512" y="5156639"/>
                  <a:pt x="4337913" y="5160563"/>
                </a:cubicBezTo>
                <a:cubicBezTo>
                  <a:pt x="4334634" y="5159684"/>
                  <a:pt x="4331353" y="5158804"/>
                  <a:pt x="4327194" y="5161207"/>
                </a:cubicBezTo>
                <a:cubicBezTo>
                  <a:pt x="4323913" y="5160327"/>
                  <a:pt x="4323035" y="5163608"/>
                  <a:pt x="4323035" y="5163608"/>
                </a:cubicBezTo>
                <a:cubicBezTo>
                  <a:pt x="4311437" y="5167532"/>
                  <a:pt x="4300716" y="5168175"/>
                  <a:pt x="4295678" y="5173857"/>
                </a:cubicBezTo>
                <a:cubicBezTo>
                  <a:pt x="4295678" y="5173857"/>
                  <a:pt x="4291519" y="5176258"/>
                  <a:pt x="4291519" y="5176258"/>
                </a:cubicBezTo>
                <a:cubicBezTo>
                  <a:pt x="4288238" y="5175378"/>
                  <a:pt x="4284959" y="5174500"/>
                  <a:pt x="4281679" y="5173621"/>
                </a:cubicBezTo>
                <a:cubicBezTo>
                  <a:pt x="4280799" y="5176901"/>
                  <a:pt x="4262641" y="5179066"/>
                  <a:pt x="4254323" y="5183870"/>
                </a:cubicBezTo>
                <a:cubicBezTo>
                  <a:pt x="4254323" y="5183870"/>
                  <a:pt x="4251042" y="5182990"/>
                  <a:pt x="4250163" y="5186271"/>
                </a:cubicBezTo>
                <a:cubicBezTo>
                  <a:pt x="4246882" y="5185391"/>
                  <a:pt x="4246882" y="5185391"/>
                  <a:pt x="4246882" y="5185391"/>
                </a:cubicBezTo>
                <a:cubicBezTo>
                  <a:pt x="4213843" y="5190603"/>
                  <a:pt x="4177525" y="5194934"/>
                  <a:pt x="4143607" y="5203426"/>
                </a:cubicBezTo>
                <a:cubicBezTo>
                  <a:pt x="4140328" y="5202547"/>
                  <a:pt x="4136170" y="5204948"/>
                  <a:pt x="4132010" y="5207349"/>
                </a:cubicBezTo>
                <a:cubicBezTo>
                  <a:pt x="4128729" y="5206471"/>
                  <a:pt x="4125449" y="5205591"/>
                  <a:pt x="4122169" y="5204713"/>
                </a:cubicBezTo>
                <a:cubicBezTo>
                  <a:pt x="4125449" y="5205591"/>
                  <a:pt x="4121291" y="5207992"/>
                  <a:pt x="4120410" y="5211273"/>
                </a:cubicBezTo>
                <a:cubicBezTo>
                  <a:pt x="4117131" y="5210395"/>
                  <a:pt x="4112971" y="5212796"/>
                  <a:pt x="4112971" y="5212796"/>
                </a:cubicBezTo>
                <a:cubicBezTo>
                  <a:pt x="4094811" y="5214961"/>
                  <a:pt x="4077531" y="5213847"/>
                  <a:pt x="4062652" y="5216892"/>
                </a:cubicBezTo>
                <a:cubicBezTo>
                  <a:pt x="4062652" y="5216892"/>
                  <a:pt x="4059373" y="5216012"/>
                  <a:pt x="4059373" y="5216012"/>
                </a:cubicBezTo>
                <a:cubicBezTo>
                  <a:pt x="4056092" y="5215134"/>
                  <a:pt x="4056092" y="5215134"/>
                  <a:pt x="4052812" y="5214255"/>
                </a:cubicBezTo>
                <a:cubicBezTo>
                  <a:pt x="4051933" y="5217535"/>
                  <a:pt x="4051933" y="5217535"/>
                  <a:pt x="4051933" y="5217535"/>
                </a:cubicBezTo>
                <a:cubicBezTo>
                  <a:pt x="4029616" y="5222103"/>
                  <a:pt x="4010575" y="5227548"/>
                  <a:pt x="3996577" y="5227313"/>
                </a:cubicBezTo>
                <a:cubicBezTo>
                  <a:pt x="3984100" y="5234517"/>
                  <a:pt x="3952819" y="5233166"/>
                  <a:pt x="3923940" y="5235976"/>
                </a:cubicBezTo>
                <a:cubicBezTo>
                  <a:pt x="3915620" y="5240778"/>
                  <a:pt x="3891781" y="5237907"/>
                  <a:pt x="3884340" y="5239430"/>
                </a:cubicBezTo>
                <a:cubicBezTo>
                  <a:pt x="3884340" y="5239430"/>
                  <a:pt x="3881060" y="5238550"/>
                  <a:pt x="3881060" y="5238550"/>
                </a:cubicBezTo>
                <a:cubicBezTo>
                  <a:pt x="3881060" y="5238550"/>
                  <a:pt x="3877781" y="5237671"/>
                  <a:pt x="3877781" y="5237671"/>
                </a:cubicBezTo>
                <a:cubicBezTo>
                  <a:pt x="3874499" y="5236793"/>
                  <a:pt x="3874499" y="5236793"/>
                  <a:pt x="3874499" y="5236793"/>
                </a:cubicBezTo>
                <a:cubicBezTo>
                  <a:pt x="3870340" y="5239194"/>
                  <a:pt x="3870340" y="5239194"/>
                  <a:pt x="3873621" y="5240072"/>
                </a:cubicBezTo>
                <a:cubicBezTo>
                  <a:pt x="3862901" y="5240716"/>
                  <a:pt x="3869461" y="5242475"/>
                  <a:pt x="3868581" y="5245755"/>
                </a:cubicBezTo>
                <a:cubicBezTo>
                  <a:pt x="3859621" y="5239836"/>
                  <a:pt x="3856984" y="5249678"/>
                  <a:pt x="3843864" y="5246161"/>
                </a:cubicBezTo>
                <a:cubicBezTo>
                  <a:pt x="3846263" y="5250321"/>
                  <a:pt x="3836423" y="5247684"/>
                  <a:pt x="3835544" y="5250965"/>
                </a:cubicBezTo>
                <a:cubicBezTo>
                  <a:pt x="3850423" y="5247920"/>
                  <a:pt x="3874265" y="5250791"/>
                  <a:pt x="3879302" y="5245111"/>
                </a:cubicBezTo>
                <a:cubicBezTo>
                  <a:pt x="3879302" y="5245111"/>
                  <a:pt x="3882583" y="5245989"/>
                  <a:pt x="3885863" y="5246869"/>
                </a:cubicBezTo>
                <a:cubicBezTo>
                  <a:pt x="3885863" y="5246869"/>
                  <a:pt x="3889143" y="5247748"/>
                  <a:pt x="3890023" y="5244468"/>
                </a:cubicBezTo>
                <a:cubicBezTo>
                  <a:pt x="3909704" y="5249742"/>
                  <a:pt x="3928742" y="5244294"/>
                  <a:pt x="3946901" y="5242128"/>
                </a:cubicBezTo>
                <a:cubicBezTo>
                  <a:pt x="3993940" y="5237154"/>
                  <a:pt x="4040099" y="5235459"/>
                  <a:pt x="4080577" y="5228726"/>
                </a:cubicBezTo>
                <a:cubicBezTo>
                  <a:pt x="4113616" y="5223516"/>
                  <a:pt x="4163054" y="5222700"/>
                  <a:pt x="4208569" y="5210285"/>
                </a:cubicBezTo>
                <a:cubicBezTo>
                  <a:pt x="4216010" y="5208762"/>
                  <a:pt x="4221047" y="5203081"/>
                  <a:pt x="4227607" y="5204840"/>
                </a:cubicBezTo>
                <a:cubicBezTo>
                  <a:pt x="4261525" y="5196348"/>
                  <a:pt x="4293683" y="5194417"/>
                  <a:pt x="4320161" y="5187449"/>
                </a:cubicBezTo>
                <a:cubicBezTo>
                  <a:pt x="4340080" y="5178723"/>
                  <a:pt x="4328481" y="5182645"/>
                  <a:pt x="4350799" y="5178079"/>
                </a:cubicBezTo>
                <a:cubicBezTo>
                  <a:pt x="4376397" y="5174391"/>
                  <a:pt x="4399595" y="5166543"/>
                  <a:pt x="4416232" y="5156937"/>
                </a:cubicBezTo>
                <a:cubicBezTo>
                  <a:pt x="4449271" y="5151726"/>
                  <a:pt x="4497423" y="5129472"/>
                  <a:pt x="4528059" y="5120102"/>
                </a:cubicBezTo>
                <a:cubicBezTo>
                  <a:pt x="4539658" y="5116178"/>
                  <a:pt x="4537257" y="5112018"/>
                  <a:pt x="4548856" y="5108094"/>
                </a:cubicBezTo>
                <a:cubicBezTo>
                  <a:pt x="4550379" y="5115535"/>
                  <a:pt x="4570295" y="5106807"/>
                  <a:pt x="4582773" y="5099604"/>
                </a:cubicBezTo>
                <a:cubicBezTo>
                  <a:pt x="4582773" y="5099604"/>
                  <a:pt x="4583652" y="5096324"/>
                  <a:pt x="4587811" y="5093923"/>
                </a:cubicBezTo>
                <a:cubicBezTo>
                  <a:pt x="4600289" y="5086718"/>
                  <a:pt x="4625008" y="5086310"/>
                  <a:pt x="4642524" y="5073425"/>
                </a:cubicBezTo>
                <a:cubicBezTo>
                  <a:pt x="4646684" y="5071024"/>
                  <a:pt x="4644283" y="5066864"/>
                  <a:pt x="4652601" y="5062062"/>
                </a:cubicBezTo>
                <a:cubicBezTo>
                  <a:pt x="4652601" y="5062062"/>
                  <a:pt x="4662441" y="5064699"/>
                  <a:pt x="4667481" y="5059017"/>
                </a:cubicBezTo>
                <a:cubicBezTo>
                  <a:pt x="4710595" y="5042443"/>
                  <a:pt x="4761384" y="5010346"/>
                  <a:pt x="4798817" y="4988734"/>
                </a:cubicBezTo>
                <a:cubicBezTo>
                  <a:pt x="4815454" y="4979129"/>
                  <a:pt x="4835371" y="4970403"/>
                  <a:pt x="4856167" y="4958396"/>
                </a:cubicBezTo>
                <a:cubicBezTo>
                  <a:pt x="4864486" y="4953593"/>
                  <a:pt x="4874561" y="4942231"/>
                  <a:pt x="4882880" y="4937426"/>
                </a:cubicBezTo>
                <a:cubicBezTo>
                  <a:pt x="4882880" y="4937426"/>
                  <a:pt x="4894479" y="4933504"/>
                  <a:pt x="4894479" y="4933504"/>
                </a:cubicBezTo>
                <a:cubicBezTo>
                  <a:pt x="4902797" y="4928700"/>
                  <a:pt x="4903677" y="4925420"/>
                  <a:pt x="4907835" y="4923019"/>
                </a:cubicBezTo>
                <a:cubicBezTo>
                  <a:pt x="4911115" y="4923898"/>
                  <a:pt x="4911115" y="4923898"/>
                  <a:pt x="4911115" y="4923898"/>
                </a:cubicBezTo>
                <a:cubicBezTo>
                  <a:pt x="4908479" y="4933738"/>
                  <a:pt x="4891198" y="4932624"/>
                  <a:pt x="4896879" y="4937664"/>
                </a:cubicBezTo>
                <a:cubicBezTo>
                  <a:pt x="4896879" y="4937664"/>
                  <a:pt x="4896879" y="4937664"/>
                  <a:pt x="4893599" y="4936784"/>
                </a:cubicBezTo>
                <a:cubicBezTo>
                  <a:pt x="4888561" y="4942464"/>
                  <a:pt x="4888561" y="4942464"/>
                  <a:pt x="4888561" y="4942464"/>
                </a:cubicBezTo>
                <a:cubicBezTo>
                  <a:pt x="4888561" y="4942464"/>
                  <a:pt x="4887682" y="4945746"/>
                  <a:pt x="4887682" y="4945746"/>
                </a:cubicBezTo>
                <a:cubicBezTo>
                  <a:pt x="4887682" y="4945746"/>
                  <a:pt x="4884403" y="4944867"/>
                  <a:pt x="4883523" y="4948147"/>
                </a:cubicBezTo>
                <a:cubicBezTo>
                  <a:pt x="4883523" y="4948147"/>
                  <a:pt x="4882645" y="4951427"/>
                  <a:pt x="4882645" y="4951427"/>
                </a:cubicBezTo>
                <a:cubicBezTo>
                  <a:pt x="4870167" y="4958630"/>
                  <a:pt x="4873447" y="4959510"/>
                  <a:pt x="4860969" y="4966714"/>
                </a:cubicBezTo>
                <a:cubicBezTo>
                  <a:pt x="4860969" y="4966714"/>
                  <a:pt x="4856811" y="4969115"/>
                  <a:pt x="4856811" y="4969115"/>
                </a:cubicBezTo>
                <a:cubicBezTo>
                  <a:pt x="4856811" y="4969115"/>
                  <a:pt x="4856811" y="4969115"/>
                  <a:pt x="4855931" y="4972396"/>
                </a:cubicBezTo>
                <a:cubicBezTo>
                  <a:pt x="4855931" y="4972396"/>
                  <a:pt x="4852651" y="4971516"/>
                  <a:pt x="4852651" y="4971516"/>
                </a:cubicBezTo>
                <a:cubicBezTo>
                  <a:pt x="4845213" y="4973039"/>
                  <a:pt x="4859447" y="4959275"/>
                  <a:pt x="4850250" y="4967358"/>
                </a:cubicBezTo>
                <a:cubicBezTo>
                  <a:pt x="4846091" y="4969759"/>
                  <a:pt x="4848491" y="4973919"/>
                  <a:pt x="4842575" y="4982879"/>
                </a:cubicBezTo>
                <a:cubicBezTo>
                  <a:pt x="4831855" y="4983523"/>
                  <a:pt x="4830097" y="4990084"/>
                  <a:pt x="4810180" y="4998810"/>
                </a:cubicBezTo>
                <a:cubicBezTo>
                  <a:pt x="4811059" y="4995529"/>
                  <a:pt x="4811059" y="4995529"/>
                  <a:pt x="4811059" y="4995529"/>
                </a:cubicBezTo>
                <a:cubicBezTo>
                  <a:pt x="4806900" y="4997932"/>
                  <a:pt x="4806900" y="4997932"/>
                  <a:pt x="4806900" y="4997932"/>
                </a:cubicBezTo>
                <a:cubicBezTo>
                  <a:pt x="4800339" y="4996174"/>
                  <a:pt x="4811937" y="4992250"/>
                  <a:pt x="4812817" y="4988970"/>
                </a:cubicBezTo>
                <a:cubicBezTo>
                  <a:pt x="4801219" y="4992893"/>
                  <a:pt x="4800339" y="4996174"/>
                  <a:pt x="4798581" y="5002734"/>
                </a:cubicBezTo>
                <a:cubicBezTo>
                  <a:pt x="4795301" y="5001856"/>
                  <a:pt x="4795301" y="5001856"/>
                  <a:pt x="4791141" y="5004257"/>
                </a:cubicBezTo>
                <a:cubicBezTo>
                  <a:pt x="4787862" y="5003379"/>
                  <a:pt x="4786983" y="5006658"/>
                  <a:pt x="4786983" y="5006658"/>
                </a:cubicBezTo>
                <a:cubicBezTo>
                  <a:pt x="4789383" y="5010818"/>
                  <a:pt x="4789383" y="5010818"/>
                  <a:pt x="4789383" y="5010818"/>
                </a:cubicBezTo>
                <a:cubicBezTo>
                  <a:pt x="4775384" y="5010582"/>
                  <a:pt x="4783467" y="5019780"/>
                  <a:pt x="4764429" y="5025225"/>
                </a:cubicBezTo>
                <a:cubicBezTo>
                  <a:pt x="4760269" y="5027626"/>
                  <a:pt x="4760269" y="5027626"/>
                  <a:pt x="4760269" y="5027626"/>
                </a:cubicBezTo>
                <a:cubicBezTo>
                  <a:pt x="4760269" y="5027626"/>
                  <a:pt x="4759391" y="5030907"/>
                  <a:pt x="4759391" y="5030907"/>
                </a:cubicBezTo>
                <a:cubicBezTo>
                  <a:pt x="4726995" y="5046837"/>
                  <a:pt x="4702041" y="5061246"/>
                  <a:pt x="4680365" y="5076532"/>
                </a:cubicBezTo>
                <a:cubicBezTo>
                  <a:pt x="4681245" y="5073251"/>
                  <a:pt x="4668123" y="5069736"/>
                  <a:pt x="4669645" y="5077175"/>
                </a:cubicBezTo>
                <a:cubicBezTo>
                  <a:pt x="4677086" y="5075654"/>
                  <a:pt x="4672047" y="5081335"/>
                  <a:pt x="4664607" y="5082858"/>
                </a:cubicBezTo>
                <a:cubicBezTo>
                  <a:pt x="4648849" y="5089182"/>
                  <a:pt x="4623894" y="5103591"/>
                  <a:pt x="4596538" y="5113840"/>
                </a:cubicBezTo>
                <a:cubicBezTo>
                  <a:pt x="4572461" y="5124967"/>
                  <a:pt x="4545105" y="5135216"/>
                  <a:pt x="4525187" y="5143943"/>
                </a:cubicBezTo>
                <a:cubicBezTo>
                  <a:pt x="4529347" y="5141541"/>
                  <a:pt x="4515347" y="5141307"/>
                  <a:pt x="4514467" y="5144586"/>
                </a:cubicBezTo>
                <a:cubicBezTo>
                  <a:pt x="4521908" y="5143064"/>
                  <a:pt x="4521029" y="5146344"/>
                  <a:pt x="4516869" y="5148745"/>
                </a:cubicBezTo>
                <a:cubicBezTo>
                  <a:pt x="4510309" y="5146988"/>
                  <a:pt x="4490391" y="5155714"/>
                  <a:pt x="4474633" y="5162039"/>
                </a:cubicBezTo>
                <a:cubicBezTo>
                  <a:pt x="4458876" y="5168364"/>
                  <a:pt x="4446398" y="5175569"/>
                  <a:pt x="4447277" y="5172288"/>
                </a:cubicBezTo>
                <a:cubicBezTo>
                  <a:pt x="4430639" y="5181894"/>
                  <a:pt x="4415760" y="5184937"/>
                  <a:pt x="4400883" y="5187983"/>
                </a:cubicBezTo>
                <a:cubicBezTo>
                  <a:pt x="4381843" y="5193428"/>
                  <a:pt x="4363683" y="5195595"/>
                  <a:pt x="4339608" y="5206722"/>
                </a:cubicBezTo>
                <a:cubicBezTo>
                  <a:pt x="4339608" y="5206722"/>
                  <a:pt x="4336327" y="5205844"/>
                  <a:pt x="4333047" y="5204965"/>
                </a:cubicBezTo>
                <a:cubicBezTo>
                  <a:pt x="4326252" y="5217207"/>
                  <a:pt x="4280971" y="5215622"/>
                  <a:pt x="4265213" y="5221947"/>
                </a:cubicBezTo>
                <a:cubicBezTo>
                  <a:pt x="4261055" y="5224349"/>
                  <a:pt x="4264334" y="5225227"/>
                  <a:pt x="4256895" y="5226749"/>
                </a:cubicBezTo>
                <a:cubicBezTo>
                  <a:pt x="4245297" y="5230673"/>
                  <a:pt x="4235455" y="5228037"/>
                  <a:pt x="4223857" y="5231960"/>
                </a:cubicBezTo>
                <a:cubicBezTo>
                  <a:pt x="4216417" y="5233481"/>
                  <a:pt x="4212257" y="5235884"/>
                  <a:pt x="4203941" y="5240686"/>
                </a:cubicBezTo>
                <a:cubicBezTo>
                  <a:pt x="4181621" y="5245253"/>
                  <a:pt x="4150341" y="5243904"/>
                  <a:pt x="4124741" y="5247592"/>
                </a:cubicBezTo>
                <a:cubicBezTo>
                  <a:pt x="4094985" y="5253681"/>
                  <a:pt x="4052106" y="5256255"/>
                  <a:pt x="4019067" y="5261465"/>
                </a:cubicBezTo>
                <a:cubicBezTo>
                  <a:pt x="4008347" y="5262109"/>
                  <a:pt x="3996749" y="5266033"/>
                  <a:pt x="3989310" y="5267556"/>
                </a:cubicBezTo>
                <a:cubicBezTo>
                  <a:pt x="3989310" y="5267556"/>
                  <a:pt x="3993469" y="5265155"/>
                  <a:pt x="3993469" y="5265155"/>
                </a:cubicBezTo>
                <a:cubicBezTo>
                  <a:pt x="3979469" y="5264919"/>
                  <a:pt x="3964589" y="5267964"/>
                  <a:pt x="3953870" y="5268607"/>
                </a:cubicBezTo>
                <a:cubicBezTo>
                  <a:pt x="3950590" y="5267728"/>
                  <a:pt x="3944029" y="5265970"/>
                  <a:pt x="3944029" y="5265970"/>
                </a:cubicBezTo>
                <a:cubicBezTo>
                  <a:pt x="3908589" y="5267022"/>
                  <a:pt x="3862430" y="5268717"/>
                  <a:pt x="3830272" y="5270646"/>
                </a:cubicBezTo>
                <a:cubicBezTo>
                  <a:pt x="3830272" y="5270646"/>
                  <a:pt x="3830272" y="5270646"/>
                  <a:pt x="3831150" y="5267367"/>
                </a:cubicBezTo>
                <a:cubicBezTo>
                  <a:pt x="3831150" y="5267367"/>
                  <a:pt x="3827869" y="5266488"/>
                  <a:pt x="3827869" y="5266488"/>
                </a:cubicBezTo>
                <a:cubicBezTo>
                  <a:pt x="3827869" y="5266488"/>
                  <a:pt x="3823711" y="5268887"/>
                  <a:pt x="3823711" y="5268887"/>
                </a:cubicBezTo>
                <a:cubicBezTo>
                  <a:pt x="3812990" y="5269532"/>
                  <a:pt x="3776029" y="5263143"/>
                  <a:pt x="3784991" y="5269060"/>
                </a:cubicBezTo>
                <a:cubicBezTo>
                  <a:pt x="3781710" y="5268182"/>
                  <a:pt x="3781710" y="5268182"/>
                  <a:pt x="3781710" y="5268182"/>
                </a:cubicBezTo>
                <a:cubicBezTo>
                  <a:pt x="3778430" y="5267303"/>
                  <a:pt x="3778430" y="5267303"/>
                  <a:pt x="3778430" y="5267303"/>
                </a:cubicBezTo>
                <a:cubicBezTo>
                  <a:pt x="3777550" y="5270583"/>
                  <a:pt x="3777550" y="5270583"/>
                  <a:pt x="3777550" y="5270583"/>
                </a:cubicBezTo>
                <a:cubicBezTo>
                  <a:pt x="3780831" y="5271463"/>
                  <a:pt x="3780831" y="5271463"/>
                  <a:pt x="3780831" y="5271463"/>
                </a:cubicBezTo>
                <a:cubicBezTo>
                  <a:pt x="3782354" y="5278902"/>
                  <a:pt x="3770111" y="5272106"/>
                  <a:pt x="3766831" y="5271227"/>
                </a:cubicBezTo>
                <a:cubicBezTo>
                  <a:pt x="3772513" y="5276265"/>
                  <a:pt x="3751074" y="5277552"/>
                  <a:pt x="3765073" y="5277788"/>
                </a:cubicBezTo>
                <a:cubicBezTo>
                  <a:pt x="3765953" y="5274507"/>
                  <a:pt x="3775793" y="5277144"/>
                  <a:pt x="3775793" y="5277144"/>
                </a:cubicBezTo>
                <a:cubicBezTo>
                  <a:pt x="3768353" y="5278666"/>
                  <a:pt x="3771633" y="5279545"/>
                  <a:pt x="3774913" y="5280425"/>
                </a:cubicBezTo>
                <a:cubicBezTo>
                  <a:pt x="3779953" y="5274743"/>
                  <a:pt x="3793073" y="5278258"/>
                  <a:pt x="3804672" y="5274334"/>
                </a:cubicBezTo>
                <a:cubicBezTo>
                  <a:pt x="3804672" y="5274334"/>
                  <a:pt x="3807952" y="5275214"/>
                  <a:pt x="3811233" y="5276093"/>
                </a:cubicBezTo>
                <a:cubicBezTo>
                  <a:pt x="3811233" y="5276093"/>
                  <a:pt x="3814512" y="5276971"/>
                  <a:pt x="3814512" y="5276971"/>
                </a:cubicBezTo>
                <a:cubicBezTo>
                  <a:pt x="3817794" y="5277850"/>
                  <a:pt x="3817794" y="5277850"/>
                  <a:pt x="3817794" y="5277850"/>
                </a:cubicBezTo>
                <a:cubicBezTo>
                  <a:pt x="3817794" y="5277850"/>
                  <a:pt x="3818672" y="5274569"/>
                  <a:pt x="3818672" y="5274569"/>
                </a:cubicBezTo>
                <a:cubicBezTo>
                  <a:pt x="3821953" y="5275449"/>
                  <a:pt x="3821953" y="5275449"/>
                  <a:pt x="3825233" y="5276327"/>
                </a:cubicBezTo>
                <a:cubicBezTo>
                  <a:pt x="3827635" y="5280487"/>
                  <a:pt x="3821074" y="5278728"/>
                  <a:pt x="3820193" y="5282009"/>
                </a:cubicBezTo>
                <a:cubicBezTo>
                  <a:pt x="3826754" y="5283768"/>
                  <a:pt x="3827635" y="5280487"/>
                  <a:pt x="3830914" y="5281367"/>
                </a:cubicBezTo>
                <a:cubicBezTo>
                  <a:pt x="3830914" y="5281367"/>
                  <a:pt x="3830914" y="5281367"/>
                  <a:pt x="3834196" y="5282245"/>
                </a:cubicBezTo>
                <a:cubicBezTo>
                  <a:pt x="3834196" y="5282245"/>
                  <a:pt x="3837475" y="5283124"/>
                  <a:pt x="3837475" y="5283124"/>
                </a:cubicBezTo>
                <a:cubicBezTo>
                  <a:pt x="3840755" y="5284004"/>
                  <a:pt x="3840755" y="5284004"/>
                  <a:pt x="3840755" y="5284004"/>
                </a:cubicBezTo>
                <a:cubicBezTo>
                  <a:pt x="3854755" y="5284238"/>
                  <a:pt x="3854755" y="5284238"/>
                  <a:pt x="3854755" y="5284238"/>
                </a:cubicBezTo>
                <a:cubicBezTo>
                  <a:pt x="3858913" y="5281837"/>
                  <a:pt x="3858913" y="5281837"/>
                  <a:pt x="3858913" y="5281837"/>
                </a:cubicBezTo>
                <a:cubicBezTo>
                  <a:pt x="3861316" y="5285997"/>
                  <a:pt x="3862195" y="5282716"/>
                  <a:pt x="3862195" y="5282716"/>
                </a:cubicBezTo>
                <a:lnTo>
                  <a:pt x="3858913" y="5281837"/>
                </a:lnTo>
                <a:cubicBezTo>
                  <a:pt x="3880353" y="5280550"/>
                  <a:pt x="3873793" y="5278792"/>
                  <a:pt x="3894353" y="5280786"/>
                </a:cubicBezTo>
                <a:cubicBezTo>
                  <a:pt x="3897635" y="5281665"/>
                  <a:pt x="3897635" y="5281665"/>
                  <a:pt x="3900914" y="5282543"/>
                </a:cubicBezTo>
                <a:cubicBezTo>
                  <a:pt x="3905073" y="5280142"/>
                  <a:pt x="3905073" y="5280142"/>
                  <a:pt x="3901794" y="5279264"/>
                </a:cubicBezTo>
                <a:cubicBezTo>
                  <a:pt x="3911633" y="5281901"/>
                  <a:pt x="3928914" y="5283015"/>
                  <a:pt x="3933953" y="5277333"/>
                </a:cubicBezTo>
                <a:cubicBezTo>
                  <a:pt x="3926513" y="5278855"/>
                  <a:pt x="3927392" y="5275574"/>
                  <a:pt x="3934831" y="5274053"/>
                </a:cubicBezTo>
                <a:lnTo>
                  <a:pt x="3938111" y="5274932"/>
                </a:lnTo>
                <a:cubicBezTo>
                  <a:pt x="3937233" y="5278211"/>
                  <a:pt x="3937233" y="5278211"/>
                  <a:pt x="3937233" y="5278211"/>
                </a:cubicBezTo>
                <a:cubicBezTo>
                  <a:pt x="3937233" y="5278211"/>
                  <a:pt x="3937233" y="5278211"/>
                  <a:pt x="3940514" y="5279091"/>
                </a:cubicBezTo>
                <a:cubicBezTo>
                  <a:pt x="3940514" y="5279091"/>
                  <a:pt x="3940514" y="5279091"/>
                  <a:pt x="3944673" y="5276690"/>
                </a:cubicBezTo>
                <a:cubicBezTo>
                  <a:pt x="3964353" y="5281963"/>
                  <a:pt x="4019711" y="5272185"/>
                  <a:pt x="4044429" y="5271777"/>
                </a:cubicBezTo>
                <a:cubicBezTo>
                  <a:pt x="4058431" y="5272013"/>
                  <a:pt x="4060832" y="5276173"/>
                  <a:pt x="4072431" y="5272249"/>
                </a:cubicBezTo>
                <a:cubicBezTo>
                  <a:pt x="4078990" y="5274006"/>
                  <a:pt x="4084029" y="5268325"/>
                  <a:pt x="4091468" y="5266803"/>
                </a:cubicBezTo>
                <a:cubicBezTo>
                  <a:pt x="4105469" y="5267037"/>
                  <a:pt x="4115309" y="5269674"/>
                  <a:pt x="4121227" y="5260712"/>
                </a:cubicBezTo>
                <a:cubicBezTo>
                  <a:pt x="4188825" y="5257732"/>
                  <a:pt x="4267380" y="5240106"/>
                  <a:pt x="4336092" y="5219844"/>
                </a:cubicBezTo>
                <a:cubicBezTo>
                  <a:pt x="4338495" y="5224004"/>
                  <a:pt x="4338495" y="5224004"/>
                  <a:pt x="4341775" y="5224882"/>
                </a:cubicBezTo>
                <a:cubicBezTo>
                  <a:pt x="4341775" y="5224882"/>
                  <a:pt x="4338495" y="5224004"/>
                  <a:pt x="4338495" y="5224004"/>
                </a:cubicBezTo>
                <a:cubicBezTo>
                  <a:pt x="4337615" y="5227283"/>
                  <a:pt x="4337615" y="5227283"/>
                  <a:pt x="4337615" y="5227283"/>
                </a:cubicBezTo>
                <a:cubicBezTo>
                  <a:pt x="4337615" y="5227283"/>
                  <a:pt x="4340895" y="5228162"/>
                  <a:pt x="4345054" y="5225760"/>
                </a:cubicBezTo>
                <a:cubicBezTo>
                  <a:pt x="4348334" y="5226639"/>
                  <a:pt x="4347456" y="5229920"/>
                  <a:pt x="4354895" y="5228397"/>
                </a:cubicBezTo>
                <a:cubicBezTo>
                  <a:pt x="4352494" y="5224238"/>
                  <a:pt x="4356653" y="5221837"/>
                  <a:pt x="4368253" y="5217913"/>
                </a:cubicBezTo>
                <a:cubicBezTo>
                  <a:pt x="4371531" y="5218791"/>
                  <a:pt x="4371531" y="5218791"/>
                  <a:pt x="4371531" y="5218791"/>
                </a:cubicBezTo>
                <a:cubicBezTo>
                  <a:pt x="4371531" y="5218791"/>
                  <a:pt x="4372409" y="5215512"/>
                  <a:pt x="4375691" y="5216392"/>
                </a:cubicBezTo>
                <a:cubicBezTo>
                  <a:pt x="4375691" y="5216392"/>
                  <a:pt x="4378971" y="5217270"/>
                  <a:pt x="4378971" y="5217270"/>
                </a:cubicBezTo>
                <a:cubicBezTo>
                  <a:pt x="4379850" y="5213989"/>
                  <a:pt x="4379850" y="5213989"/>
                  <a:pt x="4379850" y="5213989"/>
                </a:cubicBezTo>
                <a:cubicBezTo>
                  <a:pt x="4383131" y="5214869"/>
                  <a:pt x="4383131" y="5214869"/>
                  <a:pt x="4387291" y="5212466"/>
                </a:cubicBezTo>
                <a:cubicBezTo>
                  <a:pt x="4392972" y="5217505"/>
                  <a:pt x="4406328" y="5207020"/>
                  <a:pt x="4405449" y="5210302"/>
                </a:cubicBezTo>
                <a:cubicBezTo>
                  <a:pt x="4405449" y="5210302"/>
                  <a:pt x="4404569" y="5213581"/>
                  <a:pt x="4404569" y="5213581"/>
                </a:cubicBezTo>
                <a:cubicBezTo>
                  <a:pt x="4401290" y="5212703"/>
                  <a:pt x="4400411" y="5215984"/>
                  <a:pt x="4400411" y="5215984"/>
                </a:cubicBezTo>
                <a:cubicBezTo>
                  <a:pt x="4403691" y="5216862"/>
                  <a:pt x="4404569" y="5213581"/>
                  <a:pt x="4407849" y="5214461"/>
                </a:cubicBezTo>
                <a:cubicBezTo>
                  <a:pt x="4407849" y="5214461"/>
                  <a:pt x="4412009" y="5212060"/>
                  <a:pt x="4412009" y="5212060"/>
                </a:cubicBezTo>
                <a:cubicBezTo>
                  <a:pt x="4419449" y="5210537"/>
                  <a:pt x="4426889" y="5209014"/>
                  <a:pt x="4427767" y="5205735"/>
                </a:cubicBezTo>
                <a:cubicBezTo>
                  <a:pt x="4427767" y="5205735"/>
                  <a:pt x="4427767" y="5205735"/>
                  <a:pt x="4431047" y="5206613"/>
                </a:cubicBezTo>
                <a:cubicBezTo>
                  <a:pt x="4431047" y="5206613"/>
                  <a:pt x="4434327" y="5207492"/>
                  <a:pt x="4438487" y="5205091"/>
                </a:cubicBezTo>
                <a:cubicBezTo>
                  <a:pt x="4438487" y="5205091"/>
                  <a:pt x="4439367" y="5201811"/>
                  <a:pt x="4439367" y="5201811"/>
                </a:cubicBezTo>
                <a:cubicBezTo>
                  <a:pt x="4439367" y="5201811"/>
                  <a:pt x="4436087" y="5200931"/>
                  <a:pt x="4436087" y="5200931"/>
                </a:cubicBezTo>
                <a:cubicBezTo>
                  <a:pt x="4439367" y="5201811"/>
                  <a:pt x="4442646" y="5202689"/>
                  <a:pt x="4446805" y="5200288"/>
                </a:cubicBezTo>
                <a:cubicBezTo>
                  <a:pt x="4443525" y="5199408"/>
                  <a:pt x="4444403" y="5196129"/>
                  <a:pt x="4448563" y="5193727"/>
                </a:cubicBezTo>
                <a:cubicBezTo>
                  <a:pt x="4447685" y="5197007"/>
                  <a:pt x="4451843" y="5194606"/>
                  <a:pt x="4455124" y="5195484"/>
                </a:cubicBezTo>
                <a:cubicBezTo>
                  <a:pt x="4459284" y="5193083"/>
                  <a:pt x="4459284" y="5193083"/>
                  <a:pt x="4459284" y="5193083"/>
                </a:cubicBezTo>
                <a:cubicBezTo>
                  <a:pt x="4462565" y="5193963"/>
                  <a:pt x="4462565" y="5193963"/>
                  <a:pt x="4462565" y="5193963"/>
                </a:cubicBezTo>
                <a:cubicBezTo>
                  <a:pt x="4463443" y="5190682"/>
                  <a:pt x="4463443" y="5190682"/>
                  <a:pt x="4463443" y="5190682"/>
                </a:cubicBezTo>
                <a:cubicBezTo>
                  <a:pt x="4463443" y="5190682"/>
                  <a:pt x="4463443" y="5190682"/>
                  <a:pt x="4460162" y="5189804"/>
                </a:cubicBezTo>
                <a:cubicBezTo>
                  <a:pt x="4479199" y="5184357"/>
                  <a:pt x="4498239" y="5178912"/>
                  <a:pt x="4503277" y="5173230"/>
                </a:cubicBezTo>
                <a:cubicBezTo>
                  <a:pt x="4507437" y="5170828"/>
                  <a:pt x="4507437" y="5170828"/>
                  <a:pt x="4510717" y="5171707"/>
                </a:cubicBezTo>
                <a:cubicBezTo>
                  <a:pt x="4514875" y="5169306"/>
                  <a:pt x="4514875" y="5169306"/>
                  <a:pt x="4515755" y="5166027"/>
                </a:cubicBezTo>
                <a:lnTo>
                  <a:pt x="4513179" y="5165335"/>
                </a:lnTo>
                <a:lnTo>
                  <a:pt x="4525643" y="5159666"/>
                </a:lnTo>
                <a:cubicBezTo>
                  <a:pt x="4539955" y="5153613"/>
                  <a:pt x="4547709" y="5151736"/>
                  <a:pt x="4571346" y="5142247"/>
                </a:cubicBezTo>
                <a:cubicBezTo>
                  <a:pt x="4580543" y="5134165"/>
                  <a:pt x="4584703" y="5131765"/>
                  <a:pt x="4585583" y="5128483"/>
                </a:cubicBezTo>
                <a:cubicBezTo>
                  <a:pt x="4588862" y="5129361"/>
                  <a:pt x="4587983" y="5132643"/>
                  <a:pt x="4595423" y="5131120"/>
                </a:cubicBezTo>
                <a:cubicBezTo>
                  <a:pt x="4597181" y="5124559"/>
                  <a:pt x="4607021" y="5127196"/>
                  <a:pt x="4619500" y="5119991"/>
                </a:cubicBezTo>
                <a:cubicBezTo>
                  <a:pt x="4631977" y="5112788"/>
                  <a:pt x="4613817" y="5114955"/>
                  <a:pt x="4629575" y="5108629"/>
                </a:cubicBezTo>
                <a:cubicBezTo>
                  <a:pt x="4620378" y="5116712"/>
                  <a:pt x="4636137" y="5110387"/>
                  <a:pt x="4648615" y="5103183"/>
                </a:cubicBezTo>
                <a:cubicBezTo>
                  <a:pt x="4647735" y="5106463"/>
                  <a:pt x="4647735" y="5106463"/>
                  <a:pt x="4647735" y="5106463"/>
                </a:cubicBezTo>
                <a:cubicBezTo>
                  <a:pt x="4643575" y="5108864"/>
                  <a:pt x="4639415" y="5111267"/>
                  <a:pt x="4642697" y="5112145"/>
                </a:cubicBezTo>
                <a:cubicBezTo>
                  <a:pt x="4642697" y="5112145"/>
                  <a:pt x="4645978" y="5113024"/>
                  <a:pt x="4650136" y="5110622"/>
                </a:cubicBezTo>
                <a:cubicBezTo>
                  <a:pt x="4654296" y="5108221"/>
                  <a:pt x="4654296" y="5108221"/>
                  <a:pt x="4654296" y="5108221"/>
                </a:cubicBezTo>
                <a:cubicBezTo>
                  <a:pt x="4653417" y="5111501"/>
                  <a:pt x="4642697" y="5112145"/>
                  <a:pt x="4645099" y="5116303"/>
                </a:cubicBezTo>
                <a:cubicBezTo>
                  <a:pt x="4653417" y="5111501"/>
                  <a:pt x="4660855" y="5109978"/>
                  <a:pt x="4661735" y="5106698"/>
                </a:cubicBezTo>
                <a:cubicBezTo>
                  <a:pt x="4662613" y="5103419"/>
                  <a:pt x="4662613" y="5103419"/>
                  <a:pt x="4665893" y="5104297"/>
                </a:cubicBezTo>
                <a:cubicBezTo>
                  <a:pt x="4670053" y="5101897"/>
                  <a:pt x="4674211" y="5099495"/>
                  <a:pt x="4675091" y="5096214"/>
                </a:cubicBezTo>
                <a:cubicBezTo>
                  <a:pt x="4675091" y="5096214"/>
                  <a:pt x="4671812" y="5095335"/>
                  <a:pt x="4667651" y="5097736"/>
                </a:cubicBezTo>
                <a:cubicBezTo>
                  <a:pt x="4664372" y="5096858"/>
                  <a:pt x="4664372" y="5096858"/>
                  <a:pt x="4664372" y="5096858"/>
                </a:cubicBezTo>
                <a:cubicBezTo>
                  <a:pt x="4669409" y="5091176"/>
                  <a:pt x="4662850" y="5089418"/>
                  <a:pt x="4676849" y="5089653"/>
                </a:cubicBezTo>
                <a:cubicBezTo>
                  <a:pt x="4674449" y="5085494"/>
                  <a:pt x="4666129" y="5090297"/>
                  <a:pt x="4662850" y="5089418"/>
                </a:cubicBezTo>
                <a:cubicBezTo>
                  <a:pt x="4678607" y="5083093"/>
                  <a:pt x="4681009" y="5087252"/>
                  <a:pt x="4689327" y="5082449"/>
                </a:cubicBezTo>
                <a:cubicBezTo>
                  <a:pt x="4688447" y="5085731"/>
                  <a:pt x="4685169" y="5084851"/>
                  <a:pt x="4685169" y="5084851"/>
                </a:cubicBezTo>
                <a:cubicBezTo>
                  <a:pt x="4681009" y="5087252"/>
                  <a:pt x="4681009" y="5087252"/>
                  <a:pt x="4683411" y="5091411"/>
                </a:cubicBezTo>
                <a:cubicBezTo>
                  <a:pt x="4683411" y="5091411"/>
                  <a:pt x="4687569" y="5089010"/>
                  <a:pt x="4691728" y="5086609"/>
                </a:cubicBezTo>
                <a:cubicBezTo>
                  <a:pt x="4686690" y="5092290"/>
                  <a:pt x="4689971" y="5093170"/>
                  <a:pt x="4695008" y="5087488"/>
                </a:cubicBezTo>
                <a:cubicBezTo>
                  <a:pt x="4698289" y="5088368"/>
                  <a:pt x="4698289" y="5088368"/>
                  <a:pt x="4698289" y="5088368"/>
                </a:cubicBezTo>
                <a:cubicBezTo>
                  <a:pt x="4694130" y="5090767"/>
                  <a:pt x="4697411" y="5091647"/>
                  <a:pt x="4697411" y="5091647"/>
                </a:cubicBezTo>
                <a:cubicBezTo>
                  <a:pt x="4701569" y="5089246"/>
                  <a:pt x="4701569" y="5089246"/>
                  <a:pt x="4702449" y="5085965"/>
                </a:cubicBezTo>
                <a:cubicBezTo>
                  <a:pt x="4705727" y="5086845"/>
                  <a:pt x="4705727" y="5086845"/>
                  <a:pt x="4706607" y="5083564"/>
                </a:cubicBezTo>
                <a:cubicBezTo>
                  <a:pt x="4714047" y="5082041"/>
                  <a:pt x="4714047" y="5082041"/>
                  <a:pt x="4721486" y="5080520"/>
                </a:cubicBezTo>
                <a:cubicBezTo>
                  <a:pt x="4717327" y="5082921"/>
                  <a:pt x="4717327" y="5082921"/>
                  <a:pt x="4717327" y="5082921"/>
                </a:cubicBezTo>
                <a:cubicBezTo>
                  <a:pt x="4713168" y="5085322"/>
                  <a:pt x="4712289" y="5088602"/>
                  <a:pt x="4712289" y="5088602"/>
                </a:cubicBezTo>
                <a:cubicBezTo>
                  <a:pt x="4715569" y="5089482"/>
                  <a:pt x="4719729" y="5087079"/>
                  <a:pt x="4723887" y="5084678"/>
                </a:cubicBezTo>
                <a:cubicBezTo>
                  <a:pt x="4728047" y="5082277"/>
                  <a:pt x="4728047" y="5082277"/>
                  <a:pt x="4728047" y="5082277"/>
                </a:cubicBezTo>
                <a:cubicBezTo>
                  <a:pt x="4732207" y="5079876"/>
                  <a:pt x="4732207" y="5079876"/>
                  <a:pt x="4732207" y="5079876"/>
                </a:cubicBezTo>
                <a:cubicBezTo>
                  <a:pt x="4736365" y="5077475"/>
                  <a:pt x="4737245" y="5074195"/>
                  <a:pt x="4733963" y="5073315"/>
                </a:cubicBezTo>
                <a:cubicBezTo>
                  <a:pt x="4733963" y="5073315"/>
                  <a:pt x="4730684" y="5072437"/>
                  <a:pt x="4726524" y="5074837"/>
                </a:cubicBezTo>
                <a:cubicBezTo>
                  <a:pt x="4726524" y="5074837"/>
                  <a:pt x="4726524" y="5074837"/>
                  <a:pt x="4725646" y="5078117"/>
                </a:cubicBezTo>
                <a:cubicBezTo>
                  <a:pt x="4721486" y="5080520"/>
                  <a:pt x="4721486" y="5080520"/>
                  <a:pt x="4721486" y="5080520"/>
                </a:cubicBezTo>
                <a:cubicBezTo>
                  <a:pt x="4732441" y="5065875"/>
                  <a:pt x="4719083" y="5076361"/>
                  <a:pt x="4707487" y="5080284"/>
                </a:cubicBezTo>
                <a:cubicBezTo>
                  <a:pt x="4711646" y="5077883"/>
                  <a:pt x="4711646" y="5077883"/>
                  <a:pt x="4711646" y="5077883"/>
                </a:cubicBezTo>
                <a:cubicBezTo>
                  <a:pt x="4711646" y="5077883"/>
                  <a:pt x="4708366" y="5077005"/>
                  <a:pt x="4708366" y="5077005"/>
                </a:cubicBezTo>
                <a:cubicBezTo>
                  <a:pt x="4708366" y="5077005"/>
                  <a:pt x="4708366" y="5077005"/>
                  <a:pt x="4705085" y="5076124"/>
                </a:cubicBezTo>
                <a:cubicBezTo>
                  <a:pt x="4704207" y="5079404"/>
                  <a:pt x="4704207" y="5079404"/>
                  <a:pt x="4704207" y="5079404"/>
                </a:cubicBezTo>
                <a:cubicBezTo>
                  <a:pt x="4700046" y="5081805"/>
                  <a:pt x="4700046" y="5081805"/>
                  <a:pt x="4700046" y="5081805"/>
                </a:cubicBezTo>
                <a:cubicBezTo>
                  <a:pt x="4700927" y="5078525"/>
                  <a:pt x="4700927" y="5078525"/>
                  <a:pt x="4700927" y="5078525"/>
                </a:cubicBezTo>
                <a:cubicBezTo>
                  <a:pt x="4700927" y="5078525"/>
                  <a:pt x="4697647" y="5077647"/>
                  <a:pt x="4696767" y="5080927"/>
                </a:cubicBezTo>
                <a:cubicBezTo>
                  <a:pt x="4693487" y="5080048"/>
                  <a:pt x="4693487" y="5080048"/>
                  <a:pt x="4693487" y="5080048"/>
                </a:cubicBezTo>
                <a:cubicBezTo>
                  <a:pt x="4699404" y="5071086"/>
                  <a:pt x="4706843" y="5069563"/>
                  <a:pt x="4722601" y="5063239"/>
                </a:cubicBezTo>
                <a:cubicBezTo>
                  <a:pt x="4721722" y="5066520"/>
                  <a:pt x="4721722" y="5066520"/>
                  <a:pt x="4721722" y="5066520"/>
                </a:cubicBezTo>
                <a:cubicBezTo>
                  <a:pt x="4720843" y="5069800"/>
                  <a:pt x="4720843" y="5069800"/>
                  <a:pt x="4720843" y="5069800"/>
                </a:cubicBezTo>
                <a:cubicBezTo>
                  <a:pt x="4725003" y="5067398"/>
                  <a:pt x="4725003" y="5067398"/>
                  <a:pt x="4725003" y="5067398"/>
                </a:cubicBezTo>
                <a:cubicBezTo>
                  <a:pt x="4725882" y="5064117"/>
                  <a:pt x="4725882" y="5064117"/>
                  <a:pt x="4725882" y="5064117"/>
                </a:cubicBezTo>
                <a:cubicBezTo>
                  <a:pt x="4730041" y="5061716"/>
                  <a:pt x="4730041" y="5061716"/>
                  <a:pt x="4730041" y="5061716"/>
                </a:cubicBezTo>
                <a:cubicBezTo>
                  <a:pt x="4734199" y="5059315"/>
                  <a:pt x="4736599" y="5063474"/>
                  <a:pt x="4744919" y="5058672"/>
                </a:cubicBezTo>
                <a:cubicBezTo>
                  <a:pt x="4748200" y="5059551"/>
                  <a:pt x="4748200" y="5059551"/>
                  <a:pt x="4748200" y="5059551"/>
                </a:cubicBezTo>
                <a:cubicBezTo>
                  <a:pt x="4749079" y="5056269"/>
                  <a:pt x="4752360" y="5057149"/>
                  <a:pt x="4752360" y="5057149"/>
                </a:cubicBezTo>
                <a:cubicBezTo>
                  <a:pt x="4753238" y="5053868"/>
                  <a:pt x="4753238" y="5053868"/>
                  <a:pt x="4753238" y="5053868"/>
                </a:cubicBezTo>
                <a:cubicBezTo>
                  <a:pt x="4749957" y="5052989"/>
                  <a:pt x="4749957" y="5052989"/>
                  <a:pt x="4749957" y="5052989"/>
                </a:cubicBezTo>
                <a:cubicBezTo>
                  <a:pt x="4758275" y="5048187"/>
                  <a:pt x="4768117" y="5050824"/>
                  <a:pt x="4769875" y="5044264"/>
                </a:cubicBezTo>
                <a:cubicBezTo>
                  <a:pt x="4769875" y="5044264"/>
                  <a:pt x="4770754" y="5040984"/>
                  <a:pt x="4774035" y="5041862"/>
                </a:cubicBezTo>
                <a:cubicBezTo>
                  <a:pt x="4774035" y="5041862"/>
                  <a:pt x="4774913" y="5038581"/>
                  <a:pt x="4774913" y="5038581"/>
                </a:cubicBezTo>
                <a:cubicBezTo>
                  <a:pt x="4771632" y="5037702"/>
                  <a:pt x="4771632" y="5037702"/>
                  <a:pt x="4771632" y="5037702"/>
                </a:cubicBezTo>
                <a:cubicBezTo>
                  <a:pt x="4798110" y="5030735"/>
                  <a:pt x="4779951" y="5032901"/>
                  <a:pt x="4781709" y="5026339"/>
                </a:cubicBezTo>
                <a:cubicBezTo>
                  <a:pt x="4795709" y="5026575"/>
                  <a:pt x="4820663" y="5012167"/>
                  <a:pt x="4841460" y="5000161"/>
                </a:cubicBezTo>
                <a:cubicBezTo>
                  <a:pt x="4839059" y="4996002"/>
                  <a:pt x="4839059" y="4996002"/>
                  <a:pt x="4839059" y="4996002"/>
                </a:cubicBezTo>
                <a:cubicBezTo>
                  <a:pt x="4842339" y="4996880"/>
                  <a:pt x="4842339" y="4996880"/>
                  <a:pt x="4842339" y="4996880"/>
                </a:cubicBezTo>
                <a:cubicBezTo>
                  <a:pt x="4842339" y="4996880"/>
                  <a:pt x="4845620" y="4997758"/>
                  <a:pt x="4846498" y="4994478"/>
                </a:cubicBezTo>
                <a:cubicBezTo>
                  <a:pt x="4846498" y="4994478"/>
                  <a:pt x="4843217" y="4993600"/>
                  <a:pt x="4843217" y="4993600"/>
                </a:cubicBezTo>
                <a:cubicBezTo>
                  <a:pt x="4855696" y="4986396"/>
                  <a:pt x="4870575" y="4983351"/>
                  <a:pt x="4878014" y="4981829"/>
                </a:cubicBezTo>
                <a:cubicBezTo>
                  <a:pt x="4875613" y="4977670"/>
                  <a:pt x="4872333" y="4976790"/>
                  <a:pt x="4876493" y="4974389"/>
                </a:cubicBezTo>
                <a:cubicBezTo>
                  <a:pt x="4879771" y="4975267"/>
                  <a:pt x="4879771" y="4975267"/>
                  <a:pt x="4883931" y="4972867"/>
                </a:cubicBezTo>
                <a:cubicBezTo>
                  <a:pt x="4881530" y="4968708"/>
                  <a:pt x="4884811" y="4969587"/>
                  <a:pt x="4892249" y="4968064"/>
                </a:cubicBezTo>
                <a:cubicBezTo>
                  <a:pt x="4892249" y="4968064"/>
                  <a:pt x="4892249" y="4968064"/>
                  <a:pt x="4891370" y="4971344"/>
                </a:cubicBezTo>
                <a:cubicBezTo>
                  <a:pt x="4891370" y="4971344"/>
                  <a:pt x="4891370" y="4971344"/>
                  <a:pt x="4894652" y="4972224"/>
                </a:cubicBezTo>
                <a:cubicBezTo>
                  <a:pt x="4895530" y="4968943"/>
                  <a:pt x="4898811" y="4969821"/>
                  <a:pt x="4899690" y="4966541"/>
                </a:cubicBezTo>
                <a:cubicBezTo>
                  <a:pt x="4899690" y="4966541"/>
                  <a:pt x="4900568" y="4963262"/>
                  <a:pt x="4900568" y="4963262"/>
                </a:cubicBezTo>
                <a:cubicBezTo>
                  <a:pt x="4907129" y="4965019"/>
                  <a:pt x="4934721" y="4940771"/>
                  <a:pt x="4926402" y="4945573"/>
                </a:cubicBezTo>
                <a:cubicBezTo>
                  <a:pt x="4923765" y="4955414"/>
                  <a:pt x="4914160" y="4938777"/>
                  <a:pt x="4914803" y="4949497"/>
                </a:cubicBezTo>
                <a:lnTo>
                  <a:pt x="4909765" y="4955178"/>
                </a:lnTo>
                <a:cubicBezTo>
                  <a:pt x="4910645" y="4951898"/>
                  <a:pt x="4906487" y="4954299"/>
                  <a:pt x="4906487" y="4954299"/>
                </a:cubicBezTo>
                <a:cubicBezTo>
                  <a:pt x="4902327" y="4956701"/>
                  <a:pt x="4902327" y="4956701"/>
                  <a:pt x="4902327" y="4956701"/>
                </a:cubicBezTo>
                <a:cubicBezTo>
                  <a:pt x="4903205" y="4953421"/>
                  <a:pt x="4903205" y="4953421"/>
                  <a:pt x="4903205" y="4953421"/>
                </a:cubicBezTo>
                <a:cubicBezTo>
                  <a:pt x="4906487" y="4954299"/>
                  <a:pt x="4907365" y="4951018"/>
                  <a:pt x="4907365" y="4951018"/>
                </a:cubicBezTo>
                <a:cubicBezTo>
                  <a:pt x="4907365" y="4951018"/>
                  <a:pt x="4904084" y="4950140"/>
                  <a:pt x="4904084" y="4950140"/>
                </a:cubicBezTo>
                <a:cubicBezTo>
                  <a:pt x="4899924" y="4952541"/>
                  <a:pt x="4899924" y="4952541"/>
                  <a:pt x="4899924" y="4952541"/>
                </a:cubicBezTo>
                <a:cubicBezTo>
                  <a:pt x="4895766" y="4954944"/>
                  <a:pt x="4895766" y="4954944"/>
                  <a:pt x="4895766" y="4954944"/>
                </a:cubicBezTo>
                <a:cubicBezTo>
                  <a:pt x="4895766" y="4954944"/>
                  <a:pt x="4900803" y="4949262"/>
                  <a:pt x="4900803" y="4949262"/>
                </a:cubicBezTo>
                <a:cubicBezTo>
                  <a:pt x="4904963" y="4946860"/>
                  <a:pt x="4904963" y="4946860"/>
                  <a:pt x="4904963" y="4946860"/>
                </a:cubicBezTo>
                <a:cubicBezTo>
                  <a:pt x="4909122" y="4944459"/>
                  <a:pt x="4909122" y="4944459"/>
                  <a:pt x="4909122" y="4944459"/>
                </a:cubicBezTo>
                <a:cubicBezTo>
                  <a:pt x="4912403" y="4945337"/>
                  <a:pt x="4916563" y="4942936"/>
                  <a:pt x="4917441" y="4939655"/>
                </a:cubicBezTo>
                <a:cubicBezTo>
                  <a:pt x="4918319" y="4936376"/>
                  <a:pt x="4915039" y="4935497"/>
                  <a:pt x="4910881" y="4937898"/>
                </a:cubicBezTo>
                <a:cubicBezTo>
                  <a:pt x="4910881" y="4937898"/>
                  <a:pt x="4910881" y="4937898"/>
                  <a:pt x="4907601" y="4937018"/>
                </a:cubicBezTo>
                <a:cubicBezTo>
                  <a:pt x="4920077" y="4929815"/>
                  <a:pt x="4917441" y="4939655"/>
                  <a:pt x="4927516" y="4928292"/>
                </a:cubicBezTo>
                <a:cubicBezTo>
                  <a:pt x="4926638" y="4931573"/>
                  <a:pt x="4926638" y="4931573"/>
                  <a:pt x="4926638" y="4931573"/>
                </a:cubicBezTo>
                <a:cubicBezTo>
                  <a:pt x="4926638" y="4931573"/>
                  <a:pt x="4926638" y="4931573"/>
                  <a:pt x="4929919" y="4932452"/>
                </a:cubicBezTo>
                <a:cubicBezTo>
                  <a:pt x="4930798" y="4929172"/>
                  <a:pt x="4930798" y="4929172"/>
                  <a:pt x="4930798" y="4929172"/>
                </a:cubicBezTo>
                <a:cubicBezTo>
                  <a:pt x="4930798" y="4929172"/>
                  <a:pt x="4931676" y="4925891"/>
                  <a:pt x="4931676" y="4925891"/>
                </a:cubicBezTo>
                <a:cubicBezTo>
                  <a:pt x="4935835" y="4923490"/>
                  <a:pt x="4935835" y="4923490"/>
                  <a:pt x="4935835" y="4923490"/>
                </a:cubicBezTo>
                <a:cubicBezTo>
                  <a:pt x="4939994" y="4921088"/>
                  <a:pt x="4939994" y="4921088"/>
                  <a:pt x="4948314" y="4916286"/>
                </a:cubicBezTo>
                <a:cubicBezTo>
                  <a:pt x="4943511" y="4907968"/>
                  <a:pt x="4963429" y="4899242"/>
                  <a:pt x="4953587" y="4896605"/>
                </a:cubicBezTo>
                <a:cubicBezTo>
                  <a:pt x="4951829" y="4903166"/>
                  <a:pt x="4944389" y="4904687"/>
                  <a:pt x="4939352" y="4910369"/>
                </a:cubicBezTo>
                <a:cubicBezTo>
                  <a:pt x="4944389" y="4904687"/>
                  <a:pt x="4944389" y="4904687"/>
                  <a:pt x="4941109" y="4903808"/>
                </a:cubicBezTo>
                <a:cubicBezTo>
                  <a:pt x="4941109" y="4903808"/>
                  <a:pt x="4941109" y="4903808"/>
                  <a:pt x="4937829" y="4902930"/>
                </a:cubicBezTo>
                <a:cubicBezTo>
                  <a:pt x="4949427" y="4899006"/>
                  <a:pt x="4961905" y="4891801"/>
                  <a:pt x="4971103" y="4883717"/>
                </a:cubicBezTo>
                <a:close/>
                <a:moveTo>
                  <a:pt x="6068122" y="4864900"/>
                </a:moveTo>
                <a:lnTo>
                  <a:pt x="6068152" y="4865039"/>
                </a:lnTo>
                <a:cubicBezTo>
                  <a:pt x="6068152" y="4865039"/>
                  <a:pt x="6068152" y="4865039"/>
                  <a:pt x="6064479" y="4870708"/>
                </a:cubicBezTo>
                <a:close/>
                <a:moveTo>
                  <a:pt x="2849427" y="4863682"/>
                </a:moveTo>
                <a:cubicBezTo>
                  <a:pt x="2849427" y="4863682"/>
                  <a:pt x="2849427" y="4863682"/>
                  <a:pt x="2852706" y="4864560"/>
                </a:cubicBezTo>
                <a:cubicBezTo>
                  <a:pt x="2855987" y="4865440"/>
                  <a:pt x="2855987" y="4865440"/>
                  <a:pt x="2855987" y="4865440"/>
                </a:cubicBezTo>
                <a:lnTo>
                  <a:pt x="2856769" y="4866135"/>
                </a:lnTo>
                <a:close/>
                <a:moveTo>
                  <a:pt x="5007247" y="4862211"/>
                </a:moveTo>
                <a:lnTo>
                  <a:pt x="4996249" y="4868580"/>
                </a:lnTo>
                <a:lnTo>
                  <a:pt x="4999337" y="4870189"/>
                </a:lnTo>
                <a:close/>
                <a:moveTo>
                  <a:pt x="6130068" y="4856695"/>
                </a:moveTo>
                <a:lnTo>
                  <a:pt x="6126199" y="4862407"/>
                </a:lnTo>
                <a:cubicBezTo>
                  <a:pt x="6130871" y="4861409"/>
                  <a:pt x="6129873" y="4856736"/>
                  <a:pt x="6129873" y="4856736"/>
                </a:cubicBezTo>
                <a:close/>
                <a:moveTo>
                  <a:pt x="5030417" y="4849127"/>
                </a:moveTo>
                <a:lnTo>
                  <a:pt x="5029817" y="4849140"/>
                </a:lnTo>
                <a:lnTo>
                  <a:pt x="5010221" y="4860487"/>
                </a:lnTo>
                <a:lnTo>
                  <a:pt x="5015974" y="4860584"/>
                </a:lnTo>
                <a:cubicBezTo>
                  <a:pt x="5023533" y="4852061"/>
                  <a:pt x="5031451" y="4849569"/>
                  <a:pt x="5030417" y="4849127"/>
                </a:cubicBezTo>
                <a:close/>
                <a:moveTo>
                  <a:pt x="5071263" y="4820079"/>
                </a:moveTo>
                <a:lnTo>
                  <a:pt x="5059909" y="4829301"/>
                </a:lnTo>
                <a:lnTo>
                  <a:pt x="5059325" y="4830010"/>
                </a:lnTo>
                <a:lnTo>
                  <a:pt x="5057793" y="4831019"/>
                </a:lnTo>
                <a:lnTo>
                  <a:pt x="5055235" y="4833097"/>
                </a:lnTo>
                <a:lnTo>
                  <a:pt x="5055445" y="4833420"/>
                </a:lnTo>
                <a:cubicBezTo>
                  <a:pt x="5056491" y="4833207"/>
                  <a:pt x="5058665" y="4832469"/>
                  <a:pt x="5062605" y="4830888"/>
                </a:cubicBezTo>
                <a:cubicBezTo>
                  <a:pt x="5060527" y="4832090"/>
                  <a:pt x="5058227" y="4834110"/>
                  <a:pt x="5057377" y="4835640"/>
                </a:cubicBezTo>
                <a:lnTo>
                  <a:pt x="5060755" y="4837402"/>
                </a:lnTo>
                <a:lnTo>
                  <a:pt x="5060961" y="4837260"/>
                </a:lnTo>
                <a:close/>
                <a:moveTo>
                  <a:pt x="5108837" y="4789562"/>
                </a:moveTo>
                <a:lnTo>
                  <a:pt x="5093745" y="4801819"/>
                </a:lnTo>
                <a:lnTo>
                  <a:pt x="5095236" y="4800959"/>
                </a:lnTo>
                <a:cubicBezTo>
                  <a:pt x="5098515" y="4801837"/>
                  <a:pt x="5103555" y="4796156"/>
                  <a:pt x="5108593" y="4790474"/>
                </a:cubicBezTo>
                <a:close/>
                <a:moveTo>
                  <a:pt x="5127188" y="4774656"/>
                </a:moveTo>
                <a:lnTo>
                  <a:pt x="5117361" y="4782639"/>
                </a:lnTo>
                <a:lnTo>
                  <a:pt x="5121949" y="4779991"/>
                </a:lnTo>
                <a:cubicBezTo>
                  <a:pt x="5121949" y="4779991"/>
                  <a:pt x="5125229" y="4780869"/>
                  <a:pt x="5125229" y="4780869"/>
                </a:cubicBezTo>
                <a:cubicBezTo>
                  <a:pt x="5129389" y="4778468"/>
                  <a:pt x="5129389" y="4778468"/>
                  <a:pt x="5129389" y="4778468"/>
                </a:cubicBezTo>
                <a:close/>
                <a:moveTo>
                  <a:pt x="2748506" y="4741714"/>
                </a:moveTo>
                <a:lnTo>
                  <a:pt x="2753001" y="4745754"/>
                </a:lnTo>
                <a:lnTo>
                  <a:pt x="2748356" y="4742283"/>
                </a:lnTo>
                <a:close/>
                <a:moveTo>
                  <a:pt x="2738573" y="4734114"/>
                </a:moveTo>
                <a:lnTo>
                  <a:pt x="2742497" y="4737906"/>
                </a:lnTo>
                <a:lnTo>
                  <a:pt x="2748356" y="4742283"/>
                </a:lnTo>
                <a:lnTo>
                  <a:pt x="2747627" y="4744994"/>
                </a:lnTo>
                <a:cubicBezTo>
                  <a:pt x="2745226" y="4740836"/>
                  <a:pt x="2742826" y="4736676"/>
                  <a:pt x="2739545" y="4735796"/>
                </a:cubicBezTo>
                <a:close/>
                <a:moveTo>
                  <a:pt x="2733528" y="4728433"/>
                </a:moveTo>
                <a:lnTo>
                  <a:pt x="2737143" y="4731638"/>
                </a:lnTo>
                <a:lnTo>
                  <a:pt x="2738573" y="4734114"/>
                </a:lnTo>
                <a:lnTo>
                  <a:pt x="2733769" y="4729470"/>
                </a:lnTo>
                <a:close/>
                <a:moveTo>
                  <a:pt x="2725781" y="4721561"/>
                </a:moveTo>
                <a:cubicBezTo>
                  <a:pt x="2729061" y="4722440"/>
                  <a:pt x="2731462" y="4726600"/>
                  <a:pt x="2732341" y="4723320"/>
                </a:cubicBezTo>
                <a:lnTo>
                  <a:pt x="2733528" y="4728433"/>
                </a:lnTo>
                <a:lnTo>
                  <a:pt x="2731462" y="4726600"/>
                </a:lnTo>
                <a:cubicBezTo>
                  <a:pt x="2728183" y="4725721"/>
                  <a:pt x="2728183" y="4725721"/>
                  <a:pt x="2728183" y="4725721"/>
                </a:cubicBezTo>
                <a:cubicBezTo>
                  <a:pt x="2728183" y="4725721"/>
                  <a:pt x="2728183" y="4725721"/>
                  <a:pt x="2725781" y="4721561"/>
                </a:cubicBezTo>
                <a:close/>
                <a:moveTo>
                  <a:pt x="3028405" y="4669808"/>
                </a:moveTo>
                <a:lnTo>
                  <a:pt x="3030752" y="4673522"/>
                </a:lnTo>
                <a:cubicBezTo>
                  <a:pt x="3036699" y="4679422"/>
                  <a:pt x="3044989" y="4685949"/>
                  <a:pt x="3054617" y="4692835"/>
                </a:cubicBezTo>
                <a:cubicBezTo>
                  <a:pt x="3073871" y="4706605"/>
                  <a:pt x="3094562" y="4715020"/>
                  <a:pt x="3107225" y="4721282"/>
                </a:cubicBezTo>
                <a:lnTo>
                  <a:pt x="3105246" y="4719661"/>
                </a:lnTo>
                <a:lnTo>
                  <a:pt x="3057715" y="4691376"/>
                </a:lnTo>
                <a:close/>
                <a:moveTo>
                  <a:pt x="6304463" y="4668027"/>
                </a:moveTo>
                <a:lnTo>
                  <a:pt x="6302855" y="4672815"/>
                </a:lnTo>
                <a:lnTo>
                  <a:pt x="6301832" y="4672862"/>
                </a:lnTo>
                <a:cubicBezTo>
                  <a:pt x="6301708" y="4672278"/>
                  <a:pt x="6302626" y="4670861"/>
                  <a:pt x="6304463" y="4668027"/>
                </a:cubicBezTo>
                <a:close/>
                <a:moveTo>
                  <a:pt x="2673360" y="4654778"/>
                </a:moveTo>
                <a:lnTo>
                  <a:pt x="2678648" y="4660537"/>
                </a:lnTo>
                <a:lnTo>
                  <a:pt x="2678411" y="4660527"/>
                </a:lnTo>
                <a:cubicBezTo>
                  <a:pt x="2676581" y="4659157"/>
                  <a:pt x="2674561" y="4656858"/>
                  <a:pt x="2673360" y="4654778"/>
                </a:cubicBezTo>
                <a:close/>
                <a:moveTo>
                  <a:pt x="2988071" y="4640127"/>
                </a:moveTo>
                <a:lnTo>
                  <a:pt x="2993758" y="4645670"/>
                </a:lnTo>
                <a:cubicBezTo>
                  <a:pt x="2996821" y="4648286"/>
                  <a:pt x="2999603" y="4650286"/>
                  <a:pt x="3002041" y="4651387"/>
                </a:cubicBezTo>
                <a:lnTo>
                  <a:pt x="3003476" y="4651462"/>
                </a:lnTo>
                <a:close/>
                <a:moveTo>
                  <a:pt x="2964415" y="4622718"/>
                </a:moveTo>
                <a:lnTo>
                  <a:pt x="2964410" y="4622737"/>
                </a:lnTo>
                <a:lnTo>
                  <a:pt x="2964457" y="4622750"/>
                </a:lnTo>
                <a:close/>
                <a:moveTo>
                  <a:pt x="2936215" y="4620923"/>
                </a:moveTo>
                <a:cubicBezTo>
                  <a:pt x="2936215" y="4620923"/>
                  <a:pt x="2936215" y="4620923"/>
                  <a:pt x="2938890" y="4621639"/>
                </a:cubicBezTo>
                <a:lnTo>
                  <a:pt x="2938711" y="4622308"/>
                </a:lnTo>
                <a:close/>
                <a:moveTo>
                  <a:pt x="2922025" y="4586750"/>
                </a:moveTo>
                <a:lnTo>
                  <a:pt x="2919078" y="4591214"/>
                </a:lnTo>
                <a:cubicBezTo>
                  <a:pt x="2916891" y="4591346"/>
                  <a:pt x="2914215" y="4590629"/>
                  <a:pt x="2912519" y="4591609"/>
                </a:cubicBezTo>
                <a:cubicBezTo>
                  <a:pt x="2913760" y="4597683"/>
                  <a:pt x="2918395" y="4601796"/>
                  <a:pt x="2922311" y="4608585"/>
                </a:cubicBezTo>
                <a:cubicBezTo>
                  <a:pt x="2920354" y="4605190"/>
                  <a:pt x="2917677" y="4604474"/>
                  <a:pt x="2917677" y="4604474"/>
                </a:cubicBezTo>
                <a:cubicBezTo>
                  <a:pt x="2915718" y="4601078"/>
                  <a:pt x="2915718" y="4601078"/>
                  <a:pt x="2913043" y="4600361"/>
                </a:cubicBezTo>
                <a:cubicBezTo>
                  <a:pt x="2912325" y="4603039"/>
                  <a:pt x="2915001" y="4603756"/>
                  <a:pt x="2915001" y="4603756"/>
                </a:cubicBezTo>
                <a:cubicBezTo>
                  <a:pt x="2916959" y="4607152"/>
                  <a:pt x="2919635" y="4607868"/>
                  <a:pt x="2919635" y="4607868"/>
                </a:cubicBezTo>
                <a:cubicBezTo>
                  <a:pt x="2919635" y="4607868"/>
                  <a:pt x="2921593" y="4611263"/>
                  <a:pt x="2921593" y="4611263"/>
                </a:cubicBezTo>
                <a:cubicBezTo>
                  <a:pt x="2926229" y="4615376"/>
                  <a:pt x="2930863" y="4619488"/>
                  <a:pt x="2932821" y="4622883"/>
                </a:cubicBezTo>
                <a:cubicBezTo>
                  <a:pt x="2932821" y="4622883"/>
                  <a:pt x="2932821" y="4622883"/>
                  <a:pt x="2935497" y="4623599"/>
                </a:cubicBezTo>
                <a:cubicBezTo>
                  <a:pt x="2935497" y="4623599"/>
                  <a:pt x="2938172" y="4624317"/>
                  <a:pt x="2938172" y="4624317"/>
                </a:cubicBezTo>
                <a:lnTo>
                  <a:pt x="2938711" y="4622308"/>
                </a:lnTo>
                <a:lnTo>
                  <a:pt x="2941207" y="4623695"/>
                </a:lnTo>
                <a:cubicBezTo>
                  <a:pt x="2942545" y="4624054"/>
                  <a:pt x="2943884" y="4624412"/>
                  <a:pt x="2946201" y="4626469"/>
                </a:cubicBezTo>
                <a:cubicBezTo>
                  <a:pt x="2954947" y="4625941"/>
                  <a:pt x="2940326" y="4616283"/>
                  <a:pt x="2941761" y="4610927"/>
                </a:cubicBezTo>
                <a:cubicBezTo>
                  <a:pt x="2953705" y="4619869"/>
                  <a:pt x="2957099" y="4617907"/>
                  <a:pt x="2961733" y="4622018"/>
                </a:cubicBezTo>
                <a:lnTo>
                  <a:pt x="2962703" y="4621458"/>
                </a:lnTo>
                <a:lnTo>
                  <a:pt x="2948426" y="4610952"/>
                </a:lnTo>
                <a:close/>
                <a:moveTo>
                  <a:pt x="2860394" y="4530255"/>
                </a:moveTo>
                <a:lnTo>
                  <a:pt x="2873925" y="4544310"/>
                </a:lnTo>
                <a:lnTo>
                  <a:pt x="2898368" y="4565066"/>
                </a:lnTo>
                <a:close/>
                <a:moveTo>
                  <a:pt x="2850179" y="4503144"/>
                </a:moveTo>
                <a:lnTo>
                  <a:pt x="2849725" y="4504837"/>
                </a:lnTo>
                <a:lnTo>
                  <a:pt x="2856363" y="4508236"/>
                </a:lnTo>
                <a:lnTo>
                  <a:pt x="2855786" y="4507515"/>
                </a:lnTo>
                <a:lnTo>
                  <a:pt x="2857490" y="4507973"/>
                </a:lnTo>
                <a:lnTo>
                  <a:pt x="2858176" y="4509163"/>
                </a:lnTo>
                <a:lnTo>
                  <a:pt x="2862899" y="4511580"/>
                </a:lnTo>
                <a:lnTo>
                  <a:pt x="2852855" y="4503860"/>
                </a:lnTo>
                <a:lnTo>
                  <a:pt x="2855786" y="4507515"/>
                </a:lnTo>
                <a:lnTo>
                  <a:pt x="2854813" y="4507255"/>
                </a:lnTo>
                <a:cubicBezTo>
                  <a:pt x="2852855" y="4503860"/>
                  <a:pt x="2852855" y="4503860"/>
                  <a:pt x="2850179" y="4503144"/>
                </a:cubicBezTo>
                <a:close/>
                <a:moveTo>
                  <a:pt x="5450741" y="4439964"/>
                </a:moveTo>
                <a:lnTo>
                  <a:pt x="5377825" y="4530592"/>
                </a:lnTo>
                <a:cubicBezTo>
                  <a:pt x="5359841" y="4551255"/>
                  <a:pt x="5341650" y="4570690"/>
                  <a:pt x="5323869" y="4592582"/>
                </a:cubicBezTo>
                <a:cubicBezTo>
                  <a:pt x="5319577" y="4597083"/>
                  <a:pt x="5312626" y="4600767"/>
                  <a:pt x="5314677" y="4613036"/>
                </a:cubicBezTo>
                <a:cubicBezTo>
                  <a:pt x="5333076" y="4598610"/>
                  <a:pt x="5347637" y="4580097"/>
                  <a:pt x="5364167" y="4564878"/>
                </a:cubicBezTo>
                <a:lnTo>
                  <a:pt x="5370795" y="4560109"/>
                </a:lnTo>
                <a:lnTo>
                  <a:pt x="5397869" y="4523430"/>
                </a:lnTo>
                <a:close/>
                <a:moveTo>
                  <a:pt x="1643525" y="4432993"/>
                </a:moveTo>
                <a:cubicBezTo>
                  <a:pt x="1643525" y="4432993"/>
                  <a:pt x="1643525" y="4432993"/>
                  <a:pt x="1644522" y="4437664"/>
                </a:cubicBezTo>
                <a:lnTo>
                  <a:pt x="1643326" y="4435630"/>
                </a:lnTo>
                <a:close/>
                <a:moveTo>
                  <a:pt x="2776939" y="4423240"/>
                </a:moveTo>
                <a:lnTo>
                  <a:pt x="2779311" y="4426396"/>
                </a:lnTo>
                <a:lnTo>
                  <a:pt x="2778899" y="4426634"/>
                </a:lnTo>
                <a:cubicBezTo>
                  <a:pt x="2778899" y="4426634"/>
                  <a:pt x="2776223" y="4425916"/>
                  <a:pt x="2776939" y="4423240"/>
                </a:cubicBezTo>
                <a:close/>
                <a:moveTo>
                  <a:pt x="2676789" y="4299837"/>
                </a:moveTo>
                <a:lnTo>
                  <a:pt x="2665036" y="4302598"/>
                </a:lnTo>
                <a:lnTo>
                  <a:pt x="2701549" y="4351370"/>
                </a:lnTo>
                <a:cubicBezTo>
                  <a:pt x="2709383" y="4364950"/>
                  <a:pt x="2723809" y="4386038"/>
                  <a:pt x="2741629" y="4405167"/>
                </a:cubicBezTo>
                <a:cubicBezTo>
                  <a:pt x="2756055" y="4426254"/>
                  <a:pt x="2774593" y="4442703"/>
                  <a:pt x="2786537" y="4451645"/>
                </a:cubicBezTo>
                <a:cubicBezTo>
                  <a:pt x="2797048" y="4465942"/>
                  <a:pt x="2810232" y="4480958"/>
                  <a:pt x="2822178" y="4489900"/>
                </a:cubicBezTo>
                <a:cubicBezTo>
                  <a:pt x="2822178" y="4489900"/>
                  <a:pt x="2821462" y="4492576"/>
                  <a:pt x="2824137" y="4493294"/>
                </a:cubicBezTo>
                <a:cubicBezTo>
                  <a:pt x="2826095" y="4496689"/>
                  <a:pt x="2826095" y="4496689"/>
                  <a:pt x="2828771" y="4497407"/>
                </a:cubicBezTo>
                <a:lnTo>
                  <a:pt x="2839192" y="4508233"/>
                </a:lnTo>
                <a:lnTo>
                  <a:pt x="2837891" y="4500449"/>
                </a:lnTo>
                <a:lnTo>
                  <a:pt x="2829489" y="4494729"/>
                </a:lnTo>
                <a:cubicBezTo>
                  <a:pt x="2832164" y="4495445"/>
                  <a:pt x="2832164" y="4495445"/>
                  <a:pt x="2832164" y="4495445"/>
                </a:cubicBezTo>
                <a:cubicBezTo>
                  <a:pt x="2832164" y="4495445"/>
                  <a:pt x="2830206" y="4492051"/>
                  <a:pt x="2827529" y="4491333"/>
                </a:cubicBezTo>
                <a:cubicBezTo>
                  <a:pt x="2828249" y="4488655"/>
                  <a:pt x="2825572" y="4487938"/>
                  <a:pt x="2825572" y="4487938"/>
                </a:cubicBezTo>
                <a:lnTo>
                  <a:pt x="2779311" y="4426396"/>
                </a:lnTo>
                <a:lnTo>
                  <a:pt x="2782293" y="4424673"/>
                </a:lnTo>
                <a:cubicBezTo>
                  <a:pt x="2782293" y="4424673"/>
                  <a:pt x="2779616" y="4423956"/>
                  <a:pt x="2779616" y="4423956"/>
                </a:cubicBezTo>
                <a:cubicBezTo>
                  <a:pt x="2779616" y="4423956"/>
                  <a:pt x="2779616" y="4423956"/>
                  <a:pt x="2776939" y="4423240"/>
                </a:cubicBezTo>
                <a:cubicBezTo>
                  <a:pt x="2777658" y="4420560"/>
                  <a:pt x="2774981" y="4419843"/>
                  <a:pt x="2774981" y="4419843"/>
                </a:cubicBezTo>
                <a:cubicBezTo>
                  <a:pt x="2778375" y="4417882"/>
                  <a:pt x="2771783" y="4410375"/>
                  <a:pt x="2765190" y="4402868"/>
                </a:cubicBezTo>
                <a:cubicBezTo>
                  <a:pt x="2761796" y="4404828"/>
                  <a:pt x="2766430" y="4408940"/>
                  <a:pt x="2766430" y="4408940"/>
                </a:cubicBezTo>
                <a:cubicBezTo>
                  <a:pt x="2763755" y="4408224"/>
                  <a:pt x="2763755" y="4408224"/>
                  <a:pt x="2763755" y="4408224"/>
                </a:cubicBezTo>
                <a:cubicBezTo>
                  <a:pt x="2761078" y="4407507"/>
                  <a:pt x="2761078" y="4407507"/>
                  <a:pt x="2761078" y="4407507"/>
                </a:cubicBezTo>
                <a:cubicBezTo>
                  <a:pt x="2761078" y="4407507"/>
                  <a:pt x="2763037" y="4410902"/>
                  <a:pt x="2763037" y="4410902"/>
                </a:cubicBezTo>
                <a:cubicBezTo>
                  <a:pt x="2756444" y="4403395"/>
                  <a:pt x="2755728" y="4406073"/>
                  <a:pt x="2747175" y="4395170"/>
                </a:cubicBezTo>
                <a:cubicBezTo>
                  <a:pt x="2749852" y="4395886"/>
                  <a:pt x="2749852" y="4395886"/>
                  <a:pt x="2749852" y="4395886"/>
                </a:cubicBezTo>
                <a:cubicBezTo>
                  <a:pt x="2749852" y="4395886"/>
                  <a:pt x="2749852" y="4395886"/>
                  <a:pt x="2751809" y="4399282"/>
                </a:cubicBezTo>
                <a:cubicBezTo>
                  <a:pt x="2754485" y="4399999"/>
                  <a:pt x="2754485" y="4399999"/>
                  <a:pt x="2754485" y="4399999"/>
                </a:cubicBezTo>
                <a:cubicBezTo>
                  <a:pt x="2755204" y="4397321"/>
                  <a:pt x="2753245" y="4393926"/>
                  <a:pt x="2750569" y="4393208"/>
                </a:cubicBezTo>
                <a:cubicBezTo>
                  <a:pt x="2750569" y="4393208"/>
                  <a:pt x="2751287" y="4390530"/>
                  <a:pt x="2748611" y="4389814"/>
                </a:cubicBezTo>
                <a:cubicBezTo>
                  <a:pt x="2750047" y="4384457"/>
                  <a:pt x="2744172" y="4374272"/>
                  <a:pt x="2736338" y="4360691"/>
                </a:cubicBezTo>
                <a:cubicBezTo>
                  <a:pt x="2732061" y="4355240"/>
                  <a:pt x="2727118" y="4349609"/>
                  <a:pt x="2722327" y="4344738"/>
                </a:cubicBezTo>
                <a:lnTo>
                  <a:pt x="2716857" y="4339970"/>
                </a:lnTo>
                <a:lnTo>
                  <a:pt x="2703428" y="4336022"/>
                </a:lnTo>
                <a:cubicBezTo>
                  <a:pt x="2696735" y="4331964"/>
                  <a:pt x="2691607" y="4326386"/>
                  <a:pt x="2688247" y="4319673"/>
                </a:cubicBezTo>
                <a:lnTo>
                  <a:pt x="2677451" y="4300826"/>
                </a:lnTo>
                <a:close/>
                <a:moveTo>
                  <a:pt x="2337159" y="4269366"/>
                </a:moveTo>
                <a:cubicBezTo>
                  <a:pt x="2336279" y="4272646"/>
                  <a:pt x="2339560" y="4273526"/>
                  <a:pt x="2339560" y="4273526"/>
                </a:cubicBezTo>
                <a:lnTo>
                  <a:pt x="2339523" y="4273662"/>
                </a:lnTo>
                <a:close/>
                <a:moveTo>
                  <a:pt x="1526874" y="4252779"/>
                </a:moveTo>
                <a:cubicBezTo>
                  <a:pt x="1531545" y="4251780"/>
                  <a:pt x="1533542" y="4261121"/>
                  <a:pt x="1534539" y="4265793"/>
                </a:cubicBezTo>
                <a:cubicBezTo>
                  <a:pt x="1529869" y="4266791"/>
                  <a:pt x="1529869" y="4266791"/>
                  <a:pt x="1529869" y="4266791"/>
                </a:cubicBezTo>
                <a:close/>
                <a:moveTo>
                  <a:pt x="2351864" y="4227601"/>
                </a:moveTo>
                <a:lnTo>
                  <a:pt x="2354365" y="4231786"/>
                </a:lnTo>
                <a:lnTo>
                  <a:pt x="2354267" y="4231761"/>
                </a:lnTo>
                <a:cubicBezTo>
                  <a:pt x="2354267" y="4231761"/>
                  <a:pt x="2354267" y="4231761"/>
                  <a:pt x="2351864" y="4227601"/>
                </a:cubicBezTo>
                <a:close/>
                <a:moveTo>
                  <a:pt x="6397652" y="4184394"/>
                </a:moveTo>
                <a:lnTo>
                  <a:pt x="6397793" y="4184698"/>
                </a:lnTo>
                <a:cubicBezTo>
                  <a:pt x="6397247" y="4187866"/>
                  <a:pt x="6395661" y="4191868"/>
                  <a:pt x="6393825" y="4194703"/>
                </a:cubicBezTo>
                <a:close/>
                <a:moveTo>
                  <a:pt x="6495950" y="4124042"/>
                </a:moveTo>
                <a:cubicBezTo>
                  <a:pt x="6501619" y="4127714"/>
                  <a:pt x="6497945" y="4133384"/>
                  <a:pt x="6492277" y="4129712"/>
                </a:cubicBezTo>
                <a:cubicBezTo>
                  <a:pt x="6496947" y="4128713"/>
                  <a:pt x="6496947" y="4128713"/>
                  <a:pt x="6495950" y="4124042"/>
                </a:cubicBezTo>
                <a:close/>
                <a:moveTo>
                  <a:pt x="6447581" y="4072213"/>
                </a:moveTo>
                <a:lnTo>
                  <a:pt x="6446607" y="4075973"/>
                </a:lnTo>
                <a:cubicBezTo>
                  <a:pt x="6447605" y="4080645"/>
                  <a:pt x="6447605" y="4080645"/>
                  <a:pt x="6447605" y="4080645"/>
                </a:cubicBezTo>
                <a:cubicBezTo>
                  <a:pt x="6447605" y="4080645"/>
                  <a:pt x="6447605" y="4080645"/>
                  <a:pt x="6443932" y="4086313"/>
                </a:cubicBezTo>
                <a:cubicBezTo>
                  <a:pt x="6442933" y="4081643"/>
                  <a:pt x="6446607" y="4075973"/>
                  <a:pt x="6441935" y="4076971"/>
                </a:cubicBezTo>
                <a:close/>
                <a:moveTo>
                  <a:pt x="6451467" y="4062259"/>
                </a:moveTo>
                <a:lnTo>
                  <a:pt x="6448725" y="4071248"/>
                </a:lnTo>
                <a:lnTo>
                  <a:pt x="6447581" y="4072213"/>
                </a:lnTo>
                <a:lnTo>
                  <a:pt x="6449283" y="4065635"/>
                </a:lnTo>
                <a:close/>
                <a:moveTo>
                  <a:pt x="6095133" y="4053382"/>
                </a:moveTo>
                <a:cubicBezTo>
                  <a:pt x="6095539" y="4055288"/>
                  <a:pt x="6094789" y="4056444"/>
                  <a:pt x="6093665" y="4058179"/>
                </a:cubicBezTo>
                <a:lnTo>
                  <a:pt x="6092651" y="4060432"/>
                </a:lnTo>
                <a:lnTo>
                  <a:pt x="6092133" y="4058007"/>
                </a:lnTo>
                <a:cubicBezTo>
                  <a:pt x="6092133" y="4058007"/>
                  <a:pt x="6095947" y="4057193"/>
                  <a:pt x="6095133" y="4053382"/>
                </a:cubicBezTo>
                <a:close/>
                <a:moveTo>
                  <a:pt x="1243863" y="4048308"/>
                </a:moveTo>
                <a:lnTo>
                  <a:pt x="1243853" y="4048690"/>
                </a:lnTo>
                <a:lnTo>
                  <a:pt x="1244017" y="4049024"/>
                </a:lnTo>
                <a:close/>
                <a:moveTo>
                  <a:pt x="6459303" y="4043956"/>
                </a:moveTo>
                <a:cubicBezTo>
                  <a:pt x="6455630" y="4049626"/>
                  <a:pt x="6451956" y="4055293"/>
                  <a:pt x="6452955" y="4059966"/>
                </a:cubicBezTo>
                <a:lnTo>
                  <a:pt x="6451467" y="4062259"/>
                </a:lnTo>
                <a:lnTo>
                  <a:pt x="6453708" y="4054920"/>
                </a:lnTo>
                <a:lnTo>
                  <a:pt x="6455441" y="4044781"/>
                </a:lnTo>
                <a:close/>
                <a:moveTo>
                  <a:pt x="6456817" y="4036740"/>
                </a:moveTo>
                <a:lnTo>
                  <a:pt x="6455441" y="4044781"/>
                </a:lnTo>
                <a:lnTo>
                  <a:pt x="6454631" y="4044953"/>
                </a:lnTo>
                <a:close/>
                <a:moveTo>
                  <a:pt x="1431945" y="4014196"/>
                </a:moveTo>
                <a:lnTo>
                  <a:pt x="1434938" y="4028209"/>
                </a:lnTo>
                <a:cubicBezTo>
                  <a:pt x="1434938" y="4028209"/>
                  <a:pt x="1429269" y="4024536"/>
                  <a:pt x="1428273" y="4019865"/>
                </a:cubicBezTo>
                <a:cubicBezTo>
                  <a:pt x="1432942" y="4018867"/>
                  <a:pt x="1431945" y="4014196"/>
                  <a:pt x="1431945" y="4014196"/>
                </a:cubicBezTo>
                <a:close/>
                <a:moveTo>
                  <a:pt x="1496703" y="3951518"/>
                </a:moveTo>
                <a:cubicBezTo>
                  <a:pt x="1496703" y="3951518"/>
                  <a:pt x="1497700" y="3956190"/>
                  <a:pt x="1502371" y="3955191"/>
                </a:cubicBezTo>
                <a:cubicBezTo>
                  <a:pt x="1497700" y="3956190"/>
                  <a:pt x="1502689" y="3979543"/>
                  <a:pt x="1498697" y="3960861"/>
                </a:cubicBezTo>
                <a:cubicBezTo>
                  <a:pt x="1497700" y="3956190"/>
                  <a:pt x="1497700" y="3956190"/>
                  <a:pt x="1496703" y="3951518"/>
                </a:cubicBezTo>
                <a:close/>
                <a:moveTo>
                  <a:pt x="2081274" y="3919538"/>
                </a:moveTo>
                <a:lnTo>
                  <a:pt x="2082728" y="3919927"/>
                </a:lnTo>
                <a:cubicBezTo>
                  <a:pt x="2082728" y="3919927"/>
                  <a:pt x="2082728" y="3919927"/>
                  <a:pt x="2081850" y="3923208"/>
                </a:cubicBezTo>
                <a:close/>
                <a:moveTo>
                  <a:pt x="6530564" y="3917715"/>
                </a:moveTo>
                <a:lnTo>
                  <a:pt x="6530564" y="3921552"/>
                </a:lnTo>
                <a:lnTo>
                  <a:pt x="6527556" y="3926194"/>
                </a:lnTo>
                <a:cubicBezTo>
                  <a:pt x="6527097" y="3926903"/>
                  <a:pt x="6527097" y="3926903"/>
                  <a:pt x="6527097" y="3926903"/>
                </a:cubicBezTo>
                <a:close/>
                <a:moveTo>
                  <a:pt x="6183373" y="3883119"/>
                </a:moveTo>
                <a:lnTo>
                  <a:pt x="6183235" y="3887133"/>
                </a:lnTo>
                <a:cubicBezTo>
                  <a:pt x="6183235" y="3887133"/>
                  <a:pt x="6183235" y="3887133"/>
                  <a:pt x="6182420" y="3883322"/>
                </a:cubicBezTo>
                <a:close/>
                <a:moveTo>
                  <a:pt x="6530394" y="3785167"/>
                </a:moveTo>
                <a:lnTo>
                  <a:pt x="6530564" y="3785630"/>
                </a:lnTo>
                <a:lnTo>
                  <a:pt x="6530564" y="3792682"/>
                </a:lnTo>
                <a:lnTo>
                  <a:pt x="6526181" y="3785456"/>
                </a:lnTo>
                <a:cubicBezTo>
                  <a:pt x="6528018" y="3782622"/>
                  <a:pt x="6529436" y="3783540"/>
                  <a:pt x="6530394" y="3785167"/>
                </a:cubicBezTo>
                <a:close/>
                <a:moveTo>
                  <a:pt x="2531063" y="3675825"/>
                </a:moveTo>
                <a:cubicBezTo>
                  <a:pt x="2544376" y="3721527"/>
                  <a:pt x="2557984" y="3767100"/>
                  <a:pt x="2572765" y="3812143"/>
                </a:cubicBezTo>
                <a:lnTo>
                  <a:pt x="2619585" y="3940039"/>
                </a:lnTo>
                <a:lnTo>
                  <a:pt x="2689216" y="4071055"/>
                </a:lnTo>
                <a:cubicBezTo>
                  <a:pt x="2704468" y="4095365"/>
                  <a:pt x="2717728" y="4121128"/>
                  <a:pt x="2731894" y="4145620"/>
                </a:cubicBezTo>
                <a:cubicBezTo>
                  <a:pt x="2733347" y="4147616"/>
                  <a:pt x="2735616" y="4149474"/>
                  <a:pt x="2736797" y="4151516"/>
                </a:cubicBezTo>
                <a:lnTo>
                  <a:pt x="2736150" y="4154286"/>
                </a:lnTo>
                <a:lnTo>
                  <a:pt x="2761162" y="4192307"/>
                </a:lnTo>
                <a:lnTo>
                  <a:pt x="2734027" y="4159027"/>
                </a:lnTo>
                <a:lnTo>
                  <a:pt x="2727501" y="4162023"/>
                </a:lnTo>
                <a:cubicBezTo>
                  <a:pt x="2724826" y="4161910"/>
                  <a:pt x="2722102" y="4160686"/>
                  <a:pt x="2719561" y="4158874"/>
                </a:cubicBezTo>
                <a:cubicBezTo>
                  <a:pt x="2708125" y="4150712"/>
                  <a:pt x="2699591" y="4139827"/>
                  <a:pt x="2694323" y="4128398"/>
                </a:cubicBezTo>
                <a:cubicBezTo>
                  <a:pt x="2676524" y="4095558"/>
                  <a:pt x="2656593" y="4063356"/>
                  <a:pt x="2638432" y="4030019"/>
                </a:cubicBezTo>
                <a:lnTo>
                  <a:pt x="2616715" y="3986397"/>
                </a:lnTo>
                <a:lnTo>
                  <a:pt x="2616051" y="3985283"/>
                </a:lnTo>
                <a:lnTo>
                  <a:pt x="2614788" y="3982527"/>
                </a:lnTo>
                <a:lnTo>
                  <a:pt x="2613003" y="3978941"/>
                </a:lnTo>
                <a:lnTo>
                  <a:pt x="2612430" y="3977382"/>
                </a:lnTo>
                <a:lnTo>
                  <a:pt x="2590101" y="3928646"/>
                </a:lnTo>
                <a:lnTo>
                  <a:pt x="2588278" y="3930926"/>
                </a:lnTo>
                <a:cubicBezTo>
                  <a:pt x="2587371" y="3933141"/>
                  <a:pt x="2587033" y="3935507"/>
                  <a:pt x="2586807" y="3937922"/>
                </a:cubicBezTo>
                <a:lnTo>
                  <a:pt x="2585985" y="3941174"/>
                </a:lnTo>
                <a:lnTo>
                  <a:pt x="2612386" y="4010360"/>
                </a:lnTo>
                <a:lnTo>
                  <a:pt x="2690871" y="4160213"/>
                </a:lnTo>
                <a:lnTo>
                  <a:pt x="2700625" y="4177201"/>
                </a:lnTo>
                <a:cubicBezTo>
                  <a:pt x="2703184" y="4181187"/>
                  <a:pt x="2706355" y="4185073"/>
                  <a:pt x="2708709" y="4189725"/>
                </a:cubicBezTo>
                <a:lnTo>
                  <a:pt x="2709242" y="4192597"/>
                </a:lnTo>
                <a:lnTo>
                  <a:pt x="2818914" y="4346218"/>
                </a:lnTo>
                <a:cubicBezTo>
                  <a:pt x="2861241" y="4397540"/>
                  <a:pt x="2907623" y="4446474"/>
                  <a:pt x="2958211" y="4492927"/>
                </a:cubicBezTo>
                <a:lnTo>
                  <a:pt x="3037117" y="4556144"/>
                </a:lnTo>
                <a:lnTo>
                  <a:pt x="3127435" y="4612403"/>
                </a:lnTo>
                <a:cubicBezTo>
                  <a:pt x="3160291" y="4631663"/>
                  <a:pt x="3193888" y="4649695"/>
                  <a:pt x="3228660" y="4665324"/>
                </a:cubicBezTo>
                <a:cubicBezTo>
                  <a:pt x="3246659" y="4674928"/>
                  <a:pt x="3261389" y="4687601"/>
                  <a:pt x="3284085" y="4680023"/>
                </a:cubicBezTo>
                <a:cubicBezTo>
                  <a:pt x="3297170" y="4675314"/>
                  <a:pt x="3311489" y="4685533"/>
                  <a:pt x="3324987" y="4690843"/>
                </a:cubicBezTo>
                <a:cubicBezTo>
                  <a:pt x="3394736" y="4723328"/>
                  <a:pt x="3467956" y="4746405"/>
                  <a:pt x="3540971" y="4768253"/>
                </a:cubicBezTo>
                <a:cubicBezTo>
                  <a:pt x="3546289" y="4769888"/>
                  <a:pt x="3550379" y="4771726"/>
                  <a:pt x="3555898" y="4767020"/>
                </a:cubicBezTo>
                <a:cubicBezTo>
                  <a:pt x="3556712" y="4756793"/>
                  <a:pt x="3546692" y="4757208"/>
                  <a:pt x="3541374" y="4755574"/>
                </a:cubicBezTo>
                <a:cubicBezTo>
                  <a:pt x="3427660" y="4724131"/>
                  <a:pt x="3321505" y="4677553"/>
                  <a:pt x="3218006" y="4624223"/>
                </a:cubicBezTo>
                <a:cubicBezTo>
                  <a:pt x="3213914" y="4622385"/>
                  <a:pt x="3209824" y="4620546"/>
                  <a:pt x="3205733" y="4618706"/>
                </a:cubicBezTo>
                <a:cubicBezTo>
                  <a:pt x="3200211" y="4615846"/>
                  <a:pt x="3196937" y="4611348"/>
                  <a:pt x="3202251" y="4605416"/>
                </a:cubicBezTo>
                <a:cubicBezTo>
                  <a:pt x="3205927" y="4597234"/>
                  <a:pt x="3210223" y="4600300"/>
                  <a:pt x="3215747" y="4603161"/>
                </a:cubicBezTo>
                <a:cubicBezTo>
                  <a:pt x="3235689" y="4614961"/>
                  <a:pt x="3256222" y="4625561"/>
                  <a:pt x="3277149" y="4635346"/>
                </a:cubicBezTo>
                <a:lnTo>
                  <a:pt x="3300817" y="4645474"/>
                </a:lnTo>
                <a:lnTo>
                  <a:pt x="3203581" y="4589043"/>
                </a:lnTo>
                <a:cubicBezTo>
                  <a:pt x="3051439" y="4487592"/>
                  <a:pt x="2921098" y="4359931"/>
                  <a:pt x="2817218" y="4214123"/>
                </a:cubicBezTo>
                <a:lnTo>
                  <a:pt x="2795524" y="4180373"/>
                </a:lnTo>
                <a:lnTo>
                  <a:pt x="2794029" y="4178497"/>
                </a:lnTo>
                <a:lnTo>
                  <a:pt x="2777085" y="4161569"/>
                </a:lnTo>
                <a:lnTo>
                  <a:pt x="2741001" y="4101332"/>
                </a:lnTo>
                <a:lnTo>
                  <a:pt x="2679864" y="4007725"/>
                </a:lnTo>
                <a:cubicBezTo>
                  <a:pt x="2618900" y="3903300"/>
                  <a:pt x="2568950" y="3793094"/>
                  <a:pt x="2531063" y="3675825"/>
                </a:cubicBezTo>
                <a:close/>
                <a:moveTo>
                  <a:pt x="1469523" y="3664273"/>
                </a:moveTo>
                <a:cubicBezTo>
                  <a:pt x="1470520" y="3668943"/>
                  <a:pt x="1470520" y="3668943"/>
                  <a:pt x="1470520" y="3668943"/>
                </a:cubicBezTo>
                <a:cubicBezTo>
                  <a:pt x="1465849" y="3669942"/>
                  <a:pt x="1464851" y="3665270"/>
                  <a:pt x="1464851" y="3665270"/>
                </a:cubicBezTo>
                <a:cubicBezTo>
                  <a:pt x="1464851" y="3665270"/>
                  <a:pt x="1469523" y="3664273"/>
                  <a:pt x="1469523" y="3664273"/>
                </a:cubicBezTo>
                <a:close/>
                <a:moveTo>
                  <a:pt x="1961674" y="3623805"/>
                </a:moveTo>
                <a:lnTo>
                  <a:pt x="1961195" y="3627779"/>
                </a:lnTo>
                <a:lnTo>
                  <a:pt x="1960794" y="3627086"/>
                </a:lnTo>
                <a:cubicBezTo>
                  <a:pt x="1960794" y="3627086"/>
                  <a:pt x="1960794" y="3627086"/>
                  <a:pt x="1961674" y="3623805"/>
                </a:cubicBezTo>
                <a:close/>
                <a:moveTo>
                  <a:pt x="6199520" y="3608723"/>
                </a:moveTo>
                <a:cubicBezTo>
                  <a:pt x="6189150" y="3634846"/>
                  <a:pt x="6186664" y="3679206"/>
                  <a:pt x="6184735" y="3707510"/>
                </a:cubicBezTo>
                <a:cubicBezTo>
                  <a:pt x="6172479" y="3706143"/>
                  <a:pt x="6159367" y="3756759"/>
                  <a:pt x="6163438" y="3775812"/>
                </a:cubicBezTo>
                <a:cubicBezTo>
                  <a:pt x="6163438" y="3775812"/>
                  <a:pt x="6163438" y="3775812"/>
                  <a:pt x="6164252" y="3779623"/>
                </a:cubicBezTo>
                <a:cubicBezTo>
                  <a:pt x="6164252" y="3779623"/>
                  <a:pt x="6161253" y="3784247"/>
                  <a:pt x="6161253" y="3784247"/>
                </a:cubicBezTo>
                <a:cubicBezTo>
                  <a:pt x="6162069" y="3788059"/>
                  <a:pt x="6165881" y="3787245"/>
                  <a:pt x="6165881" y="3787245"/>
                </a:cubicBezTo>
                <a:cubicBezTo>
                  <a:pt x="6169695" y="3786429"/>
                  <a:pt x="6168881" y="3782617"/>
                  <a:pt x="6168881" y="3782617"/>
                </a:cubicBezTo>
                <a:cubicBezTo>
                  <a:pt x="6161510" y="3804116"/>
                  <a:pt x="6151697" y="3814180"/>
                  <a:pt x="6144582" y="3855546"/>
                </a:cubicBezTo>
                <a:cubicBezTo>
                  <a:pt x="6145397" y="3859358"/>
                  <a:pt x="6141585" y="3860172"/>
                  <a:pt x="6142399" y="3863981"/>
                </a:cubicBezTo>
                <a:cubicBezTo>
                  <a:pt x="6143213" y="3867791"/>
                  <a:pt x="6139398" y="3868606"/>
                  <a:pt x="6139398" y="3868606"/>
                </a:cubicBezTo>
                <a:cubicBezTo>
                  <a:pt x="6141026" y="3876229"/>
                  <a:pt x="6141026" y="3876229"/>
                  <a:pt x="6144841" y="3875415"/>
                </a:cubicBezTo>
                <a:cubicBezTo>
                  <a:pt x="6141840" y="3880038"/>
                  <a:pt x="6137470" y="3896910"/>
                  <a:pt x="6133657" y="3897726"/>
                </a:cubicBezTo>
                <a:cubicBezTo>
                  <a:pt x="6125173" y="3951336"/>
                  <a:pt x="6094619" y="4013646"/>
                  <a:pt x="6089949" y="4066444"/>
                </a:cubicBezTo>
                <a:lnTo>
                  <a:pt x="6092651" y="4060432"/>
                </a:lnTo>
                <a:lnTo>
                  <a:pt x="6092947" y="4061819"/>
                </a:lnTo>
                <a:cubicBezTo>
                  <a:pt x="6089949" y="4066444"/>
                  <a:pt x="6089949" y="4066444"/>
                  <a:pt x="6090763" y="4070255"/>
                </a:cubicBezTo>
                <a:cubicBezTo>
                  <a:pt x="6090763" y="4070255"/>
                  <a:pt x="6094575" y="4069439"/>
                  <a:pt x="6094575" y="4069439"/>
                </a:cubicBezTo>
                <a:cubicBezTo>
                  <a:pt x="6097575" y="4064815"/>
                  <a:pt x="6097575" y="4064815"/>
                  <a:pt x="6096761" y="4061003"/>
                </a:cubicBezTo>
                <a:cubicBezTo>
                  <a:pt x="6098389" y="4068625"/>
                  <a:pt x="6094833" y="4089307"/>
                  <a:pt x="6093461" y="4101553"/>
                </a:cubicBezTo>
                <a:cubicBezTo>
                  <a:pt x="6092647" y="4097743"/>
                  <a:pt x="6092647" y="4097743"/>
                  <a:pt x="6092647" y="4097743"/>
                </a:cubicBezTo>
                <a:cubicBezTo>
                  <a:pt x="6092647" y="4097743"/>
                  <a:pt x="6089647" y="4102367"/>
                  <a:pt x="6090461" y="4106179"/>
                </a:cubicBezTo>
                <a:cubicBezTo>
                  <a:pt x="6086648" y="4106993"/>
                  <a:pt x="6087462" y="4110804"/>
                  <a:pt x="6087462" y="4110804"/>
                </a:cubicBezTo>
                <a:cubicBezTo>
                  <a:pt x="6076534" y="4152985"/>
                  <a:pt x="6060166" y="4188356"/>
                  <a:pt x="6037541" y="4213114"/>
                </a:cubicBezTo>
                <a:cubicBezTo>
                  <a:pt x="6041354" y="4212298"/>
                  <a:pt x="6040540" y="4208487"/>
                  <a:pt x="6040540" y="4208487"/>
                </a:cubicBezTo>
                <a:cubicBezTo>
                  <a:pt x="6039726" y="4204676"/>
                  <a:pt x="6039726" y="4204676"/>
                  <a:pt x="6035913" y="4205492"/>
                </a:cubicBezTo>
                <a:cubicBezTo>
                  <a:pt x="6035913" y="4205492"/>
                  <a:pt x="6036727" y="4209302"/>
                  <a:pt x="6036727" y="4209302"/>
                </a:cubicBezTo>
                <a:cubicBezTo>
                  <a:pt x="6036727" y="4209302"/>
                  <a:pt x="6036727" y="4209302"/>
                  <a:pt x="6037541" y="4213114"/>
                </a:cubicBezTo>
                <a:cubicBezTo>
                  <a:pt x="6033727" y="4213928"/>
                  <a:pt x="6034541" y="4217738"/>
                  <a:pt x="6034541" y="4217738"/>
                </a:cubicBezTo>
                <a:cubicBezTo>
                  <a:pt x="6029913" y="4214742"/>
                  <a:pt x="6024727" y="4227804"/>
                  <a:pt x="6019543" y="4240865"/>
                </a:cubicBezTo>
                <a:cubicBezTo>
                  <a:pt x="6024171" y="4243861"/>
                  <a:pt x="6026355" y="4235425"/>
                  <a:pt x="6026355" y="4235425"/>
                </a:cubicBezTo>
                <a:cubicBezTo>
                  <a:pt x="6027169" y="4239235"/>
                  <a:pt x="6027169" y="4239235"/>
                  <a:pt x="6027169" y="4239235"/>
                </a:cubicBezTo>
                <a:cubicBezTo>
                  <a:pt x="6027984" y="4243047"/>
                  <a:pt x="6027984" y="4243047"/>
                  <a:pt x="6027984" y="4243047"/>
                </a:cubicBezTo>
                <a:cubicBezTo>
                  <a:pt x="6027984" y="4243047"/>
                  <a:pt x="6030985" y="4238420"/>
                  <a:pt x="6030985" y="4238420"/>
                </a:cubicBezTo>
                <a:cubicBezTo>
                  <a:pt x="6025799" y="4251482"/>
                  <a:pt x="6029612" y="4250666"/>
                  <a:pt x="6021427" y="4268354"/>
                </a:cubicBezTo>
                <a:cubicBezTo>
                  <a:pt x="6020613" y="4264544"/>
                  <a:pt x="6020613" y="4264544"/>
                  <a:pt x="6020613" y="4264544"/>
                </a:cubicBezTo>
                <a:cubicBezTo>
                  <a:pt x="6020613" y="4264544"/>
                  <a:pt x="6020613" y="4264544"/>
                  <a:pt x="6023613" y="4259918"/>
                </a:cubicBezTo>
                <a:cubicBezTo>
                  <a:pt x="6022799" y="4256108"/>
                  <a:pt x="6022799" y="4256108"/>
                  <a:pt x="6022799" y="4256108"/>
                </a:cubicBezTo>
                <a:cubicBezTo>
                  <a:pt x="6018985" y="4256922"/>
                  <a:pt x="6015986" y="4261548"/>
                  <a:pt x="6016800" y="4265358"/>
                </a:cubicBezTo>
                <a:cubicBezTo>
                  <a:pt x="6016800" y="4265358"/>
                  <a:pt x="6012987" y="4266173"/>
                  <a:pt x="6013801" y="4269984"/>
                </a:cubicBezTo>
                <a:cubicBezTo>
                  <a:pt x="6006175" y="4271612"/>
                  <a:pt x="5997175" y="4285488"/>
                  <a:pt x="5985177" y="4303990"/>
                </a:cubicBezTo>
                <a:cubicBezTo>
                  <a:pt x="5976993" y="4321677"/>
                  <a:pt x="5969622" y="4343174"/>
                  <a:pt x="5968249" y="4355422"/>
                </a:cubicBezTo>
                <a:cubicBezTo>
                  <a:pt x="5968249" y="4355422"/>
                  <a:pt x="5968249" y="4355422"/>
                  <a:pt x="5964437" y="4356236"/>
                </a:cubicBezTo>
                <a:cubicBezTo>
                  <a:pt x="5964437" y="4356236"/>
                  <a:pt x="5961437" y="4360860"/>
                  <a:pt x="5962251" y="4364670"/>
                </a:cubicBezTo>
                <a:cubicBezTo>
                  <a:pt x="5958437" y="4365486"/>
                  <a:pt x="5958437" y="4365486"/>
                  <a:pt x="5958437" y="4365486"/>
                </a:cubicBezTo>
                <a:cubicBezTo>
                  <a:pt x="5959251" y="4369296"/>
                  <a:pt x="5959251" y="4369296"/>
                  <a:pt x="5959251" y="4369296"/>
                </a:cubicBezTo>
                <a:cubicBezTo>
                  <a:pt x="5954067" y="4382358"/>
                  <a:pt x="5949439" y="4379362"/>
                  <a:pt x="5945069" y="4396235"/>
                </a:cubicBezTo>
                <a:cubicBezTo>
                  <a:pt x="5946697" y="4403855"/>
                  <a:pt x="5951881" y="4390793"/>
                  <a:pt x="5955695" y="4389979"/>
                </a:cubicBezTo>
                <a:cubicBezTo>
                  <a:pt x="5955695" y="4389979"/>
                  <a:pt x="5956509" y="4393791"/>
                  <a:pt x="5956509" y="4393791"/>
                </a:cubicBezTo>
                <a:cubicBezTo>
                  <a:pt x="5957323" y="4397601"/>
                  <a:pt x="5960323" y="4392975"/>
                  <a:pt x="5959509" y="4389164"/>
                </a:cubicBezTo>
                <a:cubicBezTo>
                  <a:pt x="5963323" y="4388350"/>
                  <a:pt x="5963323" y="4388350"/>
                  <a:pt x="5963323" y="4388350"/>
                </a:cubicBezTo>
                <a:cubicBezTo>
                  <a:pt x="5958137" y="4401410"/>
                  <a:pt x="5949139" y="4415286"/>
                  <a:pt x="5943140" y="4424538"/>
                </a:cubicBezTo>
                <a:cubicBezTo>
                  <a:pt x="5933884" y="4418547"/>
                  <a:pt x="5933884" y="4418547"/>
                  <a:pt x="5933884" y="4418547"/>
                </a:cubicBezTo>
                <a:cubicBezTo>
                  <a:pt x="5921072" y="4433236"/>
                  <a:pt x="5908260" y="4447927"/>
                  <a:pt x="5895447" y="4462619"/>
                </a:cubicBezTo>
                <a:cubicBezTo>
                  <a:pt x="5887263" y="4480304"/>
                  <a:pt x="5892705" y="4487111"/>
                  <a:pt x="5880707" y="4505613"/>
                </a:cubicBezTo>
                <a:cubicBezTo>
                  <a:pt x="5870893" y="4515679"/>
                  <a:pt x="5861081" y="4525744"/>
                  <a:pt x="5846083" y="4548870"/>
                </a:cubicBezTo>
                <a:cubicBezTo>
                  <a:pt x="5840898" y="4561932"/>
                  <a:pt x="5852339" y="4559487"/>
                  <a:pt x="5839527" y="4574178"/>
                </a:cubicBezTo>
                <a:cubicBezTo>
                  <a:pt x="5798904" y="4626687"/>
                  <a:pt x="5769165" y="4692807"/>
                  <a:pt x="5727729" y="4741505"/>
                </a:cubicBezTo>
                <a:cubicBezTo>
                  <a:pt x="5757167" y="4711309"/>
                  <a:pt x="5784163" y="4669680"/>
                  <a:pt x="5808417" y="4652545"/>
                </a:cubicBezTo>
                <a:cubicBezTo>
                  <a:pt x="5824787" y="4617173"/>
                  <a:pt x="5848781" y="4580169"/>
                  <a:pt x="5869779" y="4547793"/>
                </a:cubicBezTo>
                <a:cubicBezTo>
                  <a:pt x="5870593" y="4551603"/>
                  <a:pt x="5870593" y="4551603"/>
                  <a:pt x="5870593" y="4551603"/>
                </a:cubicBezTo>
                <a:cubicBezTo>
                  <a:pt x="5867593" y="4556229"/>
                  <a:pt x="5867593" y="4556229"/>
                  <a:pt x="5868407" y="4560039"/>
                </a:cubicBezTo>
                <a:cubicBezTo>
                  <a:pt x="5868407" y="4560039"/>
                  <a:pt x="5872222" y="4559224"/>
                  <a:pt x="5871408" y="4555413"/>
                </a:cubicBezTo>
                <a:cubicBezTo>
                  <a:pt x="5878220" y="4549973"/>
                  <a:pt x="5878220" y="4549973"/>
                  <a:pt x="5878220" y="4549973"/>
                </a:cubicBezTo>
                <a:cubicBezTo>
                  <a:pt x="5875221" y="4554598"/>
                  <a:pt x="5872222" y="4559224"/>
                  <a:pt x="5869221" y="4563850"/>
                </a:cubicBezTo>
                <a:cubicBezTo>
                  <a:pt x="5893476" y="4546714"/>
                  <a:pt x="5914473" y="4514338"/>
                  <a:pt x="5934654" y="4478149"/>
                </a:cubicBezTo>
                <a:cubicBezTo>
                  <a:pt x="5954024" y="4438150"/>
                  <a:pt x="5976392" y="4393527"/>
                  <a:pt x="5995761" y="4353528"/>
                </a:cubicBezTo>
                <a:cubicBezTo>
                  <a:pt x="6007759" y="4335026"/>
                  <a:pt x="6024942" y="4303464"/>
                  <a:pt x="6037497" y="4268905"/>
                </a:cubicBezTo>
                <a:cubicBezTo>
                  <a:pt x="6054681" y="4237344"/>
                  <a:pt x="6063422" y="4203598"/>
                  <a:pt x="6066979" y="4182916"/>
                </a:cubicBezTo>
                <a:cubicBezTo>
                  <a:pt x="6078162" y="4160604"/>
                  <a:pt x="6088532" y="4134483"/>
                  <a:pt x="6092089" y="4113800"/>
                </a:cubicBezTo>
                <a:cubicBezTo>
                  <a:pt x="6092089" y="4113800"/>
                  <a:pt x="6095903" y="4112984"/>
                  <a:pt x="6095089" y="4109174"/>
                </a:cubicBezTo>
                <a:cubicBezTo>
                  <a:pt x="6098089" y="4104550"/>
                  <a:pt x="6098089" y="4104550"/>
                  <a:pt x="6097275" y="4100738"/>
                </a:cubicBezTo>
                <a:cubicBezTo>
                  <a:pt x="6124013" y="4039243"/>
                  <a:pt x="6133313" y="3989443"/>
                  <a:pt x="6147797" y="3926580"/>
                </a:cubicBezTo>
                <a:cubicBezTo>
                  <a:pt x="6158423" y="3920325"/>
                  <a:pt x="6157052" y="3932572"/>
                  <a:pt x="6161681" y="3935566"/>
                </a:cubicBezTo>
                <a:cubicBezTo>
                  <a:pt x="6168493" y="3930128"/>
                  <a:pt x="6170678" y="3921692"/>
                  <a:pt x="6176677" y="3912441"/>
                </a:cubicBezTo>
                <a:cubicBezTo>
                  <a:pt x="6173679" y="3917066"/>
                  <a:pt x="6174493" y="3920876"/>
                  <a:pt x="6174493" y="3920876"/>
                </a:cubicBezTo>
                <a:cubicBezTo>
                  <a:pt x="6171492" y="3925502"/>
                  <a:pt x="6171492" y="3925502"/>
                  <a:pt x="6172306" y="3929312"/>
                </a:cubicBezTo>
                <a:cubicBezTo>
                  <a:pt x="6176121" y="3928497"/>
                  <a:pt x="6175307" y="3924687"/>
                  <a:pt x="6175307" y="3924687"/>
                </a:cubicBezTo>
                <a:cubicBezTo>
                  <a:pt x="6178306" y="3920062"/>
                  <a:pt x="6177492" y="3916252"/>
                  <a:pt x="6177492" y="3916252"/>
                </a:cubicBezTo>
                <a:cubicBezTo>
                  <a:pt x="6177492" y="3916252"/>
                  <a:pt x="6180491" y="3911626"/>
                  <a:pt x="6180491" y="3911626"/>
                </a:cubicBezTo>
                <a:cubicBezTo>
                  <a:pt x="6182677" y="3903190"/>
                  <a:pt x="6184863" y="3894755"/>
                  <a:pt x="6187861" y="3890129"/>
                </a:cubicBezTo>
                <a:cubicBezTo>
                  <a:pt x="6187861" y="3890129"/>
                  <a:pt x="6187861" y="3890129"/>
                  <a:pt x="6187047" y="3886319"/>
                </a:cubicBezTo>
                <a:cubicBezTo>
                  <a:pt x="6187047" y="3886319"/>
                  <a:pt x="6186233" y="3882508"/>
                  <a:pt x="6186233" y="3882508"/>
                </a:cubicBezTo>
                <a:lnTo>
                  <a:pt x="6183373" y="3883119"/>
                </a:lnTo>
                <a:lnTo>
                  <a:pt x="6183513" y="3879104"/>
                </a:lnTo>
                <a:cubicBezTo>
                  <a:pt x="6183107" y="3877200"/>
                  <a:pt x="6182699" y="3875294"/>
                  <a:pt x="6183791" y="3871076"/>
                </a:cubicBezTo>
                <a:cubicBezTo>
                  <a:pt x="6177536" y="3860460"/>
                  <a:pt x="6174793" y="3884952"/>
                  <a:pt x="6167166" y="3886581"/>
                </a:cubicBezTo>
                <a:cubicBezTo>
                  <a:pt x="6170722" y="3865899"/>
                  <a:pt x="6166095" y="3862904"/>
                  <a:pt x="6168280" y="3854469"/>
                </a:cubicBezTo>
                <a:cubicBezTo>
                  <a:pt x="6163653" y="3851471"/>
                  <a:pt x="6163653" y="3851471"/>
                  <a:pt x="6163653" y="3851471"/>
                </a:cubicBezTo>
                <a:cubicBezTo>
                  <a:pt x="6163653" y="3851471"/>
                  <a:pt x="6163653" y="3851471"/>
                  <a:pt x="6167465" y="3850657"/>
                </a:cubicBezTo>
                <a:cubicBezTo>
                  <a:pt x="6167465" y="3850657"/>
                  <a:pt x="6166651" y="3846847"/>
                  <a:pt x="6166651" y="3846847"/>
                </a:cubicBezTo>
                <a:cubicBezTo>
                  <a:pt x="6169652" y="3842221"/>
                  <a:pt x="6169652" y="3842221"/>
                  <a:pt x="6165837" y="3843036"/>
                </a:cubicBezTo>
                <a:cubicBezTo>
                  <a:pt x="6165022" y="3839226"/>
                  <a:pt x="6165022" y="3839226"/>
                  <a:pt x="6165022" y="3839226"/>
                </a:cubicBezTo>
                <a:cubicBezTo>
                  <a:pt x="6174579" y="3809291"/>
                  <a:pt x="6184949" y="3783170"/>
                  <a:pt x="6175693" y="3777178"/>
                </a:cubicBezTo>
                <a:cubicBezTo>
                  <a:pt x="6171880" y="3777993"/>
                  <a:pt x="6171880" y="3777993"/>
                  <a:pt x="6171880" y="3777993"/>
                </a:cubicBezTo>
                <a:cubicBezTo>
                  <a:pt x="6175693" y="3777178"/>
                  <a:pt x="6174879" y="3773367"/>
                  <a:pt x="6174879" y="3773367"/>
                </a:cubicBezTo>
                <a:cubicBezTo>
                  <a:pt x="6178693" y="3772553"/>
                  <a:pt x="6177065" y="3764931"/>
                  <a:pt x="6180065" y="3760306"/>
                </a:cubicBezTo>
                <a:cubicBezTo>
                  <a:pt x="6179251" y="3756496"/>
                  <a:pt x="6179251" y="3756496"/>
                  <a:pt x="6175436" y="3757310"/>
                </a:cubicBezTo>
                <a:cubicBezTo>
                  <a:pt x="6186063" y="3751055"/>
                  <a:pt x="6192619" y="3725749"/>
                  <a:pt x="6197548" y="3692818"/>
                </a:cubicBezTo>
                <a:cubicBezTo>
                  <a:pt x="6202477" y="3659890"/>
                  <a:pt x="6199777" y="3628590"/>
                  <a:pt x="6199520" y="3608723"/>
                </a:cubicBezTo>
                <a:close/>
                <a:moveTo>
                  <a:pt x="6065238" y="3308795"/>
                </a:moveTo>
                <a:lnTo>
                  <a:pt x="6065531" y="3314628"/>
                </a:lnTo>
                <a:cubicBezTo>
                  <a:pt x="6065619" y="3535954"/>
                  <a:pt x="6032197" y="3753635"/>
                  <a:pt x="5962661" y="3968210"/>
                </a:cubicBezTo>
                <a:cubicBezTo>
                  <a:pt x="5923735" y="4086245"/>
                  <a:pt x="5863115" y="4192627"/>
                  <a:pt x="5809937" y="4303923"/>
                </a:cubicBezTo>
                <a:cubicBezTo>
                  <a:pt x="5743915" y="4446814"/>
                  <a:pt x="5660651" y="4577784"/>
                  <a:pt x="5551706" y="4690196"/>
                </a:cubicBezTo>
                <a:cubicBezTo>
                  <a:pt x="5541612" y="4700629"/>
                  <a:pt x="5535239" y="4713519"/>
                  <a:pt x="5516536" y="4707050"/>
                </a:cubicBezTo>
                <a:cubicBezTo>
                  <a:pt x="5511453" y="4704228"/>
                  <a:pt x="5505908" y="4708581"/>
                  <a:pt x="5503087" y="4713664"/>
                </a:cubicBezTo>
                <a:cubicBezTo>
                  <a:pt x="5442689" y="4786530"/>
                  <a:pt x="5375216" y="4853121"/>
                  <a:pt x="5304022" y="4917255"/>
                </a:cubicBezTo>
                <a:cubicBezTo>
                  <a:pt x="5302296" y="4918251"/>
                  <a:pt x="5301565" y="4920976"/>
                  <a:pt x="5300471" y="4925062"/>
                </a:cubicBezTo>
                <a:cubicBezTo>
                  <a:pt x="5316350" y="4936615"/>
                  <a:pt x="5328341" y="4935449"/>
                  <a:pt x="5343981" y="4920662"/>
                </a:cubicBezTo>
                <a:cubicBezTo>
                  <a:pt x="5452365" y="4821238"/>
                  <a:pt x="5563109" y="4723908"/>
                  <a:pt x="5655346" y="4608480"/>
                </a:cubicBezTo>
                <a:cubicBezTo>
                  <a:pt x="5805256" y="4419455"/>
                  <a:pt x="5915500" y="4209583"/>
                  <a:pt x="5983356" y="3978135"/>
                </a:cubicBezTo>
                <a:cubicBezTo>
                  <a:pt x="6021115" y="3848108"/>
                  <a:pt x="6058875" y="3718084"/>
                  <a:pt x="6073117" y="3583217"/>
                </a:cubicBezTo>
                <a:lnTo>
                  <a:pt x="6074066" y="3578467"/>
                </a:lnTo>
                <a:lnTo>
                  <a:pt x="6079369" y="3507090"/>
                </a:lnTo>
                <a:cubicBezTo>
                  <a:pt x="6079795" y="3459249"/>
                  <a:pt x="6077335" y="3411548"/>
                  <a:pt x="6072751" y="3363985"/>
                </a:cubicBezTo>
                <a:close/>
                <a:moveTo>
                  <a:pt x="2047326" y="3281632"/>
                </a:moveTo>
                <a:lnTo>
                  <a:pt x="2045645" y="3284178"/>
                </a:lnTo>
                <a:lnTo>
                  <a:pt x="2047343" y="3286585"/>
                </a:lnTo>
                <a:close/>
                <a:moveTo>
                  <a:pt x="2051036" y="3201671"/>
                </a:moveTo>
                <a:lnTo>
                  <a:pt x="2050661" y="3206416"/>
                </a:lnTo>
                <a:cubicBezTo>
                  <a:pt x="2050023" y="3213716"/>
                  <a:pt x="2049494" y="3220607"/>
                  <a:pt x="2049263" y="3226807"/>
                </a:cubicBezTo>
                <a:lnTo>
                  <a:pt x="2049406" y="3233130"/>
                </a:lnTo>
                <a:close/>
                <a:moveTo>
                  <a:pt x="1495570" y="3077486"/>
                </a:moveTo>
                <a:cubicBezTo>
                  <a:pt x="1496569" y="3082159"/>
                  <a:pt x="1496569" y="3082159"/>
                  <a:pt x="1496569" y="3082159"/>
                </a:cubicBezTo>
                <a:cubicBezTo>
                  <a:pt x="1496569" y="3082159"/>
                  <a:pt x="1491897" y="3083156"/>
                  <a:pt x="1491897" y="3083156"/>
                </a:cubicBezTo>
                <a:cubicBezTo>
                  <a:pt x="1495570" y="3077486"/>
                  <a:pt x="1495570" y="3077486"/>
                  <a:pt x="1495570" y="3077486"/>
                </a:cubicBezTo>
                <a:close/>
                <a:moveTo>
                  <a:pt x="2063000" y="3065542"/>
                </a:moveTo>
                <a:lnTo>
                  <a:pt x="2061195" y="3075253"/>
                </a:lnTo>
                <a:cubicBezTo>
                  <a:pt x="2060063" y="3083575"/>
                  <a:pt x="2059108" y="3092878"/>
                  <a:pt x="2058277" y="3102543"/>
                </a:cubicBezTo>
                <a:lnTo>
                  <a:pt x="2056929" y="3122128"/>
                </a:lnTo>
                <a:close/>
                <a:moveTo>
                  <a:pt x="6487598" y="3056185"/>
                </a:moveTo>
                <a:cubicBezTo>
                  <a:pt x="6488597" y="3060857"/>
                  <a:pt x="6493268" y="3059858"/>
                  <a:pt x="6493268" y="3059858"/>
                </a:cubicBezTo>
                <a:cubicBezTo>
                  <a:pt x="6488597" y="3060857"/>
                  <a:pt x="6488597" y="3060857"/>
                  <a:pt x="6488597" y="3060857"/>
                </a:cubicBezTo>
                <a:cubicBezTo>
                  <a:pt x="6487598" y="3056185"/>
                  <a:pt x="6487598" y="3056185"/>
                  <a:pt x="6487598" y="3056185"/>
                </a:cubicBezTo>
                <a:close/>
                <a:moveTo>
                  <a:pt x="6485963" y="3002807"/>
                </a:moveTo>
                <a:cubicBezTo>
                  <a:pt x="6493945" y="3040177"/>
                  <a:pt x="6496941" y="3054189"/>
                  <a:pt x="6508597" y="3085888"/>
                </a:cubicBezTo>
                <a:cubicBezTo>
                  <a:pt x="6512769" y="3082554"/>
                  <a:pt x="6517021" y="3085309"/>
                  <a:pt x="6520853" y="3091817"/>
                </a:cubicBezTo>
                <a:lnTo>
                  <a:pt x="6530564" y="3120178"/>
                </a:lnTo>
                <a:lnTo>
                  <a:pt x="6530564" y="3206162"/>
                </a:lnTo>
                <a:lnTo>
                  <a:pt x="6521209" y="3190646"/>
                </a:lnTo>
                <a:cubicBezTo>
                  <a:pt x="6526878" y="3194319"/>
                  <a:pt x="6526878" y="3194319"/>
                  <a:pt x="6525881" y="3189649"/>
                </a:cubicBezTo>
                <a:cubicBezTo>
                  <a:pt x="6529555" y="3183979"/>
                  <a:pt x="6523885" y="3180305"/>
                  <a:pt x="6523885" y="3180305"/>
                </a:cubicBezTo>
                <a:cubicBezTo>
                  <a:pt x="6523885" y="3180305"/>
                  <a:pt x="6523885" y="3180305"/>
                  <a:pt x="6522887" y="3175635"/>
                </a:cubicBezTo>
                <a:cubicBezTo>
                  <a:pt x="6529235" y="3159627"/>
                  <a:pt x="6512229" y="3148606"/>
                  <a:pt x="6517578" y="3127927"/>
                </a:cubicBezTo>
                <a:cubicBezTo>
                  <a:pt x="6512907" y="3128925"/>
                  <a:pt x="6512907" y="3128925"/>
                  <a:pt x="6512907" y="3128925"/>
                </a:cubicBezTo>
                <a:cubicBezTo>
                  <a:pt x="6517578" y="3127927"/>
                  <a:pt x="6516581" y="3123256"/>
                  <a:pt x="6516581" y="3123256"/>
                </a:cubicBezTo>
                <a:cubicBezTo>
                  <a:pt x="6515583" y="3118585"/>
                  <a:pt x="6515583" y="3118585"/>
                  <a:pt x="6510911" y="3119583"/>
                </a:cubicBezTo>
                <a:cubicBezTo>
                  <a:pt x="6507917" y="3105571"/>
                  <a:pt x="6504923" y="3091557"/>
                  <a:pt x="6504923" y="3091557"/>
                </a:cubicBezTo>
                <a:cubicBezTo>
                  <a:pt x="6501930" y="3077543"/>
                  <a:pt x="6502249" y="3101897"/>
                  <a:pt x="6497260" y="3078542"/>
                </a:cubicBezTo>
                <a:cubicBezTo>
                  <a:pt x="6502927" y="3082216"/>
                  <a:pt x="6506600" y="3076546"/>
                  <a:pt x="6500931" y="3072873"/>
                </a:cubicBezTo>
                <a:cubicBezTo>
                  <a:pt x="6495263" y="3069200"/>
                  <a:pt x="6495583" y="3093553"/>
                  <a:pt x="6490593" y="3070198"/>
                </a:cubicBezTo>
                <a:cubicBezTo>
                  <a:pt x="6490593" y="3070198"/>
                  <a:pt x="6490593" y="3070198"/>
                  <a:pt x="6495263" y="3069200"/>
                </a:cubicBezTo>
                <a:cubicBezTo>
                  <a:pt x="6495263" y="3069200"/>
                  <a:pt x="6495263" y="3069200"/>
                  <a:pt x="6494265" y="3064529"/>
                </a:cubicBezTo>
                <a:cubicBezTo>
                  <a:pt x="6494265" y="3064529"/>
                  <a:pt x="6493268" y="3059858"/>
                  <a:pt x="6493268" y="3059858"/>
                </a:cubicBezTo>
                <a:cubicBezTo>
                  <a:pt x="6492269" y="3055188"/>
                  <a:pt x="6492269" y="3055188"/>
                  <a:pt x="6492269" y="3055188"/>
                </a:cubicBezTo>
                <a:cubicBezTo>
                  <a:pt x="6491272" y="3050515"/>
                  <a:pt x="6491272" y="3050515"/>
                  <a:pt x="6491272" y="3050515"/>
                </a:cubicBezTo>
                <a:cubicBezTo>
                  <a:pt x="6495941" y="3049518"/>
                  <a:pt x="6494945" y="3044847"/>
                  <a:pt x="6493945" y="3040177"/>
                </a:cubicBezTo>
                <a:cubicBezTo>
                  <a:pt x="6489275" y="3041174"/>
                  <a:pt x="6488277" y="3036503"/>
                  <a:pt x="6487279" y="3031831"/>
                </a:cubicBezTo>
                <a:cubicBezTo>
                  <a:pt x="6490952" y="3026163"/>
                  <a:pt x="6487959" y="3012150"/>
                  <a:pt x="6485963" y="3002807"/>
                </a:cubicBezTo>
                <a:close/>
                <a:moveTo>
                  <a:pt x="2135961" y="2977892"/>
                </a:moveTo>
                <a:lnTo>
                  <a:pt x="2135002" y="2982694"/>
                </a:lnTo>
                <a:lnTo>
                  <a:pt x="2136350" y="2985028"/>
                </a:lnTo>
                <a:cubicBezTo>
                  <a:pt x="2137229" y="2981748"/>
                  <a:pt x="2138107" y="2978468"/>
                  <a:pt x="2138107" y="2978468"/>
                </a:cubicBezTo>
                <a:close/>
                <a:moveTo>
                  <a:pt x="1530525" y="2870743"/>
                </a:moveTo>
                <a:lnTo>
                  <a:pt x="1530389" y="2874680"/>
                </a:lnTo>
                <a:cubicBezTo>
                  <a:pt x="1530389" y="2874680"/>
                  <a:pt x="1530389" y="2874680"/>
                  <a:pt x="1526716" y="2880348"/>
                </a:cubicBezTo>
                <a:close/>
                <a:moveTo>
                  <a:pt x="1549890" y="2806826"/>
                </a:moveTo>
                <a:lnTo>
                  <a:pt x="1550113" y="2806971"/>
                </a:lnTo>
                <a:lnTo>
                  <a:pt x="1549629" y="2807814"/>
                </a:lnTo>
                <a:close/>
                <a:moveTo>
                  <a:pt x="2190201" y="2770932"/>
                </a:moveTo>
                <a:cubicBezTo>
                  <a:pt x="2189323" y="2774211"/>
                  <a:pt x="2189323" y="2774211"/>
                  <a:pt x="2189323" y="2774211"/>
                </a:cubicBezTo>
                <a:cubicBezTo>
                  <a:pt x="2189323" y="2774211"/>
                  <a:pt x="2189323" y="2774211"/>
                  <a:pt x="2188443" y="2777491"/>
                </a:cubicBezTo>
                <a:cubicBezTo>
                  <a:pt x="2187564" y="2780772"/>
                  <a:pt x="2185806" y="2787331"/>
                  <a:pt x="2184927" y="2790612"/>
                </a:cubicBezTo>
                <a:lnTo>
                  <a:pt x="2181290" y="2797164"/>
                </a:lnTo>
                <a:close/>
                <a:moveTo>
                  <a:pt x="6368398" y="2681145"/>
                </a:moveTo>
                <a:cubicBezTo>
                  <a:pt x="6374068" y="2684818"/>
                  <a:pt x="6375065" y="2689491"/>
                  <a:pt x="6376065" y="2694161"/>
                </a:cubicBezTo>
                <a:cubicBezTo>
                  <a:pt x="6376065" y="2694161"/>
                  <a:pt x="6376065" y="2694161"/>
                  <a:pt x="6377063" y="2698832"/>
                </a:cubicBezTo>
                <a:cubicBezTo>
                  <a:pt x="6378061" y="2703503"/>
                  <a:pt x="6378061" y="2703503"/>
                  <a:pt x="6378061" y="2703503"/>
                </a:cubicBezTo>
                <a:lnTo>
                  <a:pt x="6379057" y="2708174"/>
                </a:lnTo>
                <a:cubicBezTo>
                  <a:pt x="6379057" y="2708174"/>
                  <a:pt x="6378061" y="2703503"/>
                  <a:pt x="6372391" y="2699831"/>
                </a:cubicBezTo>
                <a:cubicBezTo>
                  <a:pt x="6370395" y="2690488"/>
                  <a:pt x="6369397" y="2685816"/>
                  <a:pt x="6368398" y="2681145"/>
                </a:cubicBezTo>
                <a:close/>
                <a:moveTo>
                  <a:pt x="1615952" y="2612189"/>
                </a:moveTo>
                <a:cubicBezTo>
                  <a:pt x="1616951" y="2616860"/>
                  <a:pt x="1616951" y="2616860"/>
                  <a:pt x="1617948" y="2621531"/>
                </a:cubicBezTo>
                <a:cubicBezTo>
                  <a:pt x="1605931" y="2633867"/>
                  <a:pt x="1597227" y="2684569"/>
                  <a:pt x="1578861" y="2712914"/>
                </a:cubicBezTo>
                <a:cubicBezTo>
                  <a:pt x="1581695" y="2714750"/>
                  <a:pt x="1579270" y="2726259"/>
                  <a:pt x="1573966" y="2741433"/>
                </a:cubicBezTo>
                <a:lnTo>
                  <a:pt x="1556905" y="2780304"/>
                </a:lnTo>
                <a:lnTo>
                  <a:pt x="1579289" y="2695699"/>
                </a:lnTo>
                <a:lnTo>
                  <a:pt x="1595842" y="2645791"/>
                </a:lnTo>
                <a:lnTo>
                  <a:pt x="1603256" y="2644207"/>
                </a:lnTo>
                <a:cubicBezTo>
                  <a:pt x="1605931" y="2633867"/>
                  <a:pt x="1608607" y="2623526"/>
                  <a:pt x="1612279" y="2617859"/>
                </a:cubicBezTo>
                <a:cubicBezTo>
                  <a:pt x="1612279" y="2617859"/>
                  <a:pt x="1615952" y="2612189"/>
                  <a:pt x="1615952" y="2612189"/>
                </a:cubicBezTo>
                <a:close/>
                <a:moveTo>
                  <a:pt x="1613956" y="2602847"/>
                </a:moveTo>
                <a:cubicBezTo>
                  <a:pt x="1614953" y="2607518"/>
                  <a:pt x="1610283" y="2608515"/>
                  <a:pt x="1611280" y="2613188"/>
                </a:cubicBezTo>
                <a:cubicBezTo>
                  <a:pt x="1606611" y="2614185"/>
                  <a:pt x="1607608" y="2618857"/>
                  <a:pt x="1607608" y="2618857"/>
                </a:cubicBezTo>
                <a:lnTo>
                  <a:pt x="1599798" y="2633861"/>
                </a:lnTo>
                <a:lnTo>
                  <a:pt x="1607087" y="2611884"/>
                </a:lnTo>
                <a:lnTo>
                  <a:pt x="1610283" y="2608515"/>
                </a:lnTo>
                <a:lnTo>
                  <a:pt x="1609003" y="2606107"/>
                </a:lnTo>
                <a:lnTo>
                  <a:pt x="1609622" y="2604236"/>
                </a:lnTo>
                <a:close/>
                <a:moveTo>
                  <a:pt x="1612438" y="2595743"/>
                </a:moveTo>
                <a:lnTo>
                  <a:pt x="1612958" y="2598177"/>
                </a:lnTo>
                <a:lnTo>
                  <a:pt x="1611136" y="2599671"/>
                </a:lnTo>
                <a:close/>
                <a:moveTo>
                  <a:pt x="1622980" y="2576498"/>
                </a:moveTo>
                <a:cubicBezTo>
                  <a:pt x="1622980" y="2576498"/>
                  <a:pt x="1619308" y="2582167"/>
                  <a:pt x="1620306" y="2586839"/>
                </a:cubicBezTo>
                <a:cubicBezTo>
                  <a:pt x="1620306" y="2586839"/>
                  <a:pt x="1620306" y="2586839"/>
                  <a:pt x="1619308" y="2582167"/>
                </a:cubicBezTo>
                <a:lnTo>
                  <a:pt x="1616762" y="2582712"/>
                </a:lnTo>
                <a:lnTo>
                  <a:pt x="1618505" y="2577454"/>
                </a:lnTo>
                <a:close/>
                <a:moveTo>
                  <a:pt x="1649502" y="2499886"/>
                </a:moveTo>
                <a:lnTo>
                  <a:pt x="1648634" y="2503325"/>
                </a:lnTo>
                <a:cubicBezTo>
                  <a:pt x="1646391" y="2513192"/>
                  <a:pt x="1649461" y="2506126"/>
                  <a:pt x="1655719" y="2501126"/>
                </a:cubicBezTo>
                <a:cubicBezTo>
                  <a:pt x="1639350" y="2538812"/>
                  <a:pt x="1640347" y="2543482"/>
                  <a:pt x="1625655" y="2566159"/>
                </a:cubicBezTo>
                <a:lnTo>
                  <a:pt x="1621993" y="2566942"/>
                </a:lnTo>
                <a:lnTo>
                  <a:pt x="1623115" y="2563555"/>
                </a:lnTo>
                <a:close/>
                <a:moveTo>
                  <a:pt x="2319373" y="2498792"/>
                </a:moveTo>
                <a:lnTo>
                  <a:pt x="2303814" y="2500188"/>
                </a:lnTo>
                <a:cubicBezTo>
                  <a:pt x="2298499" y="2503283"/>
                  <a:pt x="2294412" y="2509011"/>
                  <a:pt x="2290837" y="2517807"/>
                </a:cubicBezTo>
                <a:cubicBezTo>
                  <a:pt x="2265509" y="2577535"/>
                  <a:pt x="2239517" y="2637059"/>
                  <a:pt x="2215875" y="2697450"/>
                </a:cubicBezTo>
                <a:lnTo>
                  <a:pt x="2209226" y="2715686"/>
                </a:lnTo>
                <a:lnTo>
                  <a:pt x="2208765" y="2718664"/>
                </a:lnTo>
                <a:cubicBezTo>
                  <a:pt x="2205398" y="2730616"/>
                  <a:pt x="2197993" y="2748408"/>
                  <a:pt x="2202915" y="2749726"/>
                </a:cubicBezTo>
                <a:lnTo>
                  <a:pt x="2202035" y="2753007"/>
                </a:lnTo>
                <a:cubicBezTo>
                  <a:pt x="2197877" y="2755408"/>
                  <a:pt x="2196118" y="2761968"/>
                  <a:pt x="2195240" y="2765248"/>
                </a:cubicBezTo>
                <a:cubicBezTo>
                  <a:pt x="2191960" y="2764370"/>
                  <a:pt x="2191960" y="2764370"/>
                  <a:pt x="2191960" y="2764370"/>
                </a:cubicBezTo>
                <a:lnTo>
                  <a:pt x="2191515" y="2764250"/>
                </a:lnTo>
                <a:lnTo>
                  <a:pt x="2182554" y="2788823"/>
                </a:lnTo>
                <a:lnTo>
                  <a:pt x="2178751" y="2801737"/>
                </a:lnTo>
                <a:lnTo>
                  <a:pt x="2181290" y="2797164"/>
                </a:lnTo>
                <a:lnTo>
                  <a:pt x="2172327" y="2823555"/>
                </a:lnTo>
                <a:lnTo>
                  <a:pt x="2164219" y="2851082"/>
                </a:lnTo>
                <a:lnTo>
                  <a:pt x="2161835" y="2861828"/>
                </a:lnTo>
                <a:cubicBezTo>
                  <a:pt x="2160677" y="2867176"/>
                  <a:pt x="2159674" y="2871740"/>
                  <a:pt x="2158794" y="2875021"/>
                </a:cubicBezTo>
                <a:cubicBezTo>
                  <a:pt x="2158794" y="2875021"/>
                  <a:pt x="2157915" y="2878301"/>
                  <a:pt x="2157915" y="2878301"/>
                </a:cubicBezTo>
                <a:lnTo>
                  <a:pt x="2148821" y="2913407"/>
                </a:lnTo>
                <a:lnTo>
                  <a:pt x="2139494" y="2960172"/>
                </a:lnTo>
                <a:lnTo>
                  <a:pt x="2142037" y="2950680"/>
                </a:lnTo>
                <a:cubicBezTo>
                  <a:pt x="2148670" y="2925925"/>
                  <a:pt x="2153944" y="2906242"/>
                  <a:pt x="2161195" y="2879181"/>
                </a:cubicBezTo>
                <a:cubicBezTo>
                  <a:pt x="2163598" y="2883339"/>
                  <a:pt x="2164476" y="2880059"/>
                  <a:pt x="2168636" y="2877658"/>
                </a:cubicBezTo>
                <a:cubicBezTo>
                  <a:pt x="2169514" y="2874377"/>
                  <a:pt x="2169514" y="2874377"/>
                  <a:pt x="2169514" y="2874377"/>
                </a:cubicBezTo>
                <a:cubicBezTo>
                  <a:pt x="2166235" y="2873499"/>
                  <a:pt x="2166235" y="2873499"/>
                  <a:pt x="2166235" y="2873499"/>
                </a:cubicBezTo>
                <a:cubicBezTo>
                  <a:pt x="2170865" y="2843097"/>
                  <a:pt x="2191897" y="2817090"/>
                  <a:pt x="2184693" y="2804613"/>
                </a:cubicBezTo>
                <a:cubicBezTo>
                  <a:pt x="2181412" y="2803733"/>
                  <a:pt x="2181412" y="2803733"/>
                  <a:pt x="2181412" y="2803733"/>
                </a:cubicBezTo>
                <a:cubicBezTo>
                  <a:pt x="2185571" y="2801333"/>
                  <a:pt x="2187329" y="2794772"/>
                  <a:pt x="2188209" y="2791491"/>
                </a:cubicBezTo>
                <a:cubicBezTo>
                  <a:pt x="2189087" y="2788211"/>
                  <a:pt x="2189966" y="2784930"/>
                  <a:pt x="2189966" y="2784930"/>
                </a:cubicBezTo>
                <a:cubicBezTo>
                  <a:pt x="2193245" y="2785808"/>
                  <a:pt x="2199806" y="2787568"/>
                  <a:pt x="2202207" y="2791725"/>
                </a:cubicBezTo>
                <a:cubicBezTo>
                  <a:pt x="2201328" y="2795006"/>
                  <a:pt x="2199570" y="2801568"/>
                  <a:pt x="2198691" y="2804847"/>
                </a:cubicBezTo>
                <a:cubicBezTo>
                  <a:pt x="2196934" y="2811408"/>
                  <a:pt x="2191897" y="2817090"/>
                  <a:pt x="2193417" y="2824530"/>
                </a:cubicBezTo>
                <a:cubicBezTo>
                  <a:pt x="2193417" y="2824530"/>
                  <a:pt x="2192539" y="2827809"/>
                  <a:pt x="2192539" y="2827809"/>
                </a:cubicBezTo>
                <a:cubicBezTo>
                  <a:pt x="2192539" y="2827809"/>
                  <a:pt x="2192539" y="2827809"/>
                  <a:pt x="2191660" y="2831090"/>
                </a:cubicBezTo>
                <a:cubicBezTo>
                  <a:pt x="2190780" y="2834370"/>
                  <a:pt x="2190780" y="2834370"/>
                  <a:pt x="2189902" y="2837650"/>
                </a:cubicBezTo>
                <a:cubicBezTo>
                  <a:pt x="2189023" y="2840931"/>
                  <a:pt x="2189023" y="2840931"/>
                  <a:pt x="2189023" y="2840931"/>
                </a:cubicBezTo>
                <a:lnTo>
                  <a:pt x="2189696" y="2840543"/>
                </a:lnTo>
                <a:lnTo>
                  <a:pt x="2208348" y="2778797"/>
                </a:lnTo>
                <a:lnTo>
                  <a:pt x="2211622" y="2769653"/>
                </a:lnTo>
                <a:lnTo>
                  <a:pt x="2207481" y="2772046"/>
                </a:lnTo>
                <a:cubicBezTo>
                  <a:pt x="2203965" y="2785166"/>
                  <a:pt x="2203965" y="2785166"/>
                  <a:pt x="2203965" y="2785166"/>
                </a:cubicBezTo>
                <a:cubicBezTo>
                  <a:pt x="2201565" y="2781008"/>
                  <a:pt x="2195882" y="2775968"/>
                  <a:pt x="2192603" y="2775089"/>
                </a:cubicBezTo>
                <a:cubicBezTo>
                  <a:pt x="2193481" y="2771810"/>
                  <a:pt x="2194361" y="2768530"/>
                  <a:pt x="2194361" y="2768530"/>
                </a:cubicBezTo>
                <a:cubicBezTo>
                  <a:pt x="2195240" y="2765248"/>
                  <a:pt x="2195240" y="2765248"/>
                  <a:pt x="2195240" y="2765248"/>
                </a:cubicBezTo>
                <a:cubicBezTo>
                  <a:pt x="2197641" y="2769408"/>
                  <a:pt x="2197641" y="2769408"/>
                  <a:pt x="2197641" y="2769408"/>
                </a:cubicBezTo>
                <a:cubicBezTo>
                  <a:pt x="2197641" y="2769408"/>
                  <a:pt x="2198519" y="2766127"/>
                  <a:pt x="2201800" y="2767006"/>
                </a:cubicBezTo>
                <a:cubicBezTo>
                  <a:pt x="2202679" y="2763726"/>
                  <a:pt x="2199399" y="2762848"/>
                  <a:pt x="2200278" y="2759567"/>
                </a:cubicBezTo>
                <a:cubicBezTo>
                  <a:pt x="2200278" y="2759567"/>
                  <a:pt x="2201156" y="2756287"/>
                  <a:pt x="2201156" y="2756287"/>
                </a:cubicBezTo>
                <a:cubicBezTo>
                  <a:pt x="2202035" y="2753007"/>
                  <a:pt x="2206194" y="2750606"/>
                  <a:pt x="2207953" y="2744045"/>
                </a:cubicBezTo>
                <a:cubicBezTo>
                  <a:pt x="2211468" y="2730923"/>
                  <a:pt x="2210354" y="2748205"/>
                  <a:pt x="2216271" y="2739241"/>
                </a:cubicBezTo>
                <a:cubicBezTo>
                  <a:pt x="2211468" y="2730923"/>
                  <a:pt x="2220665" y="2722840"/>
                  <a:pt x="2225703" y="2717159"/>
                </a:cubicBezTo>
                <a:cubicBezTo>
                  <a:pt x="2222423" y="2716280"/>
                  <a:pt x="2219144" y="2715402"/>
                  <a:pt x="2220022" y="2712121"/>
                </a:cubicBezTo>
                <a:cubicBezTo>
                  <a:pt x="2223302" y="2712999"/>
                  <a:pt x="2226583" y="2713879"/>
                  <a:pt x="2227462" y="2710598"/>
                </a:cubicBezTo>
                <a:cubicBezTo>
                  <a:pt x="2225060" y="2706440"/>
                  <a:pt x="2227696" y="2696598"/>
                  <a:pt x="2229455" y="2690037"/>
                </a:cubicBezTo>
                <a:cubicBezTo>
                  <a:pt x="2235137" y="2695076"/>
                  <a:pt x="2241290" y="2672114"/>
                  <a:pt x="2238887" y="2667954"/>
                </a:cubicBezTo>
                <a:cubicBezTo>
                  <a:pt x="2239767" y="2664674"/>
                  <a:pt x="2239767" y="2664674"/>
                  <a:pt x="2239767" y="2664674"/>
                </a:cubicBezTo>
                <a:cubicBezTo>
                  <a:pt x="2242404" y="2654833"/>
                  <a:pt x="2246328" y="2666432"/>
                  <a:pt x="2248965" y="2656591"/>
                </a:cubicBezTo>
                <a:cubicBezTo>
                  <a:pt x="2247442" y="2649152"/>
                  <a:pt x="2245041" y="2644992"/>
                  <a:pt x="2252715" y="2629469"/>
                </a:cubicBezTo>
                <a:cubicBezTo>
                  <a:pt x="2257755" y="2623789"/>
                  <a:pt x="2263670" y="2614826"/>
                  <a:pt x="2266307" y="2604985"/>
                </a:cubicBezTo>
                <a:cubicBezTo>
                  <a:pt x="2267187" y="2601706"/>
                  <a:pt x="2268944" y="2595145"/>
                  <a:pt x="2273104" y="2592744"/>
                </a:cubicBezTo>
                <a:cubicBezTo>
                  <a:pt x="2281658" y="2573941"/>
                  <a:pt x="2277264" y="2590343"/>
                  <a:pt x="2287340" y="2578980"/>
                </a:cubicBezTo>
                <a:cubicBezTo>
                  <a:pt x="2284295" y="2564099"/>
                  <a:pt x="2314524" y="2530009"/>
                  <a:pt x="2314759" y="2516010"/>
                </a:cubicBezTo>
                <a:cubicBezTo>
                  <a:pt x="2304684" y="2527372"/>
                  <a:pt x="2318274" y="2502889"/>
                  <a:pt x="2318274" y="2502889"/>
                </a:cubicBezTo>
                <a:close/>
                <a:moveTo>
                  <a:pt x="1745743" y="2277280"/>
                </a:moveTo>
                <a:lnTo>
                  <a:pt x="1746544" y="2277481"/>
                </a:lnTo>
                <a:lnTo>
                  <a:pt x="1735073" y="2301013"/>
                </a:lnTo>
                <a:cubicBezTo>
                  <a:pt x="1725969" y="2321274"/>
                  <a:pt x="1718702" y="2338701"/>
                  <a:pt x="1715529" y="2346705"/>
                </a:cubicBezTo>
                <a:cubicBezTo>
                  <a:pt x="1713852" y="2361715"/>
                  <a:pt x="1680793" y="2412737"/>
                  <a:pt x="1682110" y="2441760"/>
                </a:cubicBezTo>
                <a:cubicBezTo>
                  <a:pt x="1673767" y="2448427"/>
                  <a:pt x="1676442" y="2438087"/>
                  <a:pt x="1676442" y="2438087"/>
                </a:cubicBezTo>
                <a:cubicBezTo>
                  <a:pt x="1675604" y="2445593"/>
                  <a:pt x="1670841" y="2457600"/>
                  <a:pt x="1665372" y="2469147"/>
                </a:cubicBezTo>
                <a:lnTo>
                  <a:pt x="1652015" y="2493822"/>
                </a:lnTo>
                <a:lnTo>
                  <a:pt x="1729501" y="2306860"/>
                </a:lnTo>
                <a:cubicBezTo>
                  <a:pt x="1732137" y="2300212"/>
                  <a:pt x="1734774" y="2293566"/>
                  <a:pt x="1737409" y="2286918"/>
                </a:cubicBezTo>
                <a:cubicBezTo>
                  <a:pt x="1739489" y="2282418"/>
                  <a:pt x="1742262" y="2278784"/>
                  <a:pt x="1745743" y="2277280"/>
                </a:cubicBezTo>
                <a:close/>
                <a:moveTo>
                  <a:pt x="2406271" y="2140812"/>
                </a:moveTo>
                <a:lnTo>
                  <a:pt x="2381400" y="2172178"/>
                </a:lnTo>
                <a:cubicBezTo>
                  <a:pt x="2373073" y="2183571"/>
                  <a:pt x="2365897" y="2193952"/>
                  <a:pt x="2360419" y="2201275"/>
                </a:cubicBezTo>
                <a:cubicBezTo>
                  <a:pt x="2331713" y="2242804"/>
                  <a:pt x="2302362" y="2273613"/>
                  <a:pt x="2279573" y="2306181"/>
                </a:cubicBezTo>
                <a:cubicBezTo>
                  <a:pt x="2265981" y="2330665"/>
                  <a:pt x="2246471" y="2364112"/>
                  <a:pt x="2232000" y="2391875"/>
                </a:cubicBezTo>
                <a:cubicBezTo>
                  <a:pt x="2217764" y="2405641"/>
                  <a:pt x="2208331" y="2427724"/>
                  <a:pt x="2198898" y="2449807"/>
                </a:cubicBezTo>
                <a:cubicBezTo>
                  <a:pt x="2186422" y="2457011"/>
                  <a:pt x="2171071" y="2488057"/>
                  <a:pt x="2155721" y="2519101"/>
                </a:cubicBezTo>
                <a:cubicBezTo>
                  <a:pt x="2140372" y="2550147"/>
                  <a:pt x="2125021" y="2581191"/>
                  <a:pt x="2112543" y="2588395"/>
                </a:cubicBezTo>
                <a:cubicBezTo>
                  <a:pt x="2109906" y="2598236"/>
                  <a:pt x="2102231" y="2613758"/>
                  <a:pt x="2098073" y="2616160"/>
                </a:cubicBezTo>
                <a:cubicBezTo>
                  <a:pt x="2101995" y="2627759"/>
                  <a:pt x="2085767" y="2662085"/>
                  <a:pt x="2078328" y="2663606"/>
                </a:cubicBezTo>
                <a:cubicBezTo>
                  <a:pt x="2077448" y="2666887"/>
                  <a:pt x="2075691" y="2673447"/>
                  <a:pt x="2074811" y="2676728"/>
                </a:cubicBezTo>
                <a:cubicBezTo>
                  <a:pt x="2064970" y="2674091"/>
                  <a:pt x="2063622" y="2705371"/>
                  <a:pt x="2050908" y="2726574"/>
                </a:cubicBezTo>
                <a:cubicBezTo>
                  <a:pt x="2050028" y="2729856"/>
                  <a:pt x="2050028" y="2729856"/>
                  <a:pt x="2050028" y="2729856"/>
                </a:cubicBezTo>
                <a:cubicBezTo>
                  <a:pt x="2050028" y="2729856"/>
                  <a:pt x="2046748" y="2728977"/>
                  <a:pt x="2046748" y="2728977"/>
                </a:cubicBezTo>
                <a:cubicBezTo>
                  <a:pt x="2045870" y="2732257"/>
                  <a:pt x="2045870" y="2732257"/>
                  <a:pt x="2044991" y="2735538"/>
                </a:cubicBezTo>
                <a:cubicBezTo>
                  <a:pt x="2044991" y="2735538"/>
                  <a:pt x="2044991" y="2735538"/>
                  <a:pt x="2048271" y="2736415"/>
                </a:cubicBezTo>
                <a:cubicBezTo>
                  <a:pt x="2048271" y="2736415"/>
                  <a:pt x="2049149" y="2733136"/>
                  <a:pt x="2049149" y="2733136"/>
                </a:cubicBezTo>
                <a:cubicBezTo>
                  <a:pt x="2047392" y="2739696"/>
                  <a:pt x="2044755" y="2749537"/>
                  <a:pt x="2048035" y="2750415"/>
                </a:cubicBezTo>
                <a:cubicBezTo>
                  <a:pt x="2026533" y="2804424"/>
                  <a:pt x="2008310" y="2859309"/>
                  <a:pt x="1995770" y="2919234"/>
                </a:cubicBezTo>
                <a:cubicBezTo>
                  <a:pt x="1992897" y="2943075"/>
                  <a:pt x="1988501" y="2959475"/>
                  <a:pt x="1981470" y="2985718"/>
                </a:cubicBezTo>
                <a:cubicBezTo>
                  <a:pt x="1976840" y="3016119"/>
                  <a:pt x="1971976" y="3060521"/>
                  <a:pt x="1964707" y="3100763"/>
                </a:cubicBezTo>
                <a:cubicBezTo>
                  <a:pt x="1959841" y="3145164"/>
                  <a:pt x="1955856" y="3186286"/>
                  <a:pt x="1953626" y="3220847"/>
                </a:cubicBezTo>
                <a:cubicBezTo>
                  <a:pt x="1949875" y="3247969"/>
                  <a:pt x="1949639" y="3261969"/>
                  <a:pt x="1948288" y="3293249"/>
                </a:cubicBezTo>
                <a:cubicBezTo>
                  <a:pt x="1949811" y="3300688"/>
                  <a:pt x="1947174" y="3310529"/>
                  <a:pt x="1945417" y="3317092"/>
                </a:cubicBezTo>
                <a:cubicBezTo>
                  <a:pt x="1944301" y="3334371"/>
                  <a:pt x="1950626" y="3350128"/>
                  <a:pt x="1946232" y="3366530"/>
                </a:cubicBezTo>
                <a:cubicBezTo>
                  <a:pt x="1946232" y="3366530"/>
                  <a:pt x="1942952" y="3365651"/>
                  <a:pt x="1942952" y="3365651"/>
                </a:cubicBezTo>
                <a:cubicBezTo>
                  <a:pt x="1943831" y="3362372"/>
                  <a:pt x="1939671" y="3364773"/>
                  <a:pt x="1942074" y="3368931"/>
                </a:cubicBezTo>
                <a:cubicBezTo>
                  <a:pt x="1941194" y="3372213"/>
                  <a:pt x="1940315" y="3375492"/>
                  <a:pt x="1940315" y="3375492"/>
                </a:cubicBezTo>
                <a:cubicBezTo>
                  <a:pt x="1943595" y="3376371"/>
                  <a:pt x="1942716" y="3379652"/>
                  <a:pt x="1942716" y="3379652"/>
                </a:cubicBezTo>
                <a:cubicBezTo>
                  <a:pt x="1939437" y="3378772"/>
                  <a:pt x="1938557" y="3382053"/>
                  <a:pt x="1937678" y="3385333"/>
                </a:cubicBezTo>
                <a:cubicBezTo>
                  <a:pt x="1940079" y="3389492"/>
                  <a:pt x="1940958" y="3386211"/>
                  <a:pt x="1944239" y="3387091"/>
                </a:cubicBezTo>
                <a:cubicBezTo>
                  <a:pt x="1944239" y="3387091"/>
                  <a:pt x="1943359" y="3390371"/>
                  <a:pt x="1943359" y="3390371"/>
                </a:cubicBezTo>
                <a:cubicBezTo>
                  <a:pt x="1942481" y="3393652"/>
                  <a:pt x="1944882" y="3397810"/>
                  <a:pt x="1944882" y="3397810"/>
                </a:cubicBezTo>
                <a:cubicBezTo>
                  <a:pt x="1948161" y="3398690"/>
                  <a:pt x="1949041" y="3395409"/>
                  <a:pt x="1949920" y="3392128"/>
                </a:cubicBezTo>
                <a:cubicBezTo>
                  <a:pt x="1946640" y="3391250"/>
                  <a:pt x="1946640" y="3391250"/>
                  <a:pt x="1946640" y="3391250"/>
                </a:cubicBezTo>
                <a:cubicBezTo>
                  <a:pt x="1950798" y="3388848"/>
                  <a:pt x="1950798" y="3388848"/>
                  <a:pt x="1950798" y="3388848"/>
                </a:cubicBezTo>
                <a:cubicBezTo>
                  <a:pt x="1947048" y="3415971"/>
                  <a:pt x="1946341" y="3457970"/>
                  <a:pt x="1955068" y="3477887"/>
                </a:cubicBezTo>
                <a:cubicBezTo>
                  <a:pt x="1953718" y="3509167"/>
                  <a:pt x="1958692" y="3556207"/>
                  <a:pt x="1967593" y="3614845"/>
                </a:cubicBezTo>
                <a:cubicBezTo>
                  <a:pt x="1964311" y="3613965"/>
                  <a:pt x="1964311" y="3613965"/>
                  <a:pt x="1964311" y="3613965"/>
                </a:cubicBezTo>
                <a:cubicBezTo>
                  <a:pt x="1964311" y="3613965"/>
                  <a:pt x="1965190" y="3610685"/>
                  <a:pt x="1965190" y="3610685"/>
                </a:cubicBezTo>
                <a:cubicBezTo>
                  <a:pt x="1962788" y="3606525"/>
                  <a:pt x="1963667" y="3603245"/>
                  <a:pt x="1959509" y="3605646"/>
                </a:cubicBezTo>
                <a:cubicBezTo>
                  <a:pt x="1959509" y="3605646"/>
                  <a:pt x="1958629" y="3608926"/>
                  <a:pt x="1961030" y="3613086"/>
                </a:cubicBezTo>
                <a:cubicBezTo>
                  <a:pt x="1960151" y="3616366"/>
                  <a:pt x="1960151" y="3616366"/>
                  <a:pt x="1962553" y="3620525"/>
                </a:cubicBezTo>
                <a:cubicBezTo>
                  <a:pt x="1959273" y="3619647"/>
                  <a:pt x="1958393" y="3622927"/>
                  <a:pt x="1956636" y="3629487"/>
                </a:cubicBezTo>
                <a:cubicBezTo>
                  <a:pt x="1958276" y="3629926"/>
                  <a:pt x="1959916" y="3630366"/>
                  <a:pt x="1960956" y="3629767"/>
                </a:cubicBezTo>
                <a:lnTo>
                  <a:pt x="1961195" y="3627779"/>
                </a:lnTo>
                <a:lnTo>
                  <a:pt x="1965598" y="3635404"/>
                </a:lnTo>
                <a:cubicBezTo>
                  <a:pt x="1966476" y="3632124"/>
                  <a:pt x="1967355" y="3628843"/>
                  <a:pt x="1968235" y="3625564"/>
                </a:cubicBezTo>
                <a:cubicBezTo>
                  <a:pt x="1975438" y="3638041"/>
                  <a:pt x="1980241" y="3646361"/>
                  <a:pt x="1982406" y="3664519"/>
                </a:cubicBezTo>
                <a:cubicBezTo>
                  <a:pt x="1980005" y="3660359"/>
                  <a:pt x="1979127" y="3663639"/>
                  <a:pt x="1978248" y="3666921"/>
                </a:cubicBezTo>
                <a:cubicBezTo>
                  <a:pt x="1980413" y="3685079"/>
                  <a:pt x="1992420" y="3705876"/>
                  <a:pt x="1993063" y="3716595"/>
                </a:cubicBezTo>
                <a:cubicBezTo>
                  <a:pt x="1993063" y="3716595"/>
                  <a:pt x="1989783" y="3715716"/>
                  <a:pt x="1990662" y="3712437"/>
                </a:cubicBezTo>
                <a:cubicBezTo>
                  <a:pt x="1994349" y="3738035"/>
                  <a:pt x="2006357" y="3758832"/>
                  <a:pt x="2000440" y="3767792"/>
                </a:cubicBezTo>
                <a:cubicBezTo>
                  <a:pt x="2001319" y="3764513"/>
                  <a:pt x="2003721" y="3768672"/>
                  <a:pt x="2002841" y="3771952"/>
                </a:cubicBezTo>
                <a:cubicBezTo>
                  <a:pt x="2010925" y="3781150"/>
                  <a:pt x="2005477" y="3762112"/>
                  <a:pt x="2006357" y="3758832"/>
                </a:cubicBezTo>
                <a:cubicBezTo>
                  <a:pt x="2010925" y="3781150"/>
                  <a:pt x="2009166" y="3787711"/>
                  <a:pt x="2017248" y="3796907"/>
                </a:cubicBezTo>
                <a:cubicBezTo>
                  <a:pt x="2013090" y="3799309"/>
                  <a:pt x="2008288" y="3790991"/>
                  <a:pt x="2012210" y="3802590"/>
                </a:cubicBezTo>
                <a:cubicBezTo>
                  <a:pt x="2017892" y="3807629"/>
                  <a:pt x="2015491" y="3803468"/>
                  <a:pt x="2020293" y="3811786"/>
                </a:cubicBezTo>
                <a:cubicBezTo>
                  <a:pt x="2023573" y="3812666"/>
                  <a:pt x="2022695" y="3815946"/>
                  <a:pt x="2022695" y="3815946"/>
                </a:cubicBezTo>
                <a:cubicBezTo>
                  <a:pt x="2025096" y="3820106"/>
                  <a:pt x="2024217" y="3823386"/>
                  <a:pt x="2027497" y="3824264"/>
                </a:cubicBezTo>
                <a:cubicBezTo>
                  <a:pt x="2030778" y="3825144"/>
                  <a:pt x="2031657" y="3821863"/>
                  <a:pt x="2029256" y="3817704"/>
                </a:cubicBezTo>
                <a:cubicBezTo>
                  <a:pt x="2029256" y="3817704"/>
                  <a:pt x="2029256" y="3817704"/>
                  <a:pt x="2030134" y="3814423"/>
                </a:cubicBezTo>
                <a:cubicBezTo>
                  <a:pt x="2038626" y="3848341"/>
                  <a:pt x="2046708" y="3857538"/>
                  <a:pt x="2060002" y="3899774"/>
                </a:cubicBezTo>
                <a:cubicBezTo>
                  <a:pt x="2049926" y="3911137"/>
                  <a:pt x="2062403" y="3903934"/>
                  <a:pt x="2059530" y="3927774"/>
                </a:cubicBezTo>
                <a:cubicBezTo>
                  <a:pt x="2056251" y="3926896"/>
                  <a:pt x="2056251" y="3926896"/>
                  <a:pt x="2056251" y="3926896"/>
                </a:cubicBezTo>
                <a:cubicBezTo>
                  <a:pt x="2053849" y="3922736"/>
                  <a:pt x="2052969" y="3926018"/>
                  <a:pt x="2055372" y="3930176"/>
                </a:cubicBezTo>
                <a:cubicBezTo>
                  <a:pt x="2054492" y="3933457"/>
                  <a:pt x="2056893" y="3937615"/>
                  <a:pt x="2060174" y="3938494"/>
                </a:cubicBezTo>
                <a:cubicBezTo>
                  <a:pt x="2062575" y="3942653"/>
                  <a:pt x="2062575" y="3942653"/>
                  <a:pt x="2062575" y="3942653"/>
                </a:cubicBezTo>
                <a:cubicBezTo>
                  <a:pt x="2064098" y="3950093"/>
                  <a:pt x="2067378" y="3950971"/>
                  <a:pt x="2071537" y="3948570"/>
                </a:cubicBezTo>
                <a:cubicBezTo>
                  <a:pt x="2069779" y="3955131"/>
                  <a:pt x="2075461" y="3960170"/>
                  <a:pt x="2077862" y="3964329"/>
                </a:cubicBezTo>
                <a:cubicBezTo>
                  <a:pt x="2076340" y="3956889"/>
                  <a:pt x="2074817" y="3949450"/>
                  <a:pt x="2073296" y="3942009"/>
                </a:cubicBezTo>
                <a:cubicBezTo>
                  <a:pt x="2070015" y="3941131"/>
                  <a:pt x="2066735" y="3940252"/>
                  <a:pt x="2066735" y="3940252"/>
                </a:cubicBezTo>
                <a:cubicBezTo>
                  <a:pt x="2066735" y="3940252"/>
                  <a:pt x="2067614" y="3936973"/>
                  <a:pt x="2064334" y="3936093"/>
                </a:cubicBezTo>
                <a:cubicBezTo>
                  <a:pt x="2064334" y="3936093"/>
                  <a:pt x="2065212" y="3932813"/>
                  <a:pt x="2065212" y="3932813"/>
                </a:cubicBezTo>
                <a:cubicBezTo>
                  <a:pt x="2066091" y="3929533"/>
                  <a:pt x="2062811" y="3928653"/>
                  <a:pt x="2059530" y="3927774"/>
                </a:cubicBezTo>
                <a:cubicBezTo>
                  <a:pt x="2070485" y="3913130"/>
                  <a:pt x="2072479" y="3892570"/>
                  <a:pt x="2055670" y="3863455"/>
                </a:cubicBezTo>
                <a:cubicBezTo>
                  <a:pt x="2056550" y="3860175"/>
                  <a:pt x="2054147" y="3856016"/>
                  <a:pt x="2057428" y="3856895"/>
                </a:cubicBezTo>
                <a:cubicBezTo>
                  <a:pt x="2056550" y="3860175"/>
                  <a:pt x="2059829" y="3861055"/>
                  <a:pt x="2060708" y="3857775"/>
                </a:cubicBezTo>
                <a:cubicBezTo>
                  <a:pt x="2060708" y="3857775"/>
                  <a:pt x="2060708" y="3857775"/>
                  <a:pt x="2058307" y="3853615"/>
                </a:cubicBezTo>
                <a:cubicBezTo>
                  <a:pt x="2058307" y="3853615"/>
                  <a:pt x="2059185" y="3850335"/>
                  <a:pt x="2059185" y="3850335"/>
                </a:cubicBezTo>
                <a:cubicBezTo>
                  <a:pt x="2066830" y="3861173"/>
                  <a:pt x="2072013" y="3871351"/>
                  <a:pt x="2075527" y="3882839"/>
                </a:cubicBezTo>
                <a:lnTo>
                  <a:pt x="2081274" y="3919538"/>
                </a:lnTo>
                <a:lnTo>
                  <a:pt x="2079447" y="3919048"/>
                </a:lnTo>
                <a:cubicBezTo>
                  <a:pt x="2078568" y="3922330"/>
                  <a:pt x="2078568" y="3922330"/>
                  <a:pt x="2081850" y="3923208"/>
                </a:cubicBezTo>
                <a:cubicBezTo>
                  <a:pt x="2080091" y="3929767"/>
                  <a:pt x="2083371" y="3930646"/>
                  <a:pt x="2084894" y="3938087"/>
                </a:cubicBezTo>
                <a:cubicBezTo>
                  <a:pt x="2084894" y="3938087"/>
                  <a:pt x="2081612" y="3937209"/>
                  <a:pt x="2082492" y="3933927"/>
                </a:cubicBezTo>
                <a:cubicBezTo>
                  <a:pt x="2082492" y="3933927"/>
                  <a:pt x="2081612" y="3937209"/>
                  <a:pt x="2081612" y="3937209"/>
                </a:cubicBezTo>
                <a:cubicBezTo>
                  <a:pt x="2081612" y="3937209"/>
                  <a:pt x="2084015" y="3941367"/>
                  <a:pt x="2084015" y="3941367"/>
                </a:cubicBezTo>
                <a:cubicBezTo>
                  <a:pt x="2088582" y="3963685"/>
                  <a:pt x="2084187" y="3980086"/>
                  <a:pt x="2096193" y="4000883"/>
                </a:cubicBezTo>
                <a:cubicBezTo>
                  <a:pt x="2091391" y="3992564"/>
                  <a:pt x="2092913" y="4000005"/>
                  <a:pt x="2091155" y="4006565"/>
                </a:cubicBezTo>
                <a:cubicBezTo>
                  <a:pt x="2083952" y="3994087"/>
                  <a:pt x="2086589" y="3984246"/>
                  <a:pt x="2079149" y="3985769"/>
                </a:cubicBezTo>
                <a:cubicBezTo>
                  <a:pt x="2090276" y="4009844"/>
                  <a:pt x="2096601" y="4025603"/>
                  <a:pt x="2105093" y="4059520"/>
                </a:cubicBezTo>
                <a:cubicBezTo>
                  <a:pt x="2101812" y="4058642"/>
                  <a:pt x="2104213" y="4062800"/>
                  <a:pt x="2103334" y="4066081"/>
                </a:cubicBezTo>
                <a:cubicBezTo>
                  <a:pt x="2105736" y="4070241"/>
                  <a:pt x="2108137" y="4074399"/>
                  <a:pt x="2109017" y="4071119"/>
                </a:cubicBezTo>
                <a:cubicBezTo>
                  <a:pt x="2110538" y="4078557"/>
                  <a:pt x="2116220" y="4083597"/>
                  <a:pt x="2124302" y="4092795"/>
                </a:cubicBezTo>
                <a:cubicBezTo>
                  <a:pt x="2120144" y="4095196"/>
                  <a:pt x="2115340" y="4086877"/>
                  <a:pt x="2116863" y="4094316"/>
                </a:cubicBezTo>
                <a:cubicBezTo>
                  <a:pt x="2120144" y="4095196"/>
                  <a:pt x="2121665" y="4102634"/>
                  <a:pt x="2124946" y="4103514"/>
                </a:cubicBezTo>
                <a:cubicBezTo>
                  <a:pt x="2124946" y="4103514"/>
                  <a:pt x="2124068" y="4106796"/>
                  <a:pt x="2127347" y="4107674"/>
                </a:cubicBezTo>
                <a:cubicBezTo>
                  <a:pt x="2126469" y="4110953"/>
                  <a:pt x="2126469" y="4110953"/>
                  <a:pt x="2126469" y="4110953"/>
                </a:cubicBezTo>
                <a:cubicBezTo>
                  <a:pt x="2129749" y="4111834"/>
                  <a:pt x="2129749" y="4111834"/>
                  <a:pt x="2129749" y="4111834"/>
                </a:cubicBezTo>
                <a:cubicBezTo>
                  <a:pt x="2127347" y="4107674"/>
                  <a:pt x="2127347" y="4107674"/>
                  <a:pt x="2127347" y="4107674"/>
                </a:cubicBezTo>
                <a:cubicBezTo>
                  <a:pt x="2128226" y="4104393"/>
                  <a:pt x="2128226" y="4104393"/>
                  <a:pt x="2128226" y="4104393"/>
                </a:cubicBezTo>
                <a:cubicBezTo>
                  <a:pt x="2134551" y="4120150"/>
                  <a:pt x="2134551" y="4120150"/>
                  <a:pt x="2134551" y="4120150"/>
                </a:cubicBezTo>
                <a:cubicBezTo>
                  <a:pt x="2132150" y="4115992"/>
                  <a:pt x="2128870" y="4115113"/>
                  <a:pt x="2131272" y="4119272"/>
                </a:cubicBezTo>
                <a:cubicBezTo>
                  <a:pt x="2149602" y="4155826"/>
                  <a:pt x="2179533" y="4188456"/>
                  <a:pt x="2205304" y="4223489"/>
                </a:cubicBezTo>
                <a:cubicBezTo>
                  <a:pt x="2235233" y="4256119"/>
                  <a:pt x="2261885" y="4287869"/>
                  <a:pt x="2288534" y="4319621"/>
                </a:cubicBezTo>
                <a:cubicBezTo>
                  <a:pt x="2286776" y="4326183"/>
                  <a:pt x="2283495" y="4325304"/>
                  <a:pt x="2276936" y="4323545"/>
                </a:cubicBezTo>
                <a:cubicBezTo>
                  <a:pt x="2302064" y="4347856"/>
                  <a:pt x="2318229" y="4366253"/>
                  <a:pt x="2338554" y="4382245"/>
                </a:cubicBezTo>
                <a:cubicBezTo>
                  <a:pt x="2358000" y="4401520"/>
                  <a:pt x="2378325" y="4417513"/>
                  <a:pt x="2402574" y="4445104"/>
                </a:cubicBezTo>
                <a:cubicBezTo>
                  <a:pt x="2400173" y="4440946"/>
                  <a:pt x="2400173" y="4440946"/>
                  <a:pt x="2399295" y="4444226"/>
                </a:cubicBezTo>
                <a:cubicBezTo>
                  <a:pt x="2399295" y="4444226"/>
                  <a:pt x="2398414" y="4447507"/>
                  <a:pt x="2400815" y="4451665"/>
                </a:cubicBezTo>
                <a:cubicBezTo>
                  <a:pt x="2399937" y="4454946"/>
                  <a:pt x="2399937" y="4454946"/>
                  <a:pt x="2399937" y="4454946"/>
                </a:cubicBezTo>
                <a:cubicBezTo>
                  <a:pt x="2405619" y="4459984"/>
                  <a:pt x="2410421" y="4468302"/>
                  <a:pt x="2414581" y="4465901"/>
                </a:cubicBezTo>
                <a:cubicBezTo>
                  <a:pt x="2413701" y="4469181"/>
                  <a:pt x="2416102" y="4473341"/>
                  <a:pt x="2419383" y="4474219"/>
                </a:cubicBezTo>
                <a:cubicBezTo>
                  <a:pt x="2421785" y="4478379"/>
                  <a:pt x="2422665" y="4475099"/>
                  <a:pt x="2422665" y="4475099"/>
                </a:cubicBezTo>
                <a:cubicBezTo>
                  <a:pt x="2423543" y="4471818"/>
                  <a:pt x="2423543" y="4471818"/>
                  <a:pt x="2423543" y="4471818"/>
                </a:cubicBezTo>
                <a:cubicBezTo>
                  <a:pt x="2436427" y="4489334"/>
                  <a:pt x="2446268" y="4491971"/>
                  <a:pt x="2459154" y="4509487"/>
                </a:cubicBezTo>
                <a:cubicBezTo>
                  <a:pt x="2461791" y="4499646"/>
                  <a:pt x="2465714" y="4511245"/>
                  <a:pt x="2468994" y="4512124"/>
                </a:cubicBezTo>
                <a:cubicBezTo>
                  <a:pt x="2460913" y="4502926"/>
                  <a:pt x="2467473" y="4504684"/>
                  <a:pt x="2462671" y="4496365"/>
                </a:cubicBezTo>
                <a:cubicBezTo>
                  <a:pt x="2456989" y="4491328"/>
                  <a:pt x="2464194" y="4503806"/>
                  <a:pt x="2455230" y="4497888"/>
                </a:cubicBezTo>
                <a:cubicBezTo>
                  <a:pt x="2451306" y="4486290"/>
                  <a:pt x="2442344" y="4480372"/>
                  <a:pt x="2440823" y="4472932"/>
                </a:cubicBezTo>
                <a:cubicBezTo>
                  <a:pt x="2443224" y="4477092"/>
                  <a:pt x="2445625" y="4481252"/>
                  <a:pt x="2448905" y="4482130"/>
                </a:cubicBezTo>
                <a:cubicBezTo>
                  <a:pt x="2436021" y="4464614"/>
                  <a:pt x="2420734" y="4442939"/>
                  <a:pt x="2402166" y="4420385"/>
                </a:cubicBezTo>
                <a:cubicBezTo>
                  <a:pt x="2383599" y="4397831"/>
                  <a:pt x="2365032" y="4375276"/>
                  <a:pt x="2348865" y="4356882"/>
                </a:cubicBezTo>
                <a:cubicBezTo>
                  <a:pt x="2352147" y="4357761"/>
                  <a:pt x="2353025" y="4354481"/>
                  <a:pt x="2350624" y="4350321"/>
                </a:cubicBezTo>
                <a:cubicBezTo>
                  <a:pt x="2335337" y="4328647"/>
                  <a:pt x="2322451" y="4311131"/>
                  <a:pt x="2311324" y="4287054"/>
                </a:cubicBezTo>
                <a:cubicBezTo>
                  <a:pt x="2303885" y="4288577"/>
                  <a:pt x="2301719" y="4270417"/>
                  <a:pt x="2296917" y="4262099"/>
                </a:cubicBezTo>
                <a:cubicBezTo>
                  <a:pt x="2294514" y="4257939"/>
                  <a:pt x="2290356" y="4260340"/>
                  <a:pt x="2288833" y="4252901"/>
                </a:cubicBezTo>
                <a:cubicBezTo>
                  <a:pt x="2285552" y="4252022"/>
                  <a:pt x="2284909" y="4241302"/>
                  <a:pt x="2280107" y="4232984"/>
                </a:cubicBezTo>
                <a:cubicBezTo>
                  <a:pt x="2272902" y="4220507"/>
                  <a:pt x="2262419" y="4207150"/>
                  <a:pt x="2255216" y="4194671"/>
                </a:cubicBezTo>
                <a:cubicBezTo>
                  <a:pt x="2245609" y="4178035"/>
                  <a:pt x="2242330" y="4177155"/>
                  <a:pt x="2233602" y="4157238"/>
                </a:cubicBezTo>
                <a:cubicBezTo>
                  <a:pt x="2208711" y="4118927"/>
                  <a:pt x="2191494" y="4065092"/>
                  <a:pt x="2178608" y="4047576"/>
                </a:cubicBezTo>
                <a:cubicBezTo>
                  <a:pt x="2181245" y="4037736"/>
                  <a:pt x="2167482" y="4023500"/>
                  <a:pt x="2162677" y="4015182"/>
                </a:cubicBezTo>
                <a:cubicBezTo>
                  <a:pt x="2168360" y="4020220"/>
                  <a:pt x="2165958" y="4016061"/>
                  <a:pt x="2166837" y="4012780"/>
                </a:cubicBezTo>
                <a:cubicBezTo>
                  <a:pt x="2150027" y="3983666"/>
                  <a:pt x="2146576" y="3944067"/>
                  <a:pt x="2126722" y="3900073"/>
                </a:cubicBezTo>
                <a:cubicBezTo>
                  <a:pt x="2117115" y="3883437"/>
                  <a:pt x="2121040" y="3895035"/>
                  <a:pt x="2116473" y="3872717"/>
                </a:cubicBezTo>
                <a:cubicBezTo>
                  <a:pt x="2113428" y="3857837"/>
                  <a:pt x="2106223" y="3845361"/>
                  <a:pt x="2103179" y="3830480"/>
                </a:cubicBezTo>
                <a:cubicBezTo>
                  <a:pt x="2089243" y="3777526"/>
                  <a:pt x="2078585" y="3725448"/>
                  <a:pt x="2069451" y="3680812"/>
                </a:cubicBezTo>
                <a:cubicBezTo>
                  <a:pt x="2064005" y="3661772"/>
                  <a:pt x="2064241" y="3647773"/>
                  <a:pt x="2057037" y="3635295"/>
                </a:cubicBezTo>
                <a:cubicBezTo>
                  <a:pt x="2057916" y="3632014"/>
                  <a:pt x="2057916" y="3632014"/>
                  <a:pt x="2058794" y="3628734"/>
                </a:cubicBezTo>
                <a:cubicBezTo>
                  <a:pt x="2059674" y="3625453"/>
                  <a:pt x="2062311" y="3615613"/>
                  <a:pt x="2056865" y="3596574"/>
                </a:cubicBezTo>
                <a:cubicBezTo>
                  <a:pt x="2055343" y="3589135"/>
                  <a:pt x="2051419" y="3577537"/>
                  <a:pt x="2049896" y="3570096"/>
                </a:cubicBezTo>
                <a:cubicBezTo>
                  <a:pt x="2047966" y="3537937"/>
                  <a:pt x="2047794" y="3499218"/>
                  <a:pt x="2040589" y="3486740"/>
                </a:cubicBezTo>
                <a:cubicBezTo>
                  <a:pt x="2048673" y="3495938"/>
                  <a:pt x="2039538" y="3451300"/>
                  <a:pt x="2035615" y="3439701"/>
                </a:cubicBezTo>
                <a:cubicBezTo>
                  <a:pt x="2042412" y="3427459"/>
                  <a:pt x="2032161" y="3400103"/>
                  <a:pt x="2035915" y="3372981"/>
                </a:cubicBezTo>
                <a:cubicBezTo>
                  <a:pt x="2036793" y="3369701"/>
                  <a:pt x="2029353" y="3371223"/>
                  <a:pt x="2031990" y="3361383"/>
                </a:cubicBezTo>
                <a:cubicBezTo>
                  <a:pt x="2037029" y="3355701"/>
                  <a:pt x="2036620" y="3330981"/>
                  <a:pt x="2032461" y="3333382"/>
                </a:cubicBezTo>
                <a:cubicBezTo>
                  <a:pt x="2041659" y="3325299"/>
                  <a:pt x="2033811" y="3302102"/>
                  <a:pt x="2038849" y="3296420"/>
                </a:cubicBezTo>
                <a:cubicBezTo>
                  <a:pt x="2032289" y="3294661"/>
                  <a:pt x="2029888" y="3290503"/>
                  <a:pt x="2027486" y="3286343"/>
                </a:cubicBezTo>
                <a:cubicBezTo>
                  <a:pt x="2025963" y="3278904"/>
                  <a:pt x="2026842" y="3275624"/>
                  <a:pt x="2025321" y="3268185"/>
                </a:cubicBezTo>
                <a:cubicBezTo>
                  <a:pt x="2024913" y="3243464"/>
                  <a:pt x="2029543" y="3213062"/>
                  <a:pt x="2033294" y="3185942"/>
                </a:cubicBezTo>
                <a:cubicBezTo>
                  <a:pt x="2035053" y="3179382"/>
                  <a:pt x="2040090" y="3173700"/>
                  <a:pt x="2040090" y="3173700"/>
                </a:cubicBezTo>
                <a:cubicBezTo>
                  <a:pt x="2037689" y="3169540"/>
                  <a:pt x="2038567" y="3166260"/>
                  <a:pt x="2036166" y="3162101"/>
                </a:cubicBezTo>
                <a:cubicBezTo>
                  <a:pt x="2037046" y="3158821"/>
                  <a:pt x="2037046" y="3158821"/>
                  <a:pt x="2037046" y="3158821"/>
                </a:cubicBezTo>
                <a:cubicBezTo>
                  <a:pt x="2049758" y="3137617"/>
                  <a:pt x="2048707" y="3102177"/>
                  <a:pt x="2049179" y="3074176"/>
                </a:cubicBezTo>
                <a:cubicBezTo>
                  <a:pt x="2052459" y="3075055"/>
                  <a:pt x="2052459" y="3075055"/>
                  <a:pt x="2052459" y="3075055"/>
                </a:cubicBezTo>
                <a:cubicBezTo>
                  <a:pt x="2058377" y="3066094"/>
                  <a:pt x="2046134" y="3059297"/>
                  <a:pt x="2056854" y="3058653"/>
                </a:cubicBezTo>
                <a:cubicBezTo>
                  <a:pt x="2061248" y="3042252"/>
                  <a:pt x="2052052" y="3050336"/>
                  <a:pt x="2055566" y="3037215"/>
                </a:cubicBezTo>
                <a:cubicBezTo>
                  <a:pt x="2058847" y="3038094"/>
                  <a:pt x="2060604" y="3031533"/>
                  <a:pt x="2064764" y="3029132"/>
                </a:cubicBezTo>
                <a:cubicBezTo>
                  <a:pt x="2061720" y="3014253"/>
                  <a:pt x="2065236" y="3001131"/>
                  <a:pt x="2072911" y="2985608"/>
                </a:cubicBezTo>
                <a:cubicBezTo>
                  <a:pt x="2064827" y="2976412"/>
                  <a:pt x="2076661" y="2958488"/>
                  <a:pt x="2075140" y="2951048"/>
                </a:cubicBezTo>
                <a:cubicBezTo>
                  <a:pt x="2078420" y="2951927"/>
                  <a:pt x="2079298" y="2948647"/>
                  <a:pt x="2079298" y="2948647"/>
                </a:cubicBezTo>
                <a:cubicBezTo>
                  <a:pt x="2078011" y="2927207"/>
                  <a:pt x="2085687" y="2911684"/>
                  <a:pt x="2090081" y="2895283"/>
                </a:cubicBezTo>
                <a:lnTo>
                  <a:pt x="2091816" y="2888809"/>
                </a:lnTo>
                <a:lnTo>
                  <a:pt x="2099621" y="2853246"/>
                </a:lnTo>
                <a:lnTo>
                  <a:pt x="2099985" y="2845200"/>
                </a:lnTo>
                <a:lnTo>
                  <a:pt x="2100816" y="2847794"/>
                </a:lnTo>
                <a:lnTo>
                  <a:pt x="2110855" y="2802050"/>
                </a:lnTo>
                <a:cubicBezTo>
                  <a:pt x="2139494" y="2686470"/>
                  <a:pt x="2177524" y="2572693"/>
                  <a:pt x="2224554" y="2460779"/>
                </a:cubicBezTo>
                <a:cubicBezTo>
                  <a:pt x="2261933" y="2371289"/>
                  <a:pt x="2306319" y="2285989"/>
                  <a:pt x="2358682" y="2205979"/>
                </a:cubicBezTo>
                <a:close/>
                <a:moveTo>
                  <a:pt x="6077176" y="2118185"/>
                </a:moveTo>
                <a:cubicBezTo>
                  <a:pt x="6090509" y="2134875"/>
                  <a:pt x="6099173" y="2152560"/>
                  <a:pt x="6112507" y="2169248"/>
                </a:cubicBezTo>
                <a:cubicBezTo>
                  <a:pt x="6107837" y="2170245"/>
                  <a:pt x="6107837" y="2170245"/>
                  <a:pt x="6107837" y="2170245"/>
                </a:cubicBezTo>
                <a:cubicBezTo>
                  <a:pt x="6106839" y="2165575"/>
                  <a:pt x="6100172" y="2157231"/>
                  <a:pt x="6099173" y="2152560"/>
                </a:cubicBezTo>
                <a:cubicBezTo>
                  <a:pt x="6093505" y="2148886"/>
                  <a:pt x="6086839" y="2140543"/>
                  <a:pt x="6085839" y="2135872"/>
                </a:cubicBezTo>
                <a:cubicBezTo>
                  <a:pt x="6085839" y="2135872"/>
                  <a:pt x="6080171" y="2132198"/>
                  <a:pt x="6080171" y="2132198"/>
                </a:cubicBezTo>
                <a:cubicBezTo>
                  <a:pt x="6074503" y="2128525"/>
                  <a:pt x="6074503" y="2128525"/>
                  <a:pt x="6073503" y="2123854"/>
                </a:cubicBezTo>
                <a:cubicBezTo>
                  <a:pt x="6072505" y="2119184"/>
                  <a:pt x="6072505" y="2119184"/>
                  <a:pt x="6077176" y="2118185"/>
                </a:cubicBezTo>
                <a:close/>
                <a:moveTo>
                  <a:pt x="2109589" y="1937684"/>
                </a:moveTo>
                <a:lnTo>
                  <a:pt x="2088831" y="1976351"/>
                </a:lnTo>
                <a:cubicBezTo>
                  <a:pt x="2085892" y="1983950"/>
                  <a:pt x="2083769" y="1991818"/>
                  <a:pt x="2082998" y="2000064"/>
                </a:cubicBezTo>
                <a:lnTo>
                  <a:pt x="2083339" y="2004008"/>
                </a:lnTo>
                <a:lnTo>
                  <a:pt x="2078984" y="2013244"/>
                </a:lnTo>
                <a:cubicBezTo>
                  <a:pt x="2076353" y="2018080"/>
                  <a:pt x="2071513" y="2023999"/>
                  <a:pt x="2058996" y="2033998"/>
                </a:cubicBezTo>
                <a:cubicBezTo>
                  <a:pt x="2069337" y="2036673"/>
                  <a:pt x="2023944" y="2075676"/>
                  <a:pt x="2025940" y="2085019"/>
                </a:cubicBezTo>
                <a:cubicBezTo>
                  <a:pt x="2045302" y="2061345"/>
                  <a:pt x="2027935" y="2094361"/>
                  <a:pt x="2020588" y="2105699"/>
                </a:cubicBezTo>
                <a:cubicBezTo>
                  <a:pt x="2015917" y="2106696"/>
                  <a:pt x="2014918" y="2102026"/>
                  <a:pt x="2019591" y="2101027"/>
                </a:cubicBezTo>
                <a:cubicBezTo>
                  <a:pt x="2018592" y="2096357"/>
                  <a:pt x="2018592" y="2096357"/>
                  <a:pt x="2018592" y="2096357"/>
                </a:cubicBezTo>
                <a:cubicBezTo>
                  <a:pt x="2017595" y="2091686"/>
                  <a:pt x="2018592" y="2096357"/>
                  <a:pt x="2013921" y="2097355"/>
                </a:cubicBezTo>
                <a:cubicBezTo>
                  <a:pt x="2010248" y="2103023"/>
                  <a:pt x="2010248" y="2103023"/>
                  <a:pt x="2010248" y="2103023"/>
                </a:cubicBezTo>
                <a:cubicBezTo>
                  <a:pt x="2007573" y="2113364"/>
                  <a:pt x="2013243" y="2117038"/>
                  <a:pt x="2013243" y="2117038"/>
                </a:cubicBezTo>
                <a:cubicBezTo>
                  <a:pt x="2014240" y="2121707"/>
                  <a:pt x="2010567" y="2127376"/>
                  <a:pt x="2006894" y="2133046"/>
                </a:cubicBezTo>
                <a:cubicBezTo>
                  <a:pt x="2002223" y="2134043"/>
                  <a:pt x="2002223" y="2134043"/>
                  <a:pt x="1997551" y="2135041"/>
                </a:cubicBezTo>
                <a:cubicBezTo>
                  <a:pt x="1997551" y="2135041"/>
                  <a:pt x="1996554" y="2130371"/>
                  <a:pt x="1996554" y="2130371"/>
                </a:cubicBezTo>
                <a:cubicBezTo>
                  <a:pt x="1996554" y="2130371"/>
                  <a:pt x="1996554" y="2130371"/>
                  <a:pt x="1991884" y="2131368"/>
                </a:cubicBezTo>
                <a:cubicBezTo>
                  <a:pt x="1991884" y="2131368"/>
                  <a:pt x="1992881" y="2136040"/>
                  <a:pt x="1992881" y="2136040"/>
                </a:cubicBezTo>
                <a:cubicBezTo>
                  <a:pt x="1992881" y="2136040"/>
                  <a:pt x="1993879" y="2140711"/>
                  <a:pt x="1993879" y="2140711"/>
                </a:cubicBezTo>
                <a:cubicBezTo>
                  <a:pt x="1994876" y="2145381"/>
                  <a:pt x="1990205" y="2146379"/>
                  <a:pt x="1991204" y="2151051"/>
                </a:cubicBezTo>
                <a:cubicBezTo>
                  <a:pt x="1986534" y="2152048"/>
                  <a:pt x="1987531" y="2156719"/>
                  <a:pt x="1987531" y="2156719"/>
                </a:cubicBezTo>
                <a:cubicBezTo>
                  <a:pt x="1982860" y="2157718"/>
                  <a:pt x="1982860" y="2157718"/>
                  <a:pt x="1982860" y="2157718"/>
                </a:cubicBezTo>
                <a:cubicBezTo>
                  <a:pt x="1979187" y="2163386"/>
                  <a:pt x="1979187" y="2163386"/>
                  <a:pt x="1979187" y="2163386"/>
                </a:cubicBezTo>
                <a:cubicBezTo>
                  <a:pt x="1983857" y="2162388"/>
                  <a:pt x="1983857" y="2162388"/>
                  <a:pt x="1983857" y="2162388"/>
                </a:cubicBezTo>
                <a:cubicBezTo>
                  <a:pt x="1979187" y="2163386"/>
                  <a:pt x="1980184" y="2168057"/>
                  <a:pt x="1980184" y="2168057"/>
                </a:cubicBezTo>
                <a:cubicBezTo>
                  <a:pt x="1965493" y="2190733"/>
                  <a:pt x="1950798" y="2213409"/>
                  <a:pt x="1939781" y="2230416"/>
                </a:cubicBezTo>
                <a:cubicBezTo>
                  <a:pt x="1935109" y="2231414"/>
                  <a:pt x="1935109" y="2231414"/>
                  <a:pt x="1935109" y="2231414"/>
                </a:cubicBezTo>
                <a:cubicBezTo>
                  <a:pt x="1936107" y="2236085"/>
                  <a:pt x="1936107" y="2236085"/>
                  <a:pt x="1936107" y="2236085"/>
                </a:cubicBezTo>
                <a:cubicBezTo>
                  <a:pt x="1932434" y="2241754"/>
                  <a:pt x="1932434" y="2241754"/>
                  <a:pt x="1932434" y="2241754"/>
                </a:cubicBezTo>
                <a:cubicBezTo>
                  <a:pt x="1933433" y="2246425"/>
                  <a:pt x="1933433" y="2246425"/>
                  <a:pt x="1933433" y="2246425"/>
                </a:cubicBezTo>
                <a:cubicBezTo>
                  <a:pt x="1932434" y="2241754"/>
                  <a:pt x="1932434" y="2241754"/>
                  <a:pt x="1926765" y="2238080"/>
                </a:cubicBezTo>
                <a:cubicBezTo>
                  <a:pt x="1923091" y="2243750"/>
                  <a:pt x="1919419" y="2249418"/>
                  <a:pt x="1912072" y="2260756"/>
                </a:cubicBezTo>
                <a:cubicBezTo>
                  <a:pt x="1912072" y="2260756"/>
                  <a:pt x="1912072" y="2260756"/>
                  <a:pt x="1907402" y="2261755"/>
                </a:cubicBezTo>
                <a:lnTo>
                  <a:pt x="1905146" y="2259025"/>
                </a:lnTo>
                <a:lnTo>
                  <a:pt x="1906944" y="2256251"/>
                </a:lnTo>
                <a:lnTo>
                  <a:pt x="1908825" y="2254124"/>
                </a:lnTo>
                <a:cubicBezTo>
                  <a:pt x="1912413" y="2250916"/>
                  <a:pt x="1916585" y="2247581"/>
                  <a:pt x="1913750" y="2245744"/>
                </a:cubicBezTo>
                <a:lnTo>
                  <a:pt x="1906944" y="2256251"/>
                </a:lnTo>
                <a:lnTo>
                  <a:pt x="1904828" y="2258642"/>
                </a:lnTo>
                <a:lnTo>
                  <a:pt x="1905146" y="2259025"/>
                </a:lnTo>
                <a:lnTo>
                  <a:pt x="1888038" y="2285428"/>
                </a:lnTo>
                <a:cubicBezTo>
                  <a:pt x="1880691" y="2296766"/>
                  <a:pt x="1877020" y="2302434"/>
                  <a:pt x="1869672" y="2313773"/>
                </a:cubicBezTo>
                <a:cubicBezTo>
                  <a:pt x="1865998" y="2319442"/>
                  <a:pt x="1858653" y="2330779"/>
                  <a:pt x="1855978" y="2341119"/>
                </a:cubicBezTo>
                <a:cubicBezTo>
                  <a:pt x="1844959" y="2358126"/>
                  <a:pt x="1836615" y="2364794"/>
                  <a:pt x="1822921" y="2392140"/>
                </a:cubicBezTo>
                <a:cubicBezTo>
                  <a:pt x="1819248" y="2397810"/>
                  <a:pt x="1815574" y="2403479"/>
                  <a:pt x="1816572" y="2408148"/>
                </a:cubicBezTo>
                <a:cubicBezTo>
                  <a:pt x="1811902" y="2409147"/>
                  <a:pt x="1812900" y="2413817"/>
                  <a:pt x="1808228" y="2414816"/>
                </a:cubicBezTo>
                <a:cubicBezTo>
                  <a:pt x="1808228" y="2414816"/>
                  <a:pt x="1804555" y="2420484"/>
                  <a:pt x="1804555" y="2420484"/>
                </a:cubicBezTo>
                <a:cubicBezTo>
                  <a:pt x="1800883" y="2426153"/>
                  <a:pt x="1797209" y="2431823"/>
                  <a:pt x="1794533" y="2442162"/>
                </a:cubicBezTo>
                <a:cubicBezTo>
                  <a:pt x="1793536" y="2437492"/>
                  <a:pt x="1782517" y="2454499"/>
                  <a:pt x="1788184" y="2458170"/>
                </a:cubicBezTo>
                <a:cubicBezTo>
                  <a:pt x="1784512" y="2463840"/>
                  <a:pt x="1780839" y="2469509"/>
                  <a:pt x="1777165" y="2475180"/>
                </a:cubicBezTo>
                <a:cubicBezTo>
                  <a:pt x="1744108" y="2526200"/>
                  <a:pt x="1709374" y="2592231"/>
                  <a:pt x="1685658" y="2641254"/>
                </a:cubicBezTo>
                <a:lnTo>
                  <a:pt x="1682599" y="2641908"/>
                </a:lnTo>
                <a:lnTo>
                  <a:pt x="1683636" y="2638298"/>
                </a:lnTo>
                <a:lnTo>
                  <a:pt x="1750713" y="2461519"/>
                </a:lnTo>
                <a:lnTo>
                  <a:pt x="1758144" y="2444367"/>
                </a:lnTo>
                <a:cubicBezTo>
                  <a:pt x="1760152" y="2441266"/>
                  <a:pt x="1761507" y="2441892"/>
                  <a:pt x="1761837" y="2449148"/>
                </a:cubicBezTo>
                <a:lnTo>
                  <a:pt x="1764852" y="2429816"/>
                </a:lnTo>
                <a:lnTo>
                  <a:pt x="1770123" y="2418679"/>
                </a:lnTo>
                <a:lnTo>
                  <a:pt x="1773535" y="2412460"/>
                </a:lnTo>
                <a:cubicBezTo>
                  <a:pt x="1773535" y="2412460"/>
                  <a:pt x="1774532" y="2417130"/>
                  <a:pt x="1778206" y="2411463"/>
                </a:cubicBezTo>
                <a:cubicBezTo>
                  <a:pt x="1780042" y="2408627"/>
                  <a:pt x="1779543" y="2406292"/>
                  <a:pt x="1779045" y="2403956"/>
                </a:cubicBezTo>
                <a:lnTo>
                  <a:pt x="1779650" y="2398547"/>
                </a:lnTo>
                <a:lnTo>
                  <a:pt x="1780549" y="2396643"/>
                </a:lnTo>
                <a:lnTo>
                  <a:pt x="1783219" y="2397418"/>
                </a:lnTo>
                <a:cubicBezTo>
                  <a:pt x="1790665" y="2392621"/>
                  <a:pt x="1806752" y="2373615"/>
                  <a:pt x="1798250" y="2368106"/>
                </a:cubicBezTo>
                <a:cubicBezTo>
                  <a:pt x="1807590" y="2366111"/>
                  <a:pt x="1819289" y="2329421"/>
                  <a:pt x="1818610" y="2349103"/>
                </a:cubicBezTo>
                <a:cubicBezTo>
                  <a:pt x="1842326" y="2300078"/>
                  <a:pt x="1864365" y="2266065"/>
                  <a:pt x="1881733" y="2233049"/>
                </a:cubicBezTo>
                <a:cubicBezTo>
                  <a:pt x="1885404" y="2227381"/>
                  <a:pt x="1892752" y="2216042"/>
                  <a:pt x="1896425" y="2210374"/>
                </a:cubicBezTo>
                <a:cubicBezTo>
                  <a:pt x="1925809" y="2165022"/>
                  <a:pt x="1956191" y="2124341"/>
                  <a:pt x="1991246" y="2082662"/>
                </a:cubicBezTo>
                <a:cubicBezTo>
                  <a:pt x="1999590" y="2075996"/>
                  <a:pt x="2015280" y="2057991"/>
                  <a:pt x="2014282" y="2053319"/>
                </a:cubicBezTo>
                <a:cubicBezTo>
                  <a:pt x="2014282" y="2053319"/>
                  <a:pt x="2014282" y="2053319"/>
                  <a:pt x="2013284" y="2048648"/>
                </a:cubicBezTo>
                <a:cubicBezTo>
                  <a:pt x="2013284" y="2048648"/>
                  <a:pt x="2018954" y="2052322"/>
                  <a:pt x="2018954" y="2052322"/>
                </a:cubicBezTo>
                <a:cubicBezTo>
                  <a:pt x="2022626" y="2046653"/>
                  <a:pt x="2027297" y="2045655"/>
                  <a:pt x="2026300" y="2040983"/>
                </a:cubicBezTo>
                <a:cubicBezTo>
                  <a:pt x="2030971" y="2039986"/>
                  <a:pt x="2029972" y="2035316"/>
                  <a:pt x="2029972" y="2035316"/>
                </a:cubicBezTo>
                <a:cubicBezTo>
                  <a:pt x="2029972" y="2035316"/>
                  <a:pt x="2029972" y="2035316"/>
                  <a:pt x="2025302" y="2036313"/>
                </a:cubicBezTo>
                <a:cubicBezTo>
                  <a:pt x="2039994" y="2013637"/>
                  <a:pt x="2060356" y="1994635"/>
                  <a:pt x="2079719" y="1970960"/>
                </a:cubicBezTo>
                <a:cubicBezTo>
                  <a:pt x="2090569" y="1958874"/>
                  <a:pt x="2098705" y="1949809"/>
                  <a:pt x="2104808" y="1943012"/>
                </a:cubicBezTo>
                <a:close/>
                <a:moveTo>
                  <a:pt x="5856125" y="1563605"/>
                </a:moveTo>
                <a:lnTo>
                  <a:pt x="5862009" y="1568282"/>
                </a:lnTo>
                <a:cubicBezTo>
                  <a:pt x="5862009" y="1568282"/>
                  <a:pt x="5856339" y="1564609"/>
                  <a:pt x="5856339" y="1564609"/>
                </a:cubicBezTo>
                <a:close/>
                <a:moveTo>
                  <a:pt x="5246583" y="1522365"/>
                </a:moveTo>
                <a:cubicBezTo>
                  <a:pt x="5241635" y="1531357"/>
                  <a:pt x="5271801" y="1546788"/>
                  <a:pt x="5292976" y="1557270"/>
                </a:cubicBezTo>
                <a:cubicBezTo>
                  <a:pt x="5314415" y="1584300"/>
                  <a:pt x="5350379" y="1604094"/>
                  <a:pt x="5381981" y="1629688"/>
                </a:cubicBezTo>
                <a:cubicBezTo>
                  <a:pt x="5378789" y="1629103"/>
                  <a:pt x="5378789" y="1629103"/>
                  <a:pt x="5378789" y="1629103"/>
                </a:cubicBezTo>
                <a:cubicBezTo>
                  <a:pt x="5376183" y="1625324"/>
                  <a:pt x="5372989" y="1624740"/>
                  <a:pt x="5369212" y="1627347"/>
                </a:cubicBezTo>
                <a:cubicBezTo>
                  <a:pt x="5369212" y="1627347"/>
                  <a:pt x="5371821" y="1631126"/>
                  <a:pt x="5375011" y="1631710"/>
                </a:cubicBezTo>
                <a:cubicBezTo>
                  <a:pt x="5342238" y="1612502"/>
                  <a:pt x="5297869" y="1584567"/>
                  <a:pt x="5272066" y="1563336"/>
                </a:cubicBezTo>
                <a:cubicBezTo>
                  <a:pt x="5247699" y="1552269"/>
                  <a:pt x="5223918" y="1538010"/>
                  <a:pt x="5204180" y="1537692"/>
                </a:cubicBezTo>
                <a:cubicBezTo>
                  <a:pt x="5281323" y="1584834"/>
                  <a:pt x="5337291" y="1621495"/>
                  <a:pt x="5381927" y="1665979"/>
                </a:cubicBezTo>
                <a:cubicBezTo>
                  <a:pt x="5400495" y="1672683"/>
                  <a:pt x="5429489" y="1694498"/>
                  <a:pt x="5437310" y="1705833"/>
                </a:cubicBezTo>
                <a:cubicBezTo>
                  <a:pt x="5424542" y="1703492"/>
                  <a:pt x="5435554" y="1715410"/>
                  <a:pt x="5428584" y="1717433"/>
                </a:cubicBezTo>
                <a:cubicBezTo>
                  <a:pt x="5436990" y="1725574"/>
                  <a:pt x="5440768" y="1722967"/>
                  <a:pt x="5445982" y="1730522"/>
                </a:cubicBezTo>
                <a:cubicBezTo>
                  <a:pt x="5461357" y="1736643"/>
                  <a:pt x="5436139" y="1712218"/>
                  <a:pt x="5454121" y="1722114"/>
                </a:cubicBezTo>
                <a:cubicBezTo>
                  <a:pt x="5488331" y="1751486"/>
                  <a:pt x="5507164" y="1774739"/>
                  <a:pt x="5545149" y="1801503"/>
                </a:cubicBezTo>
                <a:cubicBezTo>
                  <a:pt x="5552385" y="1816031"/>
                  <a:pt x="5569197" y="1832312"/>
                  <a:pt x="5589201" y="1849179"/>
                </a:cubicBezTo>
                <a:cubicBezTo>
                  <a:pt x="5606011" y="1865462"/>
                  <a:pt x="5625430" y="1885523"/>
                  <a:pt x="5635857" y="1900633"/>
                </a:cubicBezTo>
                <a:cubicBezTo>
                  <a:pt x="5624845" y="1888715"/>
                  <a:pt x="5621067" y="1891322"/>
                  <a:pt x="5617876" y="1890738"/>
                </a:cubicBezTo>
                <a:cubicBezTo>
                  <a:pt x="5620483" y="1894516"/>
                  <a:pt x="5617289" y="1893930"/>
                  <a:pt x="5616705" y="1897123"/>
                </a:cubicBezTo>
                <a:cubicBezTo>
                  <a:pt x="5633515" y="1913406"/>
                  <a:pt x="5635539" y="1920376"/>
                  <a:pt x="5652350" y="1936657"/>
                </a:cubicBezTo>
                <a:cubicBezTo>
                  <a:pt x="5655543" y="1937242"/>
                  <a:pt x="5655543" y="1937242"/>
                  <a:pt x="5661340" y="1941605"/>
                </a:cubicBezTo>
                <a:cubicBezTo>
                  <a:pt x="5665703" y="1935806"/>
                  <a:pt x="5657883" y="1924472"/>
                  <a:pt x="5666874" y="1929420"/>
                </a:cubicBezTo>
                <a:cubicBezTo>
                  <a:pt x="5683101" y="1948895"/>
                  <a:pt x="5693528" y="1964007"/>
                  <a:pt x="5707147" y="1979705"/>
                </a:cubicBezTo>
                <a:cubicBezTo>
                  <a:pt x="5720766" y="1995402"/>
                  <a:pt x="5734387" y="2011099"/>
                  <a:pt x="5756412" y="2034937"/>
                </a:cubicBezTo>
                <a:cubicBezTo>
                  <a:pt x="5756996" y="2031744"/>
                  <a:pt x="5760189" y="2032328"/>
                  <a:pt x="5762795" y="2036107"/>
                </a:cubicBezTo>
                <a:cubicBezTo>
                  <a:pt x="5779021" y="2055583"/>
                  <a:pt x="5776415" y="2051804"/>
                  <a:pt x="5789449" y="2070695"/>
                </a:cubicBezTo>
                <a:cubicBezTo>
                  <a:pt x="5794662" y="2078250"/>
                  <a:pt x="5803069" y="2086391"/>
                  <a:pt x="5808283" y="2093948"/>
                </a:cubicBezTo>
                <a:cubicBezTo>
                  <a:pt x="5835202" y="2145084"/>
                  <a:pt x="5875208" y="2178819"/>
                  <a:pt x="5910535" y="2238094"/>
                </a:cubicBezTo>
                <a:cubicBezTo>
                  <a:pt x="5913727" y="2238679"/>
                  <a:pt x="5918355" y="2249428"/>
                  <a:pt x="5924153" y="2253791"/>
                </a:cubicBezTo>
                <a:cubicBezTo>
                  <a:pt x="5923568" y="2256984"/>
                  <a:pt x="5934580" y="2268904"/>
                  <a:pt x="5927611" y="2270927"/>
                </a:cubicBezTo>
                <a:cubicBezTo>
                  <a:pt x="5921812" y="2266563"/>
                  <a:pt x="5908779" y="2247673"/>
                  <a:pt x="5904415" y="2253473"/>
                </a:cubicBezTo>
                <a:cubicBezTo>
                  <a:pt x="5911651" y="2268000"/>
                  <a:pt x="5920056" y="2276142"/>
                  <a:pt x="5924685" y="2286890"/>
                </a:cubicBezTo>
                <a:cubicBezTo>
                  <a:pt x="5932506" y="2298224"/>
                  <a:pt x="5940911" y="2306364"/>
                  <a:pt x="5949317" y="2314506"/>
                </a:cubicBezTo>
                <a:cubicBezTo>
                  <a:pt x="5957723" y="2322647"/>
                  <a:pt x="5945274" y="2300565"/>
                  <a:pt x="5949051" y="2297957"/>
                </a:cubicBezTo>
                <a:cubicBezTo>
                  <a:pt x="5949051" y="2297957"/>
                  <a:pt x="5954265" y="2305513"/>
                  <a:pt x="5958042" y="2302905"/>
                </a:cubicBezTo>
                <a:cubicBezTo>
                  <a:pt x="5961819" y="2300299"/>
                  <a:pt x="5952562" y="2278799"/>
                  <a:pt x="5967621" y="2304661"/>
                </a:cubicBezTo>
                <a:cubicBezTo>
                  <a:pt x="5965012" y="2300883"/>
                  <a:pt x="5965012" y="2300883"/>
                  <a:pt x="5965012" y="2300883"/>
                </a:cubicBezTo>
                <a:cubicBezTo>
                  <a:pt x="5965012" y="2300883"/>
                  <a:pt x="5964427" y="2304075"/>
                  <a:pt x="5964427" y="2304075"/>
                </a:cubicBezTo>
                <a:cubicBezTo>
                  <a:pt x="5963841" y="2307269"/>
                  <a:pt x="5963841" y="2307269"/>
                  <a:pt x="5963841" y="2307269"/>
                </a:cubicBezTo>
                <a:cubicBezTo>
                  <a:pt x="5966448" y="2311046"/>
                  <a:pt x="5966448" y="2311046"/>
                  <a:pt x="5969641" y="2311632"/>
                </a:cubicBezTo>
                <a:cubicBezTo>
                  <a:pt x="5963256" y="2310461"/>
                  <a:pt x="5978311" y="2336321"/>
                  <a:pt x="5982091" y="2333714"/>
                </a:cubicBezTo>
                <a:cubicBezTo>
                  <a:pt x="5981505" y="2336907"/>
                  <a:pt x="5984696" y="2337493"/>
                  <a:pt x="5987303" y="2341270"/>
                </a:cubicBezTo>
                <a:cubicBezTo>
                  <a:pt x="5987303" y="2341270"/>
                  <a:pt x="5987889" y="2338077"/>
                  <a:pt x="5985281" y="2334300"/>
                </a:cubicBezTo>
                <a:cubicBezTo>
                  <a:pt x="5985281" y="2334300"/>
                  <a:pt x="5985281" y="2334300"/>
                  <a:pt x="5985867" y="2331106"/>
                </a:cubicBezTo>
                <a:cubicBezTo>
                  <a:pt x="5995708" y="2349412"/>
                  <a:pt x="6030769" y="2392138"/>
                  <a:pt x="6031034" y="2408688"/>
                </a:cubicBezTo>
                <a:cubicBezTo>
                  <a:pt x="6019435" y="2399961"/>
                  <a:pt x="6008423" y="2388044"/>
                  <a:pt x="6004061" y="2393843"/>
                </a:cubicBezTo>
                <a:cubicBezTo>
                  <a:pt x="6006082" y="2400813"/>
                  <a:pt x="6013901" y="2412148"/>
                  <a:pt x="6004326" y="2410392"/>
                </a:cubicBezTo>
                <a:cubicBezTo>
                  <a:pt x="6011561" y="2424918"/>
                  <a:pt x="6018797" y="2439444"/>
                  <a:pt x="6026031" y="2453972"/>
                </a:cubicBezTo>
                <a:cubicBezTo>
                  <a:pt x="6029224" y="2454556"/>
                  <a:pt x="6024595" y="2443807"/>
                  <a:pt x="6029808" y="2451365"/>
                </a:cubicBezTo>
                <a:cubicBezTo>
                  <a:pt x="6033851" y="2465306"/>
                  <a:pt x="6041673" y="2476639"/>
                  <a:pt x="6047737" y="2497552"/>
                </a:cubicBezTo>
                <a:cubicBezTo>
                  <a:pt x="6064547" y="2513833"/>
                  <a:pt x="6070613" y="2534746"/>
                  <a:pt x="6086519" y="2573962"/>
                </a:cubicBezTo>
                <a:cubicBezTo>
                  <a:pt x="6080135" y="2572791"/>
                  <a:pt x="6082156" y="2579763"/>
                  <a:pt x="6082156" y="2579763"/>
                </a:cubicBezTo>
                <a:cubicBezTo>
                  <a:pt x="6092849" y="2611422"/>
                  <a:pt x="6106149" y="2646862"/>
                  <a:pt x="6113651" y="2677937"/>
                </a:cubicBezTo>
                <a:cubicBezTo>
                  <a:pt x="6123757" y="2712792"/>
                  <a:pt x="6134449" y="2744452"/>
                  <a:pt x="6143121" y="2769142"/>
                </a:cubicBezTo>
                <a:cubicBezTo>
                  <a:pt x="6139079" y="2755200"/>
                  <a:pt x="6146899" y="2766533"/>
                  <a:pt x="6149507" y="2770313"/>
                </a:cubicBezTo>
                <a:cubicBezTo>
                  <a:pt x="6150943" y="2780476"/>
                  <a:pt x="6157591" y="2798196"/>
                  <a:pt x="6151794" y="2793831"/>
                </a:cubicBezTo>
                <a:cubicBezTo>
                  <a:pt x="6160465" y="2818522"/>
                  <a:pt x="6165093" y="2829271"/>
                  <a:pt x="6172593" y="2860346"/>
                </a:cubicBezTo>
                <a:cubicBezTo>
                  <a:pt x="6170839" y="2869925"/>
                  <a:pt x="6169667" y="2876311"/>
                  <a:pt x="6171103" y="2886473"/>
                </a:cubicBezTo>
                <a:cubicBezTo>
                  <a:pt x="6176317" y="2894030"/>
                  <a:pt x="6179775" y="2911164"/>
                  <a:pt x="6180041" y="2927712"/>
                </a:cubicBezTo>
                <a:cubicBezTo>
                  <a:pt x="6183497" y="2944847"/>
                  <a:pt x="6187542" y="2958788"/>
                  <a:pt x="6193340" y="2963151"/>
                </a:cubicBezTo>
                <a:cubicBezTo>
                  <a:pt x="6195681" y="2950380"/>
                  <a:pt x="6193978" y="2923668"/>
                  <a:pt x="6188501" y="2899562"/>
                </a:cubicBezTo>
                <a:cubicBezTo>
                  <a:pt x="6183021" y="2875459"/>
                  <a:pt x="6174935" y="2847575"/>
                  <a:pt x="6168869" y="2826663"/>
                </a:cubicBezTo>
                <a:cubicBezTo>
                  <a:pt x="6166264" y="2822885"/>
                  <a:pt x="6164827" y="2812722"/>
                  <a:pt x="6165413" y="2809528"/>
                </a:cubicBezTo>
                <a:cubicBezTo>
                  <a:pt x="6147485" y="2763343"/>
                  <a:pt x="6152753" y="2734608"/>
                  <a:pt x="6141209" y="2689590"/>
                </a:cubicBezTo>
                <a:cubicBezTo>
                  <a:pt x="6109927" y="2644255"/>
                  <a:pt x="6103331" y="2590245"/>
                  <a:pt x="6069763" y="2521391"/>
                </a:cubicBezTo>
                <a:cubicBezTo>
                  <a:pt x="6076146" y="2522559"/>
                  <a:pt x="6072103" y="2508619"/>
                  <a:pt x="6075882" y="2506011"/>
                </a:cubicBezTo>
                <a:cubicBezTo>
                  <a:pt x="6071253" y="2495261"/>
                  <a:pt x="6064017" y="2480736"/>
                  <a:pt x="6059974" y="2466794"/>
                </a:cubicBezTo>
                <a:cubicBezTo>
                  <a:pt x="6062581" y="2470572"/>
                  <a:pt x="6062581" y="2470572"/>
                  <a:pt x="6062581" y="2470572"/>
                </a:cubicBezTo>
                <a:cubicBezTo>
                  <a:pt x="6065188" y="2474350"/>
                  <a:pt x="6065188" y="2474350"/>
                  <a:pt x="6065188" y="2474350"/>
                </a:cubicBezTo>
                <a:cubicBezTo>
                  <a:pt x="6065773" y="2471157"/>
                  <a:pt x="6066357" y="2467964"/>
                  <a:pt x="6063167" y="2467380"/>
                </a:cubicBezTo>
                <a:cubicBezTo>
                  <a:pt x="6060559" y="2463602"/>
                  <a:pt x="6060559" y="2463602"/>
                  <a:pt x="6060559" y="2463602"/>
                </a:cubicBezTo>
                <a:cubicBezTo>
                  <a:pt x="6061145" y="2460410"/>
                  <a:pt x="6061145" y="2460410"/>
                  <a:pt x="6061145" y="2460410"/>
                </a:cubicBezTo>
                <a:cubicBezTo>
                  <a:pt x="6062901" y="2450831"/>
                  <a:pt x="6047845" y="2424970"/>
                  <a:pt x="6030769" y="2392138"/>
                </a:cubicBezTo>
                <a:cubicBezTo>
                  <a:pt x="6010499" y="2358723"/>
                  <a:pt x="5988208" y="2318335"/>
                  <a:pt x="5967939" y="2284919"/>
                </a:cubicBezTo>
                <a:cubicBezTo>
                  <a:pt x="5960703" y="2270393"/>
                  <a:pt x="5958681" y="2263421"/>
                  <a:pt x="5950861" y="2252088"/>
                </a:cubicBezTo>
                <a:cubicBezTo>
                  <a:pt x="5927985" y="2214894"/>
                  <a:pt x="5898140" y="2179721"/>
                  <a:pt x="5874678" y="2145720"/>
                </a:cubicBezTo>
                <a:cubicBezTo>
                  <a:pt x="5869464" y="2138164"/>
                  <a:pt x="5868028" y="2128001"/>
                  <a:pt x="5862229" y="2123637"/>
                </a:cubicBezTo>
                <a:cubicBezTo>
                  <a:pt x="5862229" y="2123637"/>
                  <a:pt x="5865421" y="2124222"/>
                  <a:pt x="5864835" y="2127414"/>
                </a:cubicBezTo>
                <a:cubicBezTo>
                  <a:pt x="5864835" y="2127414"/>
                  <a:pt x="5868028" y="2128001"/>
                  <a:pt x="5868028" y="2128001"/>
                </a:cubicBezTo>
                <a:cubicBezTo>
                  <a:pt x="5865421" y="2124222"/>
                  <a:pt x="5865421" y="2124222"/>
                  <a:pt x="5862814" y="2120444"/>
                </a:cubicBezTo>
                <a:cubicBezTo>
                  <a:pt x="5860207" y="2116666"/>
                  <a:pt x="5860207" y="2116666"/>
                  <a:pt x="5860207" y="2116666"/>
                </a:cubicBezTo>
                <a:cubicBezTo>
                  <a:pt x="5866006" y="2121031"/>
                  <a:pt x="5879041" y="2139920"/>
                  <a:pt x="5888031" y="2144868"/>
                </a:cubicBezTo>
                <a:cubicBezTo>
                  <a:pt x="5891809" y="2142261"/>
                  <a:pt x="5883989" y="2130928"/>
                  <a:pt x="5876167" y="2119593"/>
                </a:cubicBezTo>
                <a:cubicBezTo>
                  <a:pt x="5879361" y="2120179"/>
                  <a:pt x="5879361" y="2120179"/>
                  <a:pt x="5879361" y="2120179"/>
                </a:cubicBezTo>
                <a:cubicBezTo>
                  <a:pt x="5881968" y="2123955"/>
                  <a:pt x="5881968" y="2123955"/>
                  <a:pt x="5881968" y="2123955"/>
                </a:cubicBezTo>
                <a:cubicBezTo>
                  <a:pt x="5885745" y="2121349"/>
                  <a:pt x="5882553" y="2120764"/>
                  <a:pt x="5879947" y="2116985"/>
                </a:cubicBezTo>
                <a:cubicBezTo>
                  <a:pt x="5879947" y="2116985"/>
                  <a:pt x="5877339" y="2113207"/>
                  <a:pt x="5877339" y="2113207"/>
                </a:cubicBezTo>
                <a:cubicBezTo>
                  <a:pt x="5877925" y="2110013"/>
                  <a:pt x="5890373" y="2132097"/>
                  <a:pt x="5888937" y="2121935"/>
                </a:cubicBezTo>
                <a:cubicBezTo>
                  <a:pt x="5875903" y="2103043"/>
                  <a:pt x="5860262" y="2080376"/>
                  <a:pt x="5847227" y="2061487"/>
                </a:cubicBezTo>
                <a:cubicBezTo>
                  <a:pt x="5834193" y="2042597"/>
                  <a:pt x="5823181" y="2030677"/>
                  <a:pt x="5815626" y="2035893"/>
                </a:cubicBezTo>
                <a:cubicBezTo>
                  <a:pt x="5816211" y="2032701"/>
                  <a:pt x="5813019" y="2032114"/>
                  <a:pt x="5813019" y="2032114"/>
                </a:cubicBezTo>
                <a:cubicBezTo>
                  <a:pt x="5813605" y="2028921"/>
                  <a:pt x="5810999" y="2025142"/>
                  <a:pt x="5807807" y="2024558"/>
                </a:cubicBezTo>
                <a:cubicBezTo>
                  <a:pt x="5807807" y="2024558"/>
                  <a:pt x="5807807" y="2024558"/>
                  <a:pt x="5807219" y="2027751"/>
                </a:cubicBezTo>
                <a:cubicBezTo>
                  <a:pt x="5807219" y="2027751"/>
                  <a:pt x="5809827" y="2031530"/>
                  <a:pt x="5809827" y="2031530"/>
                </a:cubicBezTo>
                <a:cubicBezTo>
                  <a:pt x="5806635" y="2030945"/>
                  <a:pt x="5800837" y="2026580"/>
                  <a:pt x="5792431" y="2018439"/>
                </a:cubicBezTo>
                <a:cubicBezTo>
                  <a:pt x="5788653" y="2021048"/>
                  <a:pt x="5781683" y="2023069"/>
                  <a:pt x="5778490" y="2022486"/>
                </a:cubicBezTo>
                <a:cubicBezTo>
                  <a:pt x="5757637" y="1992261"/>
                  <a:pt x="5740824" y="1975978"/>
                  <a:pt x="5713585" y="1944585"/>
                </a:cubicBezTo>
                <a:cubicBezTo>
                  <a:pt x="5708371" y="1937028"/>
                  <a:pt x="5702573" y="1932665"/>
                  <a:pt x="5693582" y="1927717"/>
                </a:cubicBezTo>
                <a:cubicBezTo>
                  <a:pt x="5663735" y="1892545"/>
                  <a:pt x="5633305" y="1860565"/>
                  <a:pt x="5602288" y="1831780"/>
                </a:cubicBezTo>
                <a:cubicBezTo>
                  <a:pt x="5568665" y="1799214"/>
                  <a:pt x="5537649" y="1770429"/>
                  <a:pt x="5510410" y="1739034"/>
                </a:cubicBezTo>
                <a:cubicBezTo>
                  <a:pt x="5513601" y="1739619"/>
                  <a:pt x="5513601" y="1739619"/>
                  <a:pt x="5513601" y="1739619"/>
                </a:cubicBezTo>
                <a:cubicBezTo>
                  <a:pt x="5516208" y="1743398"/>
                  <a:pt x="5519401" y="1743982"/>
                  <a:pt x="5519401" y="1743982"/>
                </a:cubicBezTo>
                <a:cubicBezTo>
                  <a:pt x="5519987" y="1740790"/>
                  <a:pt x="5517379" y="1737011"/>
                  <a:pt x="5514187" y="1736427"/>
                </a:cubicBezTo>
                <a:cubicBezTo>
                  <a:pt x="5511581" y="1732649"/>
                  <a:pt x="5511581" y="1732649"/>
                  <a:pt x="5508389" y="1732064"/>
                </a:cubicBezTo>
                <a:cubicBezTo>
                  <a:pt x="5508974" y="1728870"/>
                  <a:pt x="5512165" y="1729457"/>
                  <a:pt x="5514771" y="1733234"/>
                </a:cubicBezTo>
                <a:cubicBezTo>
                  <a:pt x="5537383" y="1753879"/>
                  <a:pt x="5570421" y="1789637"/>
                  <a:pt x="5602607" y="1812037"/>
                </a:cubicBezTo>
                <a:cubicBezTo>
                  <a:pt x="5605801" y="1812623"/>
                  <a:pt x="5612185" y="1813793"/>
                  <a:pt x="5604365" y="1802460"/>
                </a:cubicBezTo>
                <a:cubicBezTo>
                  <a:pt x="5597979" y="1801288"/>
                  <a:pt x="5589574" y="1793147"/>
                  <a:pt x="5577975" y="1784421"/>
                </a:cubicBezTo>
                <a:cubicBezTo>
                  <a:pt x="5585531" y="1779206"/>
                  <a:pt x="5555951" y="1760583"/>
                  <a:pt x="5541747" y="1748079"/>
                </a:cubicBezTo>
                <a:cubicBezTo>
                  <a:pt x="5502323" y="1711151"/>
                  <a:pt x="5460879" y="1667253"/>
                  <a:pt x="5413903" y="1635540"/>
                </a:cubicBezTo>
                <a:cubicBezTo>
                  <a:pt x="5408104" y="1631177"/>
                  <a:pt x="5404912" y="1630592"/>
                  <a:pt x="5399113" y="1626229"/>
                </a:cubicBezTo>
                <a:cubicBezTo>
                  <a:pt x="5381129" y="1616332"/>
                  <a:pt x="5353305" y="1588131"/>
                  <a:pt x="5340536" y="1585789"/>
                </a:cubicBezTo>
                <a:cubicBezTo>
                  <a:pt x="5344315" y="1583182"/>
                  <a:pt x="5341708" y="1579403"/>
                  <a:pt x="5336494" y="1571849"/>
                </a:cubicBezTo>
                <a:cubicBezTo>
                  <a:pt x="5329525" y="1573869"/>
                  <a:pt x="5305744" y="1559611"/>
                  <a:pt x="5305744" y="1559611"/>
                </a:cubicBezTo>
                <a:cubicBezTo>
                  <a:pt x="5312129" y="1560780"/>
                  <a:pt x="5312713" y="1557588"/>
                  <a:pt x="5312713" y="1557588"/>
                </a:cubicBezTo>
                <a:cubicBezTo>
                  <a:pt x="5286325" y="1539550"/>
                  <a:pt x="5270951" y="1533431"/>
                  <a:pt x="5246583" y="1522365"/>
                </a:cubicBezTo>
                <a:close/>
                <a:moveTo>
                  <a:pt x="4878235" y="1485529"/>
                </a:moveTo>
                <a:cubicBezTo>
                  <a:pt x="4875296" y="1484924"/>
                  <a:pt x="4872549" y="1485647"/>
                  <a:pt x="4870589" y="1490232"/>
                </a:cubicBezTo>
                <a:cubicBezTo>
                  <a:pt x="4867403" y="1496677"/>
                  <a:pt x="4871754" y="1502223"/>
                  <a:pt x="4876107" y="1507769"/>
                </a:cubicBezTo>
                <a:cubicBezTo>
                  <a:pt x="4881823" y="1513679"/>
                  <a:pt x="4888535" y="1521317"/>
                  <a:pt x="4892523" y="1528225"/>
                </a:cubicBezTo>
                <a:lnTo>
                  <a:pt x="4854485" y="1513109"/>
                </a:lnTo>
                <a:lnTo>
                  <a:pt x="4906663" y="1538241"/>
                </a:lnTo>
                <a:cubicBezTo>
                  <a:pt x="5019982" y="1601281"/>
                  <a:pt x="5124259" y="1674344"/>
                  <a:pt x="5219949" y="1757355"/>
                </a:cubicBezTo>
                <a:lnTo>
                  <a:pt x="5244849" y="1781311"/>
                </a:lnTo>
                <a:lnTo>
                  <a:pt x="5285425" y="1812833"/>
                </a:lnTo>
                <a:cubicBezTo>
                  <a:pt x="5332806" y="1853402"/>
                  <a:pt x="5378491" y="1896391"/>
                  <a:pt x="5422531" y="1941767"/>
                </a:cubicBezTo>
                <a:cubicBezTo>
                  <a:pt x="5425887" y="1945586"/>
                  <a:pt x="5426518" y="1948676"/>
                  <a:pt x="5427783" y="1954854"/>
                </a:cubicBezTo>
                <a:lnTo>
                  <a:pt x="5370401" y="1904986"/>
                </a:lnTo>
                <a:lnTo>
                  <a:pt x="5481735" y="2036160"/>
                </a:lnTo>
                <a:cubicBezTo>
                  <a:pt x="5536779" y="2108939"/>
                  <a:pt x="5599796" y="2176603"/>
                  <a:pt x="5639099" y="2260841"/>
                </a:cubicBezTo>
                <a:cubicBezTo>
                  <a:pt x="5738177" y="2476347"/>
                  <a:pt x="5832554" y="2693902"/>
                  <a:pt x="5880519" y="2928041"/>
                </a:cubicBezTo>
                <a:lnTo>
                  <a:pt x="5891569" y="2991409"/>
                </a:lnTo>
                <a:lnTo>
                  <a:pt x="5898861" y="3009164"/>
                </a:lnTo>
                <a:cubicBezTo>
                  <a:pt x="5901033" y="3017408"/>
                  <a:pt x="5902088" y="3025721"/>
                  <a:pt x="5902123" y="3033759"/>
                </a:cubicBezTo>
                <a:cubicBezTo>
                  <a:pt x="5907077" y="3105159"/>
                  <a:pt x="5918367" y="3177434"/>
                  <a:pt x="5917520" y="3250562"/>
                </a:cubicBezTo>
                <a:lnTo>
                  <a:pt x="5916015" y="3270366"/>
                </a:lnTo>
                <a:lnTo>
                  <a:pt x="5917712" y="3301456"/>
                </a:lnTo>
                <a:lnTo>
                  <a:pt x="5917722" y="3321050"/>
                </a:lnTo>
                <a:lnTo>
                  <a:pt x="5920837" y="3319470"/>
                </a:lnTo>
                <a:cubicBezTo>
                  <a:pt x="5927516" y="3313185"/>
                  <a:pt x="5928977" y="3302629"/>
                  <a:pt x="5938043" y="3297393"/>
                </a:cubicBezTo>
                <a:cubicBezTo>
                  <a:pt x="5944995" y="3331373"/>
                  <a:pt x="5943411" y="3364524"/>
                  <a:pt x="5940465" y="3397310"/>
                </a:cubicBezTo>
                <a:cubicBezTo>
                  <a:pt x="5923295" y="3624822"/>
                  <a:pt x="5885697" y="3846860"/>
                  <a:pt x="5799700" y="4058849"/>
                </a:cubicBezTo>
                <a:cubicBezTo>
                  <a:pt x="5738031" y="4207285"/>
                  <a:pt x="5662474" y="4347622"/>
                  <a:pt x="5565591" y="4474942"/>
                </a:cubicBezTo>
                <a:cubicBezTo>
                  <a:pt x="5536207" y="4513783"/>
                  <a:pt x="5497753" y="4542895"/>
                  <a:pt x="5478169" y="4588742"/>
                </a:cubicBezTo>
                <a:cubicBezTo>
                  <a:pt x="5473523" y="4600636"/>
                  <a:pt x="5462699" y="4613792"/>
                  <a:pt x="5480671" y="4622988"/>
                </a:cubicBezTo>
                <a:cubicBezTo>
                  <a:pt x="5498279" y="4633544"/>
                  <a:pt x="5500299" y="4615109"/>
                  <a:pt x="5508667" y="4605673"/>
                </a:cubicBezTo>
                <a:cubicBezTo>
                  <a:pt x="5516403" y="4593146"/>
                  <a:pt x="5523870" y="4576170"/>
                  <a:pt x="5545127" y="4573107"/>
                </a:cubicBezTo>
                <a:cubicBezTo>
                  <a:pt x="5512601" y="4656361"/>
                  <a:pt x="5452401" y="4717601"/>
                  <a:pt x="5400007" y="4782392"/>
                </a:cubicBezTo>
                <a:cubicBezTo>
                  <a:pt x="5365175" y="4819774"/>
                  <a:pt x="5322635" y="4847790"/>
                  <a:pt x="5292521" y="4889355"/>
                </a:cubicBezTo>
                <a:cubicBezTo>
                  <a:pt x="5336058" y="4863066"/>
                  <a:pt x="5367799" y="4826316"/>
                  <a:pt x="5403631" y="4790663"/>
                </a:cubicBezTo>
                <a:cubicBezTo>
                  <a:pt x="5456727" y="4745037"/>
                  <a:pt x="5498395" y="4687590"/>
                  <a:pt x="5540062" y="4630142"/>
                </a:cubicBezTo>
                <a:cubicBezTo>
                  <a:pt x="5653512" y="4473684"/>
                  <a:pt x="5755798" y="4309855"/>
                  <a:pt x="5835395" y="4132646"/>
                </a:cubicBezTo>
                <a:cubicBezTo>
                  <a:pt x="5844323" y="4110221"/>
                  <a:pt x="5857703" y="4087529"/>
                  <a:pt x="5860185" y="4061918"/>
                </a:cubicBezTo>
                <a:cubicBezTo>
                  <a:pt x="5845204" y="4057905"/>
                  <a:pt x="5844643" y="4070893"/>
                  <a:pt x="5841093" y="4078700"/>
                </a:cubicBezTo>
                <a:cubicBezTo>
                  <a:pt x="5777332" y="4229495"/>
                  <a:pt x="5699319" y="4373550"/>
                  <a:pt x="5603333" y="4508413"/>
                </a:cubicBezTo>
                <a:cubicBezTo>
                  <a:pt x="5598421" y="4515855"/>
                  <a:pt x="5595403" y="4532565"/>
                  <a:pt x="5582878" y="4524830"/>
                </a:cubicBezTo>
                <a:cubicBezTo>
                  <a:pt x="5570353" y="4517094"/>
                  <a:pt x="5578454" y="4503206"/>
                  <a:pt x="5585095" y="4494767"/>
                </a:cubicBezTo>
                <a:cubicBezTo>
                  <a:pt x="5614211" y="4451475"/>
                  <a:pt x="5648410" y="4411004"/>
                  <a:pt x="5674172" y="4363893"/>
                </a:cubicBezTo>
                <a:cubicBezTo>
                  <a:pt x="5784317" y="4159835"/>
                  <a:pt x="5881211" y="3950765"/>
                  <a:pt x="5923723" y="3721285"/>
                </a:cubicBezTo>
                <a:cubicBezTo>
                  <a:pt x="5956819" y="3543296"/>
                  <a:pt x="5962942" y="3362458"/>
                  <a:pt x="5954351" y="3182057"/>
                </a:cubicBezTo>
                <a:cubicBezTo>
                  <a:pt x="5952579" y="3145087"/>
                  <a:pt x="5951173" y="3106754"/>
                  <a:pt x="5955213" y="3069882"/>
                </a:cubicBezTo>
                <a:cubicBezTo>
                  <a:pt x="5997649" y="3352780"/>
                  <a:pt x="5981957" y="3634701"/>
                  <a:pt x="5905413" y="3914916"/>
                </a:cubicBezTo>
                <a:cubicBezTo>
                  <a:pt x="5924311" y="3909760"/>
                  <a:pt x="5921881" y="3891591"/>
                  <a:pt x="5937521" y="3876803"/>
                </a:cubicBezTo>
                <a:cubicBezTo>
                  <a:pt x="5924383" y="3925837"/>
                  <a:pt x="5913071" y="3968061"/>
                  <a:pt x="5898035" y="4007827"/>
                </a:cubicBezTo>
                <a:cubicBezTo>
                  <a:pt x="5874802" y="4067294"/>
                  <a:pt x="5850207" y="4126396"/>
                  <a:pt x="5827971" y="4187589"/>
                </a:cubicBezTo>
                <a:cubicBezTo>
                  <a:pt x="5825515" y="4191311"/>
                  <a:pt x="5817511" y="4199385"/>
                  <a:pt x="5826681" y="4203302"/>
                </a:cubicBezTo>
                <a:cubicBezTo>
                  <a:pt x="5834123" y="4208217"/>
                  <a:pt x="5836677" y="4198681"/>
                  <a:pt x="5839500" y="4193599"/>
                </a:cubicBezTo>
                <a:cubicBezTo>
                  <a:pt x="5874919" y="4121338"/>
                  <a:pt x="5915055" y="4053263"/>
                  <a:pt x="5929413" y="3972440"/>
                </a:cubicBezTo>
                <a:cubicBezTo>
                  <a:pt x="5931433" y="3954003"/>
                  <a:pt x="5946077" y="3937490"/>
                  <a:pt x="5953909" y="3919150"/>
                </a:cubicBezTo>
                <a:cubicBezTo>
                  <a:pt x="5988697" y="3843802"/>
                  <a:pt x="5993155" y="3761787"/>
                  <a:pt x="6006151" y="3680598"/>
                </a:cubicBezTo>
                <a:cubicBezTo>
                  <a:pt x="6032801" y="3499423"/>
                  <a:pt x="6043375" y="3318318"/>
                  <a:pt x="6033787" y="3136190"/>
                </a:cubicBezTo>
                <a:lnTo>
                  <a:pt x="6028315" y="3093047"/>
                </a:lnTo>
                <a:lnTo>
                  <a:pt x="6025816" y="3080224"/>
                </a:lnTo>
                <a:cubicBezTo>
                  <a:pt x="5935491" y="2657444"/>
                  <a:pt x="5757041" y="2277825"/>
                  <a:pt x="5462620" y="1953402"/>
                </a:cubicBezTo>
                <a:cubicBezTo>
                  <a:pt x="5354097" y="1834635"/>
                  <a:pt x="5233654" y="1726527"/>
                  <a:pt x="5104061" y="1632541"/>
                </a:cubicBezTo>
                <a:cubicBezTo>
                  <a:pt x="5070486" y="1608282"/>
                  <a:pt x="5036425" y="1584127"/>
                  <a:pt x="5003371" y="1558743"/>
                </a:cubicBezTo>
                <a:lnTo>
                  <a:pt x="4962275" y="1523505"/>
                </a:lnTo>
                <a:lnTo>
                  <a:pt x="4951211" y="1516212"/>
                </a:lnTo>
                <a:cubicBezTo>
                  <a:pt x="4931244" y="1503565"/>
                  <a:pt x="4908091" y="1497361"/>
                  <a:pt x="4887030" y="1488798"/>
                </a:cubicBezTo>
                <a:cubicBezTo>
                  <a:pt x="4884306" y="1488068"/>
                  <a:pt x="4881175" y="1486134"/>
                  <a:pt x="4878235" y="1485529"/>
                </a:cubicBezTo>
                <a:close/>
                <a:moveTo>
                  <a:pt x="2488089" y="1468873"/>
                </a:moveTo>
                <a:lnTo>
                  <a:pt x="2483339" y="1472039"/>
                </a:lnTo>
                <a:lnTo>
                  <a:pt x="2486645" y="1469475"/>
                </a:lnTo>
                <a:close/>
                <a:moveTo>
                  <a:pt x="2428360" y="1430993"/>
                </a:moveTo>
                <a:lnTo>
                  <a:pt x="2428663" y="1432410"/>
                </a:lnTo>
                <a:cubicBezTo>
                  <a:pt x="2428663" y="1432410"/>
                  <a:pt x="2428663" y="1432410"/>
                  <a:pt x="2423991" y="1433409"/>
                </a:cubicBezTo>
                <a:close/>
                <a:moveTo>
                  <a:pt x="3312724" y="1415766"/>
                </a:moveTo>
                <a:cubicBezTo>
                  <a:pt x="3298724" y="1415532"/>
                  <a:pt x="3275527" y="1423378"/>
                  <a:pt x="3256489" y="1428825"/>
                </a:cubicBezTo>
                <a:cubicBezTo>
                  <a:pt x="3236572" y="1437551"/>
                  <a:pt x="3220815" y="1443875"/>
                  <a:pt x="3219056" y="1450437"/>
                </a:cubicBezTo>
                <a:cubicBezTo>
                  <a:pt x="3233935" y="1447393"/>
                  <a:pt x="3249693" y="1441068"/>
                  <a:pt x="3264571" y="1438022"/>
                </a:cubicBezTo>
                <a:cubicBezTo>
                  <a:pt x="3226495" y="1448914"/>
                  <a:pt x="3187540" y="1463087"/>
                  <a:pt x="3145305" y="1476381"/>
                </a:cubicBezTo>
                <a:cubicBezTo>
                  <a:pt x="3132183" y="1472865"/>
                  <a:pt x="3100669" y="1485515"/>
                  <a:pt x="3078993" y="1500802"/>
                </a:cubicBezTo>
                <a:cubicBezTo>
                  <a:pt x="3063234" y="1507127"/>
                  <a:pt x="3043317" y="1515853"/>
                  <a:pt x="3032598" y="1516496"/>
                </a:cubicBezTo>
                <a:cubicBezTo>
                  <a:pt x="3030840" y="1523057"/>
                  <a:pt x="3019241" y="1526981"/>
                  <a:pt x="3010922" y="1531783"/>
                </a:cubicBezTo>
                <a:cubicBezTo>
                  <a:pt x="2397416" y="1813901"/>
                  <a:pt x="1938644" y="2397651"/>
                  <a:pt x="1851594" y="3116159"/>
                </a:cubicBezTo>
                <a:cubicBezTo>
                  <a:pt x="1816245" y="3405532"/>
                  <a:pt x="1842815" y="3686884"/>
                  <a:pt x="1924097" y="3947739"/>
                </a:cubicBezTo>
                <a:cubicBezTo>
                  <a:pt x="2106925" y="4538160"/>
                  <a:pt x="2556758" y="5024337"/>
                  <a:pt x="3149544" y="5239426"/>
                </a:cubicBezTo>
                <a:cubicBezTo>
                  <a:pt x="3191309" y="5254132"/>
                  <a:pt x="3229793" y="5267959"/>
                  <a:pt x="3272436" y="5279386"/>
                </a:cubicBezTo>
                <a:cubicBezTo>
                  <a:pt x="3272436" y="5279386"/>
                  <a:pt x="3271557" y="5282667"/>
                  <a:pt x="3274837" y="5283546"/>
                </a:cubicBezTo>
                <a:cubicBezTo>
                  <a:pt x="3284679" y="5286183"/>
                  <a:pt x="3284679" y="5286183"/>
                  <a:pt x="3284679" y="5286183"/>
                </a:cubicBezTo>
                <a:cubicBezTo>
                  <a:pt x="3284679" y="5286183"/>
                  <a:pt x="3287958" y="5287061"/>
                  <a:pt x="3288837" y="5283781"/>
                </a:cubicBezTo>
                <a:lnTo>
                  <a:pt x="3380685" y="5308392"/>
                </a:lnTo>
                <a:cubicBezTo>
                  <a:pt x="3453730" y="5324447"/>
                  <a:pt x="3524373" y="5336344"/>
                  <a:pt x="3599176" y="5345842"/>
                </a:cubicBezTo>
                <a:cubicBezTo>
                  <a:pt x="3840865" y="5375442"/>
                  <a:pt x="4079979" y="5362166"/>
                  <a:pt x="4305801" y="5306654"/>
                </a:cubicBezTo>
                <a:cubicBezTo>
                  <a:pt x="4432271" y="5280773"/>
                  <a:pt x="4559857" y="5237611"/>
                  <a:pt x="4682641" y="5186132"/>
                </a:cubicBezTo>
                <a:cubicBezTo>
                  <a:pt x="4678481" y="5188533"/>
                  <a:pt x="4678481" y="5188533"/>
                  <a:pt x="4677601" y="5191813"/>
                </a:cubicBezTo>
                <a:cubicBezTo>
                  <a:pt x="4689201" y="5187890"/>
                  <a:pt x="4713277" y="5176762"/>
                  <a:pt x="4733195" y="5168036"/>
                </a:cubicBezTo>
                <a:cubicBezTo>
                  <a:pt x="4745671" y="5160831"/>
                  <a:pt x="4757271" y="5156907"/>
                  <a:pt x="4762309" y="5151226"/>
                </a:cubicBezTo>
                <a:cubicBezTo>
                  <a:pt x="4791423" y="5134417"/>
                  <a:pt x="4823817" y="5118487"/>
                  <a:pt x="4852933" y="5101678"/>
                </a:cubicBezTo>
                <a:cubicBezTo>
                  <a:pt x="4864531" y="5097753"/>
                  <a:pt x="4877009" y="5090549"/>
                  <a:pt x="4886205" y="5082466"/>
                </a:cubicBezTo>
                <a:cubicBezTo>
                  <a:pt x="4985149" y="5028114"/>
                  <a:pt x="5076887" y="4961284"/>
                  <a:pt x="5167103" y="4887015"/>
                </a:cubicBezTo>
                <a:cubicBezTo>
                  <a:pt x="5142791" y="4912143"/>
                  <a:pt x="5118479" y="4937271"/>
                  <a:pt x="5099205" y="4956718"/>
                </a:cubicBezTo>
                <a:cubicBezTo>
                  <a:pt x="5092645" y="4954959"/>
                  <a:pt x="5082569" y="4966322"/>
                  <a:pt x="5079289" y="4965443"/>
                </a:cubicBezTo>
                <a:cubicBezTo>
                  <a:pt x="5055855" y="4987291"/>
                  <a:pt x="5021703" y="5009782"/>
                  <a:pt x="5004830" y="5033389"/>
                </a:cubicBezTo>
                <a:cubicBezTo>
                  <a:pt x="5017309" y="5026183"/>
                  <a:pt x="5033945" y="5016579"/>
                  <a:pt x="5039627" y="5021617"/>
                </a:cubicBezTo>
                <a:cubicBezTo>
                  <a:pt x="5057143" y="5008731"/>
                  <a:pt x="5097211" y="4977279"/>
                  <a:pt x="5104007" y="4965035"/>
                </a:cubicBezTo>
                <a:cubicBezTo>
                  <a:pt x="5112326" y="4960233"/>
                  <a:pt x="5119767" y="4958711"/>
                  <a:pt x="5123925" y="4956309"/>
                </a:cubicBezTo>
                <a:cubicBezTo>
                  <a:pt x="5142320" y="4940144"/>
                  <a:pt x="5153275" y="4925499"/>
                  <a:pt x="5168389" y="4908456"/>
                </a:cubicBezTo>
                <a:cubicBezTo>
                  <a:pt x="5181747" y="4897970"/>
                  <a:pt x="5207581" y="4880282"/>
                  <a:pt x="5221817" y="4866518"/>
                </a:cubicBezTo>
                <a:cubicBezTo>
                  <a:pt x="5226855" y="4860837"/>
                  <a:pt x="5224452" y="4856678"/>
                  <a:pt x="5229491" y="4850995"/>
                </a:cubicBezTo>
                <a:cubicBezTo>
                  <a:pt x="5234529" y="4845314"/>
                  <a:pt x="5250287" y="4838989"/>
                  <a:pt x="5255325" y="4833307"/>
                </a:cubicBezTo>
                <a:cubicBezTo>
                  <a:pt x="5273721" y="4817141"/>
                  <a:pt x="5276357" y="4807300"/>
                  <a:pt x="5282919" y="4809059"/>
                </a:cubicBezTo>
                <a:cubicBezTo>
                  <a:pt x="5289714" y="4796816"/>
                  <a:pt x="5304828" y="4779770"/>
                  <a:pt x="5300025" y="4771452"/>
                </a:cubicBezTo>
                <a:cubicBezTo>
                  <a:pt x="5293229" y="4783696"/>
                  <a:pt x="5290828" y="4779536"/>
                  <a:pt x="5287549" y="4778657"/>
                </a:cubicBezTo>
                <a:cubicBezTo>
                  <a:pt x="5535469" y="4535697"/>
                  <a:pt x="5723529" y="4227476"/>
                  <a:pt x="5820215" y="3866642"/>
                </a:cubicBezTo>
                <a:lnTo>
                  <a:pt x="5820377" y="3865901"/>
                </a:lnTo>
                <a:lnTo>
                  <a:pt x="5786815" y="3962149"/>
                </a:lnTo>
                <a:cubicBezTo>
                  <a:pt x="5759509" y="4027726"/>
                  <a:pt x="5725426" y="4090021"/>
                  <a:pt x="5689529" y="4151358"/>
                </a:cubicBezTo>
                <a:lnTo>
                  <a:pt x="5652275" y="4213857"/>
                </a:lnTo>
                <a:lnTo>
                  <a:pt x="5648119" y="4223529"/>
                </a:lnTo>
                <a:cubicBezTo>
                  <a:pt x="5556231" y="4415569"/>
                  <a:pt x="5434887" y="4589609"/>
                  <a:pt x="5290656" y="4740814"/>
                </a:cubicBezTo>
                <a:cubicBezTo>
                  <a:pt x="5292413" y="4734255"/>
                  <a:pt x="5296573" y="4731854"/>
                  <a:pt x="5293293" y="4730974"/>
                </a:cubicBezTo>
                <a:cubicBezTo>
                  <a:pt x="5267459" y="4748662"/>
                  <a:pt x="5268980" y="4756103"/>
                  <a:pt x="5252987" y="4776428"/>
                </a:cubicBezTo>
                <a:cubicBezTo>
                  <a:pt x="5237872" y="4793472"/>
                  <a:pt x="5218599" y="4812919"/>
                  <a:pt x="5200205" y="4829085"/>
                </a:cubicBezTo>
                <a:cubicBezTo>
                  <a:pt x="5192765" y="4830607"/>
                  <a:pt x="5169333" y="4852454"/>
                  <a:pt x="5167573" y="4859015"/>
                </a:cubicBezTo>
                <a:cubicBezTo>
                  <a:pt x="5164293" y="4858136"/>
                  <a:pt x="5164293" y="4858136"/>
                  <a:pt x="5164293" y="4858136"/>
                </a:cubicBezTo>
                <a:cubicBezTo>
                  <a:pt x="5163415" y="4861416"/>
                  <a:pt x="5163415" y="4861416"/>
                  <a:pt x="5163415" y="4861416"/>
                </a:cubicBezTo>
                <a:cubicBezTo>
                  <a:pt x="5160135" y="4860538"/>
                  <a:pt x="5160135" y="4860538"/>
                  <a:pt x="5159255" y="4863817"/>
                </a:cubicBezTo>
                <a:cubicBezTo>
                  <a:pt x="5158377" y="4867098"/>
                  <a:pt x="5158377" y="4867098"/>
                  <a:pt x="5154217" y="4869499"/>
                </a:cubicBezTo>
                <a:cubicBezTo>
                  <a:pt x="5150057" y="4871900"/>
                  <a:pt x="5140859" y="4879984"/>
                  <a:pt x="5139981" y="4883264"/>
                </a:cubicBezTo>
                <a:cubicBezTo>
                  <a:pt x="5122465" y="4896150"/>
                  <a:pt x="5104949" y="4909035"/>
                  <a:pt x="5089836" y="4926080"/>
                </a:cubicBezTo>
                <a:cubicBezTo>
                  <a:pt x="5081517" y="4930882"/>
                  <a:pt x="5073198" y="4935686"/>
                  <a:pt x="5068160" y="4941369"/>
                </a:cubicBezTo>
                <a:cubicBezTo>
                  <a:pt x="5050645" y="4954253"/>
                  <a:pt x="5033129" y="4967138"/>
                  <a:pt x="5019772" y="4977623"/>
                </a:cubicBezTo>
                <a:cubicBezTo>
                  <a:pt x="5019772" y="4977623"/>
                  <a:pt x="5020651" y="4974342"/>
                  <a:pt x="5020651" y="4974342"/>
                </a:cubicBezTo>
                <a:cubicBezTo>
                  <a:pt x="5016491" y="4976743"/>
                  <a:pt x="5012333" y="4979146"/>
                  <a:pt x="5011455" y="4982425"/>
                </a:cubicBezTo>
                <a:cubicBezTo>
                  <a:pt x="4802143" y="5133774"/>
                  <a:pt x="4561379" y="5245050"/>
                  <a:pt x="4305801" y="5306654"/>
                </a:cubicBezTo>
                <a:cubicBezTo>
                  <a:pt x="4014782" y="5369308"/>
                  <a:pt x="3709183" y="5368285"/>
                  <a:pt x="3402360" y="5293105"/>
                </a:cubicBezTo>
                <a:cubicBezTo>
                  <a:pt x="3403239" y="5289824"/>
                  <a:pt x="3403239" y="5289824"/>
                  <a:pt x="3404117" y="5286544"/>
                </a:cubicBezTo>
                <a:cubicBezTo>
                  <a:pt x="3450920" y="5295568"/>
                  <a:pt x="3475876" y="5281161"/>
                  <a:pt x="3508914" y="5275951"/>
                </a:cubicBezTo>
                <a:cubicBezTo>
                  <a:pt x="3508914" y="5275951"/>
                  <a:pt x="3503232" y="5270912"/>
                  <a:pt x="3496671" y="5269154"/>
                </a:cubicBezTo>
                <a:cubicBezTo>
                  <a:pt x="3511551" y="5266108"/>
                  <a:pt x="3536915" y="5276421"/>
                  <a:pt x="3557475" y="5278414"/>
                </a:cubicBezTo>
                <a:cubicBezTo>
                  <a:pt x="3575633" y="5276248"/>
                  <a:pt x="3604513" y="5273439"/>
                  <a:pt x="3604513" y="5273439"/>
                </a:cubicBezTo>
                <a:cubicBezTo>
                  <a:pt x="3602991" y="5265999"/>
                  <a:pt x="3589869" y="5262484"/>
                  <a:pt x="3573468" y="5258088"/>
                </a:cubicBezTo>
                <a:cubicBezTo>
                  <a:pt x="3574346" y="5254808"/>
                  <a:pt x="3577628" y="5255687"/>
                  <a:pt x="3577628" y="5255687"/>
                </a:cubicBezTo>
                <a:cubicBezTo>
                  <a:pt x="3580907" y="5256567"/>
                  <a:pt x="3580907" y="5256567"/>
                  <a:pt x="3580907" y="5256567"/>
                </a:cubicBezTo>
                <a:cubicBezTo>
                  <a:pt x="3580907" y="5256567"/>
                  <a:pt x="3584189" y="5257445"/>
                  <a:pt x="3584189" y="5257445"/>
                </a:cubicBezTo>
                <a:cubicBezTo>
                  <a:pt x="3584189" y="5257445"/>
                  <a:pt x="3587468" y="5258324"/>
                  <a:pt x="3590749" y="5259203"/>
                </a:cubicBezTo>
                <a:cubicBezTo>
                  <a:pt x="3591627" y="5255923"/>
                  <a:pt x="3591627" y="5255923"/>
                  <a:pt x="3588347" y="5255045"/>
                </a:cubicBezTo>
                <a:cubicBezTo>
                  <a:pt x="3588347" y="5255045"/>
                  <a:pt x="3585065" y="5254166"/>
                  <a:pt x="3585065" y="5254166"/>
                </a:cubicBezTo>
                <a:cubicBezTo>
                  <a:pt x="3581787" y="5253286"/>
                  <a:pt x="3581787" y="5253286"/>
                  <a:pt x="3581787" y="5253286"/>
                </a:cubicBezTo>
                <a:cubicBezTo>
                  <a:pt x="3603227" y="5252000"/>
                  <a:pt x="3576983" y="5244968"/>
                  <a:pt x="3572825" y="5247369"/>
                </a:cubicBezTo>
                <a:cubicBezTo>
                  <a:pt x="3569546" y="5246491"/>
                  <a:pt x="3568666" y="5249771"/>
                  <a:pt x="3568666" y="5249771"/>
                </a:cubicBezTo>
                <a:cubicBezTo>
                  <a:pt x="3568666" y="5249771"/>
                  <a:pt x="3571945" y="5250649"/>
                  <a:pt x="3571945" y="5250649"/>
                </a:cubicBezTo>
                <a:cubicBezTo>
                  <a:pt x="3574346" y="5254808"/>
                  <a:pt x="3574346" y="5254808"/>
                  <a:pt x="3574346" y="5254808"/>
                </a:cubicBezTo>
                <a:cubicBezTo>
                  <a:pt x="3574346" y="5254808"/>
                  <a:pt x="3567787" y="5253050"/>
                  <a:pt x="3564507" y="5252171"/>
                </a:cubicBezTo>
                <a:cubicBezTo>
                  <a:pt x="3561226" y="5251293"/>
                  <a:pt x="3561226" y="5251293"/>
                  <a:pt x="3561226" y="5251293"/>
                </a:cubicBezTo>
                <a:cubicBezTo>
                  <a:pt x="3538264" y="5245140"/>
                  <a:pt x="3523621" y="5234185"/>
                  <a:pt x="3539378" y="5227860"/>
                </a:cubicBezTo>
                <a:cubicBezTo>
                  <a:pt x="3555779" y="5232255"/>
                  <a:pt x="3556660" y="5228975"/>
                  <a:pt x="3579620" y="5235127"/>
                </a:cubicBezTo>
                <a:cubicBezTo>
                  <a:pt x="3584659" y="5229445"/>
                  <a:pt x="3571539" y="5225930"/>
                  <a:pt x="3570016" y="5218490"/>
                </a:cubicBezTo>
                <a:cubicBezTo>
                  <a:pt x="3602174" y="5216559"/>
                  <a:pt x="3653138" y="5223183"/>
                  <a:pt x="3657531" y="5206782"/>
                </a:cubicBezTo>
                <a:cubicBezTo>
                  <a:pt x="3657531" y="5206782"/>
                  <a:pt x="3660813" y="5207661"/>
                  <a:pt x="3660813" y="5207661"/>
                </a:cubicBezTo>
                <a:cubicBezTo>
                  <a:pt x="3660813" y="5207661"/>
                  <a:pt x="3667372" y="5209419"/>
                  <a:pt x="3667372" y="5209419"/>
                </a:cubicBezTo>
                <a:cubicBezTo>
                  <a:pt x="3671532" y="5207018"/>
                  <a:pt x="3674811" y="5207897"/>
                  <a:pt x="3671532" y="5207018"/>
                </a:cubicBezTo>
                <a:cubicBezTo>
                  <a:pt x="3678971" y="5205495"/>
                  <a:pt x="3688811" y="5208131"/>
                  <a:pt x="3710251" y="5206844"/>
                </a:cubicBezTo>
                <a:cubicBezTo>
                  <a:pt x="3717691" y="5205323"/>
                  <a:pt x="3720971" y="5206202"/>
                  <a:pt x="3724251" y="5207082"/>
                </a:cubicBezTo>
                <a:cubicBezTo>
                  <a:pt x="3724251" y="5207082"/>
                  <a:pt x="3728411" y="5204679"/>
                  <a:pt x="3728411" y="5204679"/>
                </a:cubicBezTo>
                <a:cubicBezTo>
                  <a:pt x="3731689" y="5205559"/>
                  <a:pt x="3731689" y="5205559"/>
                  <a:pt x="3731689" y="5205559"/>
                </a:cubicBezTo>
                <a:cubicBezTo>
                  <a:pt x="3734971" y="5206438"/>
                  <a:pt x="3732569" y="5202278"/>
                  <a:pt x="3732569" y="5202278"/>
                </a:cubicBezTo>
                <a:cubicBezTo>
                  <a:pt x="3735849" y="5203156"/>
                  <a:pt x="3735849" y="5203156"/>
                  <a:pt x="3735849" y="5203156"/>
                </a:cubicBezTo>
                <a:cubicBezTo>
                  <a:pt x="3736729" y="5199877"/>
                  <a:pt x="3749851" y="5203393"/>
                  <a:pt x="3750729" y="5200112"/>
                </a:cubicBezTo>
                <a:cubicBezTo>
                  <a:pt x="3733448" y="5198998"/>
                  <a:pt x="3747448" y="5199234"/>
                  <a:pt x="3741767" y="5194194"/>
                </a:cubicBezTo>
                <a:cubicBezTo>
                  <a:pt x="3762327" y="5196187"/>
                  <a:pt x="3736085" y="5189156"/>
                  <a:pt x="3750085" y="5189392"/>
                </a:cubicBezTo>
                <a:cubicBezTo>
                  <a:pt x="3770646" y="5191385"/>
                  <a:pt x="3771525" y="5188105"/>
                  <a:pt x="3780485" y="5194022"/>
                </a:cubicBezTo>
                <a:cubicBezTo>
                  <a:pt x="3783123" y="5184181"/>
                  <a:pt x="3830805" y="5189925"/>
                  <a:pt x="3866245" y="5188875"/>
                </a:cubicBezTo>
                <a:cubicBezTo>
                  <a:pt x="3869525" y="5189754"/>
                  <a:pt x="3876965" y="5188230"/>
                  <a:pt x="3887685" y="5187588"/>
                </a:cubicBezTo>
                <a:cubicBezTo>
                  <a:pt x="3919843" y="5185657"/>
                  <a:pt x="3941283" y="5184371"/>
                  <a:pt x="3959442" y="5182205"/>
                </a:cubicBezTo>
                <a:cubicBezTo>
                  <a:pt x="3966881" y="5180683"/>
                  <a:pt x="3962723" y="5183084"/>
                  <a:pt x="3969282" y="5184842"/>
                </a:cubicBezTo>
                <a:cubicBezTo>
                  <a:pt x="3970163" y="5181561"/>
                  <a:pt x="3974321" y="5179160"/>
                  <a:pt x="3977601" y="5180038"/>
                </a:cubicBezTo>
                <a:cubicBezTo>
                  <a:pt x="3980882" y="5180918"/>
                  <a:pt x="3969282" y="5184842"/>
                  <a:pt x="3980003" y="5184199"/>
                </a:cubicBezTo>
                <a:cubicBezTo>
                  <a:pt x="3999041" y="5178752"/>
                  <a:pt x="4001441" y="5182911"/>
                  <a:pt x="4031200" y="5176823"/>
                </a:cubicBezTo>
                <a:cubicBezTo>
                  <a:pt x="4029443" y="5183383"/>
                  <a:pt x="4029443" y="5183383"/>
                  <a:pt x="4029443" y="5183383"/>
                </a:cubicBezTo>
                <a:cubicBezTo>
                  <a:pt x="4047601" y="5181216"/>
                  <a:pt x="4055041" y="5179694"/>
                  <a:pt x="4041919" y="5176178"/>
                </a:cubicBezTo>
                <a:cubicBezTo>
                  <a:pt x="4053518" y="5172254"/>
                  <a:pt x="4055041" y="5179694"/>
                  <a:pt x="4067519" y="5172490"/>
                </a:cubicBezTo>
                <a:cubicBezTo>
                  <a:pt x="4063359" y="5174891"/>
                  <a:pt x="4066640" y="5175770"/>
                  <a:pt x="4070798" y="5173369"/>
                </a:cubicBezTo>
                <a:cubicBezTo>
                  <a:pt x="4069920" y="5176648"/>
                  <a:pt x="4069920" y="5176648"/>
                  <a:pt x="4069920" y="5176648"/>
                </a:cubicBezTo>
                <a:cubicBezTo>
                  <a:pt x="4065760" y="5179051"/>
                  <a:pt x="4069041" y="5179929"/>
                  <a:pt x="4069041" y="5179929"/>
                </a:cubicBezTo>
                <a:cubicBezTo>
                  <a:pt x="4072321" y="5180808"/>
                  <a:pt x="4072321" y="5180808"/>
                  <a:pt x="4072321" y="5180808"/>
                </a:cubicBezTo>
                <a:cubicBezTo>
                  <a:pt x="4057442" y="5183854"/>
                  <a:pt x="4078003" y="5185846"/>
                  <a:pt x="4089601" y="5181922"/>
                </a:cubicBezTo>
                <a:cubicBezTo>
                  <a:pt x="4088723" y="5185204"/>
                  <a:pt x="4088723" y="5185204"/>
                  <a:pt x="4088723" y="5185204"/>
                </a:cubicBezTo>
                <a:cubicBezTo>
                  <a:pt x="4088723" y="5185204"/>
                  <a:pt x="4088723" y="5185204"/>
                  <a:pt x="4092003" y="5186082"/>
                </a:cubicBezTo>
                <a:cubicBezTo>
                  <a:pt x="4092003" y="5186082"/>
                  <a:pt x="4096162" y="5183681"/>
                  <a:pt x="4096162" y="5183681"/>
                </a:cubicBezTo>
                <a:cubicBezTo>
                  <a:pt x="4114321" y="5181514"/>
                  <a:pt x="4139919" y="5177828"/>
                  <a:pt x="4165519" y="5174139"/>
                </a:cubicBezTo>
                <a:cubicBezTo>
                  <a:pt x="4191995" y="5167169"/>
                  <a:pt x="4218473" y="5160202"/>
                  <a:pt x="4237513" y="5154755"/>
                </a:cubicBezTo>
                <a:cubicBezTo>
                  <a:pt x="4244511" y="5154873"/>
                  <a:pt x="4253811" y="5152971"/>
                  <a:pt x="4264671" y="5150166"/>
                </a:cubicBezTo>
                <a:lnTo>
                  <a:pt x="4275426" y="5147224"/>
                </a:lnTo>
                <a:lnTo>
                  <a:pt x="4225547" y="5155482"/>
                </a:lnTo>
                <a:cubicBezTo>
                  <a:pt x="4078476" y="5175336"/>
                  <a:pt x="3929093" y="5177603"/>
                  <a:pt x="3777147" y="5162641"/>
                </a:cubicBezTo>
                <a:cubicBezTo>
                  <a:pt x="3719477" y="5157145"/>
                  <a:pt x="3662833" y="5157785"/>
                  <a:pt x="3607202" y="5141859"/>
                </a:cubicBezTo>
                <a:cubicBezTo>
                  <a:pt x="3601885" y="5140225"/>
                  <a:pt x="3595751" y="5141251"/>
                  <a:pt x="3593293" y="5134094"/>
                </a:cubicBezTo>
                <a:cubicBezTo>
                  <a:pt x="3593495" y="5127754"/>
                  <a:pt x="3598607" y="5128161"/>
                  <a:pt x="3601266" y="5128978"/>
                </a:cubicBezTo>
                <a:cubicBezTo>
                  <a:pt x="3784099" y="5158958"/>
                  <a:pt x="3966912" y="5151101"/>
                  <a:pt x="4150133" y="5138134"/>
                </a:cubicBezTo>
                <a:cubicBezTo>
                  <a:pt x="4246243" y="5132159"/>
                  <a:pt x="4339069" y="5106553"/>
                  <a:pt x="4432718" y="5085854"/>
                </a:cubicBezTo>
                <a:cubicBezTo>
                  <a:pt x="4443555" y="5082783"/>
                  <a:pt x="4455823" y="5080731"/>
                  <a:pt x="4466865" y="5078886"/>
                </a:cubicBezTo>
                <a:cubicBezTo>
                  <a:pt x="4472795" y="5076634"/>
                  <a:pt x="4482203" y="5080106"/>
                  <a:pt x="4480356" y="5069063"/>
                </a:cubicBezTo>
                <a:cubicBezTo>
                  <a:pt x="4478511" y="5058020"/>
                  <a:pt x="4471355" y="5060478"/>
                  <a:pt x="4462767" y="5061914"/>
                </a:cubicBezTo>
                <a:cubicBezTo>
                  <a:pt x="4419420" y="5074203"/>
                  <a:pt x="4374641" y="5085472"/>
                  <a:pt x="4330679" y="5094082"/>
                </a:cubicBezTo>
                <a:cubicBezTo>
                  <a:pt x="4284672" y="5102718"/>
                  <a:pt x="4238818" y="5109910"/>
                  <a:pt x="4193125" y="5115579"/>
                </a:cubicBezTo>
                <a:lnTo>
                  <a:pt x="4089964" y="5124917"/>
                </a:lnTo>
                <a:lnTo>
                  <a:pt x="4090545" y="5125923"/>
                </a:lnTo>
                <a:cubicBezTo>
                  <a:pt x="4075664" y="5128968"/>
                  <a:pt x="4061664" y="5128732"/>
                  <a:pt x="4046787" y="5131776"/>
                </a:cubicBezTo>
                <a:cubicBezTo>
                  <a:pt x="4047666" y="5128497"/>
                  <a:pt x="4047666" y="5128497"/>
                  <a:pt x="4047666" y="5128497"/>
                </a:cubicBezTo>
                <a:cubicBezTo>
                  <a:pt x="4050945" y="5129375"/>
                  <a:pt x="4058384" y="5127852"/>
                  <a:pt x="4061664" y="5128732"/>
                </a:cubicBezTo>
                <a:lnTo>
                  <a:pt x="4072652" y="5126484"/>
                </a:lnTo>
                <a:lnTo>
                  <a:pt x="4056543" y="5127942"/>
                </a:lnTo>
                <a:lnTo>
                  <a:pt x="4025363" y="5128577"/>
                </a:lnTo>
                <a:lnTo>
                  <a:pt x="4022586" y="5131884"/>
                </a:lnTo>
                <a:cubicBezTo>
                  <a:pt x="4021846" y="5133005"/>
                  <a:pt x="4021627" y="5133825"/>
                  <a:pt x="4021187" y="5135465"/>
                </a:cubicBezTo>
                <a:cubicBezTo>
                  <a:pt x="4017907" y="5134587"/>
                  <a:pt x="4014626" y="5133707"/>
                  <a:pt x="4014626" y="5133707"/>
                </a:cubicBezTo>
                <a:cubicBezTo>
                  <a:pt x="4015505" y="5130427"/>
                  <a:pt x="4018785" y="5131306"/>
                  <a:pt x="4015505" y="5130427"/>
                </a:cubicBezTo>
                <a:cubicBezTo>
                  <a:pt x="4015505" y="5130427"/>
                  <a:pt x="4015505" y="5130427"/>
                  <a:pt x="4012226" y="5129549"/>
                </a:cubicBezTo>
                <a:lnTo>
                  <a:pt x="4009785" y="5128894"/>
                </a:lnTo>
                <a:lnTo>
                  <a:pt x="3920985" y="5130704"/>
                </a:lnTo>
                <a:lnTo>
                  <a:pt x="3897176" y="5129411"/>
                </a:lnTo>
                <a:lnTo>
                  <a:pt x="3884467" y="5133988"/>
                </a:lnTo>
                <a:cubicBezTo>
                  <a:pt x="3875506" y="5128073"/>
                  <a:pt x="3871346" y="5130474"/>
                  <a:pt x="3866308" y="5136155"/>
                </a:cubicBezTo>
                <a:cubicBezTo>
                  <a:pt x="3859747" y="5134396"/>
                  <a:pt x="3853187" y="5132639"/>
                  <a:pt x="3845748" y="5134162"/>
                </a:cubicBezTo>
                <a:cubicBezTo>
                  <a:pt x="3838309" y="5135685"/>
                  <a:pt x="3828467" y="5133048"/>
                  <a:pt x="3821029" y="5134569"/>
                </a:cubicBezTo>
                <a:cubicBezTo>
                  <a:pt x="3810308" y="5135213"/>
                  <a:pt x="3797187" y="5131697"/>
                  <a:pt x="3786467" y="5132340"/>
                </a:cubicBezTo>
                <a:cubicBezTo>
                  <a:pt x="3779906" y="5130583"/>
                  <a:pt x="3769188" y="5131227"/>
                  <a:pt x="3765027" y="5133628"/>
                </a:cubicBezTo>
                <a:cubicBezTo>
                  <a:pt x="3761746" y="5132748"/>
                  <a:pt x="3761746" y="5132748"/>
                  <a:pt x="3761746" y="5132748"/>
                </a:cubicBezTo>
                <a:cubicBezTo>
                  <a:pt x="3751027" y="5133392"/>
                  <a:pt x="3744467" y="5131634"/>
                  <a:pt x="3733748" y="5132278"/>
                </a:cubicBezTo>
                <a:cubicBezTo>
                  <a:pt x="3727187" y="5130519"/>
                  <a:pt x="3719747" y="5132042"/>
                  <a:pt x="3709028" y="5132686"/>
                </a:cubicBezTo>
                <a:cubicBezTo>
                  <a:pt x="3700066" y="5126768"/>
                  <a:pt x="3699188" y="5130049"/>
                  <a:pt x="3698308" y="5133328"/>
                </a:cubicBezTo>
                <a:cubicBezTo>
                  <a:pt x="3695027" y="5132450"/>
                  <a:pt x="3695027" y="5132450"/>
                  <a:pt x="3695027" y="5132450"/>
                </a:cubicBezTo>
                <a:cubicBezTo>
                  <a:pt x="3691747" y="5131570"/>
                  <a:pt x="3689347" y="5127412"/>
                  <a:pt x="3686065" y="5126532"/>
                </a:cubicBezTo>
                <a:cubicBezTo>
                  <a:pt x="3686065" y="5126532"/>
                  <a:pt x="3682787" y="5125654"/>
                  <a:pt x="3682787" y="5125654"/>
                </a:cubicBezTo>
                <a:cubicBezTo>
                  <a:pt x="3679505" y="5124775"/>
                  <a:pt x="3679505" y="5124775"/>
                  <a:pt x="3675347" y="5127176"/>
                </a:cubicBezTo>
                <a:cubicBezTo>
                  <a:pt x="3675347" y="5127176"/>
                  <a:pt x="3675347" y="5127176"/>
                  <a:pt x="3674467" y="5130457"/>
                </a:cubicBezTo>
                <a:cubicBezTo>
                  <a:pt x="3658065" y="5126062"/>
                  <a:pt x="3658065" y="5126062"/>
                  <a:pt x="3658065" y="5126062"/>
                </a:cubicBezTo>
                <a:cubicBezTo>
                  <a:pt x="3658065" y="5126062"/>
                  <a:pt x="3653907" y="5128463"/>
                  <a:pt x="3653907" y="5128463"/>
                </a:cubicBezTo>
                <a:cubicBezTo>
                  <a:pt x="3653907" y="5128463"/>
                  <a:pt x="3657187" y="5129341"/>
                  <a:pt x="3657187" y="5129341"/>
                </a:cubicBezTo>
                <a:cubicBezTo>
                  <a:pt x="3674467" y="5130457"/>
                  <a:pt x="3674467" y="5130457"/>
                  <a:pt x="3674467" y="5130457"/>
                </a:cubicBezTo>
                <a:cubicBezTo>
                  <a:pt x="3674467" y="5130457"/>
                  <a:pt x="3673588" y="5133737"/>
                  <a:pt x="3673588" y="5133737"/>
                </a:cubicBezTo>
                <a:cubicBezTo>
                  <a:pt x="3670306" y="5132858"/>
                  <a:pt x="3667027" y="5131978"/>
                  <a:pt x="3667027" y="5131978"/>
                </a:cubicBezTo>
                <a:cubicBezTo>
                  <a:pt x="3663747" y="5131100"/>
                  <a:pt x="3663747" y="5131100"/>
                  <a:pt x="3663747" y="5131100"/>
                </a:cubicBezTo>
                <a:cubicBezTo>
                  <a:pt x="3660467" y="5130221"/>
                  <a:pt x="3656309" y="5132623"/>
                  <a:pt x="3653027" y="5131744"/>
                </a:cubicBezTo>
                <a:cubicBezTo>
                  <a:pt x="3649747" y="5130864"/>
                  <a:pt x="3646466" y="5129986"/>
                  <a:pt x="3639907" y="5128227"/>
                </a:cubicBezTo>
                <a:cubicBezTo>
                  <a:pt x="3643186" y="5129107"/>
                  <a:pt x="3644067" y="5125825"/>
                  <a:pt x="3644067" y="5125825"/>
                </a:cubicBezTo>
                <a:cubicBezTo>
                  <a:pt x="3644067" y="5125825"/>
                  <a:pt x="3640785" y="5124947"/>
                  <a:pt x="3637506" y="5124069"/>
                </a:cubicBezTo>
                <a:cubicBezTo>
                  <a:pt x="3637506" y="5124069"/>
                  <a:pt x="3634225" y="5123188"/>
                  <a:pt x="3630945" y="5122310"/>
                </a:cubicBezTo>
                <a:cubicBezTo>
                  <a:pt x="3626785" y="5124711"/>
                  <a:pt x="3623505" y="5123833"/>
                  <a:pt x="3620224" y="5122954"/>
                </a:cubicBezTo>
                <a:cubicBezTo>
                  <a:pt x="3616944" y="5122074"/>
                  <a:pt x="3616944" y="5122074"/>
                  <a:pt x="3613665" y="5121196"/>
                </a:cubicBezTo>
                <a:cubicBezTo>
                  <a:pt x="3609505" y="5123597"/>
                  <a:pt x="3609505" y="5123597"/>
                  <a:pt x="3609505" y="5123597"/>
                </a:cubicBezTo>
                <a:cubicBezTo>
                  <a:pt x="3606225" y="5122719"/>
                  <a:pt x="3602066" y="5125120"/>
                  <a:pt x="3598785" y="5124241"/>
                </a:cubicBezTo>
                <a:cubicBezTo>
                  <a:pt x="3595505" y="5123363"/>
                  <a:pt x="3592225" y="5122483"/>
                  <a:pt x="3592225" y="5122483"/>
                </a:cubicBezTo>
                <a:cubicBezTo>
                  <a:pt x="3593103" y="5119203"/>
                  <a:pt x="3593103" y="5119203"/>
                  <a:pt x="3589823" y="5118324"/>
                </a:cubicBezTo>
                <a:cubicBezTo>
                  <a:pt x="3589823" y="5118324"/>
                  <a:pt x="3586543" y="5117446"/>
                  <a:pt x="3585664" y="5120726"/>
                </a:cubicBezTo>
                <a:cubicBezTo>
                  <a:pt x="3585664" y="5120726"/>
                  <a:pt x="3582383" y="5119845"/>
                  <a:pt x="3579982" y="5115687"/>
                </a:cubicBezTo>
                <a:cubicBezTo>
                  <a:pt x="3572542" y="5117210"/>
                  <a:pt x="3572542" y="5117210"/>
                  <a:pt x="3572542" y="5117210"/>
                </a:cubicBezTo>
                <a:cubicBezTo>
                  <a:pt x="3572542" y="5117210"/>
                  <a:pt x="3575823" y="5118089"/>
                  <a:pt x="3574945" y="5121368"/>
                </a:cubicBezTo>
                <a:cubicBezTo>
                  <a:pt x="3571664" y="5120490"/>
                  <a:pt x="3568383" y="5119611"/>
                  <a:pt x="3565103" y="5118731"/>
                </a:cubicBezTo>
                <a:cubicBezTo>
                  <a:pt x="3561823" y="5117852"/>
                  <a:pt x="3561823" y="5117852"/>
                  <a:pt x="3561823" y="5117852"/>
                </a:cubicBezTo>
                <a:cubicBezTo>
                  <a:pt x="3554384" y="5119375"/>
                  <a:pt x="3551103" y="5118495"/>
                  <a:pt x="3547823" y="5117617"/>
                </a:cubicBezTo>
                <a:cubicBezTo>
                  <a:pt x="3541263" y="5115860"/>
                  <a:pt x="3537981" y="5114981"/>
                  <a:pt x="3534703" y="5114101"/>
                </a:cubicBezTo>
                <a:cubicBezTo>
                  <a:pt x="3531422" y="5113222"/>
                  <a:pt x="3531422" y="5113222"/>
                  <a:pt x="3524861" y="5111464"/>
                </a:cubicBezTo>
                <a:cubicBezTo>
                  <a:pt x="3522460" y="5107306"/>
                  <a:pt x="3511741" y="5107948"/>
                  <a:pt x="3505180" y="5106191"/>
                </a:cubicBezTo>
                <a:cubicBezTo>
                  <a:pt x="3501899" y="5105311"/>
                  <a:pt x="3499499" y="5101153"/>
                  <a:pt x="3496218" y="5100273"/>
                </a:cubicBezTo>
                <a:cubicBezTo>
                  <a:pt x="3496218" y="5100273"/>
                  <a:pt x="3500377" y="5097872"/>
                  <a:pt x="3500377" y="5097872"/>
                </a:cubicBezTo>
                <a:cubicBezTo>
                  <a:pt x="3503657" y="5098752"/>
                  <a:pt x="3504537" y="5095471"/>
                  <a:pt x="3504537" y="5095471"/>
                </a:cubicBezTo>
                <a:cubicBezTo>
                  <a:pt x="3504537" y="5095471"/>
                  <a:pt x="3504537" y="5095471"/>
                  <a:pt x="3501256" y="5094592"/>
                </a:cubicBezTo>
                <a:cubicBezTo>
                  <a:pt x="3497975" y="5093714"/>
                  <a:pt x="3497975" y="5093714"/>
                  <a:pt x="3497975" y="5093714"/>
                </a:cubicBezTo>
                <a:cubicBezTo>
                  <a:pt x="3494695" y="5092834"/>
                  <a:pt x="3494695" y="5092834"/>
                  <a:pt x="3493817" y="5096115"/>
                </a:cubicBezTo>
                <a:cubicBezTo>
                  <a:pt x="3493817" y="5096115"/>
                  <a:pt x="3489659" y="5098516"/>
                  <a:pt x="3489659" y="5098516"/>
                </a:cubicBezTo>
                <a:cubicBezTo>
                  <a:pt x="3488778" y="5101796"/>
                  <a:pt x="3488778" y="5101796"/>
                  <a:pt x="3488778" y="5101796"/>
                </a:cubicBezTo>
                <a:cubicBezTo>
                  <a:pt x="3492058" y="5102676"/>
                  <a:pt x="3497740" y="5107714"/>
                  <a:pt x="3504301" y="5109471"/>
                </a:cubicBezTo>
                <a:cubicBezTo>
                  <a:pt x="3507581" y="5110349"/>
                  <a:pt x="3507581" y="5110349"/>
                  <a:pt x="3507581" y="5110349"/>
                </a:cubicBezTo>
                <a:cubicBezTo>
                  <a:pt x="3510861" y="5111230"/>
                  <a:pt x="3518300" y="5109707"/>
                  <a:pt x="3520701" y="5113865"/>
                </a:cubicBezTo>
                <a:cubicBezTo>
                  <a:pt x="3523982" y="5114745"/>
                  <a:pt x="3523982" y="5114745"/>
                  <a:pt x="3527262" y="5115624"/>
                </a:cubicBezTo>
                <a:cubicBezTo>
                  <a:pt x="3523104" y="5118025"/>
                  <a:pt x="3516543" y="5116266"/>
                  <a:pt x="3509983" y="5114509"/>
                </a:cubicBezTo>
                <a:cubicBezTo>
                  <a:pt x="3503423" y="5112752"/>
                  <a:pt x="3496862" y="5110993"/>
                  <a:pt x="3489421" y="5112516"/>
                </a:cubicBezTo>
                <a:cubicBezTo>
                  <a:pt x="3486142" y="5111638"/>
                  <a:pt x="3487020" y="5108356"/>
                  <a:pt x="3483740" y="5107478"/>
                </a:cubicBezTo>
                <a:cubicBezTo>
                  <a:pt x="3477179" y="5105719"/>
                  <a:pt x="3477179" y="5105719"/>
                  <a:pt x="3477179" y="5105719"/>
                </a:cubicBezTo>
                <a:cubicBezTo>
                  <a:pt x="3470619" y="5103962"/>
                  <a:pt x="3467339" y="5103082"/>
                  <a:pt x="3460778" y="5101325"/>
                </a:cubicBezTo>
                <a:cubicBezTo>
                  <a:pt x="3464938" y="5098924"/>
                  <a:pt x="3464938" y="5098924"/>
                  <a:pt x="3464938" y="5098924"/>
                </a:cubicBezTo>
                <a:cubicBezTo>
                  <a:pt x="3468217" y="5099803"/>
                  <a:pt x="3468217" y="5099803"/>
                  <a:pt x="3465816" y="5095643"/>
                </a:cubicBezTo>
                <a:cubicBezTo>
                  <a:pt x="3465816" y="5095643"/>
                  <a:pt x="3465816" y="5095643"/>
                  <a:pt x="3462537" y="5094765"/>
                </a:cubicBezTo>
                <a:cubicBezTo>
                  <a:pt x="3462537" y="5094765"/>
                  <a:pt x="3459257" y="5093886"/>
                  <a:pt x="3459257" y="5093886"/>
                </a:cubicBezTo>
                <a:cubicBezTo>
                  <a:pt x="3455097" y="5096287"/>
                  <a:pt x="3455097" y="5096287"/>
                  <a:pt x="3455097" y="5096287"/>
                </a:cubicBezTo>
                <a:cubicBezTo>
                  <a:pt x="3455097" y="5096287"/>
                  <a:pt x="3451816" y="5095409"/>
                  <a:pt x="3451816" y="5095409"/>
                </a:cubicBezTo>
                <a:cubicBezTo>
                  <a:pt x="3451816" y="5095409"/>
                  <a:pt x="3451816" y="5095409"/>
                  <a:pt x="3448536" y="5094529"/>
                </a:cubicBezTo>
                <a:cubicBezTo>
                  <a:pt x="3445257" y="5093650"/>
                  <a:pt x="3437817" y="5095173"/>
                  <a:pt x="3434537" y="5094294"/>
                </a:cubicBezTo>
                <a:cubicBezTo>
                  <a:pt x="3424696" y="5091657"/>
                  <a:pt x="3420537" y="5094058"/>
                  <a:pt x="3418134" y="5089898"/>
                </a:cubicBezTo>
                <a:cubicBezTo>
                  <a:pt x="3419013" y="5086619"/>
                  <a:pt x="3415734" y="5085739"/>
                  <a:pt x="3415734" y="5085739"/>
                </a:cubicBezTo>
                <a:cubicBezTo>
                  <a:pt x="3415734" y="5085739"/>
                  <a:pt x="3416612" y="5082459"/>
                  <a:pt x="3419893" y="5083337"/>
                </a:cubicBezTo>
                <a:cubicBezTo>
                  <a:pt x="3433015" y="5086855"/>
                  <a:pt x="3446135" y="5090369"/>
                  <a:pt x="3460135" y="5090605"/>
                </a:cubicBezTo>
                <a:cubicBezTo>
                  <a:pt x="3463417" y="5091485"/>
                  <a:pt x="3463417" y="5091485"/>
                  <a:pt x="3463417" y="5091485"/>
                </a:cubicBezTo>
                <a:cubicBezTo>
                  <a:pt x="3464295" y="5088204"/>
                  <a:pt x="3461014" y="5087326"/>
                  <a:pt x="3461014" y="5087326"/>
                </a:cubicBezTo>
                <a:cubicBezTo>
                  <a:pt x="3447014" y="5087089"/>
                  <a:pt x="3433893" y="5083574"/>
                  <a:pt x="3420771" y="5080058"/>
                </a:cubicBezTo>
                <a:cubicBezTo>
                  <a:pt x="3421650" y="5076777"/>
                  <a:pt x="3422530" y="5073498"/>
                  <a:pt x="3416848" y="5068459"/>
                </a:cubicBezTo>
                <a:cubicBezTo>
                  <a:pt x="3400447" y="5064065"/>
                  <a:pt x="3398925" y="5056626"/>
                  <a:pt x="3382522" y="5052230"/>
                </a:cubicBezTo>
                <a:cubicBezTo>
                  <a:pt x="3344273" y="5024403"/>
                  <a:pt x="3293547" y="5003780"/>
                  <a:pt x="3258344" y="4990831"/>
                </a:cubicBezTo>
                <a:cubicBezTo>
                  <a:pt x="3255064" y="4989952"/>
                  <a:pt x="3255064" y="4989952"/>
                  <a:pt x="3255064" y="4989952"/>
                </a:cubicBezTo>
                <a:cubicBezTo>
                  <a:pt x="3255064" y="4989952"/>
                  <a:pt x="3251783" y="4989072"/>
                  <a:pt x="3251783" y="4989072"/>
                </a:cubicBezTo>
                <a:cubicBezTo>
                  <a:pt x="3250904" y="4992353"/>
                  <a:pt x="3250904" y="4992353"/>
                  <a:pt x="3254186" y="4993232"/>
                </a:cubicBezTo>
                <a:cubicBezTo>
                  <a:pt x="3289390" y="5006181"/>
                  <a:pt x="3336835" y="5025926"/>
                  <a:pt x="3375085" y="5053753"/>
                </a:cubicBezTo>
                <a:cubicBezTo>
                  <a:pt x="3371803" y="5052874"/>
                  <a:pt x="3371803" y="5052874"/>
                  <a:pt x="3371803" y="5052874"/>
                </a:cubicBezTo>
                <a:cubicBezTo>
                  <a:pt x="3370925" y="5056154"/>
                  <a:pt x="3374204" y="5057034"/>
                  <a:pt x="3376606" y="5061192"/>
                </a:cubicBezTo>
                <a:cubicBezTo>
                  <a:pt x="3373326" y="5060314"/>
                  <a:pt x="3370045" y="5059435"/>
                  <a:pt x="3366767" y="5058555"/>
                </a:cubicBezTo>
                <a:cubicBezTo>
                  <a:pt x="3366767" y="5058555"/>
                  <a:pt x="3366767" y="5058555"/>
                  <a:pt x="3367645" y="5055275"/>
                </a:cubicBezTo>
                <a:cubicBezTo>
                  <a:pt x="3364364" y="5054397"/>
                  <a:pt x="3364364" y="5054397"/>
                  <a:pt x="3364364" y="5054397"/>
                </a:cubicBezTo>
                <a:cubicBezTo>
                  <a:pt x="3364364" y="5054397"/>
                  <a:pt x="3364364" y="5054397"/>
                  <a:pt x="3361083" y="5053517"/>
                </a:cubicBezTo>
                <a:cubicBezTo>
                  <a:pt x="3361083" y="5053517"/>
                  <a:pt x="3360205" y="5056798"/>
                  <a:pt x="3360205" y="5056798"/>
                </a:cubicBezTo>
                <a:cubicBezTo>
                  <a:pt x="3354524" y="5051759"/>
                  <a:pt x="3347963" y="5050001"/>
                  <a:pt x="3344683" y="5049123"/>
                </a:cubicBezTo>
                <a:cubicBezTo>
                  <a:pt x="3341402" y="5048244"/>
                  <a:pt x="3341402" y="5048244"/>
                  <a:pt x="3338122" y="5047364"/>
                </a:cubicBezTo>
                <a:cubicBezTo>
                  <a:pt x="3334843" y="5046486"/>
                  <a:pt x="3331561" y="5045605"/>
                  <a:pt x="3328281" y="5044727"/>
                </a:cubicBezTo>
                <a:lnTo>
                  <a:pt x="3325001" y="5043849"/>
                </a:lnTo>
                <a:cubicBezTo>
                  <a:pt x="3325879" y="5040568"/>
                  <a:pt x="3325879" y="5040568"/>
                  <a:pt x="3322599" y="5039690"/>
                </a:cubicBezTo>
                <a:cubicBezTo>
                  <a:pt x="3319320" y="5038810"/>
                  <a:pt x="3319320" y="5038810"/>
                  <a:pt x="3316040" y="5037932"/>
                </a:cubicBezTo>
                <a:cubicBezTo>
                  <a:pt x="3316040" y="5037932"/>
                  <a:pt x="3311880" y="5040333"/>
                  <a:pt x="3311880" y="5040333"/>
                </a:cubicBezTo>
                <a:cubicBezTo>
                  <a:pt x="3284758" y="5036582"/>
                  <a:pt x="3258516" y="5029550"/>
                  <a:pt x="3233153" y="5019238"/>
                </a:cubicBezTo>
                <a:cubicBezTo>
                  <a:pt x="3220911" y="5012442"/>
                  <a:pt x="3211070" y="5009805"/>
                  <a:pt x="3198829" y="5003009"/>
                </a:cubicBezTo>
                <a:cubicBezTo>
                  <a:pt x="3198829" y="5003009"/>
                  <a:pt x="3197949" y="5006290"/>
                  <a:pt x="3201230" y="5007168"/>
                </a:cubicBezTo>
                <a:cubicBezTo>
                  <a:pt x="3179148" y="4997736"/>
                  <a:pt x="3159465" y="4992462"/>
                  <a:pt x="3137383" y="4983030"/>
                </a:cubicBezTo>
                <a:cubicBezTo>
                  <a:pt x="3134102" y="4982150"/>
                  <a:pt x="3134102" y="4982150"/>
                  <a:pt x="3133223" y="4985431"/>
                </a:cubicBezTo>
                <a:cubicBezTo>
                  <a:pt x="3126663" y="4983673"/>
                  <a:pt x="3124263" y="4979514"/>
                  <a:pt x="3117700" y="4977756"/>
                </a:cubicBezTo>
                <a:cubicBezTo>
                  <a:pt x="3120981" y="4978634"/>
                  <a:pt x="3118579" y="4974474"/>
                  <a:pt x="3115299" y="4973596"/>
                </a:cubicBezTo>
                <a:cubicBezTo>
                  <a:pt x="3114421" y="4976877"/>
                  <a:pt x="3111141" y="4975997"/>
                  <a:pt x="3107860" y="4975119"/>
                </a:cubicBezTo>
                <a:cubicBezTo>
                  <a:pt x="3101299" y="4973360"/>
                  <a:pt x="3095618" y="4968321"/>
                  <a:pt x="3089059" y="4966565"/>
                </a:cubicBezTo>
                <a:cubicBezTo>
                  <a:pt x="3089059" y="4966565"/>
                  <a:pt x="3085777" y="4965684"/>
                  <a:pt x="3085777" y="4965684"/>
                </a:cubicBezTo>
                <a:cubicBezTo>
                  <a:pt x="3082497" y="4964806"/>
                  <a:pt x="3080095" y="4960648"/>
                  <a:pt x="3076815" y="4959768"/>
                </a:cubicBezTo>
                <a:cubicBezTo>
                  <a:pt x="3073536" y="4958890"/>
                  <a:pt x="3073536" y="4958890"/>
                  <a:pt x="3073536" y="4958890"/>
                </a:cubicBezTo>
                <a:cubicBezTo>
                  <a:pt x="3073536" y="4958890"/>
                  <a:pt x="3070254" y="4958011"/>
                  <a:pt x="3070254" y="4958011"/>
                </a:cubicBezTo>
                <a:cubicBezTo>
                  <a:pt x="3051452" y="4949457"/>
                  <a:pt x="3033528" y="4937622"/>
                  <a:pt x="3018005" y="4929948"/>
                </a:cubicBezTo>
                <a:cubicBezTo>
                  <a:pt x="3018005" y="4929948"/>
                  <a:pt x="3010567" y="4931469"/>
                  <a:pt x="3008164" y="4927311"/>
                </a:cubicBezTo>
                <a:cubicBezTo>
                  <a:pt x="3008164" y="4927311"/>
                  <a:pt x="3004884" y="4926433"/>
                  <a:pt x="3004884" y="4926433"/>
                </a:cubicBezTo>
                <a:cubicBezTo>
                  <a:pt x="3008164" y="4927311"/>
                  <a:pt x="2998324" y="4924674"/>
                  <a:pt x="2991763" y="4922918"/>
                </a:cubicBezTo>
                <a:cubicBezTo>
                  <a:pt x="2979523" y="4916120"/>
                  <a:pt x="2968159" y="4906044"/>
                  <a:pt x="2959196" y="4900127"/>
                </a:cubicBezTo>
                <a:cubicBezTo>
                  <a:pt x="2907827" y="4868783"/>
                  <a:pt x="2868699" y="4844236"/>
                  <a:pt x="2832851" y="4820566"/>
                </a:cubicBezTo>
                <a:cubicBezTo>
                  <a:pt x="2829571" y="4819688"/>
                  <a:pt x="2829571" y="4819688"/>
                  <a:pt x="2829571" y="4819688"/>
                </a:cubicBezTo>
                <a:cubicBezTo>
                  <a:pt x="2827170" y="4815530"/>
                  <a:pt x="2827170" y="4815530"/>
                  <a:pt x="2827170" y="4815530"/>
                </a:cubicBezTo>
                <a:cubicBezTo>
                  <a:pt x="2814607" y="4803373"/>
                  <a:pt x="2802863" y="4791436"/>
                  <a:pt x="2790300" y="4779282"/>
                </a:cubicBezTo>
                <a:lnTo>
                  <a:pt x="2753001" y="4745754"/>
                </a:lnTo>
                <a:lnTo>
                  <a:pt x="2753847" y="4746386"/>
                </a:lnTo>
                <a:cubicBezTo>
                  <a:pt x="2757549" y="4748972"/>
                  <a:pt x="2760909" y="4751190"/>
                  <a:pt x="2763151" y="4752669"/>
                </a:cubicBezTo>
                <a:cubicBezTo>
                  <a:pt x="2766430" y="4753548"/>
                  <a:pt x="2768833" y="4757708"/>
                  <a:pt x="2768833" y="4757708"/>
                </a:cubicBezTo>
                <a:cubicBezTo>
                  <a:pt x="2780195" y="4767784"/>
                  <a:pt x="2784997" y="4776102"/>
                  <a:pt x="2789157" y="4773703"/>
                </a:cubicBezTo>
                <a:cubicBezTo>
                  <a:pt x="2790679" y="4781141"/>
                  <a:pt x="2808603" y="4792975"/>
                  <a:pt x="2824125" y="4800649"/>
                </a:cubicBezTo>
                <a:cubicBezTo>
                  <a:pt x="2827406" y="4801529"/>
                  <a:pt x="2830687" y="4802408"/>
                  <a:pt x="2829807" y="4805687"/>
                </a:cubicBezTo>
                <a:cubicBezTo>
                  <a:pt x="2829807" y="4805687"/>
                  <a:pt x="2832209" y="4809847"/>
                  <a:pt x="2835489" y="4810727"/>
                </a:cubicBezTo>
                <a:cubicBezTo>
                  <a:pt x="2838769" y="4811605"/>
                  <a:pt x="2842049" y="4812484"/>
                  <a:pt x="2839648" y="4808324"/>
                </a:cubicBezTo>
                <a:cubicBezTo>
                  <a:pt x="2840526" y="4805045"/>
                  <a:pt x="2834845" y="4800006"/>
                  <a:pt x="2829163" y="4794968"/>
                </a:cubicBezTo>
                <a:cubicBezTo>
                  <a:pt x="2825883" y="4794088"/>
                  <a:pt x="2825883" y="4794088"/>
                  <a:pt x="2825883" y="4794088"/>
                </a:cubicBezTo>
                <a:cubicBezTo>
                  <a:pt x="2803157" y="4773937"/>
                  <a:pt x="2795075" y="4764739"/>
                  <a:pt x="2773871" y="4752025"/>
                </a:cubicBezTo>
                <a:cubicBezTo>
                  <a:pt x="2773871" y="4752025"/>
                  <a:pt x="2770590" y="4751147"/>
                  <a:pt x="2770590" y="4751147"/>
                </a:cubicBezTo>
                <a:cubicBezTo>
                  <a:pt x="2768187" y="4746989"/>
                  <a:pt x="2760105" y="4737790"/>
                  <a:pt x="2757705" y="4733631"/>
                </a:cubicBezTo>
                <a:cubicBezTo>
                  <a:pt x="2750264" y="4735154"/>
                  <a:pt x="2752023" y="4728593"/>
                  <a:pt x="2740660" y="4718516"/>
                </a:cubicBezTo>
                <a:cubicBezTo>
                  <a:pt x="2730497" y="4710520"/>
                  <a:pt x="2718095" y="4701044"/>
                  <a:pt x="2706021" y="4690338"/>
                </a:cubicBezTo>
                <a:lnTo>
                  <a:pt x="2678648" y="4660537"/>
                </a:lnTo>
                <a:lnTo>
                  <a:pt x="2682322" y="4660696"/>
                </a:lnTo>
                <a:cubicBezTo>
                  <a:pt x="2636869" y="4620390"/>
                  <a:pt x="2598856" y="4578563"/>
                  <a:pt x="2556040" y="4528415"/>
                </a:cubicBezTo>
                <a:cubicBezTo>
                  <a:pt x="2556040" y="4528415"/>
                  <a:pt x="2556918" y="4525136"/>
                  <a:pt x="2556918" y="4525136"/>
                </a:cubicBezTo>
                <a:cubicBezTo>
                  <a:pt x="2553638" y="4524257"/>
                  <a:pt x="2553638" y="4524257"/>
                  <a:pt x="2553638" y="4524257"/>
                </a:cubicBezTo>
                <a:cubicBezTo>
                  <a:pt x="2553638" y="4524257"/>
                  <a:pt x="2553638" y="4524257"/>
                  <a:pt x="2550359" y="4523378"/>
                </a:cubicBezTo>
                <a:cubicBezTo>
                  <a:pt x="2547958" y="4519219"/>
                  <a:pt x="2546435" y="4511779"/>
                  <a:pt x="2544034" y="4507619"/>
                </a:cubicBezTo>
                <a:cubicBezTo>
                  <a:pt x="2532435" y="4511543"/>
                  <a:pt x="2518905" y="4483308"/>
                  <a:pt x="2505142" y="4469072"/>
                </a:cubicBezTo>
                <a:cubicBezTo>
                  <a:pt x="2509301" y="4466671"/>
                  <a:pt x="2514103" y="4474989"/>
                  <a:pt x="2514981" y="4471709"/>
                </a:cubicBezTo>
                <a:cubicBezTo>
                  <a:pt x="2502975" y="4450912"/>
                  <a:pt x="2509944" y="4477392"/>
                  <a:pt x="2494657" y="4455716"/>
                </a:cubicBezTo>
                <a:cubicBezTo>
                  <a:pt x="2495536" y="4452435"/>
                  <a:pt x="2497937" y="4456594"/>
                  <a:pt x="2498817" y="4453313"/>
                </a:cubicBezTo>
                <a:cubicBezTo>
                  <a:pt x="2479370" y="4434040"/>
                  <a:pt x="2468243" y="4409964"/>
                  <a:pt x="2453599" y="4399008"/>
                </a:cubicBezTo>
                <a:cubicBezTo>
                  <a:pt x="2453599" y="4399008"/>
                  <a:pt x="2459281" y="4404046"/>
                  <a:pt x="2454477" y="4395729"/>
                </a:cubicBezTo>
                <a:cubicBezTo>
                  <a:pt x="2438956" y="4388053"/>
                  <a:pt x="2434388" y="4365736"/>
                  <a:pt x="2424784" y="4349098"/>
                </a:cubicBezTo>
                <a:cubicBezTo>
                  <a:pt x="2407738" y="4333983"/>
                  <a:pt x="2395732" y="4313186"/>
                  <a:pt x="2387006" y="4293271"/>
                </a:cubicBezTo>
                <a:cubicBezTo>
                  <a:pt x="2382643" y="4283312"/>
                  <a:pt x="2378278" y="4273352"/>
                  <a:pt x="2372796" y="4262654"/>
                </a:cubicBezTo>
                <a:lnTo>
                  <a:pt x="2354365" y="4231786"/>
                </a:lnTo>
                <a:lnTo>
                  <a:pt x="2357546" y="4232639"/>
                </a:lnTo>
                <a:cubicBezTo>
                  <a:pt x="2358425" y="4229358"/>
                  <a:pt x="2358425" y="4229358"/>
                  <a:pt x="2355145" y="4228480"/>
                </a:cubicBezTo>
                <a:cubicBezTo>
                  <a:pt x="2349463" y="4223441"/>
                  <a:pt x="2349463" y="4223441"/>
                  <a:pt x="2349463" y="4223441"/>
                </a:cubicBezTo>
                <a:cubicBezTo>
                  <a:pt x="2352745" y="4224320"/>
                  <a:pt x="2352745" y="4224320"/>
                  <a:pt x="2352745" y="4224320"/>
                </a:cubicBezTo>
                <a:cubicBezTo>
                  <a:pt x="2351221" y="4216882"/>
                  <a:pt x="2346419" y="4208563"/>
                  <a:pt x="2338336" y="4199366"/>
                </a:cubicBezTo>
                <a:cubicBezTo>
                  <a:pt x="2338336" y="4199366"/>
                  <a:pt x="2335056" y="4198486"/>
                  <a:pt x="2335056" y="4198486"/>
                </a:cubicBezTo>
                <a:cubicBezTo>
                  <a:pt x="2331775" y="4197608"/>
                  <a:pt x="2332655" y="4194328"/>
                  <a:pt x="2329374" y="4193448"/>
                </a:cubicBezTo>
                <a:cubicBezTo>
                  <a:pt x="2332655" y="4194328"/>
                  <a:pt x="2335056" y="4198486"/>
                  <a:pt x="2335934" y="4195206"/>
                </a:cubicBezTo>
                <a:cubicBezTo>
                  <a:pt x="2333533" y="4191047"/>
                  <a:pt x="2331132" y="4186887"/>
                  <a:pt x="2328731" y="4182729"/>
                </a:cubicBezTo>
                <a:cubicBezTo>
                  <a:pt x="2332011" y="4183607"/>
                  <a:pt x="2332011" y="4183607"/>
                  <a:pt x="2332011" y="4183607"/>
                </a:cubicBezTo>
                <a:cubicBezTo>
                  <a:pt x="2332011" y="4183607"/>
                  <a:pt x="2332011" y="4183607"/>
                  <a:pt x="2335292" y="4184486"/>
                </a:cubicBezTo>
                <a:cubicBezTo>
                  <a:pt x="2335292" y="4184486"/>
                  <a:pt x="2335292" y="4184486"/>
                  <a:pt x="2336170" y="4181206"/>
                </a:cubicBezTo>
                <a:cubicBezTo>
                  <a:pt x="2332891" y="4180326"/>
                  <a:pt x="2329610" y="4179448"/>
                  <a:pt x="2329610" y="4179448"/>
                </a:cubicBezTo>
                <a:cubicBezTo>
                  <a:pt x="2329610" y="4179448"/>
                  <a:pt x="2329610" y="4179448"/>
                  <a:pt x="2326328" y="4178569"/>
                </a:cubicBezTo>
                <a:cubicBezTo>
                  <a:pt x="2326328" y="4178569"/>
                  <a:pt x="2323927" y="4174411"/>
                  <a:pt x="2323927" y="4174411"/>
                </a:cubicBezTo>
                <a:cubicBezTo>
                  <a:pt x="2323927" y="4174411"/>
                  <a:pt x="2324807" y="4171130"/>
                  <a:pt x="2324807" y="4171130"/>
                </a:cubicBezTo>
                <a:cubicBezTo>
                  <a:pt x="2324807" y="4171130"/>
                  <a:pt x="2325686" y="4167850"/>
                  <a:pt x="2325686" y="4167850"/>
                </a:cubicBezTo>
                <a:cubicBezTo>
                  <a:pt x="2322406" y="4166970"/>
                  <a:pt x="2322406" y="4166970"/>
                  <a:pt x="2322406" y="4166970"/>
                </a:cubicBezTo>
                <a:cubicBezTo>
                  <a:pt x="2319125" y="4166091"/>
                  <a:pt x="2319125" y="4166091"/>
                  <a:pt x="2319125" y="4166091"/>
                </a:cubicBezTo>
                <a:cubicBezTo>
                  <a:pt x="2316724" y="4161932"/>
                  <a:pt x="2314323" y="4157774"/>
                  <a:pt x="2315201" y="4154494"/>
                </a:cubicBezTo>
                <a:cubicBezTo>
                  <a:pt x="2315201" y="4154494"/>
                  <a:pt x="2315201" y="4154494"/>
                  <a:pt x="2318482" y="4155373"/>
                </a:cubicBezTo>
                <a:cubicBezTo>
                  <a:pt x="2318482" y="4155373"/>
                  <a:pt x="2316081" y="4151212"/>
                  <a:pt x="2316081" y="4151212"/>
                </a:cubicBezTo>
                <a:cubicBezTo>
                  <a:pt x="2313680" y="4147053"/>
                  <a:pt x="2313680" y="4147053"/>
                  <a:pt x="2313680" y="4147053"/>
                </a:cubicBezTo>
                <a:cubicBezTo>
                  <a:pt x="2313680" y="4147053"/>
                  <a:pt x="2311277" y="4142893"/>
                  <a:pt x="2307998" y="4142015"/>
                </a:cubicBezTo>
                <a:cubicBezTo>
                  <a:pt x="2311277" y="4142893"/>
                  <a:pt x="2311277" y="4142893"/>
                  <a:pt x="2311277" y="4142893"/>
                </a:cubicBezTo>
                <a:cubicBezTo>
                  <a:pt x="2312157" y="4139613"/>
                  <a:pt x="2309756" y="4135454"/>
                  <a:pt x="2308233" y="4128016"/>
                </a:cubicBezTo>
                <a:cubicBezTo>
                  <a:pt x="2313914" y="4133052"/>
                  <a:pt x="2309114" y="4124735"/>
                  <a:pt x="2314794" y="4129773"/>
                </a:cubicBezTo>
                <a:cubicBezTo>
                  <a:pt x="2308469" y="4114014"/>
                  <a:pt x="2308469" y="4114014"/>
                  <a:pt x="2308469" y="4114014"/>
                </a:cubicBezTo>
                <a:cubicBezTo>
                  <a:pt x="2308469" y="4114014"/>
                  <a:pt x="2311749" y="4114894"/>
                  <a:pt x="2311749" y="4114894"/>
                </a:cubicBezTo>
                <a:cubicBezTo>
                  <a:pt x="2314150" y="4119054"/>
                  <a:pt x="2314150" y="4119054"/>
                  <a:pt x="2314150" y="4119054"/>
                </a:cubicBezTo>
                <a:cubicBezTo>
                  <a:pt x="2314150" y="4119054"/>
                  <a:pt x="2313272" y="4122333"/>
                  <a:pt x="2317430" y="4119932"/>
                </a:cubicBezTo>
                <a:cubicBezTo>
                  <a:pt x="2317430" y="4119932"/>
                  <a:pt x="2317430" y="4119932"/>
                  <a:pt x="2315029" y="4115773"/>
                </a:cubicBezTo>
                <a:cubicBezTo>
                  <a:pt x="2312628" y="4111613"/>
                  <a:pt x="2312628" y="4111613"/>
                  <a:pt x="2312628" y="4111613"/>
                </a:cubicBezTo>
                <a:cubicBezTo>
                  <a:pt x="2309348" y="4110734"/>
                  <a:pt x="2310226" y="4107455"/>
                  <a:pt x="2306947" y="4106575"/>
                </a:cubicBezTo>
                <a:cubicBezTo>
                  <a:pt x="2306947" y="4106575"/>
                  <a:pt x="2302787" y="4108977"/>
                  <a:pt x="2305188" y="4113136"/>
                </a:cubicBezTo>
                <a:cubicBezTo>
                  <a:pt x="2302787" y="4108977"/>
                  <a:pt x="2302787" y="4108977"/>
                  <a:pt x="2302787" y="4108977"/>
                </a:cubicBezTo>
                <a:cubicBezTo>
                  <a:pt x="2292302" y="4095620"/>
                  <a:pt x="2296462" y="4093218"/>
                  <a:pt x="2287500" y="4087301"/>
                </a:cubicBezTo>
                <a:cubicBezTo>
                  <a:pt x="2292302" y="4095620"/>
                  <a:pt x="2288144" y="4098021"/>
                  <a:pt x="2287264" y="4101302"/>
                </a:cubicBezTo>
                <a:cubicBezTo>
                  <a:pt x="2284863" y="4097142"/>
                  <a:pt x="2283340" y="4089703"/>
                  <a:pt x="2280939" y="4085543"/>
                </a:cubicBezTo>
                <a:cubicBezTo>
                  <a:pt x="2278538" y="4081385"/>
                  <a:pt x="2276137" y="4077226"/>
                  <a:pt x="2273736" y="4073065"/>
                </a:cubicBezTo>
                <a:cubicBezTo>
                  <a:pt x="2274614" y="4069786"/>
                  <a:pt x="2272213" y="4065626"/>
                  <a:pt x="2272213" y="4065626"/>
                </a:cubicBezTo>
                <a:cubicBezTo>
                  <a:pt x="2273093" y="4062346"/>
                  <a:pt x="2275494" y="4066506"/>
                  <a:pt x="2278774" y="4067385"/>
                </a:cubicBezTo>
                <a:cubicBezTo>
                  <a:pt x="2269169" y="4050747"/>
                  <a:pt x="2269169" y="4050747"/>
                  <a:pt x="2269169" y="4050747"/>
                </a:cubicBezTo>
                <a:cubicBezTo>
                  <a:pt x="2273328" y="4048346"/>
                  <a:pt x="2273328" y="4048346"/>
                  <a:pt x="2273328" y="4048346"/>
                </a:cubicBezTo>
                <a:cubicBezTo>
                  <a:pt x="2273328" y="4048346"/>
                  <a:pt x="2276609" y="4049225"/>
                  <a:pt x="2275729" y="4052506"/>
                </a:cubicBezTo>
                <a:cubicBezTo>
                  <a:pt x="2279010" y="4053384"/>
                  <a:pt x="2279010" y="4053384"/>
                  <a:pt x="2279010" y="4053384"/>
                </a:cubicBezTo>
                <a:cubicBezTo>
                  <a:pt x="2279010" y="4053384"/>
                  <a:pt x="2279010" y="4053384"/>
                  <a:pt x="2279888" y="4050103"/>
                </a:cubicBezTo>
                <a:cubicBezTo>
                  <a:pt x="2280767" y="4046824"/>
                  <a:pt x="2277487" y="4045945"/>
                  <a:pt x="2277487" y="4045945"/>
                </a:cubicBezTo>
                <a:cubicBezTo>
                  <a:pt x="2274206" y="4045065"/>
                  <a:pt x="2274206" y="4045065"/>
                  <a:pt x="2274206" y="4045065"/>
                </a:cubicBezTo>
                <a:cubicBezTo>
                  <a:pt x="2274206" y="4045065"/>
                  <a:pt x="2275086" y="4041785"/>
                  <a:pt x="2271805" y="4040907"/>
                </a:cubicBezTo>
                <a:cubicBezTo>
                  <a:pt x="2271805" y="4040907"/>
                  <a:pt x="2271805" y="4040907"/>
                  <a:pt x="2269404" y="4036747"/>
                </a:cubicBezTo>
                <a:cubicBezTo>
                  <a:pt x="2269404" y="4036747"/>
                  <a:pt x="2269404" y="4036747"/>
                  <a:pt x="2270282" y="4033467"/>
                </a:cubicBezTo>
                <a:cubicBezTo>
                  <a:pt x="2270282" y="4033467"/>
                  <a:pt x="2267003" y="4032587"/>
                  <a:pt x="2267003" y="4032587"/>
                </a:cubicBezTo>
                <a:cubicBezTo>
                  <a:pt x="2267881" y="4029308"/>
                  <a:pt x="2267881" y="4029308"/>
                  <a:pt x="2267881" y="4029308"/>
                </a:cubicBezTo>
                <a:cubicBezTo>
                  <a:pt x="2271162" y="4030186"/>
                  <a:pt x="2271162" y="4030186"/>
                  <a:pt x="2271162" y="4030186"/>
                </a:cubicBezTo>
                <a:cubicBezTo>
                  <a:pt x="2276843" y="4035224"/>
                  <a:pt x="2276843" y="4035224"/>
                  <a:pt x="2276843" y="4035224"/>
                </a:cubicBezTo>
                <a:cubicBezTo>
                  <a:pt x="2279246" y="4039384"/>
                  <a:pt x="2278366" y="4042666"/>
                  <a:pt x="2281647" y="4043544"/>
                </a:cubicBezTo>
                <a:cubicBezTo>
                  <a:pt x="2281647" y="4043544"/>
                  <a:pt x="2281647" y="4043544"/>
                  <a:pt x="2282526" y="4040263"/>
                </a:cubicBezTo>
                <a:cubicBezTo>
                  <a:pt x="2283404" y="4036983"/>
                  <a:pt x="2280124" y="4036104"/>
                  <a:pt x="2280124" y="4036104"/>
                </a:cubicBezTo>
                <a:cubicBezTo>
                  <a:pt x="2278602" y="4028665"/>
                  <a:pt x="2275322" y="4027785"/>
                  <a:pt x="2272919" y="4023625"/>
                </a:cubicBezTo>
                <a:cubicBezTo>
                  <a:pt x="2269640" y="4022747"/>
                  <a:pt x="2269640" y="4022747"/>
                  <a:pt x="2269640" y="4022747"/>
                </a:cubicBezTo>
                <a:cubicBezTo>
                  <a:pt x="2263959" y="4017708"/>
                  <a:pt x="2264837" y="4014429"/>
                  <a:pt x="2261556" y="4013550"/>
                </a:cubicBezTo>
                <a:cubicBezTo>
                  <a:pt x="2255233" y="3997792"/>
                  <a:pt x="2249786" y="3978753"/>
                  <a:pt x="2240180" y="3962117"/>
                </a:cubicBezTo>
                <a:cubicBezTo>
                  <a:pt x="2241060" y="3958836"/>
                  <a:pt x="2241060" y="3958836"/>
                  <a:pt x="2241060" y="3958836"/>
                </a:cubicBezTo>
                <a:cubicBezTo>
                  <a:pt x="2241939" y="3955556"/>
                  <a:pt x="2238659" y="3954676"/>
                  <a:pt x="2238659" y="3954676"/>
                </a:cubicBezTo>
                <a:cubicBezTo>
                  <a:pt x="2239537" y="3951396"/>
                  <a:pt x="2237136" y="3947238"/>
                  <a:pt x="2234735" y="3943079"/>
                </a:cubicBezTo>
                <a:cubicBezTo>
                  <a:pt x="2234735" y="3943079"/>
                  <a:pt x="2234735" y="3943079"/>
                  <a:pt x="2232334" y="3938919"/>
                </a:cubicBezTo>
                <a:cubicBezTo>
                  <a:pt x="2233212" y="3935639"/>
                  <a:pt x="2230811" y="3931479"/>
                  <a:pt x="2228410" y="3927321"/>
                </a:cubicBezTo>
                <a:cubicBezTo>
                  <a:pt x="2229289" y="3924040"/>
                  <a:pt x="2226888" y="3919880"/>
                  <a:pt x="2224486" y="3915722"/>
                </a:cubicBezTo>
                <a:cubicBezTo>
                  <a:pt x="2226243" y="3909161"/>
                  <a:pt x="2215760" y="3895805"/>
                  <a:pt x="2215995" y="3881804"/>
                </a:cubicBezTo>
                <a:cubicBezTo>
                  <a:pt x="2210314" y="3876766"/>
                  <a:pt x="2202466" y="3853568"/>
                  <a:pt x="2195263" y="3841091"/>
                </a:cubicBezTo>
                <a:cubicBezTo>
                  <a:pt x="2195263" y="3841091"/>
                  <a:pt x="2192217" y="3826211"/>
                  <a:pt x="2191339" y="3829493"/>
                </a:cubicBezTo>
                <a:cubicBezTo>
                  <a:pt x="2194062" y="3839011"/>
                  <a:pt x="2191602" y="3838352"/>
                  <a:pt x="2188651" y="3836242"/>
                </a:cubicBezTo>
                <a:lnTo>
                  <a:pt x="2188075" y="3835811"/>
                </a:lnTo>
                <a:lnTo>
                  <a:pt x="2194554" y="3858195"/>
                </a:lnTo>
                <a:lnTo>
                  <a:pt x="2198532" y="3875169"/>
                </a:lnTo>
                <a:lnTo>
                  <a:pt x="2200656" y="3881649"/>
                </a:lnTo>
                <a:cubicBezTo>
                  <a:pt x="2203678" y="3891687"/>
                  <a:pt x="2207002" y="3902246"/>
                  <a:pt x="2210722" y="3901486"/>
                </a:cubicBezTo>
                <a:cubicBezTo>
                  <a:pt x="2204397" y="3885728"/>
                  <a:pt x="2213123" y="3905645"/>
                  <a:pt x="2217047" y="3917243"/>
                </a:cubicBezTo>
                <a:cubicBezTo>
                  <a:pt x="2217047" y="3917243"/>
                  <a:pt x="2217047" y="3917243"/>
                  <a:pt x="2213766" y="3916364"/>
                </a:cubicBezTo>
                <a:cubicBezTo>
                  <a:pt x="2214644" y="3913085"/>
                  <a:pt x="2214644" y="3913085"/>
                  <a:pt x="2214644" y="3913085"/>
                </a:cubicBezTo>
                <a:cubicBezTo>
                  <a:pt x="2212243" y="3908925"/>
                  <a:pt x="2212243" y="3908925"/>
                  <a:pt x="2211364" y="3912205"/>
                </a:cubicBezTo>
                <a:cubicBezTo>
                  <a:pt x="2211364" y="3912205"/>
                  <a:pt x="2211364" y="3912205"/>
                  <a:pt x="2210486" y="3915486"/>
                </a:cubicBezTo>
                <a:cubicBezTo>
                  <a:pt x="2212887" y="3919646"/>
                  <a:pt x="2212887" y="3919646"/>
                  <a:pt x="2212887" y="3919646"/>
                </a:cubicBezTo>
                <a:cubicBezTo>
                  <a:pt x="2215288" y="3923806"/>
                  <a:pt x="2218570" y="3924684"/>
                  <a:pt x="2222728" y="3922281"/>
                </a:cubicBezTo>
                <a:cubicBezTo>
                  <a:pt x="2225129" y="3926441"/>
                  <a:pt x="2227532" y="3930600"/>
                  <a:pt x="2226652" y="3933880"/>
                </a:cubicBezTo>
                <a:cubicBezTo>
                  <a:pt x="2225773" y="3937160"/>
                  <a:pt x="2225773" y="3937160"/>
                  <a:pt x="2224895" y="3940442"/>
                </a:cubicBezTo>
                <a:cubicBezTo>
                  <a:pt x="2224895" y="3940442"/>
                  <a:pt x="2224895" y="3940442"/>
                  <a:pt x="2221613" y="3939563"/>
                </a:cubicBezTo>
                <a:cubicBezTo>
                  <a:pt x="2220735" y="3942843"/>
                  <a:pt x="2224015" y="3943721"/>
                  <a:pt x="2224015" y="3943721"/>
                </a:cubicBezTo>
                <a:cubicBezTo>
                  <a:pt x="2224015" y="3943721"/>
                  <a:pt x="2227296" y="3944601"/>
                  <a:pt x="2227296" y="3944601"/>
                </a:cubicBezTo>
                <a:cubicBezTo>
                  <a:pt x="2230575" y="3945479"/>
                  <a:pt x="2229697" y="3948759"/>
                  <a:pt x="2232977" y="3949639"/>
                </a:cubicBezTo>
                <a:cubicBezTo>
                  <a:pt x="2232098" y="3952919"/>
                  <a:pt x="2234499" y="3957077"/>
                  <a:pt x="2234499" y="3957077"/>
                </a:cubicBezTo>
                <a:cubicBezTo>
                  <a:pt x="2234499" y="3957077"/>
                  <a:pt x="2234499" y="3957077"/>
                  <a:pt x="2233619" y="3960358"/>
                </a:cubicBezTo>
                <a:cubicBezTo>
                  <a:pt x="2236901" y="3961237"/>
                  <a:pt x="2236901" y="3961237"/>
                  <a:pt x="2236901" y="3961237"/>
                </a:cubicBezTo>
                <a:cubicBezTo>
                  <a:pt x="2236901" y="3961237"/>
                  <a:pt x="2236022" y="3964518"/>
                  <a:pt x="2239302" y="3965397"/>
                </a:cubicBezTo>
                <a:cubicBezTo>
                  <a:pt x="2245627" y="3981154"/>
                  <a:pt x="2255233" y="3997792"/>
                  <a:pt x="2257398" y="4015951"/>
                </a:cubicBezTo>
                <a:cubicBezTo>
                  <a:pt x="2259799" y="4020111"/>
                  <a:pt x="2259799" y="4020111"/>
                  <a:pt x="2259799" y="4020111"/>
                </a:cubicBezTo>
                <a:cubicBezTo>
                  <a:pt x="2259799" y="4020111"/>
                  <a:pt x="2263079" y="4020990"/>
                  <a:pt x="2263079" y="4020990"/>
                </a:cubicBezTo>
                <a:cubicBezTo>
                  <a:pt x="2263079" y="4020990"/>
                  <a:pt x="2262200" y="4024269"/>
                  <a:pt x="2262200" y="4024269"/>
                </a:cubicBezTo>
                <a:cubicBezTo>
                  <a:pt x="2262200" y="4024269"/>
                  <a:pt x="2258920" y="4023391"/>
                  <a:pt x="2258920" y="4023391"/>
                </a:cubicBezTo>
                <a:cubicBezTo>
                  <a:pt x="2257162" y="4029950"/>
                  <a:pt x="2259563" y="4034110"/>
                  <a:pt x="2261086" y="4041551"/>
                </a:cubicBezTo>
                <a:cubicBezTo>
                  <a:pt x="2264367" y="4042429"/>
                  <a:pt x="2264367" y="4042429"/>
                  <a:pt x="2264367" y="4042429"/>
                </a:cubicBezTo>
                <a:cubicBezTo>
                  <a:pt x="2258449" y="4051391"/>
                  <a:pt x="2259563" y="4034110"/>
                  <a:pt x="2255405" y="4036511"/>
                </a:cubicBezTo>
                <a:cubicBezTo>
                  <a:pt x="2257804" y="4040671"/>
                  <a:pt x="2260850" y="4055550"/>
                  <a:pt x="2268055" y="4068027"/>
                </a:cubicBezTo>
                <a:cubicBezTo>
                  <a:pt x="2270456" y="4072187"/>
                  <a:pt x="2275258" y="4080505"/>
                  <a:pt x="2276781" y="4087944"/>
                </a:cubicBezTo>
                <a:cubicBezTo>
                  <a:pt x="2279182" y="4092104"/>
                  <a:pt x="2283984" y="4100424"/>
                  <a:pt x="2285507" y="4107863"/>
                </a:cubicBezTo>
                <a:cubicBezTo>
                  <a:pt x="2292710" y="4120339"/>
                  <a:pt x="2293354" y="4131059"/>
                  <a:pt x="2303838" y="4144416"/>
                </a:cubicBezTo>
                <a:cubicBezTo>
                  <a:pt x="2306239" y="4148575"/>
                  <a:pt x="2307761" y="4156015"/>
                  <a:pt x="2307761" y="4156015"/>
                </a:cubicBezTo>
                <a:cubicBezTo>
                  <a:pt x="2310163" y="4160174"/>
                  <a:pt x="2309284" y="4163454"/>
                  <a:pt x="2312564" y="4164333"/>
                </a:cubicBezTo>
                <a:cubicBezTo>
                  <a:pt x="2311686" y="4167614"/>
                  <a:pt x="2311686" y="4167614"/>
                  <a:pt x="2314087" y="4171772"/>
                </a:cubicBezTo>
                <a:cubicBezTo>
                  <a:pt x="2317368" y="4172652"/>
                  <a:pt x="2318890" y="4180092"/>
                  <a:pt x="2321291" y="4184250"/>
                </a:cubicBezTo>
                <a:cubicBezTo>
                  <a:pt x="2318012" y="4183372"/>
                  <a:pt x="2325215" y="4195849"/>
                  <a:pt x="2325215" y="4195849"/>
                </a:cubicBezTo>
                <a:cubicBezTo>
                  <a:pt x="2327617" y="4200009"/>
                  <a:pt x="2330018" y="4204168"/>
                  <a:pt x="2333297" y="4205047"/>
                </a:cubicBezTo>
                <a:cubicBezTo>
                  <a:pt x="2332419" y="4208327"/>
                  <a:pt x="2332419" y="4208327"/>
                  <a:pt x="2332419" y="4208327"/>
                </a:cubicBezTo>
                <a:cubicBezTo>
                  <a:pt x="2346592" y="4247282"/>
                  <a:pt x="2372127" y="4296314"/>
                  <a:pt x="2391338" y="4329589"/>
                </a:cubicBezTo>
                <a:cubicBezTo>
                  <a:pt x="2390458" y="4332868"/>
                  <a:pt x="2390458" y="4332868"/>
                  <a:pt x="2390458" y="4332868"/>
                </a:cubicBezTo>
                <a:cubicBezTo>
                  <a:pt x="2390458" y="4332868"/>
                  <a:pt x="2390458" y="4332868"/>
                  <a:pt x="2389579" y="4336150"/>
                </a:cubicBezTo>
                <a:cubicBezTo>
                  <a:pt x="2387178" y="4331990"/>
                  <a:pt x="2387178" y="4331990"/>
                  <a:pt x="2384777" y="4327831"/>
                </a:cubicBezTo>
                <a:cubicBezTo>
                  <a:pt x="2384777" y="4327831"/>
                  <a:pt x="2382376" y="4323671"/>
                  <a:pt x="2379973" y="4319511"/>
                </a:cubicBezTo>
                <a:cubicBezTo>
                  <a:pt x="2377572" y="4315352"/>
                  <a:pt x="2377572" y="4315352"/>
                  <a:pt x="2375173" y="4311195"/>
                </a:cubicBezTo>
                <a:cubicBezTo>
                  <a:pt x="2375173" y="4311195"/>
                  <a:pt x="2375173" y="4311195"/>
                  <a:pt x="2371891" y="4310315"/>
                </a:cubicBezTo>
                <a:cubicBezTo>
                  <a:pt x="2370368" y="4302875"/>
                  <a:pt x="2364686" y="4297837"/>
                  <a:pt x="2359884" y="4289519"/>
                </a:cubicBezTo>
                <a:cubicBezTo>
                  <a:pt x="2359884" y="4289519"/>
                  <a:pt x="2357483" y="4285359"/>
                  <a:pt x="2356605" y="4288639"/>
                </a:cubicBezTo>
                <a:cubicBezTo>
                  <a:pt x="2353323" y="4287760"/>
                  <a:pt x="2355725" y="4291921"/>
                  <a:pt x="2355725" y="4291921"/>
                </a:cubicBezTo>
                <a:cubicBezTo>
                  <a:pt x="2358127" y="4296080"/>
                  <a:pt x="2358127" y="4296080"/>
                  <a:pt x="2358127" y="4296080"/>
                </a:cubicBezTo>
                <a:cubicBezTo>
                  <a:pt x="2358127" y="4296080"/>
                  <a:pt x="2357248" y="4299359"/>
                  <a:pt x="2360528" y="4300238"/>
                </a:cubicBezTo>
                <a:cubicBezTo>
                  <a:pt x="2362929" y="4304398"/>
                  <a:pt x="2362929" y="4304398"/>
                  <a:pt x="2362929" y="4304398"/>
                </a:cubicBezTo>
                <a:cubicBezTo>
                  <a:pt x="2366209" y="4305277"/>
                  <a:pt x="2365331" y="4308558"/>
                  <a:pt x="2367731" y="4312715"/>
                </a:cubicBezTo>
                <a:cubicBezTo>
                  <a:pt x="2365331" y="4308558"/>
                  <a:pt x="2362425" y="4303822"/>
                  <a:pt x="2359695" y="4299246"/>
                </a:cubicBezTo>
                <a:lnTo>
                  <a:pt x="2353339" y="4287828"/>
                </a:lnTo>
                <a:lnTo>
                  <a:pt x="2353323" y="4287760"/>
                </a:lnTo>
                <a:lnTo>
                  <a:pt x="2353292" y="4287741"/>
                </a:lnTo>
                <a:lnTo>
                  <a:pt x="2352724" y="4286721"/>
                </a:lnTo>
                <a:cubicBezTo>
                  <a:pt x="2349341" y="4279662"/>
                  <a:pt x="2349401" y="4276162"/>
                  <a:pt x="2358361" y="4282080"/>
                </a:cubicBezTo>
                <a:cubicBezTo>
                  <a:pt x="2342196" y="4263684"/>
                  <a:pt x="2340673" y="4256244"/>
                  <a:pt x="2331068" y="4239607"/>
                </a:cubicBezTo>
                <a:cubicBezTo>
                  <a:pt x="2330190" y="4242888"/>
                  <a:pt x="2330190" y="4242888"/>
                  <a:pt x="2330190" y="4242888"/>
                </a:cubicBezTo>
                <a:cubicBezTo>
                  <a:pt x="2322985" y="4230410"/>
                  <a:pt x="2322985" y="4230410"/>
                  <a:pt x="2322985" y="4230410"/>
                </a:cubicBezTo>
                <a:cubicBezTo>
                  <a:pt x="2323865" y="4227129"/>
                  <a:pt x="2323865" y="4227129"/>
                  <a:pt x="2323865" y="4227129"/>
                </a:cubicBezTo>
                <a:cubicBezTo>
                  <a:pt x="2320584" y="4226251"/>
                  <a:pt x="2320584" y="4226251"/>
                  <a:pt x="2320584" y="4226251"/>
                </a:cubicBezTo>
                <a:cubicBezTo>
                  <a:pt x="2321464" y="4222972"/>
                  <a:pt x="2321464" y="4222972"/>
                  <a:pt x="2321464" y="4222972"/>
                </a:cubicBezTo>
                <a:cubicBezTo>
                  <a:pt x="2319061" y="4218812"/>
                  <a:pt x="2315782" y="4217933"/>
                  <a:pt x="2316660" y="4214652"/>
                </a:cubicBezTo>
                <a:cubicBezTo>
                  <a:pt x="2313380" y="4213773"/>
                  <a:pt x="2314259" y="4210493"/>
                  <a:pt x="2310979" y="4209615"/>
                </a:cubicBezTo>
                <a:cubicBezTo>
                  <a:pt x="2311858" y="4206334"/>
                  <a:pt x="2308578" y="4205456"/>
                  <a:pt x="2308578" y="4205456"/>
                </a:cubicBezTo>
                <a:cubicBezTo>
                  <a:pt x="2306175" y="4201296"/>
                  <a:pt x="2303776" y="4197136"/>
                  <a:pt x="2301373" y="4192977"/>
                </a:cubicBezTo>
                <a:cubicBezTo>
                  <a:pt x="2298093" y="4192099"/>
                  <a:pt x="2298093" y="4192099"/>
                  <a:pt x="2298093" y="4192099"/>
                </a:cubicBezTo>
                <a:cubicBezTo>
                  <a:pt x="2298093" y="4192099"/>
                  <a:pt x="2298972" y="4188818"/>
                  <a:pt x="2295692" y="4187939"/>
                </a:cubicBezTo>
                <a:cubicBezTo>
                  <a:pt x="2291768" y="4176340"/>
                  <a:pt x="2284565" y="4163862"/>
                  <a:pt x="2277360" y="4151385"/>
                </a:cubicBezTo>
                <a:cubicBezTo>
                  <a:pt x="2280641" y="4152264"/>
                  <a:pt x="2280641" y="4152264"/>
                  <a:pt x="2281520" y="4148984"/>
                </a:cubicBezTo>
                <a:cubicBezTo>
                  <a:pt x="2283921" y="4153142"/>
                  <a:pt x="2283921" y="4153142"/>
                  <a:pt x="2283921" y="4153142"/>
                </a:cubicBezTo>
                <a:cubicBezTo>
                  <a:pt x="2283042" y="4156423"/>
                  <a:pt x="2286322" y="4157302"/>
                  <a:pt x="2286322" y="4157302"/>
                </a:cubicBezTo>
                <a:cubicBezTo>
                  <a:pt x="2286322" y="4157302"/>
                  <a:pt x="2287202" y="4154022"/>
                  <a:pt x="2287202" y="4154022"/>
                </a:cubicBezTo>
                <a:cubicBezTo>
                  <a:pt x="2284799" y="4149863"/>
                  <a:pt x="2284799" y="4149863"/>
                  <a:pt x="2284799" y="4149863"/>
                </a:cubicBezTo>
                <a:cubicBezTo>
                  <a:pt x="2284799" y="4149863"/>
                  <a:pt x="2282398" y="4145704"/>
                  <a:pt x="2282398" y="4145704"/>
                </a:cubicBezTo>
                <a:cubicBezTo>
                  <a:pt x="2279118" y="4144824"/>
                  <a:pt x="2279118" y="4144824"/>
                  <a:pt x="2279118" y="4144824"/>
                </a:cubicBezTo>
                <a:cubicBezTo>
                  <a:pt x="2279118" y="4144824"/>
                  <a:pt x="2279118" y="4144824"/>
                  <a:pt x="2275837" y="4143945"/>
                </a:cubicBezTo>
                <a:cubicBezTo>
                  <a:pt x="2271915" y="4132347"/>
                  <a:pt x="2264710" y="4119868"/>
                  <a:pt x="2260788" y="4108270"/>
                </a:cubicBezTo>
                <a:cubicBezTo>
                  <a:pt x="2260788" y="4108270"/>
                  <a:pt x="2260788" y="4108270"/>
                  <a:pt x="2257507" y="4107391"/>
                </a:cubicBezTo>
                <a:cubicBezTo>
                  <a:pt x="2247258" y="4080034"/>
                  <a:pt x="2236131" y="4055958"/>
                  <a:pt x="2229163" y="4029480"/>
                </a:cubicBezTo>
                <a:cubicBezTo>
                  <a:pt x="2214110" y="3993804"/>
                  <a:pt x="2202339" y="3959008"/>
                  <a:pt x="2191448" y="3920932"/>
                </a:cubicBezTo>
                <a:cubicBezTo>
                  <a:pt x="2189925" y="3913493"/>
                  <a:pt x="2190161" y="3899493"/>
                  <a:pt x="2183600" y="3897734"/>
                </a:cubicBezTo>
                <a:cubicBezTo>
                  <a:pt x="2183600" y="3897734"/>
                  <a:pt x="2183600" y="3897734"/>
                  <a:pt x="2184480" y="3894454"/>
                </a:cubicBezTo>
                <a:cubicBezTo>
                  <a:pt x="2185358" y="3891175"/>
                  <a:pt x="2182957" y="3887015"/>
                  <a:pt x="2183836" y="3883736"/>
                </a:cubicBezTo>
                <a:cubicBezTo>
                  <a:pt x="2183836" y="3883736"/>
                  <a:pt x="2181435" y="3879574"/>
                  <a:pt x="2181435" y="3879574"/>
                </a:cubicBezTo>
                <a:cubicBezTo>
                  <a:pt x="2181435" y="3879574"/>
                  <a:pt x="2180556" y="3882855"/>
                  <a:pt x="2180556" y="3882855"/>
                </a:cubicBezTo>
                <a:cubicBezTo>
                  <a:pt x="2175110" y="3863817"/>
                  <a:pt x="2169664" y="3844780"/>
                  <a:pt x="2164217" y="3825741"/>
                </a:cubicBezTo>
                <a:cubicBezTo>
                  <a:pt x="2151803" y="3780225"/>
                  <a:pt x="2151803" y="3780225"/>
                  <a:pt x="2151803" y="3780225"/>
                </a:cubicBezTo>
                <a:lnTo>
                  <a:pt x="2151319" y="3777854"/>
                </a:lnTo>
                <a:lnTo>
                  <a:pt x="2151009" y="3776873"/>
                </a:lnTo>
                <a:lnTo>
                  <a:pt x="2132922" y="3694412"/>
                </a:lnTo>
                <a:lnTo>
                  <a:pt x="2132655" y="3694230"/>
                </a:lnTo>
                <a:lnTo>
                  <a:pt x="2130626" y="3683943"/>
                </a:lnTo>
                <a:lnTo>
                  <a:pt x="2101976" y="3553318"/>
                </a:lnTo>
                <a:cubicBezTo>
                  <a:pt x="2077772" y="3400970"/>
                  <a:pt x="2071359" y="3249433"/>
                  <a:pt x="2087236" y="3095430"/>
                </a:cubicBezTo>
                <a:cubicBezTo>
                  <a:pt x="2063581" y="3233075"/>
                  <a:pt x="2066921" y="3373776"/>
                  <a:pt x="2061056" y="3512229"/>
                </a:cubicBezTo>
                <a:lnTo>
                  <a:pt x="2059495" y="3512181"/>
                </a:lnTo>
                <a:lnTo>
                  <a:pt x="2065891" y="3549772"/>
                </a:lnTo>
                <a:cubicBezTo>
                  <a:pt x="2070221" y="3586091"/>
                  <a:pt x="2078713" y="3620008"/>
                  <a:pt x="2079120" y="3644728"/>
                </a:cubicBezTo>
                <a:cubicBezTo>
                  <a:pt x="2083279" y="3642327"/>
                  <a:pt x="2082401" y="3645608"/>
                  <a:pt x="2083923" y="3653046"/>
                </a:cubicBezTo>
                <a:cubicBezTo>
                  <a:pt x="2081521" y="3648887"/>
                  <a:pt x="2078241" y="3648007"/>
                  <a:pt x="2080643" y="3652168"/>
                </a:cubicBezTo>
                <a:cubicBezTo>
                  <a:pt x="2083045" y="3656327"/>
                  <a:pt x="2088018" y="3703364"/>
                  <a:pt x="2093056" y="3697684"/>
                </a:cubicBezTo>
                <a:cubicBezTo>
                  <a:pt x="2098503" y="3716722"/>
                  <a:pt x="2093464" y="3722403"/>
                  <a:pt x="2093464" y="3722403"/>
                </a:cubicBezTo>
                <a:cubicBezTo>
                  <a:pt x="2099789" y="3738162"/>
                  <a:pt x="2096744" y="3723283"/>
                  <a:pt x="2100904" y="3720880"/>
                </a:cubicBezTo>
                <a:cubicBezTo>
                  <a:pt x="2106350" y="3739919"/>
                  <a:pt x="2106350" y="3739919"/>
                  <a:pt x="2106350" y="3739919"/>
                </a:cubicBezTo>
                <a:cubicBezTo>
                  <a:pt x="2098267" y="3730721"/>
                  <a:pt x="2101312" y="3745601"/>
                  <a:pt x="2100433" y="3748881"/>
                </a:cubicBezTo>
                <a:cubicBezTo>
                  <a:pt x="2113319" y="3766397"/>
                  <a:pt x="2113492" y="3805117"/>
                  <a:pt x="2129421" y="3837513"/>
                </a:cubicBezTo>
                <a:cubicBezTo>
                  <a:pt x="2128542" y="3840792"/>
                  <a:pt x="2131822" y="3841671"/>
                  <a:pt x="2130944" y="3844951"/>
                </a:cubicBezTo>
                <a:cubicBezTo>
                  <a:pt x="2130065" y="3848232"/>
                  <a:pt x="2133346" y="3849111"/>
                  <a:pt x="2133346" y="3849111"/>
                </a:cubicBezTo>
                <a:cubicBezTo>
                  <a:pt x="2135746" y="3853270"/>
                  <a:pt x="2136625" y="3849989"/>
                  <a:pt x="2134224" y="3845831"/>
                </a:cubicBezTo>
                <a:cubicBezTo>
                  <a:pt x="2134224" y="3845831"/>
                  <a:pt x="2134224" y="3845831"/>
                  <a:pt x="2135102" y="3842550"/>
                </a:cubicBezTo>
                <a:cubicBezTo>
                  <a:pt x="2149276" y="3881505"/>
                  <a:pt x="2150563" y="3902945"/>
                  <a:pt x="2165614" y="3938620"/>
                </a:cubicBezTo>
                <a:cubicBezTo>
                  <a:pt x="2161454" y="3941022"/>
                  <a:pt x="2163855" y="3945182"/>
                  <a:pt x="2159697" y="3947583"/>
                </a:cubicBezTo>
                <a:cubicBezTo>
                  <a:pt x="2178672" y="3994856"/>
                  <a:pt x="2196767" y="4045411"/>
                  <a:pt x="2219023" y="4093565"/>
                </a:cubicBezTo>
                <a:cubicBezTo>
                  <a:pt x="2240399" y="4144996"/>
                  <a:pt x="2265934" y="4194029"/>
                  <a:pt x="2289069" y="4238901"/>
                </a:cubicBezTo>
                <a:cubicBezTo>
                  <a:pt x="2291705" y="4229060"/>
                  <a:pt x="2272259" y="4209786"/>
                  <a:pt x="2269214" y="4194907"/>
                </a:cubicBezTo>
                <a:cubicBezTo>
                  <a:pt x="2265934" y="4194029"/>
                  <a:pt x="2267692" y="4187468"/>
                  <a:pt x="2268572" y="4184188"/>
                </a:cubicBezTo>
                <a:cubicBezTo>
                  <a:pt x="2255042" y="4155951"/>
                  <a:pt x="2236711" y="4119397"/>
                  <a:pt x="2224939" y="4084603"/>
                </a:cubicBezTo>
                <a:cubicBezTo>
                  <a:pt x="2207487" y="4044767"/>
                  <a:pt x="2187634" y="4000773"/>
                  <a:pt x="2176741" y="3962696"/>
                </a:cubicBezTo>
                <a:cubicBezTo>
                  <a:pt x="2177620" y="3959416"/>
                  <a:pt x="2176977" y="3948697"/>
                  <a:pt x="2176977" y="3948697"/>
                </a:cubicBezTo>
                <a:cubicBezTo>
                  <a:pt x="2169129" y="3925499"/>
                  <a:pt x="2158002" y="3901422"/>
                  <a:pt x="2152556" y="3882385"/>
                </a:cubicBezTo>
                <a:cubicBezTo>
                  <a:pt x="2153434" y="3879104"/>
                  <a:pt x="2155836" y="3883264"/>
                  <a:pt x="2154313" y="3875824"/>
                </a:cubicBezTo>
                <a:cubicBezTo>
                  <a:pt x="2153434" y="3879104"/>
                  <a:pt x="2151034" y="3874946"/>
                  <a:pt x="2147753" y="3874066"/>
                </a:cubicBezTo>
                <a:cubicBezTo>
                  <a:pt x="2138383" y="3843428"/>
                  <a:pt x="2135574" y="3814550"/>
                  <a:pt x="2128605" y="3788073"/>
                </a:cubicBezTo>
                <a:cubicBezTo>
                  <a:pt x="2131007" y="3792231"/>
                  <a:pt x="2130128" y="3795512"/>
                  <a:pt x="2132530" y="3799672"/>
                </a:cubicBezTo>
                <a:cubicBezTo>
                  <a:pt x="2141256" y="3819587"/>
                  <a:pt x="2146701" y="3838626"/>
                  <a:pt x="2145180" y="3831186"/>
                </a:cubicBezTo>
                <a:cubicBezTo>
                  <a:pt x="2150625" y="3850225"/>
                  <a:pt x="2161754" y="3874301"/>
                  <a:pt x="2168079" y="3890059"/>
                </a:cubicBezTo>
                <a:cubicBezTo>
                  <a:pt x="2170478" y="3894219"/>
                  <a:pt x="2170478" y="3894219"/>
                  <a:pt x="2169600" y="3897500"/>
                </a:cubicBezTo>
                <a:cubicBezTo>
                  <a:pt x="2163919" y="3892460"/>
                  <a:pt x="2174404" y="3905817"/>
                  <a:pt x="2167841" y="3904059"/>
                </a:cubicBezTo>
                <a:cubicBezTo>
                  <a:pt x="2172645" y="3912379"/>
                  <a:pt x="2177448" y="3920697"/>
                  <a:pt x="2179849" y="3924856"/>
                </a:cubicBezTo>
                <a:cubicBezTo>
                  <a:pt x="2183772" y="3936454"/>
                  <a:pt x="2185296" y="3943895"/>
                  <a:pt x="2190097" y="3952213"/>
                </a:cubicBezTo>
                <a:cubicBezTo>
                  <a:pt x="2195543" y="3971252"/>
                  <a:pt x="2200112" y="3993570"/>
                  <a:pt x="2201633" y="4001009"/>
                </a:cubicBezTo>
                <a:cubicBezTo>
                  <a:pt x="2202511" y="3997729"/>
                  <a:pt x="2204914" y="4001887"/>
                  <a:pt x="2204914" y="4001887"/>
                </a:cubicBezTo>
                <a:cubicBezTo>
                  <a:pt x="2207315" y="4006047"/>
                  <a:pt x="2209717" y="4010207"/>
                  <a:pt x="2211239" y="4017646"/>
                </a:cubicBezTo>
                <a:cubicBezTo>
                  <a:pt x="2211239" y="4017646"/>
                  <a:pt x="2210359" y="4020926"/>
                  <a:pt x="2213640" y="4021805"/>
                </a:cubicBezTo>
                <a:cubicBezTo>
                  <a:pt x="2217564" y="4033404"/>
                  <a:pt x="2221486" y="4045003"/>
                  <a:pt x="2226290" y="4053321"/>
                </a:cubicBezTo>
                <a:cubicBezTo>
                  <a:pt x="2230214" y="4064920"/>
                  <a:pt x="2230857" y="4075639"/>
                  <a:pt x="2232615" y="4069080"/>
                </a:cubicBezTo>
                <a:cubicBezTo>
                  <a:pt x="2239818" y="4081557"/>
                  <a:pt x="2246143" y="4097315"/>
                  <a:pt x="2251590" y="4116353"/>
                </a:cubicBezTo>
                <a:cubicBezTo>
                  <a:pt x="2253991" y="4120513"/>
                  <a:pt x="2258793" y="4128831"/>
                  <a:pt x="2260316" y="4136270"/>
                </a:cubicBezTo>
                <a:cubicBezTo>
                  <a:pt x="2260316" y="4136270"/>
                  <a:pt x="2259437" y="4139550"/>
                  <a:pt x="2259437" y="4139550"/>
                </a:cubicBezTo>
                <a:cubicBezTo>
                  <a:pt x="2262719" y="4140430"/>
                  <a:pt x="2261839" y="4143710"/>
                  <a:pt x="2261839" y="4143710"/>
                </a:cubicBezTo>
                <a:cubicBezTo>
                  <a:pt x="2265118" y="4144590"/>
                  <a:pt x="2265118" y="4144590"/>
                  <a:pt x="2265118" y="4144590"/>
                </a:cubicBezTo>
                <a:cubicBezTo>
                  <a:pt x="2265118" y="4144590"/>
                  <a:pt x="2265118" y="4144590"/>
                  <a:pt x="2264239" y="4147869"/>
                </a:cubicBezTo>
                <a:cubicBezTo>
                  <a:pt x="2277768" y="4176104"/>
                  <a:pt x="2291298" y="4204339"/>
                  <a:pt x="2303304" y="4225136"/>
                </a:cubicBezTo>
                <a:cubicBezTo>
                  <a:pt x="2302425" y="4228416"/>
                  <a:pt x="2301547" y="4231697"/>
                  <a:pt x="2304827" y="4232576"/>
                </a:cubicBezTo>
                <a:cubicBezTo>
                  <a:pt x="2303948" y="4235857"/>
                  <a:pt x="2303948" y="4235857"/>
                  <a:pt x="2303948" y="4235857"/>
                </a:cubicBezTo>
                <a:cubicBezTo>
                  <a:pt x="2303948" y="4235857"/>
                  <a:pt x="2303068" y="4239137"/>
                  <a:pt x="2306349" y="4240017"/>
                </a:cubicBezTo>
                <a:cubicBezTo>
                  <a:pt x="2309629" y="4240895"/>
                  <a:pt x="2309629" y="4240895"/>
                  <a:pt x="2309629" y="4240895"/>
                </a:cubicBezTo>
                <a:cubicBezTo>
                  <a:pt x="2316832" y="4253373"/>
                  <a:pt x="2330362" y="4281608"/>
                  <a:pt x="2329718" y="4270889"/>
                </a:cubicBezTo>
                <a:cubicBezTo>
                  <a:pt x="2329718" y="4270889"/>
                  <a:pt x="2329718" y="4270889"/>
                  <a:pt x="2332119" y="4275047"/>
                </a:cubicBezTo>
                <a:cubicBezTo>
                  <a:pt x="2331241" y="4278328"/>
                  <a:pt x="2337802" y="4280087"/>
                  <a:pt x="2337802" y="4280087"/>
                </a:cubicBezTo>
                <a:lnTo>
                  <a:pt x="2339523" y="4273662"/>
                </a:lnTo>
                <a:lnTo>
                  <a:pt x="2344252" y="4282253"/>
                </a:lnTo>
                <a:lnTo>
                  <a:pt x="2353292" y="4287741"/>
                </a:lnTo>
                <a:lnTo>
                  <a:pt x="2353339" y="4287828"/>
                </a:lnTo>
                <a:lnTo>
                  <a:pt x="2356398" y="4300890"/>
                </a:lnTo>
                <a:cubicBezTo>
                  <a:pt x="2359210" y="4305159"/>
                  <a:pt x="2363251" y="4309758"/>
                  <a:pt x="2366853" y="4315997"/>
                </a:cubicBezTo>
                <a:cubicBezTo>
                  <a:pt x="2366853" y="4315997"/>
                  <a:pt x="2365974" y="4319277"/>
                  <a:pt x="2365974" y="4319277"/>
                </a:cubicBezTo>
                <a:cubicBezTo>
                  <a:pt x="2369254" y="4320156"/>
                  <a:pt x="2368375" y="4323435"/>
                  <a:pt x="2369254" y="4320156"/>
                </a:cubicBezTo>
                <a:cubicBezTo>
                  <a:pt x="2369254" y="4320156"/>
                  <a:pt x="2369254" y="4320156"/>
                  <a:pt x="2372534" y="4321034"/>
                </a:cubicBezTo>
                <a:cubicBezTo>
                  <a:pt x="2374935" y="4325194"/>
                  <a:pt x="2374056" y="4328473"/>
                  <a:pt x="2373178" y="4331754"/>
                </a:cubicBezTo>
                <a:cubicBezTo>
                  <a:pt x="2370777" y="4327595"/>
                  <a:pt x="2370777" y="4327595"/>
                  <a:pt x="2370777" y="4327595"/>
                </a:cubicBezTo>
                <a:cubicBezTo>
                  <a:pt x="2368375" y="4323435"/>
                  <a:pt x="2365094" y="4322557"/>
                  <a:pt x="2365094" y="4322557"/>
                </a:cubicBezTo>
                <a:cubicBezTo>
                  <a:pt x="2364216" y="4325838"/>
                  <a:pt x="2363338" y="4329117"/>
                  <a:pt x="2366617" y="4329996"/>
                </a:cubicBezTo>
                <a:cubicBezTo>
                  <a:pt x="2365738" y="4333277"/>
                  <a:pt x="2365738" y="4333277"/>
                  <a:pt x="2365738" y="4333277"/>
                </a:cubicBezTo>
                <a:cubicBezTo>
                  <a:pt x="2362457" y="4332397"/>
                  <a:pt x="2357012" y="4313358"/>
                  <a:pt x="2352853" y="4315761"/>
                </a:cubicBezTo>
                <a:cubicBezTo>
                  <a:pt x="2377746" y="4354073"/>
                  <a:pt x="2403280" y="4403105"/>
                  <a:pt x="2430574" y="4445576"/>
                </a:cubicBezTo>
                <a:cubicBezTo>
                  <a:pt x="2432976" y="4449735"/>
                  <a:pt x="2438656" y="4454774"/>
                  <a:pt x="2441059" y="4458934"/>
                </a:cubicBezTo>
                <a:cubicBezTo>
                  <a:pt x="2444338" y="4459812"/>
                  <a:pt x="2441059" y="4458934"/>
                  <a:pt x="2443460" y="4463092"/>
                </a:cubicBezTo>
                <a:cubicBezTo>
                  <a:pt x="2465951" y="4497245"/>
                  <a:pt x="2497403" y="4537315"/>
                  <a:pt x="2533015" y="4574984"/>
                </a:cubicBezTo>
                <a:cubicBezTo>
                  <a:pt x="2535417" y="4579142"/>
                  <a:pt x="2534538" y="4582423"/>
                  <a:pt x="2537817" y="4583302"/>
                </a:cubicBezTo>
                <a:cubicBezTo>
                  <a:pt x="2534538" y="4582423"/>
                  <a:pt x="2531257" y="4581545"/>
                  <a:pt x="2529736" y="4574104"/>
                </a:cubicBezTo>
                <a:cubicBezTo>
                  <a:pt x="2528856" y="4577385"/>
                  <a:pt x="2525577" y="4576505"/>
                  <a:pt x="2523175" y="4572347"/>
                </a:cubicBezTo>
                <a:cubicBezTo>
                  <a:pt x="2527333" y="4569946"/>
                  <a:pt x="2515091" y="4563149"/>
                  <a:pt x="2511810" y="4562270"/>
                </a:cubicBezTo>
                <a:cubicBezTo>
                  <a:pt x="2511810" y="4562270"/>
                  <a:pt x="2512690" y="4558989"/>
                  <a:pt x="2509409" y="4558111"/>
                </a:cubicBezTo>
                <a:cubicBezTo>
                  <a:pt x="2509409" y="4558111"/>
                  <a:pt x="2506129" y="4557232"/>
                  <a:pt x="2506129" y="4557232"/>
                </a:cubicBezTo>
                <a:cubicBezTo>
                  <a:pt x="2497168" y="4551315"/>
                  <a:pt x="2477722" y="4532041"/>
                  <a:pt x="2480123" y="4536200"/>
                </a:cubicBezTo>
                <a:cubicBezTo>
                  <a:pt x="2483403" y="4537079"/>
                  <a:pt x="2482524" y="4540361"/>
                  <a:pt x="2485806" y="4541239"/>
                </a:cubicBezTo>
                <a:cubicBezTo>
                  <a:pt x="2482524" y="4540361"/>
                  <a:pt x="2479243" y="4539480"/>
                  <a:pt x="2479243" y="4539480"/>
                </a:cubicBezTo>
                <a:cubicBezTo>
                  <a:pt x="2479243" y="4539480"/>
                  <a:pt x="2478364" y="4542760"/>
                  <a:pt x="2480766" y="4546920"/>
                </a:cubicBezTo>
                <a:cubicBezTo>
                  <a:pt x="2480766" y="4546920"/>
                  <a:pt x="2480766" y="4546920"/>
                  <a:pt x="2477486" y="4546041"/>
                </a:cubicBezTo>
                <a:cubicBezTo>
                  <a:pt x="2477486" y="4546041"/>
                  <a:pt x="2478364" y="4542760"/>
                  <a:pt x="2475085" y="4541882"/>
                </a:cubicBezTo>
                <a:cubicBezTo>
                  <a:pt x="2475085" y="4541882"/>
                  <a:pt x="2475085" y="4541882"/>
                  <a:pt x="2471804" y="4541004"/>
                </a:cubicBezTo>
                <a:cubicBezTo>
                  <a:pt x="2463722" y="4531805"/>
                  <a:pt x="2458040" y="4526767"/>
                  <a:pt x="2454760" y="4525889"/>
                </a:cubicBezTo>
                <a:cubicBezTo>
                  <a:pt x="2451480" y="4525010"/>
                  <a:pt x="2451480" y="4525010"/>
                  <a:pt x="2451480" y="4525010"/>
                </a:cubicBezTo>
                <a:cubicBezTo>
                  <a:pt x="2451480" y="4525010"/>
                  <a:pt x="2451480" y="4525010"/>
                  <a:pt x="2453881" y="4529170"/>
                </a:cubicBezTo>
                <a:cubicBezTo>
                  <a:pt x="2451480" y="4525010"/>
                  <a:pt x="2450600" y="4528289"/>
                  <a:pt x="2453001" y="4532449"/>
                </a:cubicBezTo>
                <a:cubicBezTo>
                  <a:pt x="2434434" y="4509895"/>
                  <a:pt x="2419790" y="4498940"/>
                  <a:pt x="2402746" y="4483825"/>
                </a:cubicBezTo>
                <a:cubicBezTo>
                  <a:pt x="2388982" y="4469589"/>
                  <a:pt x="2375217" y="4455354"/>
                  <a:pt x="2356651" y="4432800"/>
                </a:cubicBezTo>
                <a:cubicBezTo>
                  <a:pt x="2359052" y="4436959"/>
                  <a:pt x="2355771" y="4436080"/>
                  <a:pt x="2353370" y="4431922"/>
                </a:cubicBezTo>
                <a:cubicBezTo>
                  <a:pt x="2353370" y="4431922"/>
                  <a:pt x="2353370" y="4431922"/>
                  <a:pt x="2354248" y="4428641"/>
                </a:cubicBezTo>
                <a:cubicBezTo>
                  <a:pt x="2354248" y="4428641"/>
                  <a:pt x="2350968" y="4427762"/>
                  <a:pt x="2350968" y="4427762"/>
                </a:cubicBezTo>
                <a:cubicBezTo>
                  <a:pt x="2348567" y="4423602"/>
                  <a:pt x="2348567" y="4423602"/>
                  <a:pt x="2348567" y="4423602"/>
                </a:cubicBezTo>
                <a:cubicBezTo>
                  <a:pt x="2340484" y="4414406"/>
                  <a:pt x="2340484" y="4414406"/>
                  <a:pt x="2340484" y="4414406"/>
                </a:cubicBezTo>
                <a:cubicBezTo>
                  <a:pt x="2339605" y="4417686"/>
                  <a:pt x="2337204" y="4413526"/>
                  <a:pt x="2333924" y="4412648"/>
                </a:cubicBezTo>
                <a:cubicBezTo>
                  <a:pt x="2338726" y="4420965"/>
                  <a:pt x="2339605" y="4417686"/>
                  <a:pt x="2345288" y="4422724"/>
                </a:cubicBezTo>
                <a:cubicBezTo>
                  <a:pt x="2345288" y="4422724"/>
                  <a:pt x="2344408" y="4426004"/>
                  <a:pt x="2344408" y="4426004"/>
                </a:cubicBezTo>
                <a:cubicBezTo>
                  <a:pt x="2344408" y="4426004"/>
                  <a:pt x="2344408" y="4426004"/>
                  <a:pt x="2341128" y="4425125"/>
                </a:cubicBezTo>
                <a:cubicBezTo>
                  <a:pt x="2340249" y="4428405"/>
                  <a:pt x="2343530" y="4429285"/>
                  <a:pt x="2343530" y="4429285"/>
                </a:cubicBezTo>
                <a:cubicBezTo>
                  <a:pt x="2343530" y="4429285"/>
                  <a:pt x="2346809" y="4430163"/>
                  <a:pt x="2346809" y="4430163"/>
                </a:cubicBezTo>
                <a:cubicBezTo>
                  <a:pt x="2349211" y="4434323"/>
                  <a:pt x="2349211" y="4434323"/>
                  <a:pt x="2349211" y="4434323"/>
                </a:cubicBezTo>
                <a:cubicBezTo>
                  <a:pt x="2351612" y="4438481"/>
                  <a:pt x="2361453" y="4441118"/>
                  <a:pt x="2357293" y="4443519"/>
                </a:cubicBezTo>
                <a:cubicBezTo>
                  <a:pt x="2358816" y="4450959"/>
                  <a:pt x="2361453" y="4441118"/>
                  <a:pt x="2363854" y="4445278"/>
                </a:cubicBezTo>
                <a:cubicBezTo>
                  <a:pt x="2366255" y="4449436"/>
                  <a:pt x="2362976" y="4448558"/>
                  <a:pt x="2362096" y="4451837"/>
                </a:cubicBezTo>
                <a:cubicBezTo>
                  <a:pt x="2367778" y="4456877"/>
                  <a:pt x="2382421" y="4467832"/>
                  <a:pt x="2382421" y="4467832"/>
                </a:cubicBezTo>
                <a:cubicBezTo>
                  <a:pt x="2393784" y="4477909"/>
                  <a:pt x="2409071" y="4499583"/>
                  <a:pt x="2414753" y="4504621"/>
                </a:cubicBezTo>
                <a:cubicBezTo>
                  <a:pt x="2417154" y="4508780"/>
                  <a:pt x="2414753" y="4504621"/>
                  <a:pt x="2415632" y="4501341"/>
                </a:cubicBezTo>
                <a:cubicBezTo>
                  <a:pt x="2414753" y="4504621"/>
                  <a:pt x="2420434" y="4509659"/>
                  <a:pt x="2420434" y="4509659"/>
                </a:cubicBezTo>
                <a:cubicBezTo>
                  <a:pt x="2420434" y="4509659"/>
                  <a:pt x="2426995" y="4511417"/>
                  <a:pt x="2426995" y="4511417"/>
                </a:cubicBezTo>
                <a:cubicBezTo>
                  <a:pt x="2429396" y="4515576"/>
                  <a:pt x="2422835" y="4513819"/>
                  <a:pt x="2426115" y="4514697"/>
                </a:cubicBezTo>
                <a:cubicBezTo>
                  <a:pt x="2427638" y="4522137"/>
                  <a:pt x="2435957" y="4517335"/>
                  <a:pt x="2430919" y="4523015"/>
                </a:cubicBezTo>
                <a:cubicBezTo>
                  <a:pt x="2443161" y="4529812"/>
                  <a:pt x="2466765" y="4546684"/>
                  <a:pt x="2470691" y="4558283"/>
                </a:cubicBezTo>
                <a:cubicBezTo>
                  <a:pt x="2467410" y="4557404"/>
                  <a:pt x="2468290" y="4554125"/>
                  <a:pt x="2472448" y="4551724"/>
                </a:cubicBezTo>
                <a:cubicBezTo>
                  <a:pt x="2491015" y="4574276"/>
                  <a:pt x="2521824" y="4603628"/>
                  <a:pt x="2534066" y="4610424"/>
                </a:cubicBezTo>
                <a:cubicBezTo>
                  <a:pt x="2539747" y="4615461"/>
                  <a:pt x="2568798" y="4651372"/>
                  <a:pt x="2585200" y="4655767"/>
                </a:cubicBezTo>
                <a:cubicBezTo>
                  <a:pt x="2590883" y="4660805"/>
                  <a:pt x="2585200" y="4655767"/>
                  <a:pt x="2584321" y="4659048"/>
                </a:cubicBezTo>
                <a:cubicBezTo>
                  <a:pt x="2594162" y="4661685"/>
                  <a:pt x="2610329" y="4680079"/>
                  <a:pt x="2618411" y="4689276"/>
                </a:cubicBezTo>
                <a:cubicBezTo>
                  <a:pt x="2618411" y="4689276"/>
                  <a:pt x="2612728" y="4684238"/>
                  <a:pt x="2608571" y="4686639"/>
                </a:cubicBezTo>
                <a:cubicBezTo>
                  <a:pt x="2629774" y="4699352"/>
                  <a:pt x="2624093" y="4694314"/>
                  <a:pt x="2622570" y="4686874"/>
                </a:cubicBezTo>
                <a:cubicBezTo>
                  <a:pt x="2645297" y="4707027"/>
                  <a:pt x="2648577" y="4707906"/>
                  <a:pt x="2658183" y="4724543"/>
                </a:cubicBezTo>
                <a:cubicBezTo>
                  <a:pt x="2658183" y="4724543"/>
                  <a:pt x="2660584" y="4728703"/>
                  <a:pt x="2660584" y="4728703"/>
                </a:cubicBezTo>
                <a:cubicBezTo>
                  <a:pt x="2660584" y="4728703"/>
                  <a:pt x="2660584" y="4728703"/>
                  <a:pt x="2663864" y="4729582"/>
                </a:cubicBezTo>
                <a:cubicBezTo>
                  <a:pt x="2663864" y="4729582"/>
                  <a:pt x="2664742" y="4726302"/>
                  <a:pt x="2664742" y="4726302"/>
                </a:cubicBezTo>
                <a:cubicBezTo>
                  <a:pt x="2664742" y="4726302"/>
                  <a:pt x="2668024" y="4727180"/>
                  <a:pt x="2670424" y="4731340"/>
                </a:cubicBezTo>
                <a:cubicBezTo>
                  <a:pt x="2670424" y="4731340"/>
                  <a:pt x="2670424" y="4731340"/>
                  <a:pt x="2667143" y="4730462"/>
                </a:cubicBezTo>
                <a:cubicBezTo>
                  <a:pt x="2667143" y="4730462"/>
                  <a:pt x="2667143" y="4730462"/>
                  <a:pt x="2666265" y="4733741"/>
                </a:cubicBezTo>
                <a:cubicBezTo>
                  <a:pt x="2669544" y="4734620"/>
                  <a:pt x="2669544" y="4734620"/>
                  <a:pt x="2672825" y="4735499"/>
                </a:cubicBezTo>
                <a:cubicBezTo>
                  <a:pt x="2675227" y="4739658"/>
                  <a:pt x="2675227" y="4739658"/>
                  <a:pt x="2675227" y="4739658"/>
                </a:cubicBezTo>
                <a:cubicBezTo>
                  <a:pt x="2677628" y="4743816"/>
                  <a:pt x="2692272" y="4754773"/>
                  <a:pt x="2685067" y="4742295"/>
                </a:cubicBezTo>
                <a:cubicBezTo>
                  <a:pt x="2687468" y="4746453"/>
                  <a:pt x="2687468" y="4746453"/>
                  <a:pt x="2690749" y="4747334"/>
                </a:cubicBezTo>
                <a:cubicBezTo>
                  <a:pt x="2690749" y="4747334"/>
                  <a:pt x="2691628" y="4744052"/>
                  <a:pt x="2688348" y="4743174"/>
                </a:cubicBezTo>
                <a:cubicBezTo>
                  <a:pt x="2688348" y="4743174"/>
                  <a:pt x="2689227" y="4739894"/>
                  <a:pt x="2685948" y="4739014"/>
                </a:cubicBezTo>
                <a:cubicBezTo>
                  <a:pt x="2689227" y="4739894"/>
                  <a:pt x="2692507" y="4740773"/>
                  <a:pt x="2692507" y="4740773"/>
                </a:cubicBezTo>
                <a:cubicBezTo>
                  <a:pt x="2694908" y="4744932"/>
                  <a:pt x="2700590" y="4749969"/>
                  <a:pt x="2709552" y="4755887"/>
                </a:cubicBezTo>
                <a:cubicBezTo>
                  <a:pt x="2720915" y="4765962"/>
                  <a:pt x="2732277" y="4776040"/>
                  <a:pt x="2741239" y="4781956"/>
                </a:cubicBezTo>
                <a:cubicBezTo>
                  <a:pt x="2744521" y="4782835"/>
                  <a:pt x="2743642" y="4786115"/>
                  <a:pt x="2743642" y="4786115"/>
                </a:cubicBezTo>
                <a:cubicBezTo>
                  <a:pt x="2743642" y="4786115"/>
                  <a:pt x="2746921" y="4786995"/>
                  <a:pt x="2746921" y="4786995"/>
                </a:cubicBezTo>
                <a:cubicBezTo>
                  <a:pt x="2753482" y="4788752"/>
                  <a:pt x="2759163" y="4793792"/>
                  <a:pt x="2761565" y="4797950"/>
                </a:cubicBezTo>
                <a:cubicBezTo>
                  <a:pt x="2764845" y="4798829"/>
                  <a:pt x="2770527" y="4803867"/>
                  <a:pt x="2773807" y="4804745"/>
                </a:cubicBezTo>
                <a:cubicBezTo>
                  <a:pt x="2779488" y="4809785"/>
                  <a:pt x="2787572" y="4818982"/>
                  <a:pt x="2793253" y="4824020"/>
                </a:cubicBezTo>
                <a:cubicBezTo>
                  <a:pt x="2792374" y="4827301"/>
                  <a:pt x="2792374" y="4827301"/>
                  <a:pt x="2792374" y="4827301"/>
                </a:cubicBezTo>
                <a:cubicBezTo>
                  <a:pt x="2795656" y="4828179"/>
                  <a:pt x="2795656" y="4828179"/>
                  <a:pt x="2798935" y="4829058"/>
                </a:cubicBezTo>
                <a:cubicBezTo>
                  <a:pt x="2801336" y="4833218"/>
                  <a:pt x="2802215" y="4829937"/>
                  <a:pt x="2802215" y="4829937"/>
                </a:cubicBezTo>
                <a:cubicBezTo>
                  <a:pt x="2799813" y="4825779"/>
                  <a:pt x="2799813" y="4825779"/>
                  <a:pt x="2799813" y="4825779"/>
                </a:cubicBezTo>
                <a:cubicBezTo>
                  <a:pt x="2805496" y="4830815"/>
                  <a:pt x="2812700" y="4843294"/>
                  <a:pt x="2820139" y="4841771"/>
                </a:cubicBezTo>
                <a:cubicBezTo>
                  <a:pt x="2819259" y="4845051"/>
                  <a:pt x="2819259" y="4845051"/>
                  <a:pt x="2822540" y="4845931"/>
                </a:cubicBezTo>
                <a:cubicBezTo>
                  <a:pt x="2824941" y="4850090"/>
                  <a:pt x="2825821" y="4846810"/>
                  <a:pt x="2825821" y="4846810"/>
                </a:cubicBezTo>
                <a:cubicBezTo>
                  <a:pt x="2833903" y="4856008"/>
                  <a:pt x="2845502" y="4852082"/>
                  <a:pt x="2847025" y="4859523"/>
                </a:cubicBezTo>
                <a:cubicBezTo>
                  <a:pt x="2843744" y="4858645"/>
                  <a:pt x="2843744" y="4858645"/>
                  <a:pt x="2843744" y="4858645"/>
                </a:cubicBezTo>
                <a:cubicBezTo>
                  <a:pt x="2838063" y="4853605"/>
                  <a:pt x="2834782" y="4852727"/>
                  <a:pt x="2833903" y="4856008"/>
                </a:cubicBezTo>
                <a:cubicBezTo>
                  <a:pt x="2833903" y="4856008"/>
                  <a:pt x="2836304" y="4860166"/>
                  <a:pt x="2839585" y="4861046"/>
                </a:cubicBezTo>
                <a:cubicBezTo>
                  <a:pt x="2841985" y="4865204"/>
                  <a:pt x="2841985" y="4865204"/>
                  <a:pt x="2841985" y="4865204"/>
                </a:cubicBezTo>
                <a:cubicBezTo>
                  <a:pt x="2840228" y="4871765"/>
                  <a:pt x="2831266" y="4865848"/>
                  <a:pt x="2829743" y="4858407"/>
                </a:cubicBezTo>
                <a:cubicBezTo>
                  <a:pt x="2831266" y="4865848"/>
                  <a:pt x="2815743" y="4858173"/>
                  <a:pt x="2824705" y="4864090"/>
                </a:cubicBezTo>
                <a:cubicBezTo>
                  <a:pt x="2833023" y="4859287"/>
                  <a:pt x="2831030" y="4879849"/>
                  <a:pt x="2845031" y="4880083"/>
                </a:cubicBezTo>
                <a:cubicBezTo>
                  <a:pt x="2847433" y="4884243"/>
                  <a:pt x="2847433" y="4884243"/>
                  <a:pt x="2847433" y="4884243"/>
                </a:cubicBezTo>
                <a:cubicBezTo>
                  <a:pt x="2847433" y="4884243"/>
                  <a:pt x="2850711" y="4885122"/>
                  <a:pt x="2850711" y="4885122"/>
                </a:cubicBezTo>
                <a:cubicBezTo>
                  <a:pt x="2853114" y="4889281"/>
                  <a:pt x="2853993" y="4886000"/>
                  <a:pt x="2853993" y="4886000"/>
                </a:cubicBezTo>
                <a:cubicBezTo>
                  <a:pt x="2850711" y="4885122"/>
                  <a:pt x="2851592" y="4881842"/>
                  <a:pt x="2851592" y="4881842"/>
                </a:cubicBezTo>
                <a:cubicBezTo>
                  <a:pt x="2854871" y="4882720"/>
                  <a:pt x="2860553" y="4887759"/>
                  <a:pt x="2861432" y="4884479"/>
                </a:cubicBezTo>
                <a:cubicBezTo>
                  <a:pt x="2859030" y="4880319"/>
                  <a:pt x="2864713" y="4885357"/>
                  <a:pt x="2865592" y="4882076"/>
                </a:cubicBezTo>
                <a:cubicBezTo>
                  <a:pt x="2859909" y="4877039"/>
                  <a:pt x="2856630" y="4876159"/>
                  <a:pt x="2850949" y="4871121"/>
                </a:cubicBezTo>
                <a:cubicBezTo>
                  <a:pt x="2854228" y="4872001"/>
                  <a:pt x="2854228" y="4872001"/>
                  <a:pt x="2854228" y="4872001"/>
                </a:cubicBezTo>
                <a:cubicBezTo>
                  <a:pt x="2857508" y="4872880"/>
                  <a:pt x="2860789" y="4873758"/>
                  <a:pt x="2861667" y="4870478"/>
                </a:cubicBezTo>
                <a:lnTo>
                  <a:pt x="2856769" y="4866135"/>
                </a:lnTo>
                <a:lnTo>
                  <a:pt x="2862737" y="4868128"/>
                </a:lnTo>
                <a:cubicBezTo>
                  <a:pt x="2866808" y="4870976"/>
                  <a:pt x="2871069" y="4874755"/>
                  <a:pt x="2877189" y="4878154"/>
                </a:cubicBezTo>
                <a:cubicBezTo>
                  <a:pt x="2861025" y="4859758"/>
                  <a:pt x="2881349" y="4875751"/>
                  <a:pt x="2889669" y="4870949"/>
                </a:cubicBezTo>
                <a:cubicBezTo>
                  <a:pt x="2892070" y="4875108"/>
                  <a:pt x="2885509" y="4873350"/>
                  <a:pt x="2885509" y="4873350"/>
                </a:cubicBezTo>
                <a:cubicBezTo>
                  <a:pt x="2884630" y="4876631"/>
                  <a:pt x="2884630" y="4876631"/>
                  <a:pt x="2884630" y="4876631"/>
                </a:cubicBezTo>
                <a:cubicBezTo>
                  <a:pt x="2881349" y="4875751"/>
                  <a:pt x="2881349" y="4875751"/>
                  <a:pt x="2883750" y="4879911"/>
                </a:cubicBezTo>
                <a:cubicBezTo>
                  <a:pt x="2883750" y="4879911"/>
                  <a:pt x="2887032" y="4880791"/>
                  <a:pt x="2890311" y="4881670"/>
                </a:cubicBezTo>
                <a:cubicBezTo>
                  <a:pt x="2893590" y="4882548"/>
                  <a:pt x="2893590" y="4882548"/>
                  <a:pt x="2893590" y="4882548"/>
                </a:cubicBezTo>
                <a:cubicBezTo>
                  <a:pt x="2895993" y="4886708"/>
                  <a:pt x="2891834" y="4889109"/>
                  <a:pt x="2898394" y="4890866"/>
                </a:cubicBezTo>
                <a:cubicBezTo>
                  <a:pt x="2895113" y="4889987"/>
                  <a:pt x="2895113" y="4889987"/>
                  <a:pt x="2891834" y="4889109"/>
                </a:cubicBezTo>
                <a:cubicBezTo>
                  <a:pt x="2888554" y="4888230"/>
                  <a:pt x="2887674" y="4891511"/>
                  <a:pt x="2890953" y="4892389"/>
                </a:cubicBezTo>
                <a:cubicBezTo>
                  <a:pt x="2890075" y="4895668"/>
                  <a:pt x="2893356" y="4896549"/>
                  <a:pt x="2896636" y="4897427"/>
                </a:cubicBezTo>
                <a:cubicBezTo>
                  <a:pt x="2899915" y="4898305"/>
                  <a:pt x="2899915" y="4898305"/>
                  <a:pt x="2903197" y="4899185"/>
                </a:cubicBezTo>
                <a:cubicBezTo>
                  <a:pt x="2909757" y="4900942"/>
                  <a:pt x="2917197" y="4899421"/>
                  <a:pt x="2911514" y="4894383"/>
                </a:cubicBezTo>
                <a:cubicBezTo>
                  <a:pt x="2914795" y="4895261"/>
                  <a:pt x="2914795" y="4895261"/>
                  <a:pt x="2915674" y="4891980"/>
                </a:cubicBezTo>
                <a:cubicBezTo>
                  <a:pt x="2915674" y="4891980"/>
                  <a:pt x="2915674" y="4891980"/>
                  <a:pt x="2913273" y="4887822"/>
                </a:cubicBezTo>
                <a:cubicBezTo>
                  <a:pt x="2916553" y="4888701"/>
                  <a:pt x="2922235" y="4893739"/>
                  <a:pt x="2928796" y="4895497"/>
                </a:cubicBezTo>
                <a:cubicBezTo>
                  <a:pt x="2922235" y="4893739"/>
                  <a:pt x="2916553" y="4888701"/>
                  <a:pt x="2918954" y="4892860"/>
                </a:cubicBezTo>
                <a:cubicBezTo>
                  <a:pt x="2920476" y="4900299"/>
                  <a:pt x="2928796" y="4895497"/>
                  <a:pt x="2930317" y="4902935"/>
                </a:cubicBezTo>
                <a:cubicBezTo>
                  <a:pt x="2929439" y="4906217"/>
                  <a:pt x="2929439" y="4906217"/>
                  <a:pt x="2929439" y="4906217"/>
                </a:cubicBezTo>
                <a:cubicBezTo>
                  <a:pt x="2929439" y="4906217"/>
                  <a:pt x="2929439" y="4906217"/>
                  <a:pt x="2932718" y="4907095"/>
                </a:cubicBezTo>
                <a:cubicBezTo>
                  <a:pt x="2932718" y="4907095"/>
                  <a:pt x="2932718" y="4907095"/>
                  <a:pt x="2935999" y="4907975"/>
                </a:cubicBezTo>
                <a:cubicBezTo>
                  <a:pt x="2936878" y="4904694"/>
                  <a:pt x="2936878" y="4904694"/>
                  <a:pt x="2936878" y="4904694"/>
                </a:cubicBezTo>
                <a:cubicBezTo>
                  <a:pt x="2939281" y="4908854"/>
                  <a:pt x="2939281" y="4908854"/>
                  <a:pt x="2941680" y="4913011"/>
                </a:cubicBezTo>
                <a:cubicBezTo>
                  <a:pt x="2949121" y="4911491"/>
                  <a:pt x="2954802" y="4916527"/>
                  <a:pt x="2961363" y="4918285"/>
                </a:cubicBezTo>
                <a:cubicBezTo>
                  <a:pt x="2958082" y="4917407"/>
                  <a:pt x="2954802" y="4916527"/>
                  <a:pt x="2954802" y="4916527"/>
                </a:cubicBezTo>
                <a:cubicBezTo>
                  <a:pt x="2967044" y="4923324"/>
                  <a:pt x="2964643" y="4919164"/>
                  <a:pt x="2972726" y="4928362"/>
                </a:cubicBezTo>
                <a:cubicBezTo>
                  <a:pt x="2969445" y="4927484"/>
                  <a:pt x="2968566" y="4930764"/>
                  <a:pt x="2968566" y="4930764"/>
                </a:cubicBezTo>
                <a:cubicBezTo>
                  <a:pt x="2968566" y="4930764"/>
                  <a:pt x="2971848" y="4931642"/>
                  <a:pt x="2971848" y="4931642"/>
                </a:cubicBezTo>
                <a:cubicBezTo>
                  <a:pt x="2970967" y="4934923"/>
                  <a:pt x="2970967" y="4934923"/>
                  <a:pt x="2970967" y="4934923"/>
                </a:cubicBezTo>
                <a:cubicBezTo>
                  <a:pt x="2953045" y="4923088"/>
                  <a:pt x="2967688" y="4934044"/>
                  <a:pt x="2966810" y="4937324"/>
                </a:cubicBezTo>
                <a:cubicBezTo>
                  <a:pt x="2957847" y="4931407"/>
                  <a:pt x="2948885" y="4925491"/>
                  <a:pt x="2939043" y="4922854"/>
                </a:cubicBezTo>
                <a:cubicBezTo>
                  <a:pt x="2939923" y="4919573"/>
                  <a:pt x="2939923" y="4919573"/>
                  <a:pt x="2939923" y="4919573"/>
                </a:cubicBezTo>
                <a:cubicBezTo>
                  <a:pt x="2934243" y="4914534"/>
                  <a:pt x="2930961" y="4913655"/>
                  <a:pt x="2927680" y="4912777"/>
                </a:cubicBezTo>
                <a:cubicBezTo>
                  <a:pt x="2933362" y="4917815"/>
                  <a:pt x="2936642" y="4918694"/>
                  <a:pt x="2935764" y="4921974"/>
                </a:cubicBezTo>
                <a:cubicBezTo>
                  <a:pt x="2926802" y="4916057"/>
                  <a:pt x="2925924" y="4919338"/>
                  <a:pt x="2920241" y="4914300"/>
                </a:cubicBezTo>
                <a:cubicBezTo>
                  <a:pt x="2920241" y="4914300"/>
                  <a:pt x="2916961" y="4913420"/>
                  <a:pt x="2917839" y="4910140"/>
                </a:cubicBezTo>
                <a:cubicBezTo>
                  <a:pt x="2914560" y="4909260"/>
                  <a:pt x="2914560" y="4909260"/>
                  <a:pt x="2914560" y="4909260"/>
                </a:cubicBezTo>
                <a:cubicBezTo>
                  <a:pt x="2911279" y="4908382"/>
                  <a:pt x="2907999" y="4907503"/>
                  <a:pt x="2910401" y="4911663"/>
                </a:cubicBezTo>
                <a:cubicBezTo>
                  <a:pt x="2912801" y="4915821"/>
                  <a:pt x="2912801" y="4915821"/>
                  <a:pt x="2912801" y="4915821"/>
                </a:cubicBezTo>
                <a:cubicBezTo>
                  <a:pt x="2911923" y="4919100"/>
                  <a:pt x="2915203" y="4919981"/>
                  <a:pt x="2918484" y="4920859"/>
                </a:cubicBezTo>
                <a:cubicBezTo>
                  <a:pt x="2921765" y="4921739"/>
                  <a:pt x="2921765" y="4921739"/>
                  <a:pt x="2921765" y="4921739"/>
                </a:cubicBezTo>
                <a:cubicBezTo>
                  <a:pt x="2922643" y="4918458"/>
                  <a:pt x="2922643" y="4918458"/>
                  <a:pt x="2922643" y="4918458"/>
                </a:cubicBezTo>
                <a:cubicBezTo>
                  <a:pt x="2932484" y="4921095"/>
                  <a:pt x="2952809" y="4937090"/>
                  <a:pt x="2965929" y="4940604"/>
                </a:cubicBezTo>
                <a:cubicBezTo>
                  <a:pt x="2968331" y="4944764"/>
                  <a:pt x="2968331" y="4944764"/>
                  <a:pt x="2968331" y="4944764"/>
                </a:cubicBezTo>
                <a:cubicBezTo>
                  <a:pt x="2968331" y="4944764"/>
                  <a:pt x="2968331" y="4944764"/>
                  <a:pt x="2971612" y="4945642"/>
                </a:cubicBezTo>
                <a:cubicBezTo>
                  <a:pt x="2971612" y="4945642"/>
                  <a:pt x="2974892" y="4946522"/>
                  <a:pt x="2974892" y="4946522"/>
                </a:cubicBezTo>
                <a:cubicBezTo>
                  <a:pt x="2981452" y="4948279"/>
                  <a:pt x="2990414" y="4954196"/>
                  <a:pt x="2992815" y="4958356"/>
                </a:cubicBezTo>
                <a:cubicBezTo>
                  <a:pt x="2993695" y="4955076"/>
                  <a:pt x="2993695" y="4955076"/>
                  <a:pt x="2993695" y="4955076"/>
                </a:cubicBezTo>
                <a:cubicBezTo>
                  <a:pt x="2996095" y="4959234"/>
                  <a:pt x="2996095" y="4959234"/>
                  <a:pt x="2996095" y="4959234"/>
                </a:cubicBezTo>
                <a:cubicBezTo>
                  <a:pt x="2996095" y="4959234"/>
                  <a:pt x="2998496" y="4963394"/>
                  <a:pt x="3001778" y="4964274"/>
                </a:cubicBezTo>
                <a:cubicBezTo>
                  <a:pt x="3001778" y="4964274"/>
                  <a:pt x="3005057" y="4965153"/>
                  <a:pt x="3005937" y="4961873"/>
                </a:cubicBezTo>
                <a:cubicBezTo>
                  <a:pt x="3037859" y="4973942"/>
                  <a:pt x="3051624" y="4988177"/>
                  <a:pt x="3075465" y="4991048"/>
                </a:cubicBezTo>
                <a:cubicBezTo>
                  <a:pt x="3074587" y="4994330"/>
                  <a:pt x="3077866" y="4995208"/>
                  <a:pt x="3081147" y="4996088"/>
                </a:cubicBezTo>
                <a:cubicBezTo>
                  <a:pt x="3081147" y="4996088"/>
                  <a:pt x="3084428" y="4996967"/>
                  <a:pt x="3084428" y="4996967"/>
                </a:cubicBezTo>
                <a:cubicBezTo>
                  <a:pt x="3085306" y="4993685"/>
                  <a:pt x="3085306" y="4993685"/>
                  <a:pt x="3085306" y="4993685"/>
                </a:cubicBezTo>
                <a:cubicBezTo>
                  <a:pt x="3086829" y="5001126"/>
                  <a:pt x="3096669" y="5003762"/>
                  <a:pt x="3103230" y="5005520"/>
                </a:cubicBezTo>
                <a:cubicBezTo>
                  <a:pt x="3103230" y="5005520"/>
                  <a:pt x="3106511" y="5006399"/>
                  <a:pt x="3106511" y="5006399"/>
                </a:cubicBezTo>
                <a:cubicBezTo>
                  <a:pt x="3108911" y="5010558"/>
                  <a:pt x="3108911" y="5010558"/>
                  <a:pt x="3113070" y="5008157"/>
                </a:cubicBezTo>
                <a:cubicBezTo>
                  <a:pt x="3116351" y="5009036"/>
                  <a:pt x="3116351" y="5009036"/>
                  <a:pt x="3116351" y="5009036"/>
                </a:cubicBezTo>
                <a:cubicBezTo>
                  <a:pt x="3116351" y="5009036"/>
                  <a:pt x="3115473" y="5012317"/>
                  <a:pt x="3118751" y="5013195"/>
                </a:cubicBezTo>
                <a:cubicBezTo>
                  <a:pt x="3118751" y="5013195"/>
                  <a:pt x="3118751" y="5013195"/>
                  <a:pt x="3122032" y="5014073"/>
                </a:cubicBezTo>
                <a:cubicBezTo>
                  <a:pt x="3129472" y="5012551"/>
                  <a:pt x="3139956" y="5025909"/>
                  <a:pt x="3141713" y="5019348"/>
                </a:cubicBezTo>
                <a:cubicBezTo>
                  <a:pt x="3141713" y="5019348"/>
                  <a:pt x="3141713" y="5019348"/>
                  <a:pt x="3144995" y="5020227"/>
                </a:cubicBezTo>
                <a:cubicBezTo>
                  <a:pt x="3148274" y="5021105"/>
                  <a:pt x="3151555" y="5021985"/>
                  <a:pt x="3151555" y="5021985"/>
                </a:cubicBezTo>
                <a:cubicBezTo>
                  <a:pt x="3151555" y="5021985"/>
                  <a:pt x="3154835" y="5022864"/>
                  <a:pt x="3154835" y="5022864"/>
                </a:cubicBezTo>
                <a:cubicBezTo>
                  <a:pt x="3156358" y="5030304"/>
                  <a:pt x="3171237" y="5027258"/>
                  <a:pt x="3177797" y="5029016"/>
                </a:cubicBezTo>
                <a:cubicBezTo>
                  <a:pt x="3187638" y="5031653"/>
                  <a:pt x="3179319" y="5036456"/>
                  <a:pt x="3189161" y="5039093"/>
                </a:cubicBezTo>
                <a:cubicBezTo>
                  <a:pt x="3189161" y="5039093"/>
                  <a:pt x="3192440" y="5039972"/>
                  <a:pt x="3191561" y="5043251"/>
                </a:cubicBezTo>
                <a:cubicBezTo>
                  <a:pt x="3191561" y="5043251"/>
                  <a:pt x="3194841" y="5044131"/>
                  <a:pt x="3194841" y="5044131"/>
                </a:cubicBezTo>
                <a:cubicBezTo>
                  <a:pt x="3198123" y="5045010"/>
                  <a:pt x="3198123" y="5045010"/>
                  <a:pt x="3195720" y="5040850"/>
                </a:cubicBezTo>
                <a:cubicBezTo>
                  <a:pt x="3195720" y="5040850"/>
                  <a:pt x="3195720" y="5040850"/>
                  <a:pt x="3192440" y="5039972"/>
                </a:cubicBezTo>
                <a:cubicBezTo>
                  <a:pt x="3199880" y="5038449"/>
                  <a:pt x="3205562" y="5043487"/>
                  <a:pt x="3206440" y="5040207"/>
                </a:cubicBezTo>
                <a:cubicBezTo>
                  <a:pt x="3215401" y="5046124"/>
                  <a:pt x="3205562" y="5043487"/>
                  <a:pt x="3204682" y="5046768"/>
                </a:cubicBezTo>
                <a:lnTo>
                  <a:pt x="3200777" y="5049024"/>
                </a:lnTo>
                <a:lnTo>
                  <a:pt x="3182802" y="5042937"/>
                </a:lnTo>
                <a:cubicBezTo>
                  <a:pt x="3164319" y="5037490"/>
                  <a:pt x="3152140" y="5036205"/>
                  <a:pt x="3134918" y="5031590"/>
                </a:cubicBezTo>
                <a:cubicBezTo>
                  <a:pt x="3134918" y="5031590"/>
                  <a:pt x="3135797" y="5028310"/>
                  <a:pt x="3132517" y="5027430"/>
                </a:cubicBezTo>
                <a:cubicBezTo>
                  <a:pt x="3132517" y="5027430"/>
                  <a:pt x="3129237" y="5026552"/>
                  <a:pt x="3129237" y="5026552"/>
                </a:cubicBezTo>
                <a:cubicBezTo>
                  <a:pt x="3119395" y="5023915"/>
                  <a:pt x="3116116" y="5023036"/>
                  <a:pt x="3111956" y="5025438"/>
                </a:cubicBezTo>
                <a:cubicBezTo>
                  <a:pt x="3125078" y="5028953"/>
                  <a:pt x="3125078" y="5028953"/>
                  <a:pt x="3125078" y="5028953"/>
                </a:cubicBezTo>
                <a:cubicBezTo>
                  <a:pt x="3125078" y="5028953"/>
                  <a:pt x="3121797" y="5028075"/>
                  <a:pt x="3120918" y="5031354"/>
                </a:cubicBezTo>
                <a:cubicBezTo>
                  <a:pt x="3120918" y="5031354"/>
                  <a:pt x="3124199" y="5032234"/>
                  <a:pt x="3124199" y="5032234"/>
                </a:cubicBezTo>
                <a:cubicBezTo>
                  <a:pt x="3127479" y="5033113"/>
                  <a:pt x="3127479" y="5033113"/>
                  <a:pt x="3127479" y="5033113"/>
                </a:cubicBezTo>
                <a:cubicBezTo>
                  <a:pt x="3130758" y="5033991"/>
                  <a:pt x="3130758" y="5033991"/>
                  <a:pt x="3130758" y="5033991"/>
                </a:cubicBezTo>
                <a:cubicBezTo>
                  <a:pt x="3135561" y="5042309"/>
                  <a:pt x="3137083" y="5049750"/>
                  <a:pt x="3159167" y="5059182"/>
                </a:cubicBezTo>
                <a:cubicBezTo>
                  <a:pt x="3172053" y="5076698"/>
                  <a:pt x="3202217" y="5095329"/>
                  <a:pt x="3223421" y="5108042"/>
                </a:cubicBezTo>
                <a:cubicBezTo>
                  <a:pt x="3226702" y="5108920"/>
                  <a:pt x="3225824" y="5112200"/>
                  <a:pt x="3225824" y="5112200"/>
                </a:cubicBezTo>
                <a:cubicBezTo>
                  <a:pt x="3225824" y="5112200"/>
                  <a:pt x="3224945" y="5115481"/>
                  <a:pt x="3228223" y="5116360"/>
                </a:cubicBezTo>
                <a:cubicBezTo>
                  <a:pt x="3228223" y="5116360"/>
                  <a:pt x="3224945" y="5115481"/>
                  <a:pt x="3224065" y="5118761"/>
                </a:cubicBezTo>
                <a:cubicBezTo>
                  <a:pt x="3230626" y="5120519"/>
                  <a:pt x="3233907" y="5121398"/>
                  <a:pt x="3233907" y="5121398"/>
                </a:cubicBezTo>
                <a:cubicBezTo>
                  <a:pt x="3251830" y="5133233"/>
                  <a:pt x="3277193" y="5143544"/>
                  <a:pt x="3292714" y="5151219"/>
                </a:cubicBezTo>
                <a:cubicBezTo>
                  <a:pt x="3295117" y="5155379"/>
                  <a:pt x="3288556" y="5153620"/>
                  <a:pt x="3285275" y="5152742"/>
                </a:cubicBezTo>
                <a:cubicBezTo>
                  <a:pt x="3294237" y="5158659"/>
                  <a:pt x="3331842" y="5175767"/>
                  <a:pt x="3319365" y="5182971"/>
                </a:cubicBezTo>
                <a:cubicBezTo>
                  <a:pt x="3312805" y="5181213"/>
                  <a:pt x="3312805" y="5181213"/>
                  <a:pt x="3312805" y="5181213"/>
                </a:cubicBezTo>
                <a:cubicBezTo>
                  <a:pt x="3309524" y="5180334"/>
                  <a:pt x="3309524" y="5180334"/>
                  <a:pt x="3309524" y="5180334"/>
                </a:cubicBezTo>
                <a:cubicBezTo>
                  <a:pt x="3309524" y="5180334"/>
                  <a:pt x="3308645" y="5183614"/>
                  <a:pt x="3311927" y="5184492"/>
                </a:cubicBezTo>
                <a:cubicBezTo>
                  <a:pt x="3318486" y="5186251"/>
                  <a:pt x="3318486" y="5186251"/>
                  <a:pt x="3318486" y="5186251"/>
                </a:cubicBezTo>
                <a:cubicBezTo>
                  <a:pt x="3304486" y="5186015"/>
                  <a:pt x="3285683" y="5177461"/>
                  <a:pt x="3266002" y="5172187"/>
                </a:cubicBezTo>
                <a:cubicBezTo>
                  <a:pt x="3245205" y="5184194"/>
                  <a:pt x="3297454" y="5212257"/>
                  <a:pt x="3342499" y="5227844"/>
                </a:cubicBezTo>
                <a:cubicBezTo>
                  <a:pt x="3344900" y="5232004"/>
                  <a:pt x="3340742" y="5234405"/>
                  <a:pt x="3348824" y="5243600"/>
                </a:cubicBezTo>
                <a:cubicBezTo>
                  <a:pt x="3339862" y="5237684"/>
                  <a:pt x="3338984" y="5240964"/>
                  <a:pt x="3338105" y="5244245"/>
                </a:cubicBezTo>
                <a:cubicBezTo>
                  <a:pt x="3311863" y="5237212"/>
                  <a:pt x="3286500" y="5226901"/>
                  <a:pt x="3260257" y="5219869"/>
                </a:cubicBezTo>
                <a:cubicBezTo>
                  <a:pt x="3243856" y="5215475"/>
                  <a:pt x="3258499" y="5226430"/>
                  <a:pt x="3243621" y="5229475"/>
                </a:cubicBezTo>
                <a:cubicBezTo>
                  <a:pt x="3228099" y="5221800"/>
                  <a:pt x="3220658" y="5223323"/>
                  <a:pt x="3201857" y="5214769"/>
                </a:cubicBezTo>
                <a:cubicBezTo>
                  <a:pt x="3200977" y="5218050"/>
                  <a:pt x="3206659" y="5223087"/>
                  <a:pt x="3219780" y="5226604"/>
                </a:cubicBezTo>
                <a:cubicBezTo>
                  <a:pt x="3213219" y="5224845"/>
                  <a:pt x="3205781" y="5226368"/>
                  <a:pt x="3193538" y="5219573"/>
                </a:cubicBezTo>
                <a:cubicBezTo>
                  <a:pt x="3199219" y="5224609"/>
                  <a:pt x="3195061" y="5227011"/>
                  <a:pt x="3204023" y="5232929"/>
                </a:cubicBezTo>
                <a:cubicBezTo>
                  <a:pt x="3150016" y="5211425"/>
                  <a:pt x="3096009" y="5189924"/>
                  <a:pt x="3042882" y="5165139"/>
                </a:cubicBezTo>
                <a:cubicBezTo>
                  <a:pt x="3036320" y="5163382"/>
                  <a:pt x="3029761" y="5161624"/>
                  <a:pt x="3027359" y="5157464"/>
                </a:cubicBezTo>
                <a:cubicBezTo>
                  <a:pt x="2396387" y="4861828"/>
                  <a:pt x="1977317" y="4260841"/>
                  <a:pt x="1894782" y="3584788"/>
                </a:cubicBezTo>
                <a:cubicBezTo>
                  <a:pt x="1894782" y="3584788"/>
                  <a:pt x="1894782" y="3584788"/>
                  <a:pt x="1895662" y="3581506"/>
                </a:cubicBezTo>
                <a:cubicBezTo>
                  <a:pt x="1895662" y="3581506"/>
                  <a:pt x="1896540" y="3578226"/>
                  <a:pt x="1896540" y="3578226"/>
                </a:cubicBezTo>
                <a:cubicBezTo>
                  <a:pt x="1898061" y="3585666"/>
                  <a:pt x="1902221" y="3583265"/>
                  <a:pt x="1900698" y="3575825"/>
                </a:cubicBezTo>
                <a:cubicBezTo>
                  <a:pt x="1902221" y="3583265"/>
                  <a:pt x="1902221" y="3583265"/>
                  <a:pt x="1902221" y="3583265"/>
                </a:cubicBezTo>
                <a:cubicBezTo>
                  <a:pt x="1904622" y="3587425"/>
                  <a:pt x="1904622" y="3587425"/>
                  <a:pt x="1908782" y="3585022"/>
                </a:cubicBezTo>
                <a:cubicBezTo>
                  <a:pt x="1908782" y="3585022"/>
                  <a:pt x="1909661" y="3581742"/>
                  <a:pt x="1907259" y="3577584"/>
                </a:cubicBezTo>
                <a:cubicBezTo>
                  <a:pt x="1904858" y="3573425"/>
                  <a:pt x="1904858" y="3573425"/>
                  <a:pt x="1904858" y="3573425"/>
                </a:cubicBezTo>
                <a:cubicBezTo>
                  <a:pt x="1905737" y="3570143"/>
                  <a:pt x="1905737" y="3570143"/>
                  <a:pt x="1905737" y="3570143"/>
                </a:cubicBezTo>
                <a:cubicBezTo>
                  <a:pt x="1912298" y="3571902"/>
                  <a:pt x="1913176" y="3568620"/>
                  <a:pt x="1911655" y="3561181"/>
                </a:cubicBezTo>
                <a:cubicBezTo>
                  <a:pt x="1906851" y="3552863"/>
                  <a:pt x="1908374" y="3560303"/>
                  <a:pt x="1902693" y="3555264"/>
                </a:cubicBezTo>
                <a:cubicBezTo>
                  <a:pt x="1904214" y="3562704"/>
                  <a:pt x="1904214" y="3562704"/>
                  <a:pt x="1904214" y="3562704"/>
                </a:cubicBezTo>
                <a:cubicBezTo>
                  <a:pt x="1901813" y="3558544"/>
                  <a:pt x="1902693" y="3555264"/>
                  <a:pt x="1898533" y="3557666"/>
                </a:cubicBezTo>
                <a:cubicBezTo>
                  <a:pt x="1897653" y="3560947"/>
                  <a:pt x="1896775" y="3564227"/>
                  <a:pt x="1899176" y="3568386"/>
                </a:cubicBezTo>
                <a:cubicBezTo>
                  <a:pt x="1901577" y="3572544"/>
                  <a:pt x="1901577" y="3572544"/>
                  <a:pt x="1901577" y="3572544"/>
                </a:cubicBezTo>
                <a:cubicBezTo>
                  <a:pt x="1898298" y="3571666"/>
                  <a:pt x="1899176" y="3568386"/>
                  <a:pt x="1895896" y="3567506"/>
                </a:cubicBezTo>
                <a:cubicBezTo>
                  <a:pt x="1896775" y="3564227"/>
                  <a:pt x="1896775" y="3564227"/>
                  <a:pt x="1896775" y="3564227"/>
                </a:cubicBezTo>
                <a:cubicBezTo>
                  <a:pt x="1894373" y="3560067"/>
                  <a:pt x="1894373" y="3560067"/>
                  <a:pt x="1894373" y="3560067"/>
                </a:cubicBezTo>
                <a:cubicBezTo>
                  <a:pt x="1891094" y="3559188"/>
                  <a:pt x="1891094" y="3559188"/>
                  <a:pt x="1891094" y="3559188"/>
                </a:cubicBezTo>
                <a:cubicBezTo>
                  <a:pt x="1884597" y="3504711"/>
                  <a:pt x="1882259" y="3447831"/>
                  <a:pt x="1879920" y="3390951"/>
                </a:cubicBezTo>
                <a:cubicBezTo>
                  <a:pt x="1883200" y="3391830"/>
                  <a:pt x="1887359" y="3389429"/>
                  <a:pt x="1885837" y="3381989"/>
                </a:cubicBezTo>
                <a:cubicBezTo>
                  <a:pt x="1882557" y="3381111"/>
                  <a:pt x="1882557" y="3381111"/>
                  <a:pt x="1882557" y="3381111"/>
                </a:cubicBezTo>
                <a:cubicBezTo>
                  <a:pt x="1878180" y="3200631"/>
                  <a:pt x="1900280" y="3013184"/>
                  <a:pt x="1949501" y="2829488"/>
                </a:cubicBezTo>
                <a:cubicBezTo>
                  <a:pt x="2065523" y="2396490"/>
                  <a:pt x="2313805" y="2034089"/>
                  <a:pt x="2643562" y="1774383"/>
                </a:cubicBezTo>
                <a:cubicBezTo>
                  <a:pt x="2638523" y="1780064"/>
                  <a:pt x="2637645" y="1783344"/>
                  <a:pt x="2640925" y="1784224"/>
                </a:cubicBezTo>
                <a:cubicBezTo>
                  <a:pt x="2669161" y="1770694"/>
                  <a:pt x="2664357" y="1762376"/>
                  <a:pt x="2686913" y="1743809"/>
                </a:cubicBezTo>
                <a:cubicBezTo>
                  <a:pt x="2686913" y="1743809"/>
                  <a:pt x="2683632" y="1742931"/>
                  <a:pt x="2683632" y="1742931"/>
                </a:cubicBezTo>
                <a:cubicBezTo>
                  <a:pt x="2705305" y="1727642"/>
                  <a:pt x="2722823" y="1714756"/>
                  <a:pt x="2744497" y="1699471"/>
                </a:cubicBezTo>
                <a:cubicBezTo>
                  <a:pt x="2751936" y="1697948"/>
                  <a:pt x="2777770" y="1680260"/>
                  <a:pt x="2782809" y="1674577"/>
                </a:cubicBezTo>
                <a:cubicBezTo>
                  <a:pt x="2786090" y="1675456"/>
                  <a:pt x="2786969" y="1672176"/>
                  <a:pt x="2786969" y="1672176"/>
                </a:cubicBezTo>
                <a:cubicBezTo>
                  <a:pt x="2791128" y="1669775"/>
                  <a:pt x="2791128" y="1669775"/>
                  <a:pt x="2787847" y="1668896"/>
                </a:cubicBezTo>
                <a:cubicBezTo>
                  <a:pt x="2791128" y="1669775"/>
                  <a:pt x="2792007" y="1666495"/>
                  <a:pt x="2795287" y="1667374"/>
                </a:cubicBezTo>
                <a:cubicBezTo>
                  <a:pt x="2800324" y="1661693"/>
                  <a:pt x="2808643" y="1656889"/>
                  <a:pt x="2812803" y="1654488"/>
                </a:cubicBezTo>
                <a:cubicBezTo>
                  <a:pt x="2830319" y="1641602"/>
                  <a:pt x="2850235" y="1632876"/>
                  <a:pt x="2867751" y="1619990"/>
                </a:cubicBezTo>
                <a:cubicBezTo>
                  <a:pt x="2876070" y="1615187"/>
                  <a:pt x="2884388" y="1610385"/>
                  <a:pt x="2892707" y="1605583"/>
                </a:cubicBezTo>
                <a:cubicBezTo>
                  <a:pt x="2909345" y="1595977"/>
                  <a:pt x="2929260" y="1587250"/>
                  <a:pt x="2945898" y="1577646"/>
                </a:cubicBezTo>
                <a:cubicBezTo>
                  <a:pt x="2945898" y="1577646"/>
                  <a:pt x="2945019" y="1580925"/>
                  <a:pt x="2945019" y="1580925"/>
                </a:cubicBezTo>
                <a:cubicBezTo>
                  <a:pt x="2949179" y="1578524"/>
                  <a:pt x="2950057" y="1575243"/>
                  <a:pt x="2954215" y="1572842"/>
                </a:cubicBezTo>
                <a:cubicBezTo>
                  <a:pt x="3029843" y="1533338"/>
                  <a:pt x="3107651" y="1498813"/>
                  <a:pt x="3187642" y="1469266"/>
                </a:cubicBezTo>
                <a:lnTo>
                  <a:pt x="3206518" y="1462968"/>
                </a:lnTo>
                <a:lnTo>
                  <a:pt x="3279061" y="1433119"/>
                </a:lnTo>
                <a:lnTo>
                  <a:pt x="3268731" y="1435621"/>
                </a:lnTo>
                <a:lnTo>
                  <a:pt x="3291288" y="1428088"/>
                </a:lnTo>
                <a:lnTo>
                  <a:pt x="3299007" y="1424913"/>
                </a:lnTo>
                <a:close/>
                <a:moveTo>
                  <a:pt x="2502762" y="1367737"/>
                </a:moveTo>
                <a:cubicBezTo>
                  <a:pt x="2499088" y="1373406"/>
                  <a:pt x="2499088" y="1373406"/>
                  <a:pt x="2499088" y="1373406"/>
                </a:cubicBezTo>
                <a:cubicBezTo>
                  <a:pt x="2500087" y="1378077"/>
                  <a:pt x="2504758" y="1377078"/>
                  <a:pt x="2508432" y="1371410"/>
                </a:cubicBezTo>
                <a:cubicBezTo>
                  <a:pt x="2496914" y="1386080"/>
                  <a:pt x="2485814" y="1397000"/>
                  <a:pt x="2472589" y="1406541"/>
                </a:cubicBezTo>
                <a:lnTo>
                  <a:pt x="2428360" y="1430993"/>
                </a:lnTo>
                <a:lnTo>
                  <a:pt x="2427665" y="1427740"/>
                </a:lnTo>
                <a:cubicBezTo>
                  <a:pt x="2427665" y="1427740"/>
                  <a:pt x="2423991" y="1433409"/>
                  <a:pt x="2423991" y="1433409"/>
                </a:cubicBezTo>
                <a:cubicBezTo>
                  <a:pt x="2414650" y="1435405"/>
                  <a:pt x="2415648" y="1440075"/>
                  <a:pt x="2406305" y="1442071"/>
                </a:cubicBezTo>
                <a:cubicBezTo>
                  <a:pt x="2401635" y="1443068"/>
                  <a:pt x="2401635" y="1443068"/>
                  <a:pt x="2401635" y="1443068"/>
                </a:cubicBezTo>
                <a:cubicBezTo>
                  <a:pt x="2401635" y="1443068"/>
                  <a:pt x="2402632" y="1447739"/>
                  <a:pt x="2402632" y="1447739"/>
                </a:cubicBezTo>
                <a:cubicBezTo>
                  <a:pt x="2397962" y="1448738"/>
                  <a:pt x="2397962" y="1448738"/>
                  <a:pt x="2397962" y="1448738"/>
                </a:cubicBezTo>
                <a:lnTo>
                  <a:pt x="2368524" y="1462091"/>
                </a:lnTo>
                <a:lnTo>
                  <a:pt x="2436136" y="1405006"/>
                </a:lnTo>
                <a:lnTo>
                  <a:pt x="2447028" y="1404065"/>
                </a:lnTo>
                <a:cubicBezTo>
                  <a:pt x="2460542" y="1398736"/>
                  <a:pt x="2475395" y="1388235"/>
                  <a:pt x="2493419" y="1369732"/>
                </a:cubicBezTo>
                <a:cubicBezTo>
                  <a:pt x="2493419" y="1369732"/>
                  <a:pt x="2498091" y="1368735"/>
                  <a:pt x="2502762" y="1367737"/>
                </a:cubicBezTo>
                <a:close/>
                <a:moveTo>
                  <a:pt x="3694920" y="1351768"/>
                </a:moveTo>
                <a:lnTo>
                  <a:pt x="3592642" y="1364711"/>
                </a:lnTo>
                <a:lnTo>
                  <a:pt x="3590251" y="1366035"/>
                </a:lnTo>
                <a:lnTo>
                  <a:pt x="3570147" y="1371907"/>
                </a:lnTo>
                <a:lnTo>
                  <a:pt x="3581954" y="1369853"/>
                </a:lnTo>
                <a:lnTo>
                  <a:pt x="3656160" y="1363370"/>
                </a:lnTo>
                <a:close/>
                <a:moveTo>
                  <a:pt x="2840435" y="1256522"/>
                </a:moveTo>
                <a:cubicBezTo>
                  <a:pt x="2814405" y="1271852"/>
                  <a:pt x="2779032" y="1289177"/>
                  <a:pt x="2754000" y="1309177"/>
                </a:cubicBezTo>
                <a:cubicBezTo>
                  <a:pt x="2727471" y="1322172"/>
                  <a:pt x="2696248" y="1338915"/>
                  <a:pt x="2675675" y="1354070"/>
                </a:cubicBezTo>
                <a:lnTo>
                  <a:pt x="2664839" y="1363575"/>
                </a:lnTo>
                <a:lnTo>
                  <a:pt x="2606905" y="1394572"/>
                </a:lnTo>
                <a:lnTo>
                  <a:pt x="2606162" y="1394488"/>
                </a:lnTo>
                <a:lnTo>
                  <a:pt x="2606032" y="1395039"/>
                </a:lnTo>
                <a:lnTo>
                  <a:pt x="2569460" y="1414607"/>
                </a:lnTo>
                <a:lnTo>
                  <a:pt x="2535666" y="1437142"/>
                </a:lnTo>
                <a:lnTo>
                  <a:pt x="2557774" y="1419478"/>
                </a:lnTo>
                <a:cubicBezTo>
                  <a:pt x="2617181" y="1377482"/>
                  <a:pt x="2686928" y="1338159"/>
                  <a:pt x="2743660" y="1306503"/>
                </a:cubicBezTo>
                <a:cubicBezTo>
                  <a:pt x="2765019" y="1292171"/>
                  <a:pt x="2787377" y="1282510"/>
                  <a:pt x="2803068" y="1264505"/>
                </a:cubicBezTo>
                <a:cubicBezTo>
                  <a:pt x="2799394" y="1270174"/>
                  <a:pt x="2809734" y="1272849"/>
                  <a:pt x="2840435" y="1256522"/>
                </a:cubicBezTo>
                <a:close/>
                <a:moveTo>
                  <a:pt x="4291945" y="1253435"/>
                </a:moveTo>
                <a:cubicBezTo>
                  <a:pt x="4288620" y="1252908"/>
                  <a:pt x="4285780" y="1253972"/>
                  <a:pt x="4284137" y="1260101"/>
                </a:cubicBezTo>
                <a:cubicBezTo>
                  <a:pt x="4280853" y="1272360"/>
                  <a:pt x="4289390" y="1273187"/>
                  <a:pt x="4298921" y="1275741"/>
                </a:cubicBezTo>
                <a:cubicBezTo>
                  <a:pt x="4349411" y="1283430"/>
                  <a:pt x="4400898" y="1292848"/>
                  <a:pt x="4450293" y="1304623"/>
                </a:cubicBezTo>
                <a:cubicBezTo>
                  <a:pt x="4553327" y="1330041"/>
                  <a:pt x="4653016" y="1361132"/>
                  <a:pt x="4748991" y="1398504"/>
                </a:cubicBezTo>
                <a:lnTo>
                  <a:pt x="4900593" y="1470664"/>
                </a:lnTo>
                <a:lnTo>
                  <a:pt x="4850303" y="1427852"/>
                </a:lnTo>
                <a:lnTo>
                  <a:pt x="4826319" y="1412622"/>
                </a:lnTo>
                <a:lnTo>
                  <a:pt x="4657237" y="1344015"/>
                </a:lnTo>
                <a:cubicBezTo>
                  <a:pt x="4555286" y="1305020"/>
                  <a:pt x="4447497" y="1287816"/>
                  <a:pt x="4341169" y="1265164"/>
                </a:cubicBezTo>
                <a:cubicBezTo>
                  <a:pt x="4328547" y="1263242"/>
                  <a:pt x="4314927" y="1259592"/>
                  <a:pt x="4302669" y="1256309"/>
                </a:cubicBezTo>
                <a:cubicBezTo>
                  <a:pt x="4299082" y="1256077"/>
                  <a:pt x="4295271" y="1253960"/>
                  <a:pt x="4291945" y="1253435"/>
                </a:cubicBezTo>
                <a:close/>
                <a:moveTo>
                  <a:pt x="3498102" y="1245800"/>
                </a:moveTo>
                <a:lnTo>
                  <a:pt x="3459267" y="1255133"/>
                </a:lnTo>
                <a:lnTo>
                  <a:pt x="3459939" y="1258420"/>
                </a:lnTo>
                <a:close/>
                <a:moveTo>
                  <a:pt x="5350802" y="1233036"/>
                </a:moveTo>
                <a:cubicBezTo>
                  <a:pt x="5361142" y="1235710"/>
                  <a:pt x="5361142" y="1235710"/>
                  <a:pt x="5351799" y="1237706"/>
                </a:cubicBezTo>
                <a:cubicBezTo>
                  <a:pt x="5346131" y="1234033"/>
                  <a:pt x="5346131" y="1234033"/>
                  <a:pt x="5346131" y="1234033"/>
                </a:cubicBezTo>
                <a:cubicBezTo>
                  <a:pt x="5350802" y="1233036"/>
                  <a:pt x="5350802" y="1233036"/>
                  <a:pt x="5350802" y="1233036"/>
                </a:cubicBezTo>
                <a:close/>
                <a:moveTo>
                  <a:pt x="5345813" y="1209681"/>
                </a:moveTo>
                <a:cubicBezTo>
                  <a:pt x="5345813" y="1209681"/>
                  <a:pt x="5350483" y="1208682"/>
                  <a:pt x="5351481" y="1213353"/>
                </a:cubicBezTo>
                <a:cubicBezTo>
                  <a:pt x="5346810" y="1214352"/>
                  <a:pt x="5346810" y="1214352"/>
                  <a:pt x="5346810" y="1214352"/>
                </a:cubicBezTo>
                <a:cubicBezTo>
                  <a:pt x="5346810" y="1214352"/>
                  <a:pt x="5345813" y="1209681"/>
                  <a:pt x="5345813" y="1209681"/>
                </a:cubicBezTo>
                <a:close/>
                <a:moveTo>
                  <a:pt x="5343817" y="1200338"/>
                </a:moveTo>
                <a:cubicBezTo>
                  <a:pt x="5344814" y="1205008"/>
                  <a:pt x="5344814" y="1205008"/>
                  <a:pt x="5349485" y="1204011"/>
                </a:cubicBezTo>
                <a:lnTo>
                  <a:pt x="5339148" y="1201337"/>
                </a:lnTo>
                <a:close/>
                <a:moveTo>
                  <a:pt x="2761703" y="1151674"/>
                </a:moveTo>
                <a:lnTo>
                  <a:pt x="2748959" y="1165559"/>
                </a:lnTo>
                <a:cubicBezTo>
                  <a:pt x="2741657" y="1171392"/>
                  <a:pt x="2733065" y="1176892"/>
                  <a:pt x="2722385" y="1184058"/>
                </a:cubicBezTo>
                <a:cubicBezTo>
                  <a:pt x="2726058" y="1178388"/>
                  <a:pt x="2721386" y="1179387"/>
                  <a:pt x="2716716" y="1180384"/>
                </a:cubicBezTo>
                <a:cubicBezTo>
                  <a:pt x="2694359" y="1190045"/>
                  <a:pt x="2674994" y="1213720"/>
                  <a:pt x="2657309" y="1222382"/>
                </a:cubicBezTo>
                <a:cubicBezTo>
                  <a:pt x="2657309" y="1222382"/>
                  <a:pt x="2660982" y="1216713"/>
                  <a:pt x="2660982" y="1216713"/>
                </a:cubicBezTo>
                <a:cubicBezTo>
                  <a:pt x="2630281" y="1233040"/>
                  <a:pt x="2606247" y="1257713"/>
                  <a:pt x="2595906" y="1255037"/>
                </a:cubicBezTo>
                <a:cubicBezTo>
                  <a:pt x="2595906" y="1255037"/>
                  <a:pt x="2596903" y="1259709"/>
                  <a:pt x="2592233" y="1260706"/>
                </a:cubicBezTo>
                <a:cubicBezTo>
                  <a:pt x="2581214" y="1277713"/>
                  <a:pt x="2601576" y="1258710"/>
                  <a:pt x="2606247" y="1257713"/>
                </a:cubicBezTo>
                <a:cubicBezTo>
                  <a:pt x="2593730" y="1267712"/>
                  <a:pt x="2584887" y="1272043"/>
                  <a:pt x="2577796" y="1276001"/>
                </a:cubicBezTo>
                <a:lnTo>
                  <a:pt x="2560312" y="1291636"/>
                </a:lnTo>
                <a:lnTo>
                  <a:pt x="2559859" y="1291860"/>
                </a:lnTo>
                <a:lnTo>
                  <a:pt x="2560069" y="1281620"/>
                </a:lnTo>
                <a:cubicBezTo>
                  <a:pt x="2559696" y="1279869"/>
                  <a:pt x="2557360" y="1280367"/>
                  <a:pt x="2548516" y="1284699"/>
                </a:cubicBezTo>
                <a:cubicBezTo>
                  <a:pt x="2547179" y="1289869"/>
                  <a:pt x="2548846" y="1291955"/>
                  <a:pt x="2549928" y="1294165"/>
                </a:cubicBezTo>
                <a:lnTo>
                  <a:pt x="2549342" y="1297035"/>
                </a:lnTo>
                <a:lnTo>
                  <a:pt x="2541806" y="1300742"/>
                </a:lnTo>
                <a:cubicBezTo>
                  <a:pt x="2519258" y="1309996"/>
                  <a:pt x="2495601" y="1317332"/>
                  <a:pt x="2470077" y="1321264"/>
                </a:cubicBezTo>
                <a:cubicBezTo>
                  <a:pt x="2487552" y="1289140"/>
                  <a:pt x="2510692" y="1274055"/>
                  <a:pt x="2536602" y="1262438"/>
                </a:cubicBezTo>
                <a:cubicBezTo>
                  <a:pt x="2598121" y="1237126"/>
                  <a:pt x="2657282" y="1210292"/>
                  <a:pt x="2712436" y="1174174"/>
                </a:cubicBezTo>
                <a:cubicBezTo>
                  <a:pt x="2723037" y="1166839"/>
                  <a:pt x="2734149" y="1161297"/>
                  <a:pt x="2745575" y="1156796"/>
                </a:cubicBezTo>
                <a:close/>
                <a:moveTo>
                  <a:pt x="4763650" y="1149529"/>
                </a:moveTo>
                <a:lnTo>
                  <a:pt x="4771720" y="1151618"/>
                </a:lnTo>
                <a:cubicBezTo>
                  <a:pt x="4771720" y="1151618"/>
                  <a:pt x="4771720" y="1151618"/>
                  <a:pt x="4767049" y="1152615"/>
                </a:cubicBezTo>
                <a:close/>
                <a:moveTo>
                  <a:pt x="3314885" y="1145389"/>
                </a:moveTo>
                <a:cubicBezTo>
                  <a:pt x="3311211" y="1151058"/>
                  <a:pt x="3311211" y="1151058"/>
                  <a:pt x="3311211" y="1151058"/>
                </a:cubicBezTo>
                <a:cubicBezTo>
                  <a:pt x="3306541" y="1152057"/>
                  <a:pt x="3306541" y="1152057"/>
                  <a:pt x="3306541" y="1152057"/>
                </a:cubicBezTo>
                <a:cubicBezTo>
                  <a:pt x="3297198" y="1154051"/>
                  <a:pt x="3292528" y="1155049"/>
                  <a:pt x="3287857" y="1156047"/>
                </a:cubicBezTo>
                <a:cubicBezTo>
                  <a:pt x="3278514" y="1158043"/>
                  <a:pt x="3273843" y="1159041"/>
                  <a:pt x="3264500" y="1161037"/>
                </a:cubicBezTo>
                <a:lnTo>
                  <a:pt x="3259830" y="1162034"/>
                </a:lnTo>
                <a:close/>
                <a:moveTo>
                  <a:pt x="4063207" y="1058776"/>
                </a:moveTo>
                <a:lnTo>
                  <a:pt x="4059509" y="1058914"/>
                </a:lnTo>
                <a:lnTo>
                  <a:pt x="4059417" y="1058899"/>
                </a:lnTo>
                <a:cubicBezTo>
                  <a:pt x="4058579" y="1058545"/>
                  <a:pt x="4059454" y="1058357"/>
                  <a:pt x="4063207" y="1058776"/>
                </a:cubicBezTo>
                <a:close/>
                <a:moveTo>
                  <a:pt x="4081891" y="1054786"/>
                </a:moveTo>
                <a:cubicBezTo>
                  <a:pt x="4083887" y="1064127"/>
                  <a:pt x="4101574" y="1055465"/>
                  <a:pt x="4111912" y="1058138"/>
                </a:cubicBezTo>
                <a:cubicBezTo>
                  <a:pt x="4097900" y="1061133"/>
                  <a:pt x="4111233" y="1077821"/>
                  <a:pt x="4112910" y="1062810"/>
                </a:cubicBezTo>
                <a:cubicBezTo>
                  <a:pt x="4141935" y="1061494"/>
                  <a:pt x="4171956" y="1064849"/>
                  <a:pt x="4191639" y="1065528"/>
                </a:cubicBezTo>
                <a:cubicBezTo>
                  <a:pt x="4176627" y="1063850"/>
                  <a:pt x="4205653" y="1062533"/>
                  <a:pt x="4224337" y="1058542"/>
                </a:cubicBezTo>
                <a:cubicBezTo>
                  <a:pt x="4225335" y="1063212"/>
                  <a:pt x="4215991" y="1065208"/>
                  <a:pt x="4215991" y="1065208"/>
                </a:cubicBezTo>
                <a:cubicBezTo>
                  <a:pt x="4250685" y="1067565"/>
                  <a:pt x="4270368" y="1068244"/>
                  <a:pt x="4290049" y="1068923"/>
                </a:cubicBezTo>
                <a:cubicBezTo>
                  <a:pt x="4314402" y="1068605"/>
                  <a:pt x="4334085" y="1069284"/>
                  <a:pt x="4379117" y="1074315"/>
                </a:cubicBezTo>
                <a:cubicBezTo>
                  <a:pt x="4375445" y="1079983"/>
                  <a:pt x="4366101" y="1081981"/>
                  <a:pt x="4385785" y="1082660"/>
                </a:cubicBezTo>
                <a:cubicBezTo>
                  <a:pt x="4396125" y="1085335"/>
                  <a:pt x="4374447" y="1075314"/>
                  <a:pt x="4398799" y="1074995"/>
                </a:cubicBezTo>
                <a:cubicBezTo>
                  <a:pt x="4415807" y="1086013"/>
                  <a:pt x="4430817" y="1087691"/>
                  <a:pt x="4443833" y="1080026"/>
                </a:cubicBezTo>
                <a:cubicBezTo>
                  <a:pt x="4460841" y="1091045"/>
                  <a:pt x="4454173" y="1082701"/>
                  <a:pt x="4461839" y="1095716"/>
                </a:cubicBezTo>
                <a:cubicBezTo>
                  <a:pt x="4465511" y="1090048"/>
                  <a:pt x="4474853" y="1088052"/>
                  <a:pt x="4489863" y="1089728"/>
                </a:cubicBezTo>
                <a:cubicBezTo>
                  <a:pt x="4489863" y="1089728"/>
                  <a:pt x="4480522" y="1091724"/>
                  <a:pt x="4486191" y="1095398"/>
                </a:cubicBezTo>
                <a:cubicBezTo>
                  <a:pt x="4509546" y="1090407"/>
                  <a:pt x="4532222" y="1105100"/>
                  <a:pt x="4565917" y="1102785"/>
                </a:cubicBezTo>
                <a:cubicBezTo>
                  <a:pt x="4566915" y="1107457"/>
                  <a:pt x="4546235" y="1102107"/>
                  <a:pt x="4547233" y="1106777"/>
                </a:cubicBezTo>
                <a:cubicBezTo>
                  <a:pt x="4568911" y="1116797"/>
                  <a:pt x="4591269" y="1107139"/>
                  <a:pt x="4609273" y="1122827"/>
                </a:cubicBezTo>
                <a:cubicBezTo>
                  <a:pt x="4613943" y="1121829"/>
                  <a:pt x="4591269" y="1107139"/>
                  <a:pt x="4611947" y="1112488"/>
                </a:cubicBezTo>
                <a:cubicBezTo>
                  <a:pt x="4608275" y="1118157"/>
                  <a:pt x="4613943" y="1121829"/>
                  <a:pt x="4628956" y="1123507"/>
                </a:cubicBezTo>
                <a:cubicBezTo>
                  <a:pt x="4641971" y="1115841"/>
                  <a:pt x="4665645" y="1135205"/>
                  <a:pt x="4668320" y="1124867"/>
                </a:cubicBezTo>
                <a:cubicBezTo>
                  <a:pt x="4669317" y="1129537"/>
                  <a:pt x="4673989" y="1128538"/>
                  <a:pt x="4679657" y="1132212"/>
                </a:cubicBezTo>
                <a:cubicBezTo>
                  <a:pt x="4685326" y="1135884"/>
                  <a:pt x="4685326" y="1135884"/>
                  <a:pt x="4685326" y="1135884"/>
                </a:cubicBezTo>
                <a:cubicBezTo>
                  <a:pt x="4685326" y="1135884"/>
                  <a:pt x="4684329" y="1131215"/>
                  <a:pt x="4684329" y="1131215"/>
                </a:cubicBezTo>
                <a:cubicBezTo>
                  <a:pt x="4679657" y="1132212"/>
                  <a:pt x="4678659" y="1127541"/>
                  <a:pt x="4673989" y="1128538"/>
                </a:cubicBezTo>
                <a:cubicBezTo>
                  <a:pt x="4692673" y="1124547"/>
                  <a:pt x="4705007" y="1136564"/>
                  <a:pt x="4716346" y="1143910"/>
                </a:cubicBezTo>
                <a:cubicBezTo>
                  <a:pt x="4721019" y="1142913"/>
                  <a:pt x="4725689" y="1141914"/>
                  <a:pt x="4737026" y="1149261"/>
                </a:cubicBezTo>
                <a:cubicBezTo>
                  <a:pt x="4750041" y="1141596"/>
                  <a:pt x="4718024" y="1128899"/>
                  <a:pt x="4733035" y="1130577"/>
                </a:cubicBezTo>
                <a:cubicBezTo>
                  <a:pt x="4731029" y="1138331"/>
                  <a:pt x="4750041" y="1141596"/>
                  <a:pt x="4760516" y="1146683"/>
                </a:cubicBezTo>
                <a:lnTo>
                  <a:pt x="4763650" y="1149529"/>
                </a:lnTo>
                <a:lnTo>
                  <a:pt x="4761379" y="1148942"/>
                </a:lnTo>
                <a:cubicBezTo>
                  <a:pt x="4756709" y="1149940"/>
                  <a:pt x="4752037" y="1150938"/>
                  <a:pt x="4752037" y="1150938"/>
                </a:cubicBezTo>
                <a:cubicBezTo>
                  <a:pt x="4752037" y="1150938"/>
                  <a:pt x="4752037" y="1150938"/>
                  <a:pt x="4757706" y="1154611"/>
                </a:cubicBezTo>
                <a:cubicBezTo>
                  <a:pt x="4763375" y="1158284"/>
                  <a:pt x="4768046" y="1157286"/>
                  <a:pt x="4772717" y="1156287"/>
                </a:cubicBezTo>
                <a:cubicBezTo>
                  <a:pt x="4769043" y="1161957"/>
                  <a:pt x="4817750" y="1161320"/>
                  <a:pt x="4799066" y="1165310"/>
                </a:cubicBezTo>
                <a:cubicBezTo>
                  <a:pt x="4824417" y="1169663"/>
                  <a:pt x="4846096" y="1179685"/>
                  <a:pt x="4881786" y="1186712"/>
                </a:cubicBezTo>
                <a:cubicBezTo>
                  <a:pt x="4881786" y="1186712"/>
                  <a:pt x="4881786" y="1186712"/>
                  <a:pt x="4886457" y="1185713"/>
                </a:cubicBezTo>
                <a:cubicBezTo>
                  <a:pt x="4881786" y="1186712"/>
                  <a:pt x="4877116" y="1187711"/>
                  <a:pt x="4878113" y="1192381"/>
                </a:cubicBezTo>
                <a:cubicBezTo>
                  <a:pt x="4878113" y="1192381"/>
                  <a:pt x="4878113" y="1192381"/>
                  <a:pt x="4883782" y="1196053"/>
                </a:cubicBezTo>
                <a:cubicBezTo>
                  <a:pt x="4888453" y="1195056"/>
                  <a:pt x="4887456" y="1190385"/>
                  <a:pt x="4887456" y="1190385"/>
                </a:cubicBezTo>
                <a:cubicBezTo>
                  <a:pt x="4903465" y="1196734"/>
                  <a:pt x="4928816" y="1201086"/>
                  <a:pt x="4920471" y="1207753"/>
                </a:cubicBezTo>
                <a:cubicBezTo>
                  <a:pt x="4941151" y="1213102"/>
                  <a:pt x="4941151" y="1213102"/>
                  <a:pt x="4968499" y="1226796"/>
                </a:cubicBezTo>
                <a:cubicBezTo>
                  <a:pt x="4973169" y="1225799"/>
                  <a:pt x="4972171" y="1221128"/>
                  <a:pt x="4972171" y="1221128"/>
                </a:cubicBezTo>
                <a:cubicBezTo>
                  <a:pt x="4977839" y="1224802"/>
                  <a:pt x="4983509" y="1228474"/>
                  <a:pt x="4988181" y="1227477"/>
                </a:cubicBezTo>
                <a:cubicBezTo>
                  <a:pt x="5000517" y="1239493"/>
                  <a:pt x="5001514" y="1244166"/>
                  <a:pt x="4996843" y="1245163"/>
                </a:cubicBezTo>
                <a:cubicBezTo>
                  <a:pt x="5011854" y="1246838"/>
                  <a:pt x="5016525" y="1245841"/>
                  <a:pt x="5025867" y="1243845"/>
                </a:cubicBezTo>
                <a:cubicBezTo>
                  <a:pt x="5025867" y="1243845"/>
                  <a:pt x="5025867" y="1243845"/>
                  <a:pt x="5026865" y="1248516"/>
                </a:cubicBezTo>
                <a:cubicBezTo>
                  <a:pt x="5032534" y="1252190"/>
                  <a:pt x="5028861" y="1257857"/>
                  <a:pt x="5039201" y="1260533"/>
                </a:cubicBezTo>
                <a:cubicBezTo>
                  <a:pt x="5043871" y="1259535"/>
                  <a:pt x="5042874" y="1254865"/>
                  <a:pt x="5054211" y="1262212"/>
                </a:cubicBezTo>
                <a:cubicBezTo>
                  <a:pt x="5058883" y="1261213"/>
                  <a:pt x="5059881" y="1265883"/>
                  <a:pt x="5059881" y="1265883"/>
                </a:cubicBezTo>
                <a:cubicBezTo>
                  <a:pt x="5059881" y="1265883"/>
                  <a:pt x="5059881" y="1265883"/>
                  <a:pt x="5060879" y="1270554"/>
                </a:cubicBezTo>
                <a:cubicBezTo>
                  <a:pt x="5065550" y="1269557"/>
                  <a:pt x="5065550" y="1269557"/>
                  <a:pt x="5065550" y="1269557"/>
                </a:cubicBezTo>
                <a:cubicBezTo>
                  <a:pt x="5064551" y="1264886"/>
                  <a:pt x="5064551" y="1264886"/>
                  <a:pt x="5063554" y="1260214"/>
                </a:cubicBezTo>
                <a:cubicBezTo>
                  <a:pt x="5063554" y="1260214"/>
                  <a:pt x="5079564" y="1266562"/>
                  <a:pt x="5085233" y="1270236"/>
                </a:cubicBezTo>
                <a:cubicBezTo>
                  <a:pt x="5085233" y="1270236"/>
                  <a:pt x="5089903" y="1269239"/>
                  <a:pt x="5089903" y="1269239"/>
                </a:cubicBezTo>
                <a:cubicBezTo>
                  <a:pt x="5091899" y="1278580"/>
                  <a:pt x="5081559" y="1275906"/>
                  <a:pt x="5092897" y="1283251"/>
                </a:cubicBezTo>
                <a:cubicBezTo>
                  <a:pt x="5091899" y="1278580"/>
                  <a:pt x="5128587" y="1290278"/>
                  <a:pt x="5135255" y="1298622"/>
                </a:cubicBezTo>
                <a:cubicBezTo>
                  <a:pt x="5140923" y="1302296"/>
                  <a:pt x="5140923" y="1302296"/>
                  <a:pt x="5140923" y="1302296"/>
                </a:cubicBezTo>
                <a:cubicBezTo>
                  <a:pt x="5136253" y="1303293"/>
                  <a:pt x="5136253" y="1303293"/>
                  <a:pt x="5136253" y="1303293"/>
                </a:cubicBezTo>
                <a:cubicBezTo>
                  <a:pt x="5135255" y="1298622"/>
                  <a:pt x="5130583" y="1299621"/>
                  <a:pt x="5125914" y="1300618"/>
                </a:cubicBezTo>
                <a:cubicBezTo>
                  <a:pt x="5126911" y="1305290"/>
                  <a:pt x="5126911" y="1305290"/>
                  <a:pt x="5126911" y="1305290"/>
                </a:cubicBezTo>
                <a:cubicBezTo>
                  <a:pt x="5136253" y="1303293"/>
                  <a:pt x="5137251" y="1307965"/>
                  <a:pt x="5141923" y="1306967"/>
                </a:cubicBezTo>
                <a:cubicBezTo>
                  <a:pt x="5161603" y="1307645"/>
                  <a:pt x="5162603" y="1312318"/>
                  <a:pt x="5185279" y="1327010"/>
                </a:cubicBezTo>
                <a:cubicBezTo>
                  <a:pt x="5185279" y="1327010"/>
                  <a:pt x="5189949" y="1326012"/>
                  <a:pt x="5188951" y="1321339"/>
                </a:cubicBezTo>
                <a:cubicBezTo>
                  <a:pt x="5194619" y="1325013"/>
                  <a:pt x="5200289" y="1328686"/>
                  <a:pt x="5201287" y="1333357"/>
                </a:cubicBezTo>
                <a:cubicBezTo>
                  <a:pt x="5206956" y="1337031"/>
                  <a:pt x="5212625" y="1340704"/>
                  <a:pt x="5212625" y="1340704"/>
                </a:cubicBezTo>
                <a:cubicBezTo>
                  <a:pt x="5223963" y="1348049"/>
                  <a:pt x="5228635" y="1347052"/>
                  <a:pt x="5234302" y="1350726"/>
                </a:cubicBezTo>
                <a:cubicBezTo>
                  <a:pt x="5244643" y="1353399"/>
                  <a:pt x="5255981" y="1360746"/>
                  <a:pt x="5261651" y="1364420"/>
                </a:cubicBezTo>
                <a:cubicBezTo>
                  <a:pt x="5262648" y="1369090"/>
                  <a:pt x="5262648" y="1369090"/>
                  <a:pt x="5263645" y="1373761"/>
                </a:cubicBezTo>
                <a:cubicBezTo>
                  <a:pt x="5268317" y="1372762"/>
                  <a:pt x="5269315" y="1377435"/>
                  <a:pt x="5269315" y="1377435"/>
                </a:cubicBezTo>
                <a:cubicBezTo>
                  <a:pt x="5273985" y="1376438"/>
                  <a:pt x="5274984" y="1381108"/>
                  <a:pt x="5279654" y="1380109"/>
                </a:cubicBezTo>
                <a:cubicBezTo>
                  <a:pt x="5279654" y="1380109"/>
                  <a:pt x="5284325" y="1379110"/>
                  <a:pt x="5284325" y="1379110"/>
                </a:cubicBezTo>
                <a:cubicBezTo>
                  <a:pt x="5289994" y="1382784"/>
                  <a:pt x="5301333" y="1390131"/>
                  <a:pt x="5307001" y="1393803"/>
                </a:cubicBezTo>
                <a:cubicBezTo>
                  <a:pt x="5307001" y="1393803"/>
                  <a:pt x="5307001" y="1393803"/>
                  <a:pt x="5311671" y="1392806"/>
                </a:cubicBezTo>
                <a:cubicBezTo>
                  <a:pt x="5329677" y="1408496"/>
                  <a:pt x="5352353" y="1423188"/>
                  <a:pt x="5374031" y="1433210"/>
                </a:cubicBezTo>
                <a:cubicBezTo>
                  <a:pt x="5375029" y="1437880"/>
                  <a:pt x="5375029" y="1437880"/>
                  <a:pt x="5375029" y="1437880"/>
                </a:cubicBezTo>
                <a:cubicBezTo>
                  <a:pt x="5375029" y="1437880"/>
                  <a:pt x="5379701" y="1436882"/>
                  <a:pt x="5379701" y="1436882"/>
                </a:cubicBezTo>
                <a:cubicBezTo>
                  <a:pt x="5420381" y="1467264"/>
                  <a:pt x="5461061" y="1497648"/>
                  <a:pt x="5497073" y="1529027"/>
                </a:cubicBezTo>
                <a:cubicBezTo>
                  <a:pt x="5515075" y="1544718"/>
                  <a:pt x="5555757" y="1575100"/>
                  <a:pt x="5580429" y="1599135"/>
                </a:cubicBezTo>
                <a:cubicBezTo>
                  <a:pt x="5591766" y="1606481"/>
                  <a:pt x="5594761" y="1620493"/>
                  <a:pt x="5606099" y="1627840"/>
                </a:cubicBezTo>
                <a:cubicBezTo>
                  <a:pt x="5649774" y="1672234"/>
                  <a:pt x="5711133" y="1707968"/>
                  <a:pt x="5746464" y="1759030"/>
                </a:cubicBezTo>
                <a:cubicBezTo>
                  <a:pt x="5752134" y="1762703"/>
                  <a:pt x="5753131" y="1767373"/>
                  <a:pt x="5757803" y="1766375"/>
                </a:cubicBezTo>
                <a:cubicBezTo>
                  <a:pt x="5754129" y="1772044"/>
                  <a:pt x="5758800" y="1771047"/>
                  <a:pt x="5758800" y="1771047"/>
                </a:cubicBezTo>
                <a:cubicBezTo>
                  <a:pt x="5775807" y="1782066"/>
                  <a:pt x="5788142" y="1794084"/>
                  <a:pt x="5801477" y="1810771"/>
                </a:cubicBezTo>
                <a:cubicBezTo>
                  <a:pt x="5801477" y="1810771"/>
                  <a:pt x="5802475" y="1815443"/>
                  <a:pt x="5807146" y="1814445"/>
                </a:cubicBezTo>
                <a:cubicBezTo>
                  <a:pt x="5808143" y="1819115"/>
                  <a:pt x="5808143" y="1819115"/>
                  <a:pt x="5812815" y="1818118"/>
                </a:cubicBezTo>
                <a:cubicBezTo>
                  <a:pt x="5826149" y="1834806"/>
                  <a:pt x="5845151" y="1855167"/>
                  <a:pt x="5863156" y="1870858"/>
                </a:cubicBezTo>
                <a:cubicBezTo>
                  <a:pt x="5862157" y="1866187"/>
                  <a:pt x="5855491" y="1857843"/>
                  <a:pt x="5854493" y="1853171"/>
                </a:cubicBezTo>
                <a:cubicBezTo>
                  <a:pt x="5854493" y="1853171"/>
                  <a:pt x="5859165" y="1852174"/>
                  <a:pt x="5860163" y="1856844"/>
                </a:cubicBezTo>
                <a:cubicBezTo>
                  <a:pt x="5860163" y="1856844"/>
                  <a:pt x="5860163" y="1856844"/>
                  <a:pt x="5861160" y="1861515"/>
                </a:cubicBezTo>
                <a:cubicBezTo>
                  <a:pt x="5861160" y="1861515"/>
                  <a:pt x="5865831" y="1860516"/>
                  <a:pt x="5865831" y="1860516"/>
                </a:cubicBezTo>
                <a:cubicBezTo>
                  <a:pt x="5870503" y="1859519"/>
                  <a:pt x="5870503" y="1859519"/>
                  <a:pt x="5870503" y="1859519"/>
                </a:cubicBezTo>
                <a:cubicBezTo>
                  <a:pt x="5871500" y="1864190"/>
                  <a:pt x="5876171" y="1863192"/>
                  <a:pt x="5876171" y="1863192"/>
                </a:cubicBezTo>
                <a:cubicBezTo>
                  <a:pt x="5882839" y="1871536"/>
                  <a:pt x="5888507" y="1875210"/>
                  <a:pt x="5901841" y="1891897"/>
                </a:cubicBezTo>
                <a:cubicBezTo>
                  <a:pt x="5900842" y="1887226"/>
                  <a:pt x="5900842" y="1887226"/>
                  <a:pt x="5900842" y="1887226"/>
                </a:cubicBezTo>
                <a:cubicBezTo>
                  <a:pt x="5906513" y="1890900"/>
                  <a:pt x="5906513" y="1890900"/>
                  <a:pt x="5906513" y="1890900"/>
                </a:cubicBezTo>
                <a:cubicBezTo>
                  <a:pt x="5913179" y="1899244"/>
                  <a:pt x="5913179" y="1899244"/>
                  <a:pt x="5913179" y="1899244"/>
                </a:cubicBezTo>
                <a:cubicBezTo>
                  <a:pt x="5907509" y="1895570"/>
                  <a:pt x="5901841" y="1891897"/>
                  <a:pt x="5897169" y="1892896"/>
                </a:cubicBezTo>
                <a:cubicBezTo>
                  <a:pt x="5902839" y="1896569"/>
                  <a:pt x="5903837" y="1901240"/>
                  <a:pt x="5904836" y="1905910"/>
                </a:cubicBezTo>
                <a:cubicBezTo>
                  <a:pt x="5904836" y="1905910"/>
                  <a:pt x="5900163" y="1906909"/>
                  <a:pt x="5900163" y="1906909"/>
                </a:cubicBezTo>
                <a:cubicBezTo>
                  <a:pt x="5900163" y="1906909"/>
                  <a:pt x="5901161" y="1911580"/>
                  <a:pt x="5901161" y="1911580"/>
                </a:cubicBezTo>
                <a:cubicBezTo>
                  <a:pt x="5906831" y="1915253"/>
                  <a:pt x="5907828" y="1919924"/>
                  <a:pt x="5911502" y="1914255"/>
                </a:cubicBezTo>
                <a:cubicBezTo>
                  <a:pt x="5914495" y="1928268"/>
                  <a:pt x="5920164" y="1931940"/>
                  <a:pt x="5925833" y="1935614"/>
                </a:cubicBezTo>
                <a:cubicBezTo>
                  <a:pt x="5922160" y="1941283"/>
                  <a:pt x="5922160" y="1941283"/>
                  <a:pt x="5922160" y="1941283"/>
                </a:cubicBezTo>
                <a:cubicBezTo>
                  <a:pt x="5929825" y="1954298"/>
                  <a:pt x="5936493" y="1962642"/>
                  <a:pt x="5943160" y="1970986"/>
                </a:cubicBezTo>
                <a:cubicBezTo>
                  <a:pt x="5947829" y="1969987"/>
                  <a:pt x="5948829" y="1974660"/>
                  <a:pt x="5948829" y="1974660"/>
                </a:cubicBezTo>
                <a:cubicBezTo>
                  <a:pt x="5953499" y="1973661"/>
                  <a:pt x="5954497" y="1978332"/>
                  <a:pt x="5955496" y="1983002"/>
                </a:cubicBezTo>
                <a:cubicBezTo>
                  <a:pt x="5956493" y="1987674"/>
                  <a:pt x="5962162" y="1991348"/>
                  <a:pt x="5965836" y="1985679"/>
                </a:cubicBezTo>
                <a:cubicBezTo>
                  <a:pt x="5966833" y="1990349"/>
                  <a:pt x="5966833" y="1990349"/>
                  <a:pt x="5966833" y="1990349"/>
                </a:cubicBezTo>
                <a:cubicBezTo>
                  <a:pt x="5967831" y="1995019"/>
                  <a:pt x="5967831" y="1995019"/>
                  <a:pt x="5963161" y="1996018"/>
                </a:cubicBezTo>
                <a:cubicBezTo>
                  <a:pt x="5963161" y="1996018"/>
                  <a:pt x="5964158" y="2000689"/>
                  <a:pt x="5964158" y="2000689"/>
                </a:cubicBezTo>
                <a:cubicBezTo>
                  <a:pt x="5964158" y="2000689"/>
                  <a:pt x="5969828" y="2004363"/>
                  <a:pt x="5969828" y="2004363"/>
                </a:cubicBezTo>
                <a:cubicBezTo>
                  <a:pt x="5968829" y="1999692"/>
                  <a:pt x="5973499" y="1998694"/>
                  <a:pt x="5973499" y="1998694"/>
                </a:cubicBezTo>
                <a:cubicBezTo>
                  <a:pt x="5972502" y="1994021"/>
                  <a:pt x="5972502" y="1994021"/>
                  <a:pt x="5972502" y="1994021"/>
                </a:cubicBezTo>
                <a:cubicBezTo>
                  <a:pt x="5972502" y="1994021"/>
                  <a:pt x="5972502" y="1994021"/>
                  <a:pt x="5971505" y="1989352"/>
                </a:cubicBezTo>
                <a:cubicBezTo>
                  <a:pt x="5976176" y="1988354"/>
                  <a:pt x="5976176" y="1988354"/>
                  <a:pt x="5975177" y="1983681"/>
                </a:cubicBezTo>
                <a:cubicBezTo>
                  <a:pt x="5975177" y="1983681"/>
                  <a:pt x="5975177" y="1983681"/>
                  <a:pt x="5979849" y="1982684"/>
                </a:cubicBezTo>
                <a:cubicBezTo>
                  <a:pt x="5980846" y="1987355"/>
                  <a:pt x="5980846" y="1987355"/>
                  <a:pt x="5986515" y="1991028"/>
                </a:cubicBezTo>
                <a:cubicBezTo>
                  <a:pt x="5986515" y="1991028"/>
                  <a:pt x="5986515" y="1991028"/>
                  <a:pt x="5987513" y="1995699"/>
                </a:cubicBezTo>
                <a:cubicBezTo>
                  <a:pt x="5987513" y="1995699"/>
                  <a:pt x="5987513" y="1995699"/>
                  <a:pt x="5983841" y="2001368"/>
                </a:cubicBezTo>
                <a:cubicBezTo>
                  <a:pt x="5984838" y="2006039"/>
                  <a:pt x="5990507" y="2009712"/>
                  <a:pt x="5991504" y="2014383"/>
                </a:cubicBezTo>
                <a:cubicBezTo>
                  <a:pt x="5992501" y="2019056"/>
                  <a:pt x="5992501" y="2019056"/>
                  <a:pt x="5997174" y="2018057"/>
                </a:cubicBezTo>
                <a:lnTo>
                  <a:pt x="5996177" y="2013386"/>
                </a:lnTo>
                <a:cubicBezTo>
                  <a:pt x="5996177" y="2013386"/>
                  <a:pt x="5990507" y="2009712"/>
                  <a:pt x="5989508" y="2005041"/>
                </a:cubicBezTo>
                <a:cubicBezTo>
                  <a:pt x="5989508" y="2005041"/>
                  <a:pt x="5993182" y="1999373"/>
                  <a:pt x="5993182" y="1999373"/>
                </a:cubicBezTo>
                <a:cubicBezTo>
                  <a:pt x="5994181" y="2004043"/>
                  <a:pt x="5999848" y="2007716"/>
                  <a:pt x="5999848" y="2007716"/>
                </a:cubicBezTo>
                <a:cubicBezTo>
                  <a:pt x="6008513" y="2025402"/>
                  <a:pt x="6016176" y="2038418"/>
                  <a:pt x="6017173" y="2043089"/>
                </a:cubicBezTo>
                <a:cubicBezTo>
                  <a:pt x="6017173" y="2043089"/>
                  <a:pt x="6012503" y="2044088"/>
                  <a:pt x="6013501" y="2048758"/>
                </a:cubicBezTo>
                <a:cubicBezTo>
                  <a:pt x="6013501" y="2048758"/>
                  <a:pt x="6007833" y="2045085"/>
                  <a:pt x="6002163" y="2041411"/>
                </a:cubicBezTo>
                <a:cubicBezTo>
                  <a:pt x="6012822" y="2068440"/>
                  <a:pt x="6024159" y="2075787"/>
                  <a:pt x="6039490" y="2101816"/>
                </a:cubicBezTo>
                <a:cubicBezTo>
                  <a:pt x="6042164" y="2091476"/>
                  <a:pt x="6058493" y="2122176"/>
                  <a:pt x="6064163" y="2125850"/>
                </a:cubicBezTo>
                <a:cubicBezTo>
                  <a:pt x="6068833" y="2124853"/>
                  <a:pt x="6068833" y="2124853"/>
                  <a:pt x="6068833" y="2124853"/>
                </a:cubicBezTo>
                <a:cubicBezTo>
                  <a:pt x="6069829" y="2129524"/>
                  <a:pt x="6075499" y="2133197"/>
                  <a:pt x="6076497" y="2137868"/>
                </a:cubicBezTo>
                <a:cubicBezTo>
                  <a:pt x="6080171" y="2132198"/>
                  <a:pt x="6080171" y="2132198"/>
                  <a:pt x="6080171" y="2132198"/>
                </a:cubicBezTo>
                <a:cubicBezTo>
                  <a:pt x="6080171" y="2132198"/>
                  <a:pt x="6081170" y="2136869"/>
                  <a:pt x="6081170" y="2136869"/>
                </a:cubicBezTo>
                <a:cubicBezTo>
                  <a:pt x="6087836" y="2145213"/>
                  <a:pt x="6088835" y="2149885"/>
                  <a:pt x="6095499" y="2158228"/>
                </a:cubicBezTo>
                <a:cubicBezTo>
                  <a:pt x="6101169" y="2161901"/>
                  <a:pt x="6102167" y="2166572"/>
                  <a:pt x="6108834" y="2174916"/>
                </a:cubicBezTo>
                <a:cubicBezTo>
                  <a:pt x="6105160" y="2180586"/>
                  <a:pt x="6117496" y="2192603"/>
                  <a:pt x="6118495" y="2197274"/>
                </a:cubicBezTo>
                <a:cubicBezTo>
                  <a:pt x="6128835" y="2199948"/>
                  <a:pt x="6128835" y="2199948"/>
                  <a:pt x="6133507" y="2198951"/>
                </a:cubicBezTo>
                <a:cubicBezTo>
                  <a:pt x="6134505" y="2203622"/>
                  <a:pt x="6135503" y="2208293"/>
                  <a:pt x="6135503" y="2208293"/>
                </a:cubicBezTo>
                <a:cubicBezTo>
                  <a:pt x="6130831" y="2209292"/>
                  <a:pt x="6129833" y="2204621"/>
                  <a:pt x="6130831" y="2209292"/>
                </a:cubicBezTo>
                <a:cubicBezTo>
                  <a:pt x="6130831" y="2209292"/>
                  <a:pt x="6130831" y="2209292"/>
                  <a:pt x="6131829" y="2213962"/>
                </a:cubicBezTo>
                <a:cubicBezTo>
                  <a:pt x="6132827" y="2218633"/>
                  <a:pt x="6132827" y="2218633"/>
                  <a:pt x="6132827" y="2218633"/>
                </a:cubicBezTo>
                <a:cubicBezTo>
                  <a:pt x="6132827" y="2218633"/>
                  <a:pt x="6129153" y="2224302"/>
                  <a:pt x="6124482" y="2225300"/>
                </a:cubicBezTo>
                <a:cubicBezTo>
                  <a:pt x="6145800" y="2279356"/>
                  <a:pt x="6185123" y="2349102"/>
                  <a:pt x="6219136" y="2371140"/>
                </a:cubicBezTo>
                <a:cubicBezTo>
                  <a:pt x="6217458" y="2386151"/>
                  <a:pt x="6223127" y="2389824"/>
                  <a:pt x="6233467" y="2392499"/>
                </a:cubicBezTo>
                <a:cubicBezTo>
                  <a:pt x="6235463" y="2401842"/>
                  <a:pt x="6237459" y="2411185"/>
                  <a:pt x="6244127" y="2419528"/>
                </a:cubicBezTo>
                <a:cubicBezTo>
                  <a:pt x="6250794" y="2427871"/>
                  <a:pt x="6253787" y="2441885"/>
                  <a:pt x="6260453" y="2450229"/>
                </a:cubicBezTo>
                <a:cubicBezTo>
                  <a:pt x="6268118" y="2463244"/>
                  <a:pt x="6272110" y="2481928"/>
                  <a:pt x="6279775" y="2494943"/>
                </a:cubicBezTo>
                <a:cubicBezTo>
                  <a:pt x="6281771" y="2504286"/>
                  <a:pt x="6289436" y="2517300"/>
                  <a:pt x="6295105" y="2520973"/>
                </a:cubicBezTo>
                <a:cubicBezTo>
                  <a:pt x="6296102" y="2525645"/>
                  <a:pt x="6296102" y="2525645"/>
                  <a:pt x="6296102" y="2525645"/>
                </a:cubicBezTo>
                <a:cubicBezTo>
                  <a:pt x="6303768" y="2538660"/>
                  <a:pt x="6305764" y="2548001"/>
                  <a:pt x="6313429" y="2561017"/>
                </a:cubicBezTo>
                <a:cubicBezTo>
                  <a:pt x="6315423" y="2570357"/>
                  <a:pt x="6322091" y="2578701"/>
                  <a:pt x="6329756" y="2591718"/>
                </a:cubicBezTo>
                <a:cubicBezTo>
                  <a:pt x="6328079" y="2606728"/>
                  <a:pt x="6332749" y="2605731"/>
                  <a:pt x="6337421" y="2604732"/>
                </a:cubicBezTo>
                <a:cubicBezTo>
                  <a:pt x="6338419" y="2609405"/>
                  <a:pt x="6338419" y="2609405"/>
                  <a:pt x="6338419" y="2609405"/>
                </a:cubicBezTo>
                <a:cubicBezTo>
                  <a:pt x="6339417" y="2614074"/>
                  <a:pt x="6335743" y="2619745"/>
                  <a:pt x="6336741" y="2624414"/>
                </a:cubicBezTo>
                <a:cubicBezTo>
                  <a:pt x="6336741" y="2624414"/>
                  <a:pt x="6337739" y="2629085"/>
                  <a:pt x="6337739" y="2629085"/>
                </a:cubicBezTo>
                <a:cubicBezTo>
                  <a:pt x="6338737" y="2633756"/>
                  <a:pt x="6338737" y="2633756"/>
                  <a:pt x="6344407" y="2637430"/>
                </a:cubicBezTo>
                <a:cubicBezTo>
                  <a:pt x="6344407" y="2637430"/>
                  <a:pt x="6344407" y="2637430"/>
                  <a:pt x="6349077" y="2636431"/>
                </a:cubicBezTo>
                <a:cubicBezTo>
                  <a:pt x="6354067" y="2659786"/>
                  <a:pt x="6354067" y="2659786"/>
                  <a:pt x="6354067" y="2659786"/>
                </a:cubicBezTo>
                <a:cubicBezTo>
                  <a:pt x="6354067" y="2659786"/>
                  <a:pt x="6359736" y="2663460"/>
                  <a:pt x="6359736" y="2663460"/>
                </a:cubicBezTo>
                <a:cubicBezTo>
                  <a:pt x="6359736" y="2663460"/>
                  <a:pt x="6358737" y="2658789"/>
                  <a:pt x="6358737" y="2658789"/>
                </a:cubicBezTo>
                <a:cubicBezTo>
                  <a:pt x="6349077" y="2636431"/>
                  <a:pt x="6349077" y="2636431"/>
                  <a:pt x="6349077" y="2636431"/>
                </a:cubicBezTo>
                <a:cubicBezTo>
                  <a:pt x="6349077" y="2636431"/>
                  <a:pt x="6353747" y="2635434"/>
                  <a:pt x="6353747" y="2635434"/>
                </a:cubicBezTo>
                <a:cubicBezTo>
                  <a:pt x="6354747" y="2640106"/>
                  <a:pt x="6355743" y="2644776"/>
                  <a:pt x="6355743" y="2644776"/>
                </a:cubicBezTo>
                <a:cubicBezTo>
                  <a:pt x="6356743" y="2649446"/>
                  <a:pt x="6356743" y="2649446"/>
                  <a:pt x="6356743" y="2649446"/>
                </a:cubicBezTo>
                <a:cubicBezTo>
                  <a:pt x="6357740" y="2654118"/>
                  <a:pt x="6363410" y="2657790"/>
                  <a:pt x="6364407" y="2662461"/>
                </a:cubicBezTo>
                <a:cubicBezTo>
                  <a:pt x="6365405" y="2667133"/>
                  <a:pt x="6366403" y="2671804"/>
                  <a:pt x="6368398" y="2681145"/>
                </a:cubicBezTo>
                <a:cubicBezTo>
                  <a:pt x="6367401" y="2676475"/>
                  <a:pt x="6362729" y="2677473"/>
                  <a:pt x="6362729" y="2677473"/>
                </a:cubicBezTo>
                <a:cubicBezTo>
                  <a:pt x="6362729" y="2677473"/>
                  <a:pt x="6363728" y="2682144"/>
                  <a:pt x="6364725" y="2686814"/>
                </a:cubicBezTo>
                <a:cubicBezTo>
                  <a:pt x="6364725" y="2686814"/>
                  <a:pt x="6365723" y="2691487"/>
                  <a:pt x="6366721" y="2696158"/>
                </a:cubicBezTo>
                <a:cubicBezTo>
                  <a:pt x="6372391" y="2699831"/>
                  <a:pt x="6373387" y="2704500"/>
                  <a:pt x="6374387" y="2709173"/>
                </a:cubicBezTo>
                <a:cubicBezTo>
                  <a:pt x="6375383" y="2713843"/>
                  <a:pt x="6375383" y="2713843"/>
                  <a:pt x="6376383" y="2718513"/>
                </a:cubicBezTo>
                <a:cubicBezTo>
                  <a:pt x="6382051" y="2722187"/>
                  <a:pt x="6382051" y="2722187"/>
                  <a:pt x="6382051" y="2722187"/>
                </a:cubicBezTo>
                <a:cubicBezTo>
                  <a:pt x="6383050" y="2726858"/>
                  <a:pt x="6388719" y="2730531"/>
                  <a:pt x="6389717" y="2735202"/>
                </a:cubicBezTo>
                <a:cubicBezTo>
                  <a:pt x="6390715" y="2739873"/>
                  <a:pt x="6391713" y="2744545"/>
                  <a:pt x="6391713" y="2744545"/>
                </a:cubicBezTo>
                <a:cubicBezTo>
                  <a:pt x="6387041" y="2745542"/>
                  <a:pt x="6387041" y="2745542"/>
                  <a:pt x="6388038" y="2750212"/>
                </a:cubicBezTo>
                <a:cubicBezTo>
                  <a:pt x="6388038" y="2750212"/>
                  <a:pt x="6389037" y="2754885"/>
                  <a:pt x="6393708" y="2753886"/>
                </a:cubicBezTo>
                <a:cubicBezTo>
                  <a:pt x="6393708" y="2753886"/>
                  <a:pt x="6394705" y="2758557"/>
                  <a:pt x="6391033" y="2764226"/>
                </a:cubicBezTo>
                <a:cubicBezTo>
                  <a:pt x="6397701" y="2772572"/>
                  <a:pt x="6397701" y="2772572"/>
                  <a:pt x="6397701" y="2772572"/>
                </a:cubicBezTo>
                <a:cubicBezTo>
                  <a:pt x="6397701" y="2772572"/>
                  <a:pt x="6396703" y="2767899"/>
                  <a:pt x="6401373" y="2766901"/>
                </a:cubicBezTo>
                <a:cubicBezTo>
                  <a:pt x="6402371" y="2771573"/>
                  <a:pt x="6403369" y="2776243"/>
                  <a:pt x="6404367" y="2780914"/>
                </a:cubicBezTo>
                <a:cubicBezTo>
                  <a:pt x="6405364" y="2785585"/>
                  <a:pt x="6405364" y="2785585"/>
                  <a:pt x="6405364" y="2785585"/>
                </a:cubicBezTo>
                <a:cubicBezTo>
                  <a:pt x="6412031" y="2793929"/>
                  <a:pt x="6413030" y="2798601"/>
                  <a:pt x="6414027" y="2803272"/>
                </a:cubicBezTo>
                <a:cubicBezTo>
                  <a:pt x="6416023" y="2812613"/>
                  <a:pt x="6417022" y="2817284"/>
                  <a:pt x="6418019" y="2821954"/>
                </a:cubicBezTo>
                <a:cubicBezTo>
                  <a:pt x="6419017" y="2826627"/>
                  <a:pt x="6419017" y="2826627"/>
                  <a:pt x="6421013" y="2835968"/>
                </a:cubicBezTo>
                <a:cubicBezTo>
                  <a:pt x="6417341" y="2841638"/>
                  <a:pt x="6425005" y="2854652"/>
                  <a:pt x="6427000" y="2863995"/>
                </a:cubicBezTo>
                <a:cubicBezTo>
                  <a:pt x="6427999" y="2868666"/>
                  <a:pt x="6424325" y="2874335"/>
                  <a:pt x="6425323" y="2879006"/>
                </a:cubicBezTo>
                <a:cubicBezTo>
                  <a:pt x="6425323" y="2879006"/>
                  <a:pt x="6419655" y="2875334"/>
                  <a:pt x="6419655" y="2875334"/>
                </a:cubicBezTo>
                <a:cubicBezTo>
                  <a:pt x="6418657" y="2870661"/>
                  <a:pt x="6413985" y="2871660"/>
                  <a:pt x="6413985" y="2871660"/>
                </a:cubicBezTo>
                <a:cubicBezTo>
                  <a:pt x="6413985" y="2871660"/>
                  <a:pt x="6413985" y="2871660"/>
                  <a:pt x="6414983" y="2876331"/>
                </a:cubicBezTo>
                <a:cubicBezTo>
                  <a:pt x="6415981" y="2881001"/>
                  <a:pt x="6415981" y="2881001"/>
                  <a:pt x="6415981" y="2881001"/>
                </a:cubicBezTo>
                <a:cubicBezTo>
                  <a:pt x="6416979" y="2885672"/>
                  <a:pt x="6416979" y="2885672"/>
                  <a:pt x="6421651" y="2884673"/>
                </a:cubicBezTo>
                <a:cubicBezTo>
                  <a:pt x="6421651" y="2884673"/>
                  <a:pt x="6427318" y="2888347"/>
                  <a:pt x="6427318" y="2888347"/>
                </a:cubicBezTo>
                <a:cubicBezTo>
                  <a:pt x="6431991" y="2887350"/>
                  <a:pt x="6431991" y="2887350"/>
                  <a:pt x="6431991" y="2887350"/>
                </a:cubicBezTo>
                <a:cubicBezTo>
                  <a:pt x="6430992" y="2882679"/>
                  <a:pt x="6433667" y="2872339"/>
                  <a:pt x="6431673" y="2862996"/>
                </a:cubicBezTo>
                <a:cubicBezTo>
                  <a:pt x="6430674" y="2858326"/>
                  <a:pt x="6430674" y="2858326"/>
                  <a:pt x="6430674" y="2858326"/>
                </a:cubicBezTo>
                <a:cubicBezTo>
                  <a:pt x="6429677" y="2853655"/>
                  <a:pt x="6423009" y="2845311"/>
                  <a:pt x="6426681" y="2839641"/>
                </a:cubicBezTo>
                <a:cubicBezTo>
                  <a:pt x="6425685" y="2834970"/>
                  <a:pt x="6425685" y="2834970"/>
                  <a:pt x="6424687" y="2830300"/>
                </a:cubicBezTo>
                <a:cubicBezTo>
                  <a:pt x="6430354" y="2833972"/>
                  <a:pt x="6432351" y="2843315"/>
                  <a:pt x="6434347" y="2852656"/>
                </a:cubicBezTo>
                <a:cubicBezTo>
                  <a:pt x="6436343" y="2861998"/>
                  <a:pt x="6438339" y="2871341"/>
                  <a:pt x="6445005" y="2879684"/>
                </a:cubicBezTo>
                <a:cubicBezTo>
                  <a:pt x="6446003" y="2884355"/>
                  <a:pt x="6441332" y="2885354"/>
                  <a:pt x="6442331" y="2890025"/>
                </a:cubicBezTo>
                <a:cubicBezTo>
                  <a:pt x="6444325" y="2899366"/>
                  <a:pt x="6444325" y="2899366"/>
                  <a:pt x="6444325" y="2899366"/>
                </a:cubicBezTo>
                <a:cubicBezTo>
                  <a:pt x="6446321" y="2908707"/>
                  <a:pt x="6447319" y="2913380"/>
                  <a:pt x="6449315" y="2922721"/>
                </a:cubicBezTo>
                <a:cubicBezTo>
                  <a:pt x="6443648" y="2919049"/>
                  <a:pt x="6443648" y="2919049"/>
                  <a:pt x="6443648" y="2919049"/>
                </a:cubicBezTo>
                <a:cubicBezTo>
                  <a:pt x="6442649" y="2914378"/>
                  <a:pt x="6442649" y="2914378"/>
                  <a:pt x="6438977" y="2920046"/>
                </a:cubicBezTo>
                <a:cubicBezTo>
                  <a:pt x="6438977" y="2920046"/>
                  <a:pt x="6438977" y="2920046"/>
                  <a:pt x="6439974" y="2924716"/>
                </a:cubicBezTo>
                <a:cubicBezTo>
                  <a:pt x="6439974" y="2924716"/>
                  <a:pt x="6440971" y="2929388"/>
                  <a:pt x="6440971" y="2929388"/>
                </a:cubicBezTo>
                <a:cubicBezTo>
                  <a:pt x="6446641" y="2933062"/>
                  <a:pt x="6446641" y="2933062"/>
                  <a:pt x="6446641" y="2933062"/>
                </a:cubicBezTo>
                <a:cubicBezTo>
                  <a:pt x="6446641" y="2933062"/>
                  <a:pt x="6447639" y="2937733"/>
                  <a:pt x="6447639" y="2937733"/>
                </a:cubicBezTo>
                <a:cubicBezTo>
                  <a:pt x="6447639" y="2937733"/>
                  <a:pt x="6447639" y="2937733"/>
                  <a:pt x="6448636" y="2942403"/>
                </a:cubicBezTo>
                <a:cubicBezTo>
                  <a:pt x="6449635" y="2947074"/>
                  <a:pt x="6456301" y="2955418"/>
                  <a:pt x="6457299" y="2960089"/>
                </a:cubicBezTo>
                <a:cubicBezTo>
                  <a:pt x="6460291" y="2974102"/>
                  <a:pt x="6465961" y="2977776"/>
                  <a:pt x="6462289" y="2983446"/>
                </a:cubicBezTo>
                <a:cubicBezTo>
                  <a:pt x="6457619" y="2984443"/>
                  <a:pt x="6458617" y="2989113"/>
                  <a:pt x="6458617" y="2989113"/>
                </a:cubicBezTo>
                <a:cubicBezTo>
                  <a:pt x="6458617" y="2989113"/>
                  <a:pt x="6453944" y="2990112"/>
                  <a:pt x="6452947" y="2985442"/>
                </a:cubicBezTo>
                <a:cubicBezTo>
                  <a:pt x="6448955" y="2966757"/>
                  <a:pt x="6444963" y="2948073"/>
                  <a:pt x="6436301" y="2930386"/>
                </a:cubicBezTo>
                <a:cubicBezTo>
                  <a:pt x="6435303" y="2925715"/>
                  <a:pt x="6435303" y="2925715"/>
                  <a:pt x="6435303" y="2925715"/>
                </a:cubicBezTo>
                <a:cubicBezTo>
                  <a:pt x="6430633" y="2926712"/>
                  <a:pt x="6431630" y="2931384"/>
                  <a:pt x="6431630" y="2931384"/>
                </a:cubicBezTo>
                <a:cubicBezTo>
                  <a:pt x="6440292" y="2949070"/>
                  <a:pt x="6444285" y="2967756"/>
                  <a:pt x="6448275" y="2986439"/>
                </a:cubicBezTo>
                <a:cubicBezTo>
                  <a:pt x="6443605" y="2987437"/>
                  <a:pt x="6438934" y="2988434"/>
                  <a:pt x="6436259" y="2998774"/>
                </a:cubicBezTo>
                <a:cubicBezTo>
                  <a:pt x="6441249" y="3022129"/>
                  <a:pt x="6432905" y="3028797"/>
                  <a:pt x="6437895" y="3052152"/>
                </a:cubicBezTo>
                <a:cubicBezTo>
                  <a:pt x="6427511" y="3117864"/>
                  <a:pt x="6434137" y="3194596"/>
                  <a:pt x="6440443" y="3246975"/>
                </a:cubicBezTo>
                <a:cubicBezTo>
                  <a:pt x="6441441" y="3251646"/>
                  <a:pt x="6441441" y="3251646"/>
                  <a:pt x="6441441" y="3251646"/>
                </a:cubicBezTo>
                <a:cubicBezTo>
                  <a:pt x="6441441" y="3251646"/>
                  <a:pt x="6442439" y="3256318"/>
                  <a:pt x="6442439" y="3256318"/>
                </a:cubicBezTo>
                <a:cubicBezTo>
                  <a:pt x="6447110" y="3255320"/>
                  <a:pt x="6447110" y="3255320"/>
                  <a:pt x="6446113" y="3250648"/>
                </a:cubicBezTo>
                <a:cubicBezTo>
                  <a:pt x="6439805" y="3198269"/>
                  <a:pt x="6434179" y="3126208"/>
                  <a:pt x="6444561" y="3060496"/>
                </a:cubicBezTo>
                <a:cubicBezTo>
                  <a:pt x="6445559" y="3065167"/>
                  <a:pt x="6445559" y="3065167"/>
                  <a:pt x="6445559" y="3065167"/>
                </a:cubicBezTo>
                <a:cubicBezTo>
                  <a:pt x="6450230" y="3064168"/>
                  <a:pt x="6449231" y="3059497"/>
                  <a:pt x="6452905" y="3053828"/>
                </a:cubicBezTo>
                <a:cubicBezTo>
                  <a:pt x="6453903" y="3058500"/>
                  <a:pt x="6454901" y="3063171"/>
                  <a:pt x="6455899" y="3067841"/>
                </a:cubicBezTo>
                <a:cubicBezTo>
                  <a:pt x="6455899" y="3067841"/>
                  <a:pt x="6455899" y="3067841"/>
                  <a:pt x="6451227" y="3068840"/>
                </a:cubicBezTo>
                <a:cubicBezTo>
                  <a:pt x="6452226" y="3073511"/>
                  <a:pt x="6452226" y="3073511"/>
                  <a:pt x="6452226" y="3073511"/>
                </a:cubicBezTo>
                <a:cubicBezTo>
                  <a:pt x="6452226" y="3073511"/>
                  <a:pt x="6452226" y="3073511"/>
                  <a:pt x="6453223" y="3078181"/>
                </a:cubicBezTo>
                <a:cubicBezTo>
                  <a:pt x="6453223" y="3078181"/>
                  <a:pt x="6457895" y="3077183"/>
                  <a:pt x="6457895" y="3077183"/>
                </a:cubicBezTo>
                <a:cubicBezTo>
                  <a:pt x="6455219" y="3087523"/>
                  <a:pt x="6457215" y="3096865"/>
                  <a:pt x="6458213" y="3101536"/>
                </a:cubicBezTo>
                <a:cubicBezTo>
                  <a:pt x="6459212" y="3106207"/>
                  <a:pt x="6459212" y="3106207"/>
                  <a:pt x="6460209" y="3110879"/>
                </a:cubicBezTo>
                <a:cubicBezTo>
                  <a:pt x="6461207" y="3115548"/>
                  <a:pt x="6462205" y="3120221"/>
                  <a:pt x="6463203" y="3124891"/>
                </a:cubicBezTo>
                <a:lnTo>
                  <a:pt x="6464201" y="3129561"/>
                </a:lnTo>
                <a:cubicBezTo>
                  <a:pt x="6459529" y="3130560"/>
                  <a:pt x="6459529" y="3130560"/>
                  <a:pt x="6460527" y="3135231"/>
                </a:cubicBezTo>
                <a:cubicBezTo>
                  <a:pt x="6461525" y="3139903"/>
                  <a:pt x="6461525" y="3139903"/>
                  <a:pt x="6462523" y="3144574"/>
                </a:cubicBezTo>
                <a:cubicBezTo>
                  <a:pt x="6462523" y="3144574"/>
                  <a:pt x="6468192" y="3148246"/>
                  <a:pt x="6468192" y="3148246"/>
                </a:cubicBezTo>
                <a:cubicBezTo>
                  <a:pt x="6480848" y="3184617"/>
                  <a:pt x="6488831" y="3221985"/>
                  <a:pt x="6492143" y="3260351"/>
                </a:cubicBezTo>
                <a:cubicBezTo>
                  <a:pt x="6491463" y="3280033"/>
                  <a:pt x="6494457" y="3294046"/>
                  <a:pt x="6493779" y="3313728"/>
                </a:cubicBezTo>
                <a:cubicBezTo>
                  <a:pt x="6493779" y="3313728"/>
                  <a:pt x="6498449" y="3312730"/>
                  <a:pt x="6497452" y="3308059"/>
                </a:cubicBezTo>
                <a:cubicBezTo>
                  <a:pt x="6499767" y="3341754"/>
                  <a:pt x="6505755" y="3369779"/>
                  <a:pt x="6508067" y="3403475"/>
                </a:cubicBezTo>
                <a:cubicBezTo>
                  <a:pt x="6509067" y="3408146"/>
                  <a:pt x="6509067" y="3408146"/>
                  <a:pt x="6513737" y="3407147"/>
                </a:cubicBezTo>
                <a:cubicBezTo>
                  <a:pt x="6515734" y="3416490"/>
                  <a:pt x="6512060" y="3422158"/>
                  <a:pt x="6514056" y="3431501"/>
                </a:cubicBezTo>
                <a:cubicBezTo>
                  <a:pt x="6513059" y="3426829"/>
                  <a:pt x="6509385" y="3432498"/>
                  <a:pt x="6510383" y="3437170"/>
                </a:cubicBezTo>
                <a:cubicBezTo>
                  <a:pt x="6515053" y="3436171"/>
                  <a:pt x="6516052" y="3440844"/>
                  <a:pt x="6517049" y="3445513"/>
                </a:cubicBezTo>
                <a:cubicBezTo>
                  <a:pt x="6519045" y="3454856"/>
                  <a:pt x="6516370" y="3465195"/>
                  <a:pt x="6518367" y="3474537"/>
                </a:cubicBezTo>
                <a:cubicBezTo>
                  <a:pt x="6518367" y="3474537"/>
                  <a:pt x="6519363" y="3479209"/>
                  <a:pt x="6519363" y="3479209"/>
                </a:cubicBezTo>
                <a:cubicBezTo>
                  <a:pt x="6520363" y="3483879"/>
                  <a:pt x="6516690" y="3489549"/>
                  <a:pt x="6517687" y="3494220"/>
                </a:cubicBezTo>
                <a:cubicBezTo>
                  <a:pt x="6518686" y="3498890"/>
                  <a:pt x="6518686" y="3498890"/>
                  <a:pt x="6518686" y="3498890"/>
                </a:cubicBezTo>
                <a:cubicBezTo>
                  <a:pt x="6518686" y="3498890"/>
                  <a:pt x="6519683" y="3503561"/>
                  <a:pt x="6519683" y="3503561"/>
                </a:cubicBezTo>
                <a:cubicBezTo>
                  <a:pt x="6521001" y="3532585"/>
                  <a:pt x="6517645" y="3562608"/>
                  <a:pt x="6517965" y="3586960"/>
                </a:cubicBezTo>
                <a:cubicBezTo>
                  <a:pt x="6517965" y="3586960"/>
                  <a:pt x="6524631" y="3595304"/>
                  <a:pt x="6520957" y="3600973"/>
                </a:cubicBezTo>
                <a:cubicBezTo>
                  <a:pt x="6520957" y="3600973"/>
                  <a:pt x="6521957" y="3605644"/>
                  <a:pt x="6521957" y="3605644"/>
                </a:cubicBezTo>
                <a:cubicBezTo>
                  <a:pt x="6520957" y="3600973"/>
                  <a:pt x="6523951" y="3614987"/>
                  <a:pt x="6525949" y="3624328"/>
                </a:cubicBezTo>
                <a:cubicBezTo>
                  <a:pt x="6525268" y="3644009"/>
                  <a:pt x="6519918" y="3664689"/>
                  <a:pt x="6518240" y="3679702"/>
                </a:cubicBezTo>
                <a:cubicBezTo>
                  <a:pt x="6511849" y="3764098"/>
                  <a:pt x="6506139" y="3828814"/>
                  <a:pt x="6499429" y="3888856"/>
                </a:cubicBezTo>
                <a:cubicBezTo>
                  <a:pt x="6500429" y="3893529"/>
                  <a:pt x="6500429" y="3893529"/>
                  <a:pt x="6500429" y="3893529"/>
                </a:cubicBezTo>
                <a:cubicBezTo>
                  <a:pt x="6496756" y="3899196"/>
                  <a:pt x="6496756" y="3899196"/>
                  <a:pt x="6496756" y="3899196"/>
                </a:cubicBezTo>
                <a:cubicBezTo>
                  <a:pt x="6489569" y="3922712"/>
                  <a:pt x="6482133" y="3945057"/>
                  <a:pt x="6474945" y="3968571"/>
                </a:cubicBezTo>
                <a:lnTo>
                  <a:pt x="6456817" y="4036740"/>
                </a:lnTo>
                <a:lnTo>
                  <a:pt x="6457067" y="4035275"/>
                </a:lnTo>
                <a:cubicBezTo>
                  <a:pt x="6457936" y="4028984"/>
                  <a:pt x="6458565" y="4023355"/>
                  <a:pt x="6458983" y="4019603"/>
                </a:cubicBezTo>
                <a:cubicBezTo>
                  <a:pt x="6457986" y="4014933"/>
                  <a:pt x="6461660" y="4009263"/>
                  <a:pt x="6461660" y="4009263"/>
                </a:cubicBezTo>
                <a:cubicBezTo>
                  <a:pt x="6467009" y="3988583"/>
                  <a:pt x="6474355" y="3977246"/>
                  <a:pt x="6468688" y="3973572"/>
                </a:cubicBezTo>
                <a:cubicBezTo>
                  <a:pt x="6477032" y="3966905"/>
                  <a:pt x="6480385" y="3936883"/>
                  <a:pt x="6480067" y="3912531"/>
                </a:cubicBezTo>
                <a:cubicBezTo>
                  <a:pt x="6479069" y="3907860"/>
                  <a:pt x="6478071" y="3903188"/>
                  <a:pt x="6482742" y="3902189"/>
                </a:cubicBezTo>
                <a:cubicBezTo>
                  <a:pt x="6482742" y="3902189"/>
                  <a:pt x="6486415" y="3896521"/>
                  <a:pt x="6485417" y="3891851"/>
                </a:cubicBezTo>
                <a:cubicBezTo>
                  <a:pt x="6484419" y="3887180"/>
                  <a:pt x="6483421" y="3882508"/>
                  <a:pt x="6479749" y="3888177"/>
                </a:cubicBezTo>
                <a:cubicBezTo>
                  <a:pt x="6475079" y="3889174"/>
                  <a:pt x="6472402" y="3899516"/>
                  <a:pt x="6469727" y="3909856"/>
                </a:cubicBezTo>
                <a:cubicBezTo>
                  <a:pt x="6470724" y="3914527"/>
                  <a:pt x="6470724" y="3914527"/>
                  <a:pt x="6470724" y="3914527"/>
                </a:cubicBezTo>
                <a:cubicBezTo>
                  <a:pt x="6460023" y="3955887"/>
                  <a:pt x="6453675" y="3971894"/>
                  <a:pt x="6451319" y="4006588"/>
                </a:cubicBezTo>
                <a:cubicBezTo>
                  <a:pt x="6451319" y="4006588"/>
                  <a:pt x="6452317" y="4011259"/>
                  <a:pt x="6452317" y="4011259"/>
                </a:cubicBezTo>
                <a:cubicBezTo>
                  <a:pt x="6448645" y="4016928"/>
                  <a:pt x="6442295" y="4032937"/>
                  <a:pt x="6438623" y="4038605"/>
                </a:cubicBezTo>
                <a:cubicBezTo>
                  <a:pt x="6445290" y="4046951"/>
                  <a:pt x="6435947" y="4048945"/>
                  <a:pt x="6430597" y="4069625"/>
                </a:cubicBezTo>
                <a:cubicBezTo>
                  <a:pt x="6427083" y="4087471"/>
                  <a:pt x="6423151" y="4109069"/>
                  <a:pt x="6417467" y="4131042"/>
                </a:cubicBezTo>
                <a:lnTo>
                  <a:pt x="6397652" y="4184394"/>
                </a:lnTo>
                <a:lnTo>
                  <a:pt x="6395501" y="4179691"/>
                </a:lnTo>
                <a:cubicBezTo>
                  <a:pt x="6374101" y="4262411"/>
                  <a:pt x="6346031" y="4336787"/>
                  <a:pt x="6310617" y="4422501"/>
                </a:cubicBezTo>
                <a:cubicBezTo>
                  <a:pt x="6310617" y="4422501"/>
                  <a:pt x="6305947" y="4423498"/>
                  <a:pt x="6305947" y="4423498"/>
                </a:cubicBezTo>
                <a:cubicBezTo>
                  <a:pt x="6306945" y="4428171"/>
                  <a:pt x="6306945" y="4428171"/>
                  <a:pt x="6306945" y="4428171"/>
                </a:cubicBezTo>
                <a:cubicBezTo>
                  <a:pt x="6306945" y="4428171"/>
                  <a:pt x="6306945" y="4428171"/>
                  <a:pt x="6307942" y="4432841"/>
                </a:cubicBezTo>
                <a:cubicBezTo>
                  <a:pt x="6304269" y="4438509"/>
                  <a:pt x="6295926" y="4445177"/>
                  <a:pt x="6292252" y="4450844"/>
                </a:cubicBezTo>
                <a:cubicBezTo>
                  <a:pt x="6304588" y="4462863"/>
                  <a:pt x="6277879" y="4497874"/>
                  <a:pt x="6268855" y="4524223"/>
                </a:cubicBezTo>
                <a:cubicBezTo>
                  <a:pt x="6263187" y="4520549"/>
                  <a:pt x="6270533" y="4509212"/>
                  <a:pt x="6265862" y="4510210"/>
                </a:cubicBezTo>
                <a:cubicBezTo>
                  <a:pt x="6247495" y="4538557"/>
                  <a:pt x="6276202" y="4512886"/>
                  <a:pt x="6258833" y="4545902"/>
                </a:cubicBezTo>
                <a:cubicBezTo>
                  <a:pt x="6254163" y="4546899"/>
                  <a:pt x="6257837" y="4541229"/>
                  <a:pt x="6253165" y="4542228"/>
                </a:cubicBezTo>
                <a:cubicBezTo>
                  <a:pt x="6241465" y="4578916"/>
                  <a:pt x="6218430" y="4608260"/>
                  <a:pt x="6214077" y="4633610"/>
                </a:cubicBezTo>
                <a:cubicBezTo>
                  <a:pt x="6214077" y="4633610"/>
                  <a:pt x="6216752" y="4623271"/>
                  <a:pt x="6209407" y="4634608"/>
                </a:cubicBezTo>
                <a:cubicBezTo>
                  <a:pt x="6209725" y="4658961"/>
                  <a:pt x="6184693" y="4678962"/>
                  <a:pt x="6170001" y="4701637"/>
                </a:cubicBezTo>
                <a:cubicBezTo>
                  <a:pt x="6161976" y="4732658"/>
                  <a:pt x="6143609" y="4761003"/>
                  <a:pt x="6124246" y="4784676"/>
                </a:cubicBezTo>
                <a:cubicBezTo>
                  <a:pt x="6114564" y="4796514"/>
                  <a:pt x="6104883" y="4808350"/>
                  <a:pt x="6094991" y="4822064"/>
                </a:cubicBezTo>
                <a:lnTo>
                  <a:pt x="6068122" y="4864900"/>
                </a:lnTo>
                <a:lnTo>
                  <a:pt x="6067155" y="4860368"/>
                </a:lnTo>
                <a:cubicBezTo>
                  <a:pt x="6062481" y="4861367"/>
                  <a:pt x="6062481" y="4861367"/>
                  <a:pt x="6063481" y="4866038"/>
                </a:cubicBezTo>
                <a:cubicBezTo>
                  <a:pt x="6060805" y="4876378"/>
                  <a:pt x="6060805" y="4876378"/>
                  <a:pt x="6060805" y="4876378"/>
                </a:cubicBezTo>
                <a:cubicBezTo>
                  <a:pt x="6059807" y="4871705"/>
                  <a:pt x="6059807" y="4871705"/>
                  <a:pt x="6059807" y="4871705"/>
                </a:cubicBezTo>
                <a:cubicBezTo>
                  <a:pt x="6051464" y="4878373"/>
                  <a:pt x="6044117" y="4889711"/>
                  <a:pt x="6037769" y="4905720"/>
                </a:cubicBezTo>
                <a:cubicBezTo>
                  <a:pt x="6037769" y="4905720"/>
                  <a:pt x="6038767" y="4910391"/>
                  <a:pt x="6038767" y="4910391"/>
                </a:cubicBezTo>
                <a:cubicBezTo>
                  <a:pt x="6039766" y="4915063"/>
                  <a:pt x="6035093" y="4916060"/>
                  <a:pt x="6036091" y="4920731"/>
                </a:cubicBezTo>
                <a:cubicBezTo>
                  <a:pt x="6035093" y="4916060"/>
                  <a:pt x="6038767" y="4910391"/>
                  <a:pt x="6034095" y="4911389"/>
                </a:cubicBezTo>
                <a:cubicBezTo>
                  <a:pt x="6030421" y="4917059"/>
                  <a:pt x="6026751" y="4922726"/>
                  <a:pt x="6023077" y="4928396"/>
                </a:cubicBezTo>
                <a:cubicBezTo>
                  <a:pt x="6022078" y="4923723"/>
                  <a:pt x="6022078" y="4923723"/>
                  <a:pt x="6022078" y="4923723"/>
                </a:cubicBezTo>
                <a:cubicBezTo>
                  <a:pt x="6022078" y="4923723"/>
                  <a:pt x="6022078" y="4923723"/>
                  <a:pt x="6021081" y="4919054"/>
                </a:cubicBezTo>
                <a:cubicBezTo>
                  <a:pt x="6021081" y="4919054"/>
                  <a:pt x="6021081" y="4919054"/>
                  <a:pt x="6016409" y="4920052"/>
                </a:cubicBezTo>
                <a:cubicBezTo>
                  <a:pt x="6017407" y="4924722"/>
                  <a:pt x="6018405" y="4929393"/>
                  <a:pt x="6018405" y="4929393"/>
                </a:cubicBezTo>
                <a:cubicBezTo>
                  <a:pt x="6018405" y="4929393"/>
                  <a:pt x="6018405" y="4929393"/>
                  <a:pt x="6019404" y="4934065"/>
                </a:cubicBezTo>
                <a:cubicBezTo>
                  <a:pt x="6019404" y="4934065"/>
                  <a:pt x="6015730" y="4939735"/>
                  <a:pt x="6015730" y="4939735"/>
                </a:cubicBezTo>
                <a:cubicBezTo>
                  <a:pt x="6015730" y="4939735"/>
                  <a:pt x="6011059" y="4940732"/>
                  <a:pt x="6011059" y="4940732"/>
                </a:cubicBezTo>
                <a:cubicBezTo>
                  <a:pt x="6011059" y="4940732"/>
                  <a:pt x="6006389" y="4941731"/>
                  <a:pt x="6006389" y="4941731"/>
                </a:cubicBezTo>
                <a:cubicBezTo>
                  <a:pt x="6007386" y="4946401"/>
                  <a:pt x="6007386" y="4946401"/>
                  <a:pt x="6007386" y="4946401"/>
                </a:cubicBezTo>
                <a:cubicBezTo>
                  <a:pt x="6008383" y="4951071"/>
                  <a:pt x="6008383" y="4951071"/>
                  <a:pt x="6008383" y="4951071"/>
                </a:cubicBezTo>
                <a:cubicBezTo>
                  <a:pt x="6004711" y="4956741"/>
                  <a:pt x="6001039" y="4962408"/>
                  <a:pt x="5996367" y="4963407"/>
                </a:cubicBezTo>
                <a:cubicBezTo>
                  <a:pt x="5996367" y="4963407"/>
                  <a:pt x="5996367" y="4963407"/>
                  <a:pt x="5995370" y="4958737"/>
                </a:cubicBezTo>
                <a:cubicBezTo>
                  <a:pt x="5995370" y="4958737"/>
                  <a:pt x="5991696" y="4964406"/>
                  <a:pt x="5991696" y="4964406"/>
                </a:cubicBezTo>
                <a:cubicBezTo>
                  <a:pt x="5988022" y="4970074"/>
                  <a:pt x="5988022" y="4970074"/>
                  <a:pt x="5988022" y="4970074"/>
                </a:cubicBezTo>
                <a:cubicBezTo>
                  <a:pt x="5988022" y="4970074"/>
                  <a:pt x="5984349" y="4975743"/>
                  <a:pt x="5985347" y="4980414"/>
                </a:cubicBezTo>
                <a:cubicBezTo>
                  <a:pt x="5984349" y="4975743"/>
                  <a:pt x="5984349" y="4975743"/>
                  <a:pt x="5984349" y="4975743"/>
                </a:cubicBezTo>
                <a:cubicBezTo>
                  <a:pt x="5979678" y="4976742"/>
                  <a:pt x="5976005" y="4982409"/>
                  <a:pt x="5967661" y="4989076"/>
                </a:cubicBezTo>
                <a:cubicBezTo>
                  <a:pt x="5970335" y="4978738"/>
                  <a:pt x="5962990" y="4990075"/>
                  <a:pt x="5965665" y="4979735"/>
                </a:cubicBezTo>
                <a:cubicBezTo>
                  <a:pt x="5949975" y="4997740"/>
                  <a:pt x="5949975" y="4997740"/>
                  <a:pt x="5949975" y="4997740"/>
                </a:cubicBezTo>
                <a:cubicBezTo>
                  <a:pt x="5949975" y="4997740"/>
                  <a:pt x="5948977" y="4993069"/>
                  <a:pt x="5948977" y="4993069"/>
                </a:cubicBezTo>
                <a:cubicBezTo>
                  <a:pt x="5952650" y="4987400"/>
                  <a:pt x="5952650" y="4987400"/>
                  <a:pt x="5952650" y="4987400"/>
                </a:cubicBezTo>
                <a:cubicBezTo>
                  <a:pt x="5952650" y="4987400"/>
                  <a:pt x="5957320" y="4986401"/>
                  <a:pt x="5951653" y="4982729"/>
                </a:cubicBezTo>
                <a:cubicBezTo>
                  <a:pt x="5951653" y="4982729"/>
                  <a:pt x="5951653" y="4982729"/>
                  <a:pt x="5947981" y="4988397"/>
                </a:cubicBezTo>
                <a:cubicBezTo>
                  <a:pt x="5944307" y="4994067"/>
                  <a:pt x="5944307" y="4994067"/>
                  <a:pt x="5944307" y="4994067"/>
                </a:cubicBezTo>
                <a:cubicBezTo>
                  <a:pt x="5945303" y="4998739"/>
                  <a:pt x="5940633" y="4999736"/>
                  <a:pt x="5941631" y="5004407"/>
                </a:cubicBezTo>
                <a:cubicBezTo>
                  <a:pt x="5941631" y="5004407"/>
                  <a:pt x="5947299" y="5008080"/>
                  <a:pt x="5950973" y="5002410"/>
                </a:cubicBezTo>
                <a:cubicBezTo>
                  <a:pt x="5947299" y="5008080"/>
                  <a:pt x="5947299" y="5008080"/>
                  <a:pt x="5947299" y="5008080"/>
                </a:cubicBezTo>
                <a:cubicBezTo>
                  <a:pt x="5937278" y="5029757"/>
                  <a:pt x="5931609" y="5026085"/>
                  <a:pt x="5929931" y="5041095"/>
                </a:cubicBezTo>
                <a:cubicBezTo>
                  <a:pt x="5937278" y="5029757"/>
                  <a:pt x="5942948" y="5033431"/>
                  <a:pt x="5947618" y="5032434"/>
                </a:cubicBezTo>
                <a:cubicBezTo>
                  <a:pt x="5943945" y="5038101"/>
                  <a:pt x="5935601" y="5044769"/>
                  <a:pt x="5931927" y="5050439"/>
                </a:cubicBezTo>
                <a:cubicBezTo>
                  <a:pt x="5928255" y="5056106"/>
                  <a:pt x="5924583" y="5061776"/>
                  <a:pt x="5920909" y="5067445"/>
                </a:cubicBezTo>
                <a:cubicBezTo>
                  <a:pt x="5916239" y="5068442"/>
                  <a:pt x="5912565" y="5074111"/>
                  <a:pt x="5912565" y="5074111"/>
                </a:cubicBezTo>
                <a:cubicBezTo>
                  <a:pt x="5907893" y="5075110"/>
                  <a:pt x="5911567" y="5069441"/>
                  <a:pt x="5910570" y="5064770"/>
                </a:cubicBezTo>
                <a:cubicBezTo>
                  <a:pt x="5895877" y="5087444"/>
                  <a:pt x="5895877" y="5087444"/>
                  <a:pt x="5895877" y="5087444"/>
                </a:cubicBezTo>
                <a:cubicBezTo>
                  <a:pt x="5890208" y="5083772"/>
                  <a:pt x="5890208" y="5083772"/>
                  <a:pt x="5890208" y="5083772"/>
                </a:cubicBezTo>
                <a:cubicBezTo>
                  <a:pt x="5890208" y="5083772"/>
                  <a:pt x="5889209" y="5079100"/>
                  <a:pt x="5893881" y="5078103"/>
                </a:cubicBezTo>
                <a:cubicBezTo>
                  <a:pt x="5892882" y="5073432"/>
                  <a:pt x="5892882" y="5073432"/>
                  <a:pt x="5892882" y="5073432"/>
                </a:cubicBezTo>
                <a:cubicBezTo>
                  <a:pt x="5892882" y="5073432"/>
                  <a:pt x="5892882" y="5073432"/>
                  <a:pt x="5888211" y="5074430"/>
                </a:cubicBezTo>
                <a:cubicBezTo>
                  <a:pt x="5883541" y="5075428"/>
                  <a:pt x="5884539" y="5080098"/>
                  <a:pt x="5884539" y="5080098"/>
                </a:cubicBezTo>
                <a:cubicBezTo>
                  <a:pt x="5885537" y="5084770"/>
                  <a:pt x="5885537" y="5084770"/>
                  <a:pt x="5885537" y="5084770"/>
                </a:cubicBezTo>
                <a:cubicBezTo>
                  <a:pt x="5885537" y="5084770"/>
                  <a:pt x="5880865" y="5085768"/>
                  <a:pt x="5881863" y="5090439"/>
                </a:cubicBezTo>
                <a:cubicBezTo>
                  <a:pt x="5881863" y="5090439"/>
                  <a:pt x="5881863" y="5090439"/>
                  <a:pt x="5878191" y="5096109"/>
                </a:cubicBezTo>
                <a:cubicBezTo>
                  <a:pt x="5878191" y="5096109"/>
                  <a:pt x="5878191" y="5096109"/>
                  <a:pt x="5873519" y="5097107"/>
                </a:cubicBezTo>
                <a:cubicBezTo>
                  <a:pt x="5873519" y="5097107"/>
                  <a:pt x="5874517" y="5101778"/>
                  <a:pt x="5874517" y="5101778"/>
                </a:cubicBezTo>
                <a:cubicBezTo>
                  <a:pt x="5869847" y="5102775"/>
                  <a:pt x="5869847" y="5102775"/>
                  <a:pt x="5869847" y="5102775"/>
                </a:cubicBezTo>
                <a:cubicBezTo>
                  <a:pt x="5868847" y="5098105"/>
                  <a:pt x="5868847" y="5098105"/>
                  <a:pt x="5868847" y="5098105"/>
                </a:cubicBezTo>
                <a:cubicBezTo>
                  <a:pt x="5871523" y="5087764"/>
                  <a:pt x="5871523" y="5087764"/>
                  <a:pt x="5871523" y="5087764"/>
                </a:cubicBezTo>
                <a:cubicBezTo>
                  <a:pt x="5875195" y="5082095"/>
                  <a:pt x="5879868" y="5081096"/>
                  <a:pt x="5878869" y="5076427"/>
                </a:cubicBezTo>
                <a:cubicBezTo>
                  <a:pt x="5878869" y="5076427"/>
                  <a:pt x="5878869" y="5076427"/>
                  <a:pt x="5874198" y="5077424"/>
                </a:cubicBezTo>
                <a:cubicBezTo>
                  <a:pt x="5869528" y="5078423"/>
                  <a:pt x="5870525" y="5083093"/>
                  <a:pt x="5870525" y="5083093"/>
                </a:cubicBezTo>
                <a:cubicBezTo>
                  <a:pt x="5862180" y="5089760"/>
                  <a:pt x="5863179" y="5094431"/>
                  <a:pt x="5859507" y="5100100"/>
                </a:cubicBezTo>
                <a:cubicBezTo>
                  <a:pt x="5860503" y="5104770"/>
                  <a:pt x="5860503" y="5104770"/>
                  <a:pt x="5860503" y="5104770"/>
                </a:cubicBezTo>
                <a:cubicBezTo>
                  <a:pt x="5857829" y="5115111"/>
                  <a:pt x="5853159" y="5116110"/>
                  <a:pt x="5854156" y="5120780"/>
                </a:cubicBezTo>
                <a:cubicBezTo>
                  <a:pt x="5838465" y="5138783"/>
                  <a:pt x="5818104" y="5157787"/>
                  <a:pt x="5803411" y="5180463"/>
                </a:cubicBezTo>
                <a:cubicBezTo>
                  <a:pt x="5798741" y="5181460"/>
                  <a:pt x="5798741" y="5181460"/>
                  <a:pt x="5798741" y="5181460"/>
                </a:cubicBezTo>
                <a:cubicBezTo>
                  <a:pt x="5794069" y="5182459"/>
                  <a:pt x="5795068" y="5187130"/>
                  <a:pt x="5795068" y="5187130"/>
                </a:cubicBezTo>
                <a:cubicBezTo>
                  <a:pt x="5790395" y="5188128"/>
                  <a:pt x="5786723" y="5193798"/>
                  <a:pt x="5783051" y="5199465"/>
                </a:cubicBezTo>
                <a:cubicBezTo>
                  <a:pt x="5783051" y="5199465"/>
                  <a:pt x="5783051" y="5199465"/>
                  <a:pt x="5779378" y="5205135"/>
                </a:cubicBezTo>
                <a:cubicBezTo>
                  <a:pt x="5774707" y="5206133"/>
                  <a:pt x="5771033" y="5211801"/>
                  <a:pt x="5767360" y="5217470"/>
                </a:cubicBezTo>
                <a:cubicBezTo>
                  <a:pt x="5762689" y="5218469"/>
                  <a:pt x="5759016" y="5224137"/>
                  <a:pt x="5755343" y="5229806"/>
                </a:cubicBezTo>
                <a:cubicBezTo>
                  <a:pt x="5746001" y="5231802"/>
                  <a:pt x="5735979" y="5253481"/>
                  <a:pt x="5718293" y="5262142"/>
                </a:cubicBezTo>
                <a:cubicBezTo>
                  <a:pt x="5715617" y="5272484"/>
                  <a:pt x="5691583" y="5297155"/>
                  <a:pt x="5680564" y="5314161"/>
                </a:cubicBezTo>
                <a:cubicBezTo>
                  <a:pt x="5680564" y="5314161"/>
                  <a:pt x="5663876" y="5327495"/>
                  <a:pt x="5668546" y="5326497"/>
                </a:cubicBezTo>
                <a:cubicBezTo>
                  <a:pt x="5688908" y="5307495"/>
                  <a:pt x="5671541" y="5340510"/>
                  <a:pt x="5679885" y="5333842"/>
                </a:cubicBezTo>
                <a:cubicBezTo>
                  <a:pt x="5687230" y="5322506"/>
                  <a:pt x="5686233" y="5317835"/>
                  <a:pt x="5712263" y="5302506"/>
                </a:cubicBezTo>
                <a:cubicBezTo>
                  <a:pt x="5701923" y="5299829"/>
                  <a:pt x="5752987" y="5264500"/>
                  <a:pt x="5746319" y="5256155"/>
                </a:cubicBezTo>
                <a:cubicBezTo>
                  <a:pt x="5730629" y="5274159"/>
                  <a:pt x="5749991" y="5250486"/>
                  <a:pt x="5762009" y="5238151"/>
                </a:cubicBezTo>
                <a:cubicBezTo>
                  <a:pt x="5762009" y="5238151"/>
                  <a:pt x="5762009" y="5238151"/>
                  <a:pt x="5763007" y="5242821"/>
                </a:cubicBezTo>
                <a:cubicBezTo>
                  <a:pt x="5758337" y="5243820"/>
                  <a:pt x="5758337" y="5243820"/>
                  <a:pt x="5758337" y="5243820"/>
                </a:cubicBezTo>
                <a:cubicBezTo>
                  <a:pt x="5754665" y="5249489"/>
                  <a:pt x="5754665" y="5249489"/>
                  <a:pt x="5759335" y="5248491"/>
                </a:cubicBezTo>
                <a:cubicBezTo>
                  <a:pt x="5759335" y="5248491"/>
                  <a:pt x="5759335" y="5248491"/>
                  <a:pt x="5764005" y="5247493"/>
                </a:cubicBezTo>
                <a:cubicBezTo>
                  <a:pt x="5767679" y="5241824"/>
                  <a:pt x="5767679" y="5241824"/>
                  <a:pt x="5767679" y="5241824"/>
                </a:cubicBezTo>
                <a:cubicBezTo>
                  <a:pt x="5771352" y="5236154"/>
                  <a:pt x="5770353" y="5231484"/>
                  <a:pt x="5764685" y="5227811"/>
                </a:cubicBezTo>
                <a:cubicBezTo>
                  <a:pt x="5768359" y="5222141"/>
                  <a:pt x="5772031" y="5216473"/>
                  <a:pt x="5776701" y="5215474"/>
                </a:cubicBezTo>
                <a:cubicBezTo>
                  <a:pt x="5781373" y="5214476"/>
                  <a:pt x="5781373" y="5214476"/>
                  <a:pt x="5786044" y="5213479"/>
                </a:cubicBezTo>
                <a:cubicBezTo>
                  <a:pt x="5786044" y="5213479"/>
                  <a:pt x="5786044" y="5213479"/>
                  <a:pt x="5787043" y="5218150"/>
                </a:cubicBezTo>
                <a:cubicBezTo>
                  <a:pt x="5791713" y="5217152"/>
                  <a:pt x="5790713" y="5212480"/>
                  <a:pt x="5790713" y="5212480"/>
                </a:cubicBezTo>
                <a:cubicBezTo>
                  <a:pt x="5790713" y="5212480"/>
                  <a:pt x="5789717" y="5207810"/>
                  <a:pt x="5789717" y="5207810"/>
                </a:cubicBezTo>
                <a:cubicBezTo>
                  <a:pt x="5788719" y="5203139"/>
                  <a:pt x="5793391" y="5202140"/>
                  <a:pt x="5792393" y="5197469"/>
                </a:cubicBezTo>
                <a:cubicBezTo>
                  <a:pt x="5797063" y="5196472"/>
                  <a:pt x="5800735" y="5190803"/>
                  <a:pt x="5800735" y="5190803"/>
                </a:cubicBezTo>
                <a:cubicBezTo>
                  <a:pt x="5800735" y="5190803"/>
                  <a:pt x="5800735" y="5190803"/>
                  <a:pt x="5805408" y="5189806"/>
                </a:cubicBezTo>
                <a:cubicBezTo>
                  <a:pt x="5804409" y="5185134"/>
                  <a:pt x="5804409" y="5185134"/>
                  <a:pt x="5804409" y="5185134"/>
                </a:cubicBezTo>
                <a:cubicBezTo>
                  <a:pt x="5804409" y="5185134"/>
                  <a:pt x="5809081" y="5184136"/>
                  <a:pt x="5808082" y="5179466"/>
                </a:cubicBezTo>
                <a:cubicBezTo>
                  <a:pt x="5823773" y="5161461"/>
                  <a:pt x="5838465" y="5138783"/>
                  <a:pt x="5859825" y="5124453"/>
                </a:cubicBezTo>
                <a:cubicBezTo>
                  <a:pt x="5863499" y="5118782"/>
                  <a:pt x="5863499" y="5118782"/>
                  <a:pt x="5863499" y="5118782"/>
                </a:cubicBezTo>
                <a:cubicBezTo>
                  <a:pt x="5863499" y="5118782"/>
                  <a:pt x="5862500" y="5114113"/>
                  <a:pt x="5862500" y="5114113"/>
                </a:cubicBezTo>
                <a:cubicBezTo>
                  <a:pt x="5862500" y="5114113"/>
                  <a:pt x="5867171" y="5113115"/>
                  <a:pt x="5867171" y="5113115"/>
                </a:cubicBezTo>
                <a:cubicBezTo>
                  <a:pt x="5867171" y="5113115"/>
                  <a:pt x="5868169" y="5117785"/>
                  <a:pt x="5868169" y="5117785"/>
                </a:cubicBezTo>
                <a:cubicBezTo>
                  <a:pt x="5877511" y="5115790"/>
                  <a:pt x="5881183" y="5110122"/>
                  <a:pt x="5889529" y="5103454"/>
                </a:cubicBezTo>
                <a:cubicBezTo>
                  <a:pt x="5888531" y="5098783"/>
                  <a:pt x="5888531" y="5098783"/>
                  <a:pt x="5888531" y="5098783"/>
                </a:cubicBezTo>
                <a:cubicBezTo>
                  <a:pt x="5903541" y="5100459"/>
                  <a:pt x="5881183" y="5110122"/>
                  <a:pt x="5886853" y="5113794"/>
                </a:cubicBezTo>
                <a:cubicBezTo>
                  <a:pt x="5890527" y="5108126"/>
                  <a:pt x="5907214" y="5094792"/>
                  <a:pt x="5918235" y="5077785"/>
                </a:cubicBezTo>
                <a:cubicBezTo>
                  <a:pt x="5921907" y="5072115"/>
                  <a:pt x="5929254" y="5060777"/>
                  <a:pt x="5937596" y="5054110"/>
                </a:cubicBezTo>
                <a:cubicBezTo>
                  <a:pt x="5941270" y="5048441"/>
                  <a:pt x="5948617" y="5037104"/>
                  <a:pt x="5956961" y="5030438"/>
                </a:cubicBezTo>
                <a:cubicBezTo>
                  <a:pt x="5967979" y="5013430"/>
                  <a:pt x="5980995" y="5005766"/>
                  <a:pt x="5991015" y="4984087"/>
                </a:cubicBezTo>
                <a:cubicBezTo>
                  <a:pt x="5994689" y="4978418"/>
                  <a:pt x="6003035" y="4971752"/>
                  <a:pt x="6003035" y="4971752"/>
                </a:cubicBezTo>
                <a:cubicBezTo>
                  <a:pt x="6006707" y="4966084"/>
                  <a:pt x="6011377" y="4965085"/>
                  <a:pt x="6010379" y="4960413"/>
                </a:cubicBezTo>
                <a:cubicBezTo>
                  <a:pt x="6015051" y="4959416"/>
                  <a:pt x="6015051" y="4959416"/>
                  <a:pt x="6018723" y="4953747"/>
                </a:cubicBezTo>
                <a:cubicBezTo>
                  <a:pt x="6017726" y="4949076"/>
                  <a:pt x="6026070" y="4942409"/>
                  <a:pt x="6029744" y="4936740"/>
                </a:cubicBezTo>
                <a:cubicBezTo>
                  <a:pt x="6030741" y="4941410"/>
                  <a:pt x="6041761" y="4924404"/>
                  <a:pt x="6041761" y="4924404"/>
                </a:cubicBezTo>
                <a:cubicBezTo>
                  <a:pt x="6045433" y="4918735"/>
                  <a:pt x="6049105" y="4913067"/>
                  <a:pt x="6048109" y="4908395"/>
                </a:cubicBezTo>
                <a:cubicBezTo>
                  <a:pt x="6052779" y="4907398"/>
                  <a:pt x="6052779" y="4907398"/>
                  <a:pt x="6052779" y="4907398"/>
                </a:cubicBezTo>
                <a:cubicBezTo>
                  <a:pt x="6092505" y="4864720"/>
                  <a:pt x="6137579" y="4801364"/>
                  <a:pt x="6166964" y="4756012"/>
                </a:cubicBezTo>
                <a:cubicBezTo>
                  <a:pt x="6171634" y="4755014"/>
                  <a:pt x="6171634" y="4755014"/>
                  <a:pt x="6171634" y="4755014"/>
                </a:cubicBezTo>
                <a:cubicBezTo>
                  <a:pt x="6171634" y="4755014"/>
                  <a:pt x="6171634" y="4755014"/>
                  <a:pt x="6176307" y="4754017"/>
                </a:cubicBezTo>
                <a:cubicBezTo>
                  <a:pt x="6172633" y="4759686"/>
                  <a:pt x="6172633" y="4759686"/>
                  <a:pt x="6168961" y="4765354"/>
                </a:cubicBezTo>
                <a:cubicBezTo>
                  <a:pt x="6168961" y="4765354"/>
                  <a:pt x="6165287" y="4771023"/>
                  <a:pt x="6161614" y="4776693"/>
                </a:cubicBezTo>
                <a:cubicBezTo>
                  <a:pt x="6157940" y="4782362"/>
                  <a:pt x="6157940" y="4782362"/>
                  <a:pt x="6154269" y="4788031"/>
                </a:cubicBezTo>
                <a:cubicBezTo>
                  <a:pt x="6154269" y="4788031"/>
                  <a:pt x="6154269" y="4788031"/>
                  <a:pt x="6155266" y="4792702"/>
                </a:cubicBezTo>
                <a:cubicBezTo>
                  <a:pt x="6146921" y="4799369"/>
                  <a:pt x="6144247" y="4809709"/>
                  <a:pt x="6136901" y="4821047"/>
                </a:cubicBezTo>
                <a:cubicBezTo>
                  <a:pt x="6136901" y="4821047"/>
                  <a:pt x="6133227" y="4826715"/>
                  <a:pt x="6137897" y="4825717"/>
                </a:cubicBezTo>
                <a:cubicBezTo>
                  <a:pt x="6138897" y="4830389"/>
                  <a:pt x="6142571" y="4824719"/>
                  <a:pt x="6142571" y="4824719"/>
                </a:cubicBezTo>
                <a:cubicBezTo>
                  <a:pt x="6146243" y="4819049"/>
                  <a:pt x="6146243" y="4819049"/>
                  <a:pt x="6146243" y="4819049"/>
                </a:cubicBezTo>
                <a:cubicBezTo>
                  <a:pt x="6146243" y="4819049"/>
                  <a:pt x="6150913" y="4818052"/>
                  <a:pt x="6149915" y="4813382"/>
                </a:cubicBezTo>
                <a:cubicBezTo>
                  <a:pt x="6153588" y="4807712"/>
                  <a:pt x="6153588" y="4807712"/>
                  <a:pt x="6153588" y="4807712"/>
                </a:cubicBezTo>
                <a:cubicBezTo>
                  <a:pt x="6152591" y="4803042"/>
                  <a:pt x="6157262" y="4802043"/>
                  <a:pt x="6160935" y="4796376"/>
                </a:cubicBezTo>
                <a:cubicBezTo>
                  <a:pt x="6157262" y="4802043"/>
                  <a:pt x="6153192" y="4808713"/>
                  <a:pt x="6149207" y="4815058"/>
                </a:cubicBezTo>
                <a:lnTo>
                  <a:pt x="6138972" y="4830325"/>
                </a:lnTo>
                <a:lnTo>
                  <a:pt x="6138897" y="4830389"/>
                </a:lnTo>
                <a:lnTo>
                  <a:pt x="6138892" y="4830440"/>
                </a:lnTo>
                <a:lnTo>
                  <a:pt x="6137977" y="4831806"/>
                </a:lnTo>
                <a:cubicBezTo>
                  <a:pt x="6131301" y="4840559"/>
                  <a:pt x="6126879" y="4842724"/>
                  <a:pt x="6128557" y="4827713"/>
                </a:cubicBezTo>
                <a:cubicBezTo>
                  <a:pt x="6115859" y="4859731"/>
                  <a:pt x="6107514" y="4866397"/>
                  <a:pt x="6092823" y="4889075"/>
                </a:cubicBezTo>
                <a:cubicBezTo>
                  <a:pt x="6097494" y="4888076"/>
                  <a:pt x="6097494" y="4888076"/>
                  <a:pt x="6097494" y="4888076"/>
                </a:cubicBezTo>
                <a:cubicBezTo>
                  <a:pt x="6086475" y="4905082"/>
                  <a:pt x="6086475" y="4905082"/>
                  <a:pt x="6086475" y="4905082"/>
                </a:cubicBezTo>
                <a:cubicBezTo>
                  <a:pt x="6081803" y="4906081"/>
                  <a:pt x="6081803" y="4906081"/>
                  <a:pt x="6081803" y="4906081"/>
                </a:cubicBezTo>
                <a:cubicBezTo>
                  <a:pt x="6082802" y="4910751"/>
                  <a:pt x="6082802" y="4910751"/>
                  <a:pt x="6082802" y="4910751"/>
                </a:cubicBezTo>
                <a:cubicBezTo>
                  <a:pt x="6078133" y="4911750"/>
                  <a:pt x="6078133" y="4911750"/>
                  <a:pt x="6078133" y="4911750"/>
                </a:cubicBezTo>
                <a:cubicBezTo>
                  <a:pt x="6074459" y="4917418"/>
                  <a:pt x="6075455" y="4922090"/>
                  <a:pt x="6070785" y="4923087"/>
                </a:cubicBezTo>
                <a:cubicBezTo>
                  <a:pt x="6071783" y="4927760"/>
                  <a:pt x="6067111" y="4928757"/>
                  <a:pt x="6068109" y="4933427"/>
                </a:cubicBezTo>
                <a:cubicBezTo>
                  <a:pt x="6063438" y="4934426"/>
                  <a:pt x="6064437" y="4939097"/>
                  <a:pt x="6064437" y="4939097"/>
                </a:cubicBezTo>
                <a:cubicBezTo>
                  <a:pt x="6060764" y="4944766"/>
                  <a:pt x="6057090" y="4950434"/>
                  <a:pt x="6053416" y="4956103"/>
                </a:cubicBezTo>
                <a:cubicBezTo>
                  <a:pt x="6054415" y="4960774"/>
                  <a:pt x="6054415" y="4960774"/>
                  <a:pt x="6054415" y="4960774"/>
                </a:cubicBezTo>
                <a:cubicBezTo>
                  <a:pt x="6054415" y="4960774"/>
                  <a:pt x="6049743" y="4961772"/>
                  <a:pt x="6050743" y="4966443"/>
                </a:cubicBezTo>
                <a:cubicBezTo>
                  <a:pt x="6038725" y="4978779"/>
                  <a:pt x="6027705" y="4995785"/>
                  <a:pt x="6016685" y="5012793"/>
                </a:cubicBezTo>
                <a:cubicBezTo>
                  <a:pt x="6015687" y="5008121"/>
                  <a:pt x="6015687" y="5008121"/>
                  <a:pt x="6011017" y="5009120"/>
                </a:cubicBezTo>
                <a:cubicBezTo>
                  <a:pt x="6014690" y="5003451"/>
                  <a:pt x="6014690" y="5003451"/>
                  <a:pt x="6014690" y="5003451"/>
                </a:cubicBezTo>
                <a:cubicBezTo>
                  <a:pt x="6019361" y="5002453"/>
                  <a:pt x="6018363" y="4997783"/>
                  <a:pt x="6018363" y="4997783"/>
                </a:cubicBezTo>
                <a:cubicBezTo>
                  <a:pt x="6018363" y="4997783"/>
                  <a:pt x="6013693" y="4998780"/>
                  <a:pt x="6013693" y="4998780"/>
                </a:cubicBezTo>
                <a:cubicBezTo>
                  <a:pt x="6010020" y="5004450"/>
                  <a:pt x="6010020" y="5004450"/>
                  <a:pt x="6010020" y="5004450"/>
                </a:cubicBezTo>
                <a:cubicBezTo>
                  <a:pt x="6010020" y="5004450"/>
                  <a:pt x="6006346" y="5010117"/>
                  <a:pt x="6006346" y="5010117"/>
                </a:cubicBezTo>
                <a:cubicBezTo>
                  <a:pt x="6007345" y="5014789"/>
                  <a:pt x="6007345" y="5014789"/>
                  <a:pt x="6007345" y="5014789"/>
                </a:cubicBezTo>
                <a:cubicBezTo>
                  <a:pt x="6007345" y="5014789"/>
                  <a:pt x="6007345" y="5014789"/>
                  <a:pt x="6008343" y="5019460"/>
                </a:cubicBezTo>
                <a:cubicBezTo>
                  <a:pt x="5996325" y="5031796"/>
                  <a:pt x="5985305" y="5048802"/>
                  <a:pt x="5973287" y="5061138"/>
                </a:cubicBezTo>
                <a:cubicBezTo>
                  <a:pt x="5973287" y="5061138"/>
                  <a:pt x="5973287" y="5061138"/>
                  <a:pt x="5974287" y="5065808"/>
                </a:cubicBezTo>
                <a:cubicBezTo>
                  <a:pt x="5946578" y="5096150"/>
                  <a:pt x="5923543" y="5125493"/>
                  <a:pt x="5894837" y="5151162"/>
                </a:cubicBezTo>
                <a:cubicBezTo>
                  <a:pt x="5859782" y="5192842"/>
                  <a:pt x="5823731" y="5229849"/>
                  <a:pt x="5783008" y="5267853"/>
                </a:cubicBezTo>
                <a:cubicBezTo>
                  <a:pt x="5774664" y="5274520"/>
                  <a:pt x="5756977" y="5283184"/>
                  <a:pt x="5758973" y="5292525"/>
                </a:cubicBezTo>
                <a:cubicBezTo>
                  <a:pt x="5758973" y="5292525"/>
                  <a:pt x="5758973" y="5292525"/>
                  <a:pt x="5754302" y="5293524"/>
                </a:cubicBezTo>
                <a:cubicBezTo>
                  <a:pt x="5749632" y="5294521"/>
                  <a:pt x="5745958" y="5300190"/>
                  <a:pt x="5741289" y="5301187"/>
                </a:cubicBezTo>
                <a:cubicBezTo>
                  <a:pt x="5741289" y="5301187"/>
                  <a:pt x="5737613" y="5306857"/>
                  <a:pt x="5737613" y="5306857"/>
                </a:cubicBezTo>
                <a:cubicBezTo>
                  <a:pt x="5737613" y="5306857"/>
                  <a:pt x="5742285" y="5305858"/>
                  <a:pt x="5742285" y="5305858"/>
                </a:cubicBezTo>
                <a:cubicBezTo>
                  <a:pt x="5721925" y="5324862"/>
                  <a:pt x="5701562" y="5343864"/>
                  <a:pt x="5681201" y="5362868"/>
                </a:cubicBezTo>
                <a:cubicBezTo>
                  <a:pt x="5632136" y="5407539"/>
                  <a:pt x="5632136" y="5407539"/>
                  <a:pt x="5632136" y="5407539"/>
                </a:cubicBezTo>
                <a:cubicBezTo>
                  <a:pt x="5615447" y="5420874"/>
                  <a:pt x="5615447" y="5420874"/>
                  <a:pt x="5615447" y="5420874"/>
                </a:cubicBezTo>
                <a:cubicBezTo>
                  <a:pt x="5607101" y="5427540"/>
                  <a:pt x="5585743" y="5441872"/>
                  <a:pt x="5569055" y="5455206"/>
                </a:cubicBezTo>
                <a:cubicBezTo>
                  <a:pt x="5548693" y="5474208"/>
                  <a:pt x="5532003" y="5487543"/>
                  <a:pt x="5536677" y="5486546"/>
                </a:cubicBezTo>
                <a:cubicBezTo>
                  <a:pt x="5478267" y="5533212"/>
                  <a:pt x="5419857" y="5579880"/>
                  <a:pt x="5347435" y="5629544"/>
                </a:cubicBezTo>
                <a:cubicBezTo>
                  <a:pt x="5308391" y="5652537"/>
                  <a:pt x="5238643" y="5691859"/>
                  <a:pt x="5192251" y="5726192"/>
                </a:cubicBezTo>
                <a:cubicBezTo>
                  <a:pt x="5138196" y="5747510"/>
                  <a:pt x="5087133" y="5782839"/>
                  <a:pt x="5029405" y="5809826"/>
                </a:cubicBezTo>
                <a:cubicBezTo>
                  <a:pt x="5021059" y="5816493"/>
                  <a:pt x="5020060" y="5811822"/>
                  <a:pt x="5011718" y="5818489"/>
                </a:cubicBezTo>
                <a:cubicBezTo>
                  <a:pt x="4904601" y="5865795"/>
                  <a:pt x="4795491" y="5903758"/>
                  <a:pt x="4685383" y="5937051"/>
                </a:cubicBezTo>
                <a:cubicBezTo>
                  <a:pt x="4627991" y="5954197"/>
                  <a:pt x="4571271" y="5968757"/>
                  <a:pt x="4514510" y="5980274"/>
                </a:cubicBezTo>
                <a:lnTo>
                  <a:pt x="4434660" y="5991919"/>
                </a:lnTo>
                <a:lnTo>
                  <a:pt x="4450453" y="5989074"/>
                </a:lnTo>
                <a:cubicBezTo>
                  <a:pt x="4468429" y="5984623"/>
                  <a:pt x="4484527" y="5979963"/>
                  <a:pt x="4493869" y="5977967"/>
                </a:cubicBezTo>
                <a:cubicBezTo>
                  <a:pt x="4493869" y="5977967"/>
                  <a:pt x="4498541" y="5976969"/>
                  <a:pt x="4498541" y="5976969"/>
                </a:cubicBezTo>
                <a:cubicBezTo>
                  <a:pt x="4549921" y="5965993"/>
                  <a:pt x="4587289" y="5958008"/>
                  <a:pt x="4637673" y="5942359"/>
                </a:cubicBezTo>
                <a:cubicBezTo>
                  <a:pt x="4642343" y="5941362"/>
                  <a:pt x="4642343" y="5941362"/>
                  <a:pt x="4642343" y="5941362"/>
                </a:cubicBezTo>
                <a:cubicBezTo>
                  <a:pt x="4647017" y="5940363"/>
                  <a:pt x="4647017" y="5940363"/>
                  <a:pt x="4646017" y="5935692"/>
                </a:cubicBezTo>
                <a:cubicBezTo>
                  <a:pt x="4641346" y="5936690"/>
                  <a:pt x="4636675" y="5937688"/>
                  <a:pt x="4636675" y="5937688"/>
                </a:cubicBezTo>
                <a:cubicBezTo>
                  <a:pt x="4637673" y="5942359"/>
                  <a:pt x="4637673" y="5942359"/>
                  <a:pt x="4637673" y="5942359"/>
                </a:cubicBezTo>
                <a:cubicBezTo>
                  <a:pt x="4581622" y="5954334"/>
                  <a:pt x="4548924" y="5961320"/>
                  <a:pt x="4497543" y="5972298"/>
                </a:cubicBezTo>
                <a:cubicBezTo>
                  <a:pt x="4501215" y="5966629"/>
                  <a:pt x="4496545" y="5967627"/>
                  <a:pt x="4490875" y="5963954"/>
                </a:cubicBezTo>
                <a:cubicBezTo>
                  <a:pt x="4486203" y="5964951"/>
                  <a:pt x="4486203" y="5964951"/>
                  <a:pt x="4486203" y="5964951"/>
                </a:cubicBezTo>
                <a:cubicBezTo>
                  <a:pt x="4487203" y="5969623"/>
                  <a:pt x="4487203" y="5969623"/>
                  <a:pt x="4487203" y="5969623"/>
                </a:cubicBezTo>
                <a:cubicBezTo>
                  <a:pt x="4446161" y="5983274"/>
                  <a:pt x="4400129" y="5973572"/>
                  <a:pt x="4389111" y="5990578"/>
                </a:cubicBezTo>
                <a:cubicBezTo>
                  <a:pt x="4390107" y="5995251"/>
                  <a:pt x="4390107" y="5995251"/>
                  <a:pt x="4390107" y="5995251"/>
                </a:cubicBezTo>
                <a:cubicBezTo>
                  <a:pt x="4384439" y="5991577"/>
                  <a:pt x="4375097" y="5993573"/>
                  <a:pt x="4370427" y="5994571"/>
                </a:cubicBezTo>
                <a:cubicBezTo>
                  <a:pt x="4365755" y="5995569"/>
                  <a:pt x="4361085" y="5996567"/>
                  <a:pt x="4361085" y="5996567"/>
                </a:cubicBezTo>
                <a:cubicBezTo>
                  <a:pt x="4360087" y="5991897"/>
                  <a:pt x="4358091" y="5982554"/>
                  <a:pt x="4361763" y="5976885"/>
                </a:cubicBezTo>
                <a:cubicBezTo>
                  <a:pt x="4366434" y="5975888"/>
                  <a:pt x="4375777" y="5973892"/>
                  <a:pt x="4380447" y="5972893"/>
                </a:cubicBezTo>
                <a:cubicBezTo>
                  <a:pt x="4389789" y="5970899"/>
                  <a:pt x="4400129" y="5973572"/>
                  <a:pt x="4408475" y="5966906"/>
                </a:cubicBezTo>
                <a:cubicBezTo>
                  <a:pt x="4408475" y="5966906"/>
                  <a:pt x="4413145" y="5965908"/>
                  <a:pt x="4413145" y="5965908"/>
                </a:cubicBezTo>
                <a:cubicBezTo>
                  <a:pt x="4413145" y="5965908"/>
                  <a:pt x="4413145" y="5965908"/>
                  <a:pt x="4417816" y="5964910"/>
                </a:cubicBezTo>
                <a:cubicBezTo>
                  <a:pt x="4422487" y="5963913"/>
                  <a:pt x="4422487" y="5963913"/>
                  <a:pt x="4427159" y="5962914"/>
                </a:cubicBezTo>
                <a:cubicBezTo>
                  <a:pt x="4431829" y="5961917"/>
                  <a:pt x="4431829" y="5961917"/>
                  <a:pt x="4431829" y="5961917"/>
                </a:cubicBezTo>
                <a:cubicBezTo>
                  <a:pt x="4431829" y="5961917"/>
                  <a:pt x="4430831" y="5957245"/>
                  <a:pt x="4426161" y="5958243"/>
                </a:cubicBezTo>
                <a:cubicBezTo>
                  <a:pt x="4421489" y="5959242"/>
                  <a:pt x="4416819" y="5960239"/>
                  <a:pt x="4416819" y="5960239"/>
                </a:cubicBezTo>
                <a:cubicBezTo>
                  <a:pt x="4412147" y="5961238"/>
                  <a:pt x="4412147" y="5961238"/>
                  <a:pt x="4412147" y="5961238"/>
                </a:cubicBezTo>
                <a:cubicBezTo>
                  <a:pt x="4415820" y="5955568"/>
                  <a:pt x="4411149" y="5956566"/>
                  <a:pt x="4411149" y="5956566"/>
                </a:cubicBezTo>
                <a:cubicBezTo>
                  <a:pt x="4406479" y="5957564"/>
                  <a:pt x="4406479" y="5957564"/>
                  <a:pt x="4406479" y="5957564"/>
                </a:cubicBezTo>
                <a:cubicBezTo>
                  <a:pt x="4406479" y="5957564"/>
                  <a:pt x="4401807" y="5958561"/>
                  <a:pt x="4401807" y="5958561"/>
                </a:cubicBezTo>
                <a:cubicBezTo>
                  <a:pt x="4402805" y="5963232"/>
                  <a:pt x="4402805" y="5963232"/>
                  <a:pt x="4402805" y="5963232"/>
                </a:cubicBezTo>
                <a:cubicBezTo>
                  <a:pt x="4399132" y="5968902"/>
                  <a:pt x="4388792" y="5966227"/>
                  <a:pt x="4379449" y="5968223"/>
                </a:cubicBezTo>
                <a:cubicBezTo>
                  <a:pt x="4374779" y="5969221"/>
                  <a:pt x="4370107" y="5970218"/>
                  <a:pt x="4360765" y="5972214"/>
                </a:cubicBezTo>
                <a:cubicBezTo>
                  <a:pt x="4332741" y="5978202"/>
                  <a:pt x="4332741" y="5978202"/>
                  <a:pt x="4332741" y="5978202"/>
                </a:cubicBezTo>
                <a:cubicBezTo>
                  <a:pt x="4327071" y="5974530"/>
                  <a:pt x="4328067" y="5979200"/>
                  <a:pt x="4328067" y="5979200"/>
                </a:cubicBezTo>
                <a:cubicBezTo>
                  <a:pt x="4328067" y="5979200"/>
                  <a:pt x="4329067" y="5983871"/>
                  <a:pt x="4333738" y="5982874"/>
                </a:cubicBezTo>
                <a:cubicBezTo>
                  <a:pt x="4352421" y="5978882"/>
                  <a:pt x="4352421" y="5978882"/>
                  <a:pt x="4352421" y="5978882"/>
                </a:cubicBezTo>
                <a:cubicBezTo>
                  <a:pt x="4348747" y="5984549"/>
                  <a:pt x="4346073" y="5994892"/>
                  <a:pt x="4347071" y="5999562"/>
                </a:cubicBezTo>
                <a:cubicBezTo>
                  <a:pt x="4342400" y="6000559"/>
                  <a:pt x="4337729" y="6001556"/>
                  <a:pt x="4337729" y="6001556"/>
                </a:cubicBezTo>
                <a:cubicBezTo>
                  <a:pt x="4333057" y="6002555"/>
                  <a:pt x="4333057" y="6002555"/>
                  <a:pt x="4333057" y="6002555"/>
                </a:cubicBezTo>
                <a:cubicBezTo>
                  <a:pt x="4336731" y="5996886"/>
                  <a:pt x="4336731" y="5996886"/>
                  <a:pt x="4336731" y="5996886"/>
                </a:cubicBezTo>
                <a:cubicBezTo>
                  <a:pt x="4336731" y="5996886"/>
                  <a:pt x="4332060" y="5997884"/>
                  <a:pt x="4331061" y="5993214"/>
                </a:cubicBezTo>
                <a:cubicBezTo>
                  <a:pt x="4326391" y="5994211"/>
                  <a:pt x="4327390" y="5998882"/>
                  <a:pt x="4322719" y="5999880"/>
                </a:cubicBezTo>
                <a:cubicBezTo>
                  <a:pt x="4322719" y="5999880"/>
                  <a:pt x="4318046" y="6000879"/>
                  <a:pt x="4318046" y="6000879"/>
                </a:cubicBezTo>
                <a:cubicBezTo>
                  <a:pt x="4313376" y="6001876"/>
                  <a:pt x="4307707" y="5998202"/>
                  <a:pt x="4298365" y="6000199"/>
                </a:cubicBezTo>
                <a:cubicBezTo>
                  <a:pt x="4279681" y="6004190"/>
                  <a:pt x="4302039" y="5994529"/>
                  <a:pt x="4287027" y="5992853"/>
                </a:cubicBezTo>
                <a:cubicBezTo>
                  <a:pt x="4279681" y="6004190"/>
                  <a:pt x="4263672" y="5997842"/>
                  <a:pt x="4253332" y="5995167"/>
                </a:cubicBezTo>
                <a:cubicBezTo>
                  <a:pt x="4254329" y="5999839"/>
                  <a:pt x="4255329" y="6004508"/>
                  <a:pt x="4250657" y="6005506"/>
                </a:cubicBezTo>
                <a:cubicBezTo>
                  <a:pt x="4249659" y="6000836"/>
                  <a:pt x="4248661" y="5996165"/>
                  <a:pt x="4243989" y="5997163"/>
                </a:cubicBezTo>
                <a:cubicBezTo>
                  <a:pt x="4240317" y="6002832"/>
                  <a:pt x="4226303" y="6005825"/>
                  <a:pt x="4216961" y="6007822"/>
                </a:cubicBezTo>
                <a:cubicBezTo>
                  <a:pt x="4219637" y="5997482"/>
                  <a:pt x="4186939" y="6004467"/>
                  <a:pt x="4183267" y="6010136"/>
                </a:cubicBezTo>
                <a:cubicBezTo>
                  <a:pt x="4178595" y="6011135"/>
                  <a:pt x="4178595" y="6011135"/>
                  <a:pt x="4178595" y="6011135"/>
                </a:cubicBezTo>
                <a:cubicBezTo>
                  <a:pt x="4164583" y="6014128"/>
                  <a:pt x="4176599" y="6001792"/>
                  <a:pt x="4162587" y="6004786"/>
                </a:cubicBezTo>
                <a:cubicBezTo>
                  <a:pt x="4154243" y="6011453"/>
                  <a:pt x="4150570" y="6017122"/>
                  <a:pt x="4126216" y="6017440"/>
                </a:cubicBezTo>
                <a:cubicBezTo>
                  <a:pt x="4115876" y="6014765"/>
                  <a:pt x="4100865" y="6013088"/>
                  <a:pt x="4086851" y="6016083"/>
                </a:cubicBezTo>
                <a:cubicBezTo>
                  <a:pt x="4082181" y="6017080"/>
                  <a:pt x="4072838" y="6019077"/>
                  <a:pt x="4067171" y="6015403"/>
                </a:cubicBezTo>
                <a:cubicBezTo>
                  <a:pt x="4038144" y="6016720"/>
                  <a:pt x="4061501" y="6011729"/>
                  <a:pt x="4040821" y="6006380"/>
                </a:cubicBezTo>
                <a:cubicBezTo>
                  <a:pt x="4024132" y="6019713"/>
                  <a:pt x="3962092" y="6003663"/>
                  <a:pt x="3944405" y="6012325"/>
                </a:cubicBezTo>
                <a:cubicBezTo>
                  <a:pt x="3965085" y="6017676"/>
                  <a:pt x="3925723" y="6016317"/>
                  <a:pt x="3925723" y="6016317"/>
                </a:cubicBezTo>
                <a:cubicBezTo>
                  <a:pt x="3921050" y="6017316"/>
                  <a:pt x="3916380" y="6018314"/>
                  <a:pt x="3911709" y="6019311"/>
                </a:cubicBezTo>
                <a:cubicBezTo>
                  <a:pt x="3852664" y="6017274"/>
                  <a:pt x="3818969" y="6019588"/>
                  <a:pt x="3784954" y="5997550"/>
                </a:cubicBezTo>
                <a:cubicBezTo>
                  <a:pt x="3782279" y="6007888"/>
                  <a:pt x="3744593" y="5991520"/>
                  <a:pt x="3731576" y="5999185"/>
                </a:cubicBezTo>
                <a:cubicBezTo>
                  <a:pt x="3741917" y="6001860"/>
                  <a:pt x="3706225" y="5994832"/>
                  <a:pt x="3701555" y="5995831"/>
                </a:cubicBezTo>
                <a:cubicBezTo>
                  <a:pt x="3701555" y="5995831"/>
                  <a:pt x="3706225" y="5994832"/>
                  <a:pt x="3706225" y="5994832"/>
                </a:cubicBezTo>
                <a:cubicBezTo>
                  <a:pt x="3667859" y="5998145"/>
                  <a:pt x="3636839" y="5990119"/>
                  <a:pt x="3591805" y="5985087"/>
                </a:cubicBezTo>
                <a:cubicBezTo>
                  <a:pt x="3603144" y="5992434"/>
                  <a:pt x="3575797" y="5978739"/>
                  <a:pt x="3573122" y="5989079"/>
                </a:cubicBezTo>
                <a:cubicBezTo>
                  <a:pt x="3571125" y="5979738"/>
                  <a:pt x="3553439" y="5988402"/>
                  <a:pt x="3537430" y="5982053"/>
                </a:cubicBezTo>
                <a:cubicBezTo>
                  <a:pt x="3557113" y="5982733"/>
                  <a:pt x="3542781" y="5961373"/>
                  <a:pt x="3541104" y="5976384"/>
                </a:cubicBezTo>
                <a:cubicBezTo>
                  <a:pt x="3512081" y="5977701"/>
                  <a:pt x="3484733" y="5964007"/>
                  <a:pt x="3465050" y="5963328"/>
                </a:cubicBezTo>
                <a:cubicBezTo>
                  <a:pt x="3476388" y="5970674"/>
                  <a:pt x="3445368" y="5962647"/>
                  <a:pt x="3430358" y="5960971"/>
                </a:cubicBezTo>
                <a:cubicBezTo>
                  <a:pt x="3430358" y="5960971"/>
                  <a:pt x="3435029" y="5959972"/>
                  <a:pt x="3439699" y="5958974"/>
                </a:cubicBezTo>
                <a:cubicBezTo>
                  <a:pt x="3404008" y="5951948"/>
                  <a:pt x="3384325" y="5951268"/>
                  <a:pt x="3363648" y="5945918"/>
                </a:cubicBezTo>
                <a:cubicBezTo>
                  <a:pt x="3342967" y="5940568"/>
                  <a:pt x="3323285" y="5939888"/>
                  <a:pt x="3280927" y="5924516"/>
                </a:cubicBezTo>
                <a:cubicBezTo>
                  <a:pt x="3280927" y="5924516"/>
                  <a:pt x="3290268" y="5922520"/>
                  <a:pt x="3275257" y="5920844"/>
                </a:cubicBezTo>
                <a:cubicBezTo>
                  <a:pt x="3260247" y="5919166"/>
                  <a:pt x="3281924" y="5929188"/>
                  <a:pt x="3261244" y="5923839"/>
                </a:cubicBezTo>
                <a:cubicBezTo>
                  <a:pt x="3244238" y="5912818"/>
                  <a:pt x="3229227" y="5911142"/>
                  <a:pt x="3215214" y="5914135"/>
                </a:cubicBezTo>
                <a:cubicBezTo>
                  <a:pt x="3202877" y="5902119"/>
                  <a:pt x="3203875" y="5906789"/>
                  <a:pt x="3201879" y="5897447"/>
                </a:cubicBezTo>
                <a:cubicBezTo>
                  <a:pt x="3192538" y="5899442"/>
                  <a:pt x="3187867" y="5900441"/>
                  <a:pt x="3172855" y="5898763"/>
                </a:cubicBezTo>
                <a:cubicBezTo>
                  <a:pt x="3171857" y="5894093"/>
                  <a:pt x="3182197" y="5896768"/>
                  <a:pt x="3171857" y="5894093"/>
                </a:cubicBezTo>
                <a:cubicBezTo>
                  <a:pt x="3152175" y="5893412"/>
                  <a:pt x="3128502" y="5874051"/>
                  <a:pt x="3099478" y="5875367"/>
                </a:cubicBezTo>
                <a:cubicBezTo>
                  <a:pt x="3097482" y="5866024"/>
                  <a:pt x="3114489" y="5877044"/>
                  <a:pt x="3119159" y="5876046"/>
                </a:cubicBezTo>
                <a:cubicBezTo>
                  <a:pt x="3096485" y="5861354"/>
                  <a:pt x="3073128" y="5866344"/>
                  <a:pt x="3059795" y="5849654"/>
                </a:cubicBezTo>
                <a:cubicBezTo>
                  <a:pt x="3050452" y="5851652"/>
                  <a:pt x="3072131" y="5861672"/>
                  <a:pt x="3056122" y="5855324"/>
                </a:cubicBezTo>
                <a:cubicBezTo>
                  <a:pt x="3060792" y="5854327"/>
                  <a:pt x="3054124" y="5845982"/>
                  <a:pt x="3039115" y="5844305"/>
                </a:cubicBezTo>
                <a:cubicBezTo>
                  <a:pt x="3026099" y="5851970"/>
                  <a:pt x="3001427" y="5827936"/>
                  <a:pt x="3003423" y="5837278"/>
                </a:cubicBezTo>
                <a:cubicBezTo>
                  <a:pt x="2997755" y="5833604"/>
                  <a:pt x="2992086" y="5829932"/>
                  <a:pt x="2986416" y="5826258"/>
                </a:cubicBezTo>
                <a:cubicBezTo>
                  <a:pt x="2986416" y="5826258"/>
                  <a:pt x="2986416" y="5826258"/>
                  <a:pt x="2981746" y="5827257"/>
                </a:cubicBezTo>
                <a:cubicBezTo>
                  <a:pt x="2987413" y="5830929"/>
                  <a:pt x="2993083" y="5834603"/>
                  <a:pt x="2993083" y="5834603"/>
                </a:cubicBezTo>
                <a:cubicBezTo>
                  <a:pt x="2978073" y="5832925"/>
                  <a:pt x="2965737" y="5820909"/>
                  <a:pt x="2953401" y="5808891"/>
                </a:cubicBezTo>
                <a:cubicBezTo>
                  <a:pt x="2949727" y="5814561"/>
                  <a:pt x="2944059" y="5810887"/>
                  <a:pt x="2937391" y="5802543"/>
                </a:cubicBezTo>
                <a:cubicBezTo>
                  <a:pt x="2928048" y="5804539"/>
                  <a:pt x="2934716" y="5812883"/>
                  <a:pt x="2940386" y="5816557"/>
                </a:cubicBezTo>
                <a:cubicBezTo>
                  <a:pt x="2935713" y="5817555"/>
                  <a:pt x="2935713" y="5817555"/>
                  <a:pt x="2935713" y="5817555"/>
                </a:cubicBezTo>
                <a:cubicBezTo>
                  <a:pt x="2929046" y="5809211"/>
                  <a:pt x="2903696" y="5804858"/>
                  <a:pt x="2902699" y="5800186"/>
                </a:cubicBezTo>
                <a:cubicBezTo>
                  <a:pt x="2901701" y="5795516"/>
                  <a:pt x="2901701" y="5795516"/>
                  <a:pt x="2901701" y="5795516"/>
                </a:cubicBezTo>
                <a:cubicBezTo>
                  <a:pt x="2907370" y="5799188"/>
                  <a:pt x="2912041" y="5798190"/>
                  <a:pt x="2912041" y="5798190"/>
                </a:cubicBezTo>
                <a:cubicBezTo>
                  <a:pt x="2917710" y="5801864"/>
                  <a:pt x="2917710" y="5801864"/>
                  <a:pt x="2917710" y="5801864"/>
                </a:cubicBezTo>
                <a:cubicBezTo>
                  <a:pt x="2922381" y="5800865"/>
                  <a:pt x="2916711" y="5797193"/>
                  <a:pt x="2916711" y="5797193"/>
                </a:cubicBezTo>
                <a:cubicBezTo>
                  <a:pt x="2911042" y="5793520"/>
                  <a:pt x="2905374" y="5789848"/>
                  <a:pt x="2900702" y="5790845"/>
                </a:cubicBezTo>
                <a:cubicBezTo>
                  <a:pt x="2904375" y="5785175"/>
                  <a:pt x="2854671" y="5781142"/>
                  <a:pt x="2878026" y="5776152"/>
                </a:cubicBezTo>
                <a:cubicBezTo>
                  <a:pt x="2863016" y="5774474"/>
                  <a:pt x="2847008" y="5768126"/>
                  <a:pt x="2830996" y="5761779"/>
                </a:cubicBezTo>
                <a:cubicBezTo>
                  <a:pt x="2819659" y="5754432"/>
                  <a:pt x="2808323" y="5747087"/>
                  <a:pt x="2802653" y="5743413"/>
                </a:cubicBezTo>
                <a:cubicBezTo>
                  <a:pt x="2801655" y="5738743"/>
                  <a:pt x="2801655" y="5738743"/>
                  <a:pt x="2796984" y="5739740"/>
                </a:cubicBezTo>
                <a:cubicBezTo>
                  <a:pt x="2796984" y="5739740"/>
                  <a:pt x="2795985" y="5735071"/>
                  <a:pt x="2792311" y="5740738"/>
                </a:cubicBezTo>
                <a:cubicBezTo>
                  <a:pt x="2769637" y="5726046"/>
                  <a:pt x="2729955" y="5700335"/>
                  <a:pt x="2707279" y="5685642"/>
                </a:cubicBezTo>
                <a:cubicBezTo>
                  <a:pt x="2695940" y="5678297"/>
                  <a:pt x="2688275" y="5665282"/>
                  <a:pt x="2676938" y="5657935"/>
                </a:cubicBezTo>
                <a:cubicBezTo>
                  <a:pt x="2624918" y="5620207"/>
                  <a:pt x="2565553" y="5593817"/>
                  <a:pt x="2520882" y="5544750"/>
                </a:cubicBezTo>
                <a:cubicBezTo>
                  <a:pt x="2467186" y="5522032"/>
                  <a:pt x="2439519" y="5483984"/>
                  <a:pt x="2389498" y="5455598"/>
                </a:cubicBezTo>
                <a:cubicBezTo>
                  <a:pt x="2396165" y="5463942"/>
                  <a:pt x="2402831" y="5472286"/>
                  <a:pt x="2399159" y="5477954"/>
                </a:cubicBezTo>
                <a:cubicBezTo>
                  <a:pt x="2382151" y="5466937"/>
                  <a:pt x="2376483" y="5463264"/>
                  <a:pt x="2364147" y="5451245"/>
                </a:cubicBezTo>
                <a:cubicBezTo>
                  <a:pt x="2358476" y="5447574"/>
                  <a:pt x="2352809" y="5443900"/>
                  <a:pt x="2347139" y="5440226"/>
                </a:cubicBezTo>
                <a:cubicBezTo>
                  <a:pt x="2346142" y="5435556"/>
                  <a:pt x="2344146" y="5426213"/>
                  <a:pt x="2345143" y="5430885"/>
                </a:cubicBezTo>
                <a:cubicBezTo>
                  <a:pt x="2338477" y="5422541"/>
                  <a:pt x="2339474" y="5427211"/>
                  <a:pt x="2340472" y="5431882"/>
                </a:cubicBezTo>
                <a:cubicBezTo>
                  <a:pt x="2305461" y="5405174"/>
                  <a:pt x="2318476" y="5397508"/>
                  <a:pt x="2322149" y="5391840"/>
                </a:cubicBezTo>
                <a:cubicBezTo>
                  <a:pt x="2321151" y="5387168"/>
                  <a:pt x="2321151" y="5387168"/>
                  <a:pt x="2315481" y="5383495"/>
                </a:cubicBezTo>
                <a:cubicBezTo>
                  <a:pt x="2315481" y="5383495"/>
                  <a:pt x="2313487" y="5374154"/>
                  <a:pt x="2309813" y="5379823"/>
                </a:cubicBezTo>
                <a:cubicBezTo>
                  <a:pt x="2309813" y="5379823"/>
                  <a:pt x="2308814" y="5375151"/>
                  <a:pt x="2304144" y="5376149"/>
                </a:cubicBezTo>
                <a:cubicBezTo>
                  <a:pt x="2311490" y="5364811"/>
                  <a:pt x="2289812" y="5354789"/>
                  <a:pt x="2280470" y="5356786"/>
                </a:cubicBezTo>
                <a:cubicBezTo>
                  <a:pt x="2279473" y="5352116"/>
                  <a:pt x="2274800" y="5353113"/>
                  <a:pt x="2274800" y="5353113"/>
                </a:cubicBezTo>
                <a:cubicBezTo>
                  <a:pt x="2270129" y="5354112"/>
                  <a:pt x="2270129" y="5354112"/>
                  <a:pt x="2275799" y="5357784"/>
                </a:cubicBezTo>
                <a:cubicBezTo>
                  <a:pt x="2276796" y="5362454"/>
                  <a:pt x="2282467" y="5366128"/>
                  <a:pt x="2282467" y="5366128"/>
                </a:cubicBezTo>
                <a:cubicBezTo>
                  <a:pt x="2278793" y="5371797"/>
                  <a:pt x="2254120" y="5347763"/>
                  <a:pt x="2258113" y="5366446"/>
                </a:cubicBezTo>
                <a:cubicBezTo>
                  <a:pt x="2257114" y="5361775"/>
                  <a:pt x="2257114" y="5361775"/>
                  <a:pt x="2257114" y="5361775"/>
                </a:cubicBezTo>
                <a:cubicBezTo>
                  <a:pt x="2238112" y="5341415"/>
                  <a:pt x="2187771" y="5288675"/>
                  <a:pt x="2230129" y="5304046"/>
                </a:cubicBezTo>
                <a:cubicBezTo>
                  <a:pt x="2229131" y="5299376"/>
                  <a:pt x="2229131" y="5299376"/>
                  <a:pt x="2224460" y="5300373"/>
                </a:cubicBezTo>
                <a:cubicBezTo>
                  <a:pt x="2223461" y="5295703"/>
                  <a:pt x="2223461" y="5295703"/>
                  <a:pt x="2223461" y="5295703"/>
                </a:cubicBezTo>
                <a:cubicBezTo>
                  <a:pt x="2210128" y="5279014"/>
                  <a:pt x="2198790" y="5271669"/>
                  <a:pt x="2184458" y="5250308"/>
                </a:cubicBezTo>
                <a:cubicBezTo>
                  <a:pt x="2181783" y="5260648"/>
                  <a:pt x="2161782" y="5235617"/>
                  <a:pt x="2156113" y="5231944"/>
                </a:cubicBezTo>
                <a:cubicBezTo>
                  <a:pt x="2156113" y="5231944"/>
                  <a:pt x="2156113" y="5231944"/>
                  <a:pt x="2155116" y="5227273"/>
                </a:cubicBezTo>
                <a:cubicBezTo>
                  <a:pt x="2155116" y="5227273"/>
                  <a:pt x="2150443" y="5228270"/>
                  <a:pt x="2150443" y="5228270"/>
                </a:cubicBezTo>
                <a:cubicBezTo>
                  <a:pt x="2144775" y="5224598"/>
                  <a:pt x="2144775" y="5224598"/>
                  <a:pt x="2139106" y="5220925"/>
                </a:cubicBezTo>
                <a:cubicBezTo>
                  <a:pt x="2140105" y="5225596"/>
                  <a:pt x="2140105" y="5225596"/>
                  <a:pt x="2140105" y="5225596"/>
                </a:cubicBezTo>
                <a:cubicBezTo>
                  <a:pt x="2145773" y="5229268"/>
                  <a:pt x="2145773" y="5229268"/>
                  <a:pt x="2146772" y="5233939"/>
                </a:cubicBezTo>
                <a:cubicBezTo>
                  <a:pt x="2146772" y="5233939"/>
                  <a:pt x="2136431" y="5231265"/>
                  <a:pt x="2129765" y="5222920"/>
                </a:cubicBezTo>
                <a:cubicBezTo>
                  <a:pt x="2124095" y="5219247"/>
                  <a:pt x="2112757" y="5211902"/>
                  <a:pt x="2109085" y="5217571"/>
                </a:cubicBezTo>
                <a:cubicBezTo>
                  <a:pt x="2107089" y="5208228"/>
                  <a:pt x="2100421" y="5199886"/>
                  <a:pt x="2093754" y="5191540"/>
                </a:cubicBezTo>
                <a:cubicBezTo>
                  <a:pt x="2098425" y="5190542"/>
                  <a:pt x="2098425" y="5190542"/>
                  <a:pt x="2098425" y="5190542"/>
                </a:cubicBezTo>
                <a:cubicBezTo>
                  <a:pt x="2097428" y="5185872"/>
                  <a:pt x="2097428" y="5185872"/>
                  <a:pt x="2097428" y="5185872"/>
                </a:cubicBezTo>
                <a:cubicBezTo>
                  <a:pt x="2097428" y="5185872"/>
                  <a:pt x="2096431" y="5181200"/>
                  <a:pt x="2091758" y="5182198"/>
                </a:cubicBezTo>
                <a:cubicBezTo>
                  <a:pt x="2090760" y="5177526"/>
                  <a:pt x="2085092" y="5173855"/>
                  <a:pt x="2084094" y="5169184"/>
                </a:cubicBezTo>
                <a:cubicBezTo>
                  <a:pt x="2079423" y="5170181"/>
                  <a:pt x="2078424" y="5165510"/>
                  <a:pt x="2078424" y="5165510"/>
                </a:cubicBezTo>
                <a:cubicBezTo>
                  <a:pt x="2071758" y="5157166"/>
                  <a:pt x="2070760" y="5152495"/>
                  <a:pt x="2074434" y="5146826"/>
                </a:cubicBezTo>
                <a:cubicBezTo>
                  <a:pt x="2082098" y="5159841"/>
                  <a:pt x="2088764" y="5168185"/>
                  <a:pt x="2093436" y="5167188"/>
                </a:cubicBezTo>
                <a:cubicBezTo>
                  <a:pt x="2086768" y="5158842"/>
                  <a:pt x="2091440" y="5157844"/>
                  <a:pt x="2090442" y="5153174"/>
                </a:cubicBezTo>
                <a:cubicBezTo>
                  <a:pt x="2084772" y="5149501"/>
                  <a:pt x="2083775" y="5144830"/>
                  <a:pt x="2078108" y="5141157"/>
                </a:cubicBezTo>
                <a:cubicBezTo>
                  <a:pt x="2061779" y="5110457"/>
                  <a:pt x="2038785" y="5071411"/>
                  <a:pt x="2013114" y="5042706"/>
                </a:cubicBezTo>
                <a:cubicBezTo>
                  <a:pt x="2000779" y="5030688"/>
                  <a:pt x="1982773" y="5014999"/>
                  <a:pt x="1971436" y="5007652"/>
                </a:cubicBezTo>
                <a:cubicBezTo>
                  <a:pt x="1970438" y="5002981"/>
                  <a:pt x="1970438" y="5002981"/>
                  <a:pt x="1975108" y="5001984"/>
                </a:cubicBezTo>
                <a:cubicBezTo>
                  <a:pt x="1974111" y="4997311"/>
                  <a:pt x="1974111" y="4997311"/>
                  <a:pt x="1968442" y="4993638"/>
                </a:cubicBezTo>
                <a:cubicBezTo>
                  <a:pt x="1967443" y="4988969"/>
                  <a:pt x="1962774" y="4989966"/>
                  <a:pt x="1962774" y="4989966"/>
                </a:cubicBezTo>
                <a:cubicBezTo>
                  <a:pt x="1962774" y="4989966"/>
                  <a:pt x="1963771" y="4994637"/>
                  <a:pt x="1963771" y="4994637"/>
                </a:cubicBezTo>
                <a:cubicBezTo>
                  <a:pt x="1958102" y="4990965"/>
                  <a:pt x="1957103" y="4986292"/>
                  <a:pt x="1951435" y="4982619"/>
                </a:cubicBezTo>
                <a:cubicBezTo>
                  <a:pt x="1951435" y="4982619"/>
                  <a:pt x="1950437" y="4977949"/>
                  <a:pt x="1955107" y="4976952"/>
                </a:cubicBezTo>
                <a:cubicBezTo>
                  <a:pt x="1942773" y="4964934"/>
                  <a:pt x="1930437" y="4952916"/>
                  <a:pt x="1923769" y="4944572"/>
                </a:cubicBezTo>
                <a:cubicBezTo>
                  <a:pt x="1923769" y="4944572"/>
                  <a:pt x="1923769" y="4944572"/>
                  <a:pt x="1922772" y="4939901"/>
                </a:cubicBezTo>
                <a:cubicBezTo>
                  <a:pt x="1922772" y="4939901"/>
                  <a:pt x="1918100" y="4940898"/>
                  <a:pt x="1918100" y="4940898"/>
                </a:cubicBezTo>
                <a:cubicBezTo>
                  <a:pt x="1913429" y="4941897"/>
                  <a:pt x="1913429" y="4941897"/>
                  <a:pt x="1913429" y="4941897"/>
                </a:cubicBezTo>
                <a:cubicBezTo>
                  <a:pt x="1913429" y="4941897"/>
                  <a:pt x="1913429" y="4941897"/>
                  <a:pt x="1912432" y="4937227"/>
                </a:cubicBezTo>
                <a:cubicBezTo>
                  <a:pt x="1906763" y="4933553"/>
                  <a:pt x="1902092" y="4934551"/>
                  <a:pt x="1902092" y="4934551"/>
                </a:cubicBezTo>
                <a:lnTo>
                  <a:pt x="1904088" y="4943893"/>
                </a:lnTo>
                <a:lnTo>
                  <a:pt x="1898418" y="4940221"/>
                </a:lnTo>
                <a:cubicBezTo>
                  <a:pt x="1891752" y="4931875"/>
                  <a:pt x="1878418" y="4915188"/>
                  <a:pt x="1873746" y="4916186"/>
                </a:cubicBezTo>
                <a:cubicBezTo>
                  <a:pt x="1851750" y="4881812"/>
                  <a:pt x="1858417" y="4890155"/>
                  <a:pt x="1855423" y="4876142"/>
                </a:cubicBezTo>
                <a:cubicBezTo>
                  <a:pt x="1841090" y="4854784"/>
                  <a:pt x="1853746" y="4891153"/>
                  <a:pt x="1845083" y="4873468"/>
                </a:cubicBezTo>
                <a:cubicBezTo>
                  <a:pt x="1844085" y="4868797"/>
                  <a:pt x="1851432" y="4857458"/>
                  <a:pt x="1840093" y="4850113"/>
                </a:cubicBezTo>
                <a:cubicBezTo>
                  <a:pt x="1842089" y="4859454"/>
                  <a:pt x="1838417" y="4865123"/>
                  <a:pt x="1831749" y="4856779"/>
                </a:cubicBezTo>
                <a:cubicBezTo>
                  <a:pt x="1837418" y="4860453"/>
                  <a:pt x="1833427" y="4841769"/>
                  <a:pt x="1828756" y="4842767"/>
                </a:cubicBezTo>
                <a:cubicBezTo>
                  <a:pt x="1811748" y="4831747"/>
                  <a:pt x="1793107" y="4767351"/>
                  <a:pt x="1767437" y="4738646"/>
                </a:cubicBezTo>
                <a:cubicBezTo>
                  <a:pt x="1774784" y="4727309"/>
                  <a:pt x="1757775" y="4716290"/>
                  <a:pt x="1759453" y="4701279"/>
                </a:cubicBezTo>
                <a:cubicBezTo>
                  <a:pt x="1752106" y="4712616"/>
                  <a:pt x="1732786" y="4667902"/>
                  <a:pt x="1748116" y="4693932"/>
                </a:cubicBezTo>
                <a:cubicBezTo>
                  <a:pt x="1740451" y="4680917"/>
                  <a:pt x="1733783" y="4672573"/>
                  <a:pt x="1730789" y="4658560"/>
                </a:cubicBezTo>
                <a:cubicBezTo>
                  <a:pt x="1727117" y="4664228"/>
                  <a:pt x="1729114" y="4673570"/>
                  <a:pt x="1720450" y="4655885"/>
                </a:cubicBezTo>
                <a:cubicBezTo>
                  <a:pt x="1720450" y="4655885"/>
                  <a:pt x="1725121" y="4654886"/>
                  <a:pt x="1724123" y="4650215"/>
                </a:cubicBezTo>
                <a:cubicBezTo>
                  <a:pt x="1709111" y="4648539"/>
                  <a:pt x="1715142" y="4608176"/>
                  <a:pt x="1694462" y="4602826"/>
                </a:cubicBezTo>
                <a:cubicBezTo>
                  <a:pt x="1701807" y="4591488"/>
                  <a:pt x="1679131" y="4576797"/>
                  <a:pt x="1686478" y="4565458"/>
                </a:cubicBezTo>
                <a:cubicBezTo>
                  <a:pt x="1679810" y="4557114"/>
                  <a:pt x="1675140" y="4558111"/>
                  <a:pt x="1667476" y="4545098"/>
                </a:cubicBezTo>
                <a:cubicBezTo>
                  <a:pt x="1684482" y="4556117"/>
                  <a:pt x="1663483" y="4526412"/>
                  <a:pt x="1666159" y="4516074"/>
                </a:cubicBezTo>
                <a:cubicBezTo>
                  <a:pt x="1650149" y="4509724"/>
                  <a:pt x="1652505" y="4475032"/>
                  <a:pt x="1643164" y="4477028"/>
                </a:cubicBezTo>
                <a:cubicBezTo>
                  <a:pt x="1640169" y="4463014"/>
                  <a:pt x="1640169" y="4463014"/>
                  <a:pt x="1647836" y="4476029"/>
                </a:cubicBezTo>
                <a:cubicBezTo>
                  <a:pt x="1639172" y="4458344"/>
                  <a:pt x="1629511" y="4435986"/>
                  <a:pt x="1625519" y="4417302"/>
                </a:cubicBezTo>
                <a:cubicBezTo>
                  <a:pt x="1631188" y="4420976"/>
                  <a:pt x="1632186" y="4425648"/>
                  <a:pt x="1636858" y="4424649"/>
                </a:cubicBezTo>
                <a:lnTo>
                  <a:pt x="1643326" y="4435630"/>
                </a:lnTo>
                <a:lnTo>
                  <a:pt x="1642725" y="4443543"/>
                </a:lnTo>
                <a:cubicBezTo>
                  <a:pt x="1642765" y="4446586"/>
                  <a:pt x="1641849" y="4448003"/>
                  <a:pt x="1636179" y="4444330"/>
                </a:cubicBezTo>
                <a:cubicBezTo>
                  <a:pt x="1642846" y="4452675"/>
                  <a:pt x="1644841" y="4462017"/>
                  <a:pt x="1649512" y="4461018"/>
                </a:cubicBezTo>
                <a:cubicBezTo>
                  <a:pt x="1651508" y="4470362"/>
                  <a:pt x="1659173" y="4483377"/>
                  <a:pt x="1665839" y="4491720"/>
                </a:cubicBezTo>
                <a:cubicBezTo>
                  <a:pt x="1666838" y="4496392"/>
                  <a:pt x="1666838" y="4496392"/>
                  <a:pt x="1666838" y="4496392"/>
                </a:cubicBezTo>
                <a:cubicBezTo>
                  <a:pt x="1667836" y="4501062"/>
                  <a:pt x="1667836" y="4501062"/>
                  <a:pt x="1667836" y="4501062"/>
                </a:cubicBezTo>
                <a:cubicBezTo>
                  <a:pt x="1672506" y="4500064"/>
                  <a:pt x="1672506" y="4500064"/>
                  <a:pt x="1672506" y="4500064"/>
                </a:cubicBezTo>
                <a:cubicBezTo>
                  <a:pt x="1672506" y="4500064"/>
                  <a:pt x="1675182" y="4489725"/>
                  <a:pt x="1672188" y="4475711"/>
                </a:cubicBezTo>
                <a:cubicBezTo>
                  <a:pt x="1666519" y="4472037"/>
                  <a:pt x="1666519" y="4472037"/>
                  <a:pt x="1666519" y="4472037"/>
                </a:cubicBezTo>
                <a:cubicBezTo>
                  <a:pt x="1665521" y="4467367"/>
                  <a:pt x="1665521" y="4467367"/>
                  <a:pt x="1665521" y="4467367"/>
                </a:cubicBezTo>
                <a:cubicBezTo>
                  <a:pt x="1665521" y="4467367"/>
                  <a:pt x="1664523" y="4462696"/>
                  <a:pt x="1659852" y="4463695"/>
                </a:cubicBezTo>
                <a:cubicBezTo>
                  <a:pt x="1661530" y="4448683"/>
                  <a:pt x="1662527" y="4453355"/>
                  <a:pt x="1652866" y="4430997"/>
                </a:cubicBezTo>
                <a:cubicBezTo>
                  <a:pt x="1657538" y="4429998"/>
                  <a:pt x="1662208" y="4429001"/>
                  <a:pt x="1664883" y="4418662"/>
                </a:cubicBezTo>
                <a:cubicBezTo>
                  <a:pt x="1655222" y="4396304"/>
                  <a:pt x="1662570" y="4384965"/>
                  <a:pt x="1653906" y="4367280"/>
                </a:cubicBezTo>
                <a:cubicBezTo>
                  <a:pt x="1653949" y="4298891"/>
                  <a:pt x="1637981" y="4224156"/>
                  <a:pt x="1626006" y="4168104"/>
                </a:cubicBezTo>
                <a:cubicBezTo>
                  <a:pt x="1625007" y="4163433"/>
                  <a:pt x="1620338" y="4164430"/>
                  <a:pt x="1620338" y="4164430"/>
                </a:cubicBezTo>
                <a:cubicBezTo>
                  <a:pt x="1620338" y="4164430"/>
                  <a:pt x="1615666" y="4165427"/>
                  <a:pt x="1616665" y="4170100"/>
                </a:cubicBezTo>
                <a:cubicBezTo>
                  <a:pt x="1632313" y="4220483"/>
                  <a:pt x="1648280" y="4295219"/>
                  <a:pt x="1646242" y="4354265"/>
                </a:cubicBezTo>
                <a:cubicBezTo>
                  <a:pt x="1646242" y="4354265"/>
                  <a:pt x="1646242" y="4354265"/>
                  <a:pt x="1641572" y="4355264"/>
                </a:cubicBezTo>
                <a:cubicBezTo>
                  <a:pt x="1640573" y="4350591"/>
                  <a:pt x="1640573" y="4350591"/>
                  <a:pt x="1634904" y="4346919"/>
                </a:cubicBezTo>
                <a:cubicBezTo>
                  <a:pt x="1640573" y="4350591"/>
                  <a:pt x="1641572" y="4355264"/>
                  <a:pt x="1642569" y="4359934"/>
                </a:cubicBezTo>
                <a:cubicBezTo>
                  <a:pt x="1642569" y="4359934"/>
                  <a:pt x="1642569" y="4359934"/>
                  <a:pt x="1638895" y="4365602"/>
                </a:cubicBezTo>
                <a:cubicBezTo>
                  <a:pt x="1634904" y="4346919"/>
                  <a:pt x="1627919" y="4314222"/>
                  <a:pt x="1623247" y="4315219"/>
                </a:cubicBezTo>
                <a:cubicBezTo>
                  <a:pt x="1629913" y="4323563"/>
                  <a:pt x="1626241" y="4329233"/>
                  <a:pt x="1621571" y="4330231"/>
                </a:cubicBezTo>
                <a:cubicBezTo>
                  <a:pt x="1614903" y="4321887"/>
                  <a:pt x="1612907" y="4312544"/>
                  <a:pt x="1605241" y="4299529"/>
                </a:cubicBezTo>
                <a:cubicBezTo>
                  <a:pt x="1603246" y="4290188"/>
                  <a:pt x="1603925" y="4270505"/>
                  <a:pt x="1595263" y="4252820"/>
                </a:cubicBezTo>
                <a:cubicBezTo>
                  <a:pt x="1593267" y="4243477"/>
                  <a:pt x="1591271" y="4234135"/>
                  <a:pt x="1584604" y="4225791"/>
                </a:cubicBezTo>
                <a:cubicBezTo>
                  <a:pt x="1576621" y="4188423"/>
                  <a:pt x="1569636" y="4155727"/>
                  <a:pt x="1560653" y="4113688"/>
                </a:cubicBezTo>
                <a:cubicBezTo>
                  <a:pt x="1560653" y="4113688"/>
                  <a:pt x="1556981" y="4119356"/>
                  <a:pt x="1557980" y="4124028"/>
                </a:cubicBezTo>
                <a:cubicBezTo>
                  <a:pt x="1557980" y="4124028"/>
                  <a:pt x="1556981" y="4119356"/>
                  <a:pt x="1556981" y="4119356"/>
                </a:cubicBezTo>
                <a:cubicBezTo>
                  <a:pt x="1555983" y="4114685"/>
                  <a:pt x="1555983" y="4114685"/>
                  <a:pt x="1555983" y="4114685"/>
                </a:cubicBezTo>
                <a:cubicBezTo>
                  <a:pt x="1554987" y="4110014"/>
                  <a:pt x="1554987" y="4110014"/>
                  <a:pt x="1553987" y="4105344"/>
                </a:cubicBezTo>
                <a:cubicBezTo>
                  <a:pt x="1548998" y="4081987"/>
                  <a:pt x="1539337" y="4059632"/>
                  <a:pt x="1535347" y="4040947"/>
                </a:cubicBezTo>
                <a:cubicBezTo>
                  <a:pt x="1534347" y="4036277"/>
                  <a:pt x="1534347" y="4036277"/>
                  <a:pt x="1533348" y="4031606"/>
                </a:cubicBezTo>
                <a:cubicBezTo>
                  <a:pt x="1532351" y="4026934"/>
                  <a:pt x="1531352" y="4022263"/>
                  <a:pt x="1530356" y="4017592"/>
                </a:cubicBezTo>
                <a:cubicBezTo>
                  <a:pt x="1528360" y="4008250"/>
                  <a:pt x="1526363" y="3998908"/>
                  <a:pt x="1524368" y="3989566"/>
                </a:cubicBezTo>
                <a:cubicBezTo>
                  <a:pt x="1523369" y="3984895"/>
                  <a:pt x="1523369" y="3984895"/>
                  <a:pt x="1523369" y="3984895"/>
                </a:cubicBezTo>
                <a:cubicBezTo>
                  <a:pt x="1522372" y="3980224"/>
                  <a:pt x="1522372" y="3980224"/>
                  <a:pt x="1522372" y="3980224"/>
                </a:cubicBezTo>
                <a:cubicBezTo>
                  <a:pt x="1522372" y="3980224"/>
                  <a:pt x="1522372" y="3980224"/>
                  <a:pt x="1517699" y="3981221"/>
                </a:cubicBezTo>
                <a:cubicBezTo>
                  <a:pt x="1521375" y="3975553"/>
                  <a:pt x="1521375" y="3975553"/>
                  <a:pt x="1526045" y="3974555"/>
                </a:cubicBezTo>
                <a:cubicBezTo>
                  <a:pt x="1518380" y="3961540"/>
                  <a:pt x="1518380" y="3961540"/>
                  <a:pt x="1518380" y="3961540"/>
                </a:cubicBezTo>
                <a:cubicBezTo>
                  <a:pt x="1518380" y="3961540"/>
                  <a:pt x="1518380" y="3961540"/>
                  <a:pt x="1514707" y="3967209"/>
                </a:cubicBezTo>
                <a:cubicBezTo>
                  <a:pt x="1513708" y="3962537"/>
                  <a:pt x="1513708" y="3962537"/>
                  <a:pt x="1512710" y="3957867"/>
                </a:cubicBezTo>
                <a:cubicBezTo>
                  <a:pt x="1513390" y="3938185"/>
                  <a:pt x="1508401" y="3914830"/>
                  <a:pt x="1504408" y="3896146"/>
                </a:cubicBezTo>
                <a:cubicBezTo>
                  <a:pt x="1508082" y="3890477"/>
                  <a:pt x="1506086" y="3881136"/>
                  <a:pt x="1505087" y="3876464"/>
                </a:cubicBezTo>
                <a:cubicBezTo>
                  <a:pt x="1504090" y="3871793"/>
                  <a:pt x="1504090" y="3871793"/>
                  <a:pt x="1503093" y="3867123"/>
                </a:cubicBezTo>
                <a:cubicBezTo>
                  <a:pt x="1502096" y="3862450"/>
                  <a:pt x="1505767" y="3856782"/>
                  <a:pt x="1505767" y="3856782"/>
                </a:cubicBezTo>
                <a:cubicBezTo>
                  <a:pt x="1510438" y="3855784"/>
                  <a:pt x="1510438" y="3855784"/>
                  <a:pt x="1511436" y="3860456"/>
                </a:cubicBezTo>
                <a:cubicBezTo>
                  <a:pt x="1511436" y="3860456"/>
                  <a:pt x="1516108" y="3859457"/>
                  <a:pt x="1517105" y="3864128"/>
                </a:cubicBezTo>
                <a:cubicBezTo>
                  <a:pt x="1517105" y="3864128"/>
                  <a:pt x="1517105" y="3864128"/>
                  <a:pt x="1516108" y="3859457"/>
                </a:cubicBezTo>
                <a:cubicBezTo>
                  <a:pt x="1520779" y="3858458"/>
                  <a:pt x="1520779" y="3858458"/>
                  <a:pt x="1520779" y="3858458"/>
                </a:cubicBezTo>
                <a:cubicBezTo>
                  <a:pt x="1519780" y="3853788"/>
                  <a:pt x="1515111" y="3854787"/>
                  <a:pt x="1514112" y="3850114"/>
                </a:cubicBezTo>
                <a:cubicBezTo>
                  <a:pt x="1508442" y="3846442"/>
                  <a:pt x="1507444" y="3841772"/>
                  <a:pt x="1502774" y="3842769"/>
                </a:cubicBezTo>
                <a:cubicBezTo>
                  <a:pt x="1503770" y="3847441"/>
                  <a:pt x="1499101" y="3848438"/>
                  <a:pt x="1499101" y="3848438"/>
                </a:cubicBezTo>
                <a:cubicBezTo>
                  <a:pt x="1499101" y="3848438"/>
                  <a:pt x="1497104" y="3839097"/>
                  <a:pt x="1491436" y="3835424"/>
                </a:cubicBezTo>
                <a:cubicBezTo>
                  <a:pt x="1489440" y="3826080"/>
                  <a:pt x="1488442" y="3821410"/>
                  <a:pt x="1491118" y="3811070"/>
                </a:cubicBezTo>
                <a:cubicBezTo>
                  <a:pt x="1492115" y="3815742"/>
                  <a:pt x="1496785" y="3814743"/>
                  <a:pt x="1496785" y="3814743"/>
                </a:cubicBezTo>
                <a:cubicBezTo>
                  <a:pt x="1495787" y="3810073"/>
                  <a:pt x="1495787" y="3810073"/>
                  <a:pt x="1495787" y="3810073"/>
                </a:cubicBezTo>
                <a:cubicBezTo>
                  <a:pt x="1494791" y="3805402"/>
                  <a:pt x="1494791" y="3805402"/>
                  <a:pt x="1493791" y="3800730"/>
                </a:cubicBezTo>
                <a:cubicBezTo>
                  <a:pt x="1492794" y="3796059"/>
                  <a:pt x="1492794" y="3796059"/>
                  <a:pt x="1492794" y="3796059"/>
                </a:cubicBezTo>
                <a:cubicBezTo>
                  <a:pt x="1492794" y="3796059"/>
                  <a:pt x="1492794" y="3796059"/>
                  <a:pt x="1491796" y="3791389"/>
                </a:cubicBezTo>
                <a:cubicBezTo>
                  <a:pt x="1489799" y="3782046"/>
                  <a:pt x="1488802" y="3777375"/>
                  <a:pt x="1487804" y="3772705"/>
                </a:cubicBezTo>
                <a:cubicBezTo>
                  <a:pt x="1486806" y="3768032"/>
                  <a:pt x="1485808" y="3763362"/>
                  <a:pt x="1484809" y="3758693"/>
                </a:cubicBezTo>
                <a:cubicBezTo>
                  <a:pt x="1488483" y="3753022"/>
                  <a:pt x="1487486" y="3748350"/>
                  <a:pt x="1486487" y="3743680"/>
                </a:cubicBezTo>
                <a:cubicBezTo>
                  <a:pt x="1494833" y="3737012"/>
                  <a:pt x="1485170" y="3714656"/>
                  <a:pt x="1484853" y="3690303"/>
                </a:cubicBezTo>
                <a:cubicBezTo>
                  <a:pt x="1480182" y="3691301"/>
                  <a:pt x="1480182" y="3691301"/>
                  <a:pt x="1480182" y="3691301"/>
                </a:cubicBezTo>
                <a:cubicBezTo>
                  <a:pt x="1476870" y="3652934"/>
                  <a:pt x="1475552" y="3623910"/>
                  <a:pt x="1478906" y="3593889"/>
                </a:cubicBezTo>
                <a:cubicBezTo>
                  <a:pt x="1477909" y="3589218"/>
                  <a:pt x="1482579" y="3588219"/>
                  <a:pt x="1481582" y="3583549"/>
                </a:cubicBezTo>
                <a:cubicBezTo>
                  <a:pt x="1480585" y="3578879"/>
                  <a:pt x="1480585" y="3578879"/>
                  <a:pt x="1480585" y="3578879"/>
                </a:cubicBezTo>
                <a:cubicBezTo>
                  <a:pt x="1476911" y="3584548"/>
                  <a:pt x="1476911" y="3584548"/>
                  <a:pt x="1476911" y="3584548"/>
                </a:cubicBezTo>
                <a:cubicBezTo>
                  <a:pt x="1474916" y="3575204"/>
                  <a:pt x="1478589" y="3569537"/>
                  <a:pt x="1476591" y="3560194"/>
                </a:cubicBezTo>
                <a:cubicBezTo>
                  <a:pt x="1475594" y="3555524"/>
                  <a:pt x="1480266" y="3554525"/>
                  <a:pt x="1480266" y="3554525"/>
                </a:cubicBezTo>
                <a:cubicBezTo>
                  <a:pt x="1479268" y="3549854"/>
                  <a:pt x="1479268" y="3549854"/>
                  <a:pt x="1474596" y="3550853"/>
                </a:cubicBezTo>
                <a:cubicBezTo>
                  <a:pt x="1473599" y="3546181"/>
                  <a:pt x="1478268" y="3545184"/>
                  <a:pt x="1477271" y="3540513"/>
                </a:cubicBezTo>
                <a:cubicBezTo>
                  <a:pt x="1476274" y="3535841"/>
                  <a:pt x="1475275" y="3531170"/>
                  <a:pt x="1477950" y="3520831"/>
                </a:cubicBezTo>
                <a:cubicBezTo>
                  <a:pt x="1477950" y="3520831"/>
                  <a:pt x="1477950" y="3520831"/>
                  <a:pt x="1476953" y="3516159"/>
                </a:cubicBezTo>
                <a:cubicBezTo>
                  <a:pt x="1475956" y="3511487"/>
                  <a:pt x="1474959" y="3506818"/>
                  <a:pt x="1473959" y="3502146"/>
                </a:cubicBezTo>
                <a:cubicBezTo>
                  <a:pt x="1478631" y="3501149"/>
                  <a:pt x="1478631" y="3501149"/>
                  <a:pt x="1478631" y="3501149"/>
                </a:cubicBezTo>
                <a:cubicBezTo>
                  <a:pt x="1477993" y="3452442"/>
                  <a:pt x="1481029" y="3398067"/>
                  <a:pt x="1485742" y="3328682"/>
                </a:cubicBezTo>
                <a:cubicBezTo>
                  <a:pt x="1485742" y="3328682"/>
                  <a:pt x="1491412" y="3332354"/>
                  <a:pt x="1490413" y="3327685"/>
                </a:cubicBezTo>
                <a:cubicBezTo>
                  <a:pt x="1492409" y="3337025"/>
                  <a:pt x="1488735" y="3342694"/>
                  <a:pt x="1490732" y="3352037"/>
                </a:cubicBezTo>
                <a:cubicBezTo>
                  <a:pt x="1491730" y="3356707"/>
                  <a:pt x="1488056" y="3362377"/>
                  <a:pt x="1492048" y="3381061"/>
                </a:cubicBezTo>
                <a:cubicBezTo>
                  <a:pt x="1490370" y="3396071"/>
                  <a:pt x="1488692" y="3411082"/>
                  <a:pt x="1488015" y="3430765"/>
                </a:cubicBezTo>
                <a:cubicBezTo>
                  <a:pt x="1488651" y="3479470"/>
                  <a:pt x="1485616" y="3533845"/>
                  <a:pt x="1496593" y="3585226"/>
                </a:cubicBezTo>
                <a:cubicBezTo>
                  <a:pt x="1496593" y="3585226"/>
                  <a:pt x="1492920" y="3590896"/>
                  <a:pt x="1492920" y="3590896"/>
                </a:cubicBezTo>
                <a:cubicBezTo>
                  <a:pt x="1493920" y="3595566"/>
                  <a:pt x="1493920" y="3595566"/>
                  <a:pt x="1494916" y="3600237"/>
                </a:cubicBezTo>
                <a:cubicBezTo>
                  <a:pt x="1491242" y="3605906"/>
                  <a:pt x="1492240" y="3610578"/>
                  <a:pt x="1493239" y="3615248"/>
                </a:cubicBezTo>
                <a:cubicBezTo>
                  <a:pt x="1497910" y="3614251"/>
                  <a:pt x="1497910" y="3614251"/>
                  <a:pt x="1496911" y="3609580"/>
                </a:cubicBezTo>
                <a:cubicBezTo>
                  <a:pt x="1498908" y="3618921"/>
                  <a:pt x="1499906" y="3623594"/>
                  <a:pt x="1495235" y="3624591"/>
                </a:cubicBezTo>
                <a:cubicBezTo>
                  <a:pt x="1496232" y="3629262"/>
                  <a:pt x="1497229" y="3633932"/>
                  <a:pt x="1498229" y="3638603"/>
                </a:cubicBezTo>
                <a:cubicBezTo>
                  <a:pt x="1502899" y="3637605"/>
                  <a:pt x="1502899" y="3637605"/>
                  <a:pt x="1501903" y="3632933"/>
                </a:cubicBezTo>
                <a:cubicBezTo>
                  <a:pt x="1505575" y="3627266"/>
                  <a:pt x="1504577" y="3622595"/>
                  <a:pt x="1504577" y="3622595"/>
                </a:cubicBezTo>
                <a:cubicBezTo>
                  <a:pt x="1502582" y="3613252"/>
                  <a:pt x="1501584" y="3608581"/>
                  <a:pt x="1500585" y="3603911"/>
                </a:cubicBezTo>
                <a:cubicBezTo>
                  <a:pt x="1500585" y="3603911"/>
                  <a:pt x="1504258" y="3598241"/>
                  <a:pt x="1504258" y="3598241"/>
                </a:cubicBezTo>
                <a:cubicBezTo>
                  <a:pt x="1505255" y="3602912"/>
                  <a:pt x="1509927" y="3601915"/>
                  <a:pt x="1508929" y="3597243"/>
                </a:cubicBezTo>
                <a:cubicBezTo>
                  <a:pt x="1508929" y="3597243"/>
                  <a:pt x="1508929" y="3597243"/>
                  <a:pt x="1507930" y="3592574"/>
                </a:cubicBezTo>
                <a:cubicBezTo>
                  <a:pt x="1507930" y="3592574"/>
                  <a:pt x="1506933" y="3587901"/>
                  <a:pt x="1506933" y="3587901"/>
                </a:cubicBezTo>
                <a:cubicBezTo>
                  <a:pt x="1505936" y="3583231"/>
                  <a:pt x="1501265" y="3584228"/>
                  <a:pt x="1500267" y="3579558"/>
                </a:cubicBezTo>
                <a:cubicBezTo>
                  <a:pt x="1500267" y="3579558"/>
                  <a:pt x="1499268" y="3574887"/>
                  <a:pt x="1499268" y="3574887"/>
                </a:cubicBezTo>
                <a:cubicBezTo>
                  <a:pt x="1499268" y="3574887"/>
                  <a:pt x="1498270" y="3570216"/>
                  <a:pt x="1498270" y="3570216"/>
                </a:cubicBezTo>
                <a:cubicBezTo>
                  <a:pt x="1496273" y="3560873"/>
                  <a:pt x="1498950" y="3550533"/>
                  <a:pt x="1497951" y="3545863"/>
                </a:cubicBezTo>
                <a:cubicBezTo>
                  <a:pt x="1496953" y="3541192"/>
                  <a:pt x="1499629" y="3530852"/>
                  <a:pt x="1502303" y="3520512"/>
                </a:cubicBezTo>
                <a:lnTo>
                  <a:pt x="1503052" y="3524015"/>
                </a:lnTo>
                <a:cubicBezTo>
                  <a:pt x="1503302" y="3525183"/>
                  <a:pt x="1503302" y="3525183"/>
                  <a:pt x="1503302" y="3525183"/>
                </a:cubicBezTo>
                <a:cubicBezTo>
                  <a:pt x="1503302" y="3525183"/>
                  <a:pt x="1504300" y="3529853"/>
                  <a:pt x="1504300" y="3529853"/>
                </a:cubicBezTo>
                <a:cubicBezTo>
                  <a:pt x="1504300" y="3529853"/>
                  <a:pt x="1507974" y="3524184"/>
                  <a:pt x="1507974" y="3524184"/>
                </a:cubicBezTo>
                <a:cubicBezTo>
                  <a:pt x="1504979" y="3510172"/>
                  <a:pt x="1504979" y="3510172"/>
                  <a:pt x="1504979" y="3510172"/>
                </a:cubicBezTo>
                <a:cubicBezTo>
                  <a:pt x="1504979" y="3510172"/>
                  <a:pt x="1503981" y="3505501"/>
                  <a:pt x="1502984" y="3500831"/>
                </a:cubicBezTo>
                <a:cubicBezTo>
                  <a:pt x="1511010" y="3469809"/>
                  <a:pt x="1512685" y="3454799"/>
                  <a:pt x="1505701" y="3422101"/>
                </a:cubicBezTo>
                <a:cubicBezTo>
                  <a:pt x="1505701" y="3422101"/>
                  <a:pt x="1504702" y="3417432"/>
                  <a:pt x="1504702" y="3417432"/>
                </a:cubicBezTo>
                <a:cubicBezTo>
                  <a:pt x="1507378" y="3407090"/>
                  <a:pt x="1510053" y="3396751"/>
                  <a:pt x="1513725" y="3391082"/>
                </a:cubicBezTo>
                <a:cubicBezTo>
                  <a:pt x="1506062" y="3378068"/>
                  <a:pt x="1515402" y="3376070"/>
                  <a:pt x="1517081" y="3361059"/>
                </a:cubicBezTo>
                <a:cubicBezTo>
                  <a:pt x="1523110" y="3320699"/>
                  <a:pt x="1522473" y="3271993"/>
                  <a:pt x="1537845" y="3229635"/>
                </a:cubicBezTo>
                <a:lnTo>
                  <a:pt x="1537470" y="3237096"/>
                </a:lnTo>
                <a:lnTo>
                  <a:pt x="1536167" y="3244645"/>
                </a:lnTo>
                <a:cubicBezTo>
                  <a:pt x="1536167" y="3244645"/>
                  <a:pt x="1536836" y="3242059"/>
                  <a:pt x="1537380" y="3238891"/>
                </a:cubicBezTo>
                <a:lnTo>
                  <a:pt x="1537470" y="3237096"/>
                </a:lnTo>
                <a:lnTo>
                  <a:pt x="1547897" y="3176681"/>
                </a:lnTo>
                <a:lnTo>
                  <a:pt x="1545573" y="3277555"/>
                </a:lnTo>
                <a:cubicBezTo>
                  <a:pt x="1546668" y="3464676"/>
                  <a:pt x="1564032" y="3649179"/>
                  <a:pt x="1597367" y="3833692"/>
                </a:cubicBezTo>
                <a:cubicBezTo>
                  <a:pt x="1599024" y="3841449"/>
                  <a:pt x="1600268" y="3847267"/>
                  <a:pt x="1601925" y="3855026"/>
                </a:cubicBezTo>
                <a:cubicBezTo>
                  <a:pt x="1621187" y="3840769"/>
                  <a:pt x="1613581" y="3824145"/>
                  <a:pt x="1610266" y="3808629"/>
                </a:cubicBezTo>
                <a:cubicBezTo>
                  <a:pt x="1558492" y="3537815"/>
                  <a:pt x="1552907" y="3274371"/>
                  <a:pt x="1591906" y="3017877"/>
                </a:cubicBezTo>
                <a:lnTo>
                  <a:pt x="1617063" y="2889971"/>
                </a:lnTo>
                <a:lnTo>
                  <a:pt x="1617864" y="2892622"/>
                </a:lnTo>
                <a:cubicBezTo>
                  <a:pt x="1618030" y="2896252"/>
                  <a:pt x="1618778" y="2899754"/>
                  <a:pt x="1623449" y="2898755"/>
                </a:cubicBezTo>
                <a:cubicBezTo>
                  <a:pt x="1627462" y="2883247"/>
                  <a:pt x="1623709" y="2882826"/>
                  <a:pt x="1621000" y="2881573"/>
                </a:cubicBezTo>
                <a:lnTo>
                  <a:pt x="1619374" y="2878224"/>
                </a:lnTo>
                <a:lnTo>
                  <a:pt x="1620680" y="2871580"/>
                </a:lnTo>
                <a:lnTo>
                  <a:pt x="1624809" y="2859392"/>
                </a:lnTo>
                <a:cubicBezTo>
                  <a:pt x="1624809" y="2859392"/>
                  <a:pt x="1625807" y="2864063"/>
                  <a:pt x="1626805" y="2868734"/>
                </a:cubicBezTo>
                <a:cubicBezTo>
                  <a:pt x="1637504" y="2827374"/>
                  <a:pt x="1654871" y="2794358"/>
                  <a:pt x="1653555" y="2765334"/>
                </a:cubicBezTo>
                <a:cubicBezTo>
                  <a:pt x="1653555" y="2765334"/>
                  <a:pt x="1655550" y="2774676"/>
                  <a:pt x="1659225" y="2769008"/>
                </a:cubicBezTo>
                <a:cubicBezTo>
                  <a:pt x="1653237" y="2740980"/>
                  <a:pt x="1672600" y="2717308"/>
                  <a:pt x="1687292" y="2694632"/>
                </a:cubicBezTo>
                <a:cubicBezTo>
                  <a:pt x="1689650" y="2659938"/>
                  <a:pt x="1703343" y="2632592"/>
                  <a:pt x="1721709" y="2604247"/>
                </a:cubicBezTo>
                <a:cubicBezTo>
                  <a:pt x="1735404" y="2576901"/>
                  <a:pt x="1754767" y="2553227"/>
                  <a:pt x="1765467" y="2511867"/>
                </a:cubicBezTo>
                <a:cubicBezTo>
                  <a:pt x="1770138" y="2510869"/>
                  <a:pt x="1770138" y="2510869"/>
                  <a:pt x="1770138" y="2510869"/>
                </a:cubicBezTo>
                <a:cubicBezTo>
                  <a:pt x="1767464" y="2521209"/>
                  <a:pt x="1767464" y="2521209"/>
                  <a:pt x="1767464" y="2521209"/>
                </a:cubicBezTo>
                <a:cubicBezTo>
                  <a:pt x="1767464" y="2521209"/>
                  <a:pt x="1767464" y="2521209"/>
                  <a:pt x="1772134" y="2520212"/>
                </a:cubicBezTo>
                <a:cubicBezTo>
                  <a:pt x="1771136" y="2515541"/>
                  <a:pt x="1771136" y="2515541"/>
                  <a:pt x="1771136" y="2515541"/>
                </a:cubicBezTo>
                <a:cubicBezTo>
                  <a:pt x="1774810" y="2509871"/>
                  <a:pt x="1774810" y="2509871"/>
                  <a:pt x="1774810" y="2509871"/>
                </a:cubicBezTo>
                <a:cubicBezTo>
                  <a:pt x="1778482" y="2504202"/>
                  <a:pt x="1784831" y="2488195"/>
                  <a:pt x="1792178" y="2476856"/>
                </a:cubicBezTo>
                <a:cubicBezTo>
                  <a:pt x="1791179" y="2472185"/>
                  <a:pt x="1786509" y="2473183"/>
                  <a:pt x="1790180" y="2467514"/>
                </a:cubicBezTo>
                <a:cubicBezTo>
                  <a:pt x="1790180" y="2467514"/>
                  <a:pt x="1789183" y="2462842"/>
                  <a:pt x="1793854" y="2461845"/>
                </a:cubicBezTo>
                <a:cubicBezTo>
                  <a:pt x="1793854" y="2461845"/>
                  <a:pt x="1790180" y="2467514"/>
                  <a:pt x="1795850" y="2471187"/>
                </a:cubicBezTo>
                <a:cubicBezTo>
                  <a:pt x="1798526" y="2460847"/>
                  <a:pt x="1797527" y="2456176"/>
                  <a:pt x="1801201" y="2450507"/>
                </a:cubicBezTo>
                <a:cubicBezTo>
                  <a:pt x="1801201" y="2450507"/>
                  <a:pt x="1801201" y="2450507"/>
                  <a:pt x="1802198" y="2455177"/>
                </a:cubicBezTo>
                <a:cubicBezTo>
                  <a:pt x="1803197" y="2459849"/>
                  <a:pt x="1803197" y="2459849"/>
                  <a:pt x="1803197" y="2459849"/>
                </a:cubicBezTo>
                <a:cubicBezTo>
                  <a:pt x="1803197" y="2459849"/>
                  <a:pt x="1807868" y="2458850"/>
                  <a:pt x="1807868" y="2458850"/>
                </a:cubicBezTo>
                <a:cubicBezTo>
                  <a:pt x="1807868" y="2458850"/>
                  <a:pt x="1806871" y="2454180"/>
                  <a:pt x="1806871" y="2454180"/>
                </a:cubicBezTo>
                <a:cubicBezTo>
                  <a:pt x="1810542" y="2448511"/>
                  <a:pt x="1805872" y="2449510"/>
                  <a:pt x="1804873" y="2444837"/>
                </a:cubicBezTo>
                <a:cubicBezTo>
                  <a:pt x="1803876" y="2440166"/>
                  <a:pt x="1808546" y="2439168"/>
                  <a:pt x="1807549" y="2434499"/>
                </a:cubicBezTo>
                <a:cubicBezTo>
                  <a:pt x="1808546" y="2439168"/>
                  <a:pt x="1813219" y="2438170"/>
                  <a:pt x="1812220" y="2433500"/>
                </a:cubicBezTo>
                <a:cubicBezTo>
                  <a:pt x="1815894" y="2427831"/>
                  <a:pt x="1815894" y="2427831"/>
                  <a:pt x="1815894" y="2427831"/>
                </a:cubicBezTo>
                <a:cubicBezTo>
                  <a:pt x="1815894" y="2427831"/>
                  <a:pt x="1814895" y="2423160"/>
                  <a:pt x="1814895" y="2423160"/>
                </a:cubicBezTo>
                <a:cubicBezTo>
                  <a:pt x="1818568" y="2417492"/>
                  <a:pt x="1817570" y="2412820"/>
                  <a:pt x="1822240" y="2411823"/>
                </a:cubicBezTo>
                <a:lnTo>
                  <a:pt x="1825914" y="2406152"/>
                </a:lnTo>
                <a:lnTo>
                  <a:pt x="1826913" y="2410824"/>
                </a:lnTo>
                <a:cubicBezTo>
                  <a:pt x="1830586" y="2405155"/>
                  <a:pt x="1830586" y="2405155"/>
                  <a:pt x="1830586" y="2405155"/>
                </a:cubicBezTo>
                <a:cubicBezTo>
                  <a:pt x="1829587" y="2400485"/>
                  <a:pt x="1834258" y="2399486"/>
                  <a:pt x="1833261" y="2394815"/>
                </a:cubicBezTo>
                <a:cubicBezTo>
                  <a:pt x="1838929" y="2398489"/>
                  <a:pt x="1841605" y="2388148"/>
                  <a:pt x="1845277" y="2382479"/>
                </a:cubicBezTo>
                <a:cubicBezTo>
                  <a:pt x="1847273" y="2391822"/>
                  <a:pt x="1854620" y="2380483"/>
                  <a:pt x="1851945" y="2390824"/>
                </a:cubicBezTo>
                <a:cubicBezTo>
                  <a:pt x="1861966" y="2369146"/>
                  <a:pt x="1861966" y="2369146"/>
                  <a:pt x="1861966" y="2369146"/>
                </a:cubicBezTo>
                <a:cubicBezTo>
                  <a:pt x="1861966" y="2369146"/>
                  <a:pt x="1866636" y="2368147"/>
                  <a:pt x="1866636" y="2368147"/>
                </a:cubicBezTo>
                <a:cubicBezTo>
                  <a:pt x="1867635" y="2372820"/>
                  <a:pt x="1867635" y="2372820"/>
                  <a:pt x="1867635" y="2372820"/>
                </a:cubicBezTo>
                <a:cubicBezTo>
                  <a:pt x="1863962" y="2378487"/>
                  <a:pt x="1863962" y="2378487"/>
                  <a:pt x="1863962" y="2378487"/>
                </a:cubicBezTo>
                <a:cubicBezTo>
                  <a:pt x="1860289" y="2384157"/>
                  <a:pt x="1860289" y="2384157"/>
                  <a:pt x="1864960" y="2383159"/>
                </a:cubicBezTo>
                <a:cubicBezTo>
                  <a:pt x="1864960" y="2383159"/>
                  <a:pt x="1864960" y="2383159"/>
                  <a:pt x="1869631" y="2382161"/>
                </a:cubicBezTo>
                <a:cubicBezTo>
                  <a:pt x="1868632" y="2377489"/>
                  <a:pt x="1868632" y="2377489"/>
                  <a:pt x="1868632" y="2377489"/>
                </a:cubicBezTo>
                <a:cubicBezTo>
                  <a:pt x="1872306" y="2371821"/>
                  <a:pt x="1872306" y="2371821"/>
                  <a:pt x="1872306" y="2371821"/>
                </a:cubicBezTo>
                <a:cubicBezTo>
                  <a:pt x="1871309" y="2367149"/>
                  <a:pt x="1871309" y="2367149"/>
                  <a:pt x="1870310" y="2362478"/>
                </a:cubicBezTo>
                <a:cubicBezTo>
                  <a:pt x="1870310" y="2362478"/>
                  <a:pt x="1865639" y="2363477"/>
                  <a:pt x="1865639" y="2363477"/>
                </a:cubicBezTo>
                <a:cubicBezTo>
                  <a:pt x="1874662" y="2337128"/>
                  <a:pt x="1874662" y="2337128"/>
                  <a:pt x="1877339" y="2326787"/>
                </a:cubicBezTo>
                <a:cubicBezTo>
                  <a:pt x="1869991" y="2338127"/>
                  <a:pt x="1868993" y="2333455"/>
                  <a:pt x="1864323" y="2334453"/>
                </a:cubicBezTo>
                <a:cubicBezTo>
                  <a:pt x="1867996" y="2328783"/>
                  <a:pt x="1871668" y="2323114"/>
                  <a:pt x="1875342" y="2317445"/>
                </a:cubicBezTo>
                <a:cubicBezTo>
                  <a:pt x="1879015" y="2311777"/>
                  <a:pt x="1882688" y="2306108"/>
                  <a:pt x="1886360" y="2300440"/>
                </a:cubicBezTo>
                <a:cubicBezTo>
                  <a:pt x="1890034" y="2294769"/>
                  <a:pt x="1889037" y="2290099"/>
                  <a:pt x="1893707" y="2289102"/>
                </a:cubicBezTo>
                <a:cubicBezTo>
                  <a:pt x="1893707" y="2289102"/>
                  <a:pt x="1894705" y="2293772"/>
                  <a:pt x="1895703" y="2298443"/>
                </a:cubicBezTo>
                <a:cubicBezTo>
                  <a:pt x="1905725" y="2276764"/>
                  <a:pt x="1905725" y="2276764"/>
                  <a:pt x="1905725" y="2276764"/>
                </a:cubicBezTo>
                <a:cubicBezTo>
                  <a:pt x="1910394" y="2275767"/>
                  <a:pt x="1910394" y="2275767"/>
                  <a:pt x="1910394" y="2275767"/>
                </a:cubicBezTo>
                <a:cubicBezTo>
                  <a:pt x="1911393" y="2280438"/>
                  <a:pt x="1911393" y="2280438"/>
                  <a:pt x="1912391" y="2285110"/>
                </a:cubicBezTo>
                <a:cubicBezTo>
                  <a:pt x="1917063" y="2284111"/>
                  <a:pt x="1917063" y="2284111"/>
                  <a:pt x="1917063" y="2284111"/>
                </a:cubicBezTo>
                <a:cubicBezTo>
                  <a:pt x="1917063" y="2284111"/>
                  <a:pt x="1916065" y="2279441"/>
                  <a:pt x="1916065" y="2279441"/>
                </a:cubicBezTo>
                <a:cubicBezTo>
                  <a:pt x="1920736" y="2278443"/>
                  <a:pt x="1920736" y="2278443"/>
                  <a:pt x="1920736" y="2278443"/>
                </a:cubicBezTo>
                <a:cubicBezTo>
                  <a:pt x="1919737" y="2273771"/>
                  <a:pt x="1919737" y="2273771"/>
                  <a:pt x="1918740" y="2269100"/>
                </a:cubicBezTo>
                <a:cubicBezTo>
                  <a:pt x="1918740" y="2269100"/>
                  <a:pt x="1918740" y="2269100"/>
                  <a:pt x="1922414" y="2263431"/>
                </a:cubicBezTo>
                <a:cubicBezTo>
                  <a:pt x="1922414" y="2263431"/>
                  <a:pt x="1922414" y="2263431"/>
                  <a:pt x="1926085" y="2257763"/>
                </a:cubicBezTo>
                <a:cubicBezTo>
                  <a:pt x="1926085" y="2257763"/>
                  <a:pt x="1930756" y="2256764"/>
                  <a:pt x="1930756" y="2256764"/>
                </a:cubicBezTo>
                <a:cubicBezTo>
                  <a:pt x="1930756" y="2256764"/>
                  <a:pt x="1931755" y="2261436"/>
                  <a:pt x="1931755" y="2261436"/>
                </a:cubicBezTo>
                <a:cubicBezTo>
                  <a:pt x="1928081" y="2267104"/>
                  <a:pt x="1929080" y="2271775"/>
                  <a:pt x="1929080" y="2271775"/>
                </a:cubicBezTo>
                <a:cubicBezTo>
                  <a:pt x="1924410" y="2272774"/>
                  <a:pt x="1925407" y="2277444"/>
                  <a:pt x="1926405" y="2282115"/>
                </a:cubicBezTo>
                <a:cubicBezTo>
                  <a:pt x="1930077" y="2276446"/>
                  <a:pt x="1930077" y="2276446"/>
                  <a:pt x="1934748" y="2275449"/>
                </a:cubicBezTo>
                <a:cubicBezTo>
                  <a:pt x="1937424" y="2265107"/>
                  <a:pt x="1936426" y="2260438"/>
                  <a:pt x="1940099" y="2254769"/>
                </a:cubicBezTo>
                <a:cubicBezTo>
                  <a:pt x="1940099" y="2254769"/>
                  <a:pt x="1939100" y="2250098"/>
                  <a:pt x="1939100" y="2250098"/>
                </a:cubicBezTo>
                <a:cubicBezTo>
                  <a:pt x="1942774" y="2244429"/>
                  <a:pt x="1941777" y="2239758"/>
                  <a:pt x="1940779" y="2235086"/>
                </a:cubicBezTo>
                <a:cubicBezTo>
                  <a:pt x="1945449" y="2234089"/>
                  <a:pt x="1945449" y="2234089"/>
                  <a:pt x="1945449" y="2234089"/>
                </a:cubicBezTo>
                <a:cubicBezTo>
                  <a:pt x="1956468" y="2217082"/>
                  <a:pt x="1975833" y="2193408"/>
                  <a:pt x="1985855" y="2171731"/>
                </a:cubicBezTo>
                <a:cubicBezTo>
                  <a:pt x="1985855" y="2171731"/>
                  <a:pt x="1989527" y="2166061"/>
                  <a:pt x="1989527" y="2166061"/>
                </a:cubicBezTo>
                <a:cubicBezTo>
                  <a:pt x="1989527" y="2166061"/>
                  <a:pt x="1994197" y="2165063"/>
                  <a:pt x="1993200" y="2160392"/>
                </a:cubicBezTo>
                <a:cubicBezTo>
                  <a:pt x="1997871" y="2159393"/>
                  <a:pt x="1996872" y="2154724"/>
                  <a:pt x="2000546" y="2149055"/>
                </a:cubicBezTo>
                <a:cubicBezTo>
                  <a:pt x="2000546" y="2149055"/>
                  <a:pt x="2004219" y="2143386"/>
                  <a:pt x="2004219" y="2143386"/>
                </a:cubicBezTo>
                <a:cubicBezTo>
                  <a:pt x="2007891" y="2137717"/>
                  <a:pt x="2011565" y="2132049"/>
                  <a:pt x="2015238" y="2126379"/>
                </a:cubicBezTo>
                <a:cubicBezTo>
                  <a:pt x="2019909" y="2125381"/>
                  <a:pt x="2023582" y="2119712"/>
                  <a:pt x="2022584" y="2115041"/>
                </a:cubicBezTo>
                <a:cubicBezTo>
                  <a:pt x="2027256" y="2114043"/>
                  <a:pt x="2027256" y="2114043"/>
                  <a:pt x="2027256" y="2114043"/>
                </a:cubicBezTo>
                <a:cubicBezTo>
                  <a:pt x="2030930" y="2108374"/>
                  <a:pt x="2040950" y="2086695"/>
                  <a:pt x="2057639" y="2073362"/>
                </a:cubicBezTo>
                <a:cubicBezTo>
                  <a:pt x="2058976" y="2068192"/>
                  <a:pt x="2064486" y="2059689"/>
                  <a:pt x="2070330" y="2049893"/>
                </a:cubicBezTo>
                <a:lnTo>
                  <a:pt x="2084675" y="2019414"/>
                </a:lnTo>
                <a:lnTo>
                  <a:pt x="2085251" y="2026039"/>
                </a:lnTo>
                <a:cubicBezTo>
                  <a:pt x="2087737" y="2037676"/>
                  <a:pt x="2077757" y="2047919"/>
                  <a:pt x="2069717" y="2057748"/>
                </a:cubicBezTo>
                <a:cubicBezTo>
                  <a:pt x="2017728" y="2127663"/>
                  <a:pt x="1974742" y="2201739"/>
                  <a:pt x="1934524" y="2279281"/>
                </a:cubicBezTo>
                <a:cubicBezTo>
                  <a:pt x="1930361" y="2288281"/>
                  <a:pt x="1909160" y="2302950"/>
                  <a:pt x="1942264" y="2306017"/>
                </a:cubicBezTo>
                <a:cubicBezTo>
                  <a:pt x="1960962" y="2308106"/>
                  <a:pt x="1944468" y="2325825"/>
                  <a:pt x="1939891" y="2332886"/>
                </a:cubicBezTo>
                <a:cubicBezTo>
                  <a:pt x="1849193" y="2506383"/>
                  <a:pt x="1784668" y="2688482"/>
                  <a:pt x="1744379" y="2879600"/>
                </a:cubicBezTo>
                <a:cubicBezTo>
                  <a:pt x="1692415" y="3129990"/>
                  <a:pt x="1689487" y="3382073"/>
                  <a:pt x="1717309" y="3635697"/>
                </a:cubicBezTo>
                <a:cubicBezTo>
                  <a:pt x="1717724" y="3637636"/>
                  <a:pt x="1718552" y="3641516"/>
                  <a:pt x="1724502" y="3650384"/>
                </a:cubicBezTo>
                <a:cubicBezTo>
                  <a:pt x="1752970" y="3536823"/>
                  <a:pt x="1709128" y="3426545"/>
                  <a:pt x="1738840" y="3318804"/>
                </a:cubicBezTo>
                <a:cubicBezTo>
                  <a:pt x="1737957" y="3400107"/>
                  <a:pt x="1779048" y="3478528"/>
                  <a:pt x="1762235" y="3561205"/>
                </a:cubicBezTo>
                <a:cubicBezTo>
                  <a:pt x="1759459" y="3571939"/>
                  <a:pt x="1758032" y="3581877"/>
                  <a:pt x="1759082" y="3591538"/>
                </a:cubicBezTo>
                <a:lnTo>
                  <a:pt x="1769723" y="3617611"/>
                </a:lnTo>
                <a:lnTo>
                  <a:pt x="1769321" y="3612476"/>
                </a:lnTo>
                <a:cubicBezTo>
                  <a:pt x="1768377" y="3343615"/>
                  <a:pt x="1773244" y="3074852"/>
                  <a:pt x="1833782" y="2810787"/>
                </a:cubicBezTo>
                <a:cubicBezTo>
                  <a:pt x="1865196" y="2671762"/>
                  <a:pt x="1915310" y="2539207"/>
                  <a:pt x="1970873" y="2408113"/>
                </a:cubicBezTo>
                <a:cubicBezTo>
                  <a:pt x="1988730" y="2363264"/>
                  <a:pt x="2010672" y="2319508"/>
                  <a:pt x="2031252" y="2275389"/>
                </a:cubicBezTo>
                <a:cubicBezTo>
                  <a:pt x="2040446" y="2257416"/>
                  <a:pt x="2051370" y="2238445"/>
                  <a:pt x="2065646" y="2223293"/>
                </a:cubicBezTo>
                <a:cubicBezTo>
                  <a:pt x="2085835" y="2202426"/>
                  <a:pt x="2098581" y="2176645"/>
                  <a:pt x="2102160" y="2146947"/>
                </a:cubicBezTo>
                <a:cubicBezTo>
                  <a:pt x="2103817" y="2129872"/>
                  <a:pt x="2111187" y="2118708"/>
                  <a:pt x="2129354" y="2116277"/>
                </a:cubicBezTo>
                <a:cubicBezTo>
                  <a:pt x="2150611" y="2113214"/>
                  <a:pt x="2162799" y="2100422"/>
                  <a:pt x="2168272" y="2079992"/>
                </a:cubicBezTo>
                <a:cubicBezTo>
                  <a:pt x="2176666" y="2048665"/>
                  <a:pt x="2195226" y="2022981"/>
                  <a:pt x="2217506" y="1999754"/>
                </a:cubicBezTo>
                <a:cubicBezTo>
                  <a:pt x="2256156" y="1959018"/>
                  <a:pt x="2296168" y="1918645"/>
                  <a:pt x="2332460" y="1875815"/>
                </a:cubicBezTo>
                <a:cubicBezTo>
                  <a:pt x="2437515" y="1750682"/>
                  <a:pt x="2572408" y="1661282"/>
                  <a:pt x="2704943" y="1569790"/>
                </a:cubicBezTo>
                <a:cubicBezTo>
                  <a:pt x="2789027" y="1512030"/>
                  <a:pt x="2871749" y="1453905"/>
                  <a:pt x="2964173" y="1408599"/>
                </a:cubicBezTo>
                <a:cubicBezTo>
                  <a:pt x="2970715" y="1405972"/>
                  <a:pt x="2977624" y="1401982"/>
                  <a:pt x="2984167" y="1399357"/>
                </a:cubicBezTo>
                <a:cubicBezTo>
                  <a:pt x="2995889" y="1393739"/>
                  <a:pt x="3004328" y="1400380"/>
                  <a:pt x="3008948" y="1410376"/>
                </a:cubicBezTo>
                <a:cubicBezTo>
                  <a:pt x="3013203" y="1421736"/>
                  <a:pt x="3003936" y="1423631"/>
                  <a:pt x="2995666" y="1427255"/>
                </a:cubicBezTo>
                <a:cubicBezTo>
                  <a:pt x="2947411" y="1449362"/>
                  <a:pt x="2899789" y="1474555"/>
                  <a:pt x="2856153" y="1506659"/>
                </a:cubicBezTo>
                <a:cubicBezTo>
                  <a:pt x="2848880" y="1512010"/>
                  <a:pt x="2840247" y="1516995"/>
                  <a:pt x="2836329" y="1526166"/>
                </a:cubicBezTo>
                <a:cubicBezTo>
                  <a:pt x="2835965" y="1527527"/>
                  <a:pt x="2833508" y="1531248"/>
                  <a:pt x="2834871" y="1531611"/>
                </a:cubicBezTo>
                <a:cubicBezTo>
                  <a:pt x="2836864" y="1535067"/>
                  <a:pt x="2838957" y="1532707"/>
                  <a:pt x="2839687" y="1529983"/>
                </a:cubicBezTo>
                <a:cubicBezTo>
                  <a:pt x="2929020" y="1485309"/>
                  <a:pt x="3015366" y="1435454"/>
                  <a:pt x="3105334" y="1393869"/>
                </a:cubicBezTo>
                <a:cubicBezTo>
                  <a:pt x="3133597" y="1381004"/>
                  <a:pt x="3161494" y="1369500"/>
                  <a:pt x="3190120" y="1355273"/>
                </a:cubicBezTo>
                <a:cubicBezTo>
                  <a:pt x="3193392" y="1353961"/>
                  <a:pt x="3197253" y="1353171"/>
                  <a:pt x="3200753" y="1351005"/>
                </a:cubicBezTo>
                <a:lnTo>
                  <a:pt x="3205367" y="1344182"/>
                </a:lnTo>
                <a:lnTo>
                  <a:pt x="3191596" y="1347596"/>
                </a:lnTo>
                <a:lnTo>
                  <a:pt x="3208716" y="1339231"/>
                </a:lnTo>
                <a:lnTo>
                  <a:pt x="3209214" y="1338493"/>
                </a:lnTo>
                <a:cubicBezTo>
                  <a:pt x="3157701" y="1350967"/>
                  <a:pt x="3114333" y="1387521"/>
                  <a:pt x="3058956" y="1365383"/>
                </a:cubicBezTo>
                <a:cubicBezTo>
                  <a:pt x="3107759" y="1341234"/>
                  <a:pt x="3157098" y="1319510"/>
                  <a:pt x="3207049" y="1300185"/>
                </a:cubicBezTo>
                <a:lnTo>
                  <a:pt x="3244299" y="1287715"/>
                </a:lnTo>
                <a:lnTo>
                  <a:pt x="3186359" y="1304100"/>
                </a:lnTo>
                <a:cubicBezTo>
                  <a:pt x="3129003" y="1320412"/>
                  <a:pt x="3072475" y="1340600"/>
                  <a:pt x="3018716" y="1364251"/>
                </a:cubicBezTo>
                <a:cubicBezTo>
                  <a:pt x="2962603" y="1386380"/>
                  <a:pt x="2911611" y="1413497"/>
                  <a:pt x="2856327" y="1439503"/>
                </a:cubicBezTo>
                <a:cubicBezTo>
                  <a:pt x="2851074" y="1424403"/>
                  <a:pt x="2869357" y="1424553"/>
                  <a:pt x="2869223" y="1414441"/>
                </a:cubicBezTo>
                <a:cubicBezTo>
                  <a:pt x="2866871" y="1412916"/>
                  <a:pt x="2864517" y="1411392"/>
                  <a:pt x="2862577" y="1411805"/>
                </a:cubicBezTo>
                <a:cubicBezTo>
                  <a:pt x="2823787" y="1420092"/>
                  <a:pt x="2790949" y="1437247"/>
                  <a:pt x="2756585" y="1456757"/>
                </a:cubicBezTo>
                <a:cubicBezTo>
                  <a:pt x="2653905" y="1517224"/>
                  <a:pt x="2556349" y="1582679"/>
                  <a:pt x="2462803" y="1657418"/>
                </a:cubicBezTo>
                <a:cubicBezTo>
                  <a:pt x="2442013" y="1674026"/>
                  <a:pt x="2420397" y="1686755"/>
                  <a:pt x="2392001" y="1686740"/>
                </a:cubicBezTo>
                <a:cubicBezTo>
                  <a:pt x="2365959" y="1688247"/>
                  <a:pt x="2348354" y="1710258"/>
                  <a:pt x="2329505" y="1726455"/>
                </a:cubicBezTo>
                <a:cubicBezTo>
                  <a:pt x="2313151" y="1740088"/>
                  <a:pt x="2296280" y="1751296"/>
                  <a:pt x="2277611" y="1758833"/>
                </a:cubicBezTo>
                <a:lnTo>
                  <a:pt x="2266239" y="1762069"/>
                </a:lnTo>
                <a:lnTo>
                  <a:pt x="2282854" y="1744404"/>
                </a:lnTo>
                <a:cubicBezTo>
                  <a:pt x="2311061" y="1716399"/>
                  <a:pt x="2341603" y="1687893"/>
                  <a:pt x="2374481" y="1658891"/>
                </a:cubicBezTo>
                <a:cubicBezTo>
                  <a:pt x="2407856" y="1632224"/>
                  <a:pt x="2470936" y="1584557"/>
                  <a:pt x="2515332" y="1540883"/>
                </a:cubicBezTo>
                <a:cubicBezTo>
                  <a:pt x="2563719" y="1515893"/>
                  <a:pt x="2608115" y="1472217"/>
                  <a:pt x="2663850" y="1435891"/>
                </a:cubicBezTo>
                <a:cubicBezTo>
                  <a:pt x="2667523" y="1430220"/>
                  <a:pt x="2673191" y="1433894"/>
                  <a:pt x="2681537" y="1427227"/>
                </a:cubicBezTo>
                <a:cubicBezTo>
                  <a:pt x="2776315" y="1367905"/>
                  <a:pt x="2881435" y="1311257"/>
                  <a:pt x="2987551" y="1259281"/>
                </a:cubicBezTo>
                <a:cubicBezTo>
                  <a:pt x="3041109" y="1235627"/>
                  <a:pt x="3095166" y="1214310"/>
                  <a:pt x="3149720" y="1195329"/>
                </a:cubicBezTo>
                <a:lnTo>
                  <a:pt x="3259829" y="1162036"/>
                </a:lnTo>
                <a:lnTo>
                  <a:pt x="3210739" y="1178017"/>
                </a:lnTo>
                <a:cubicBezTo>
                  <a:pt x="3193848" y="1184679"/>
                  <a:pt x="3178247" y="1191675"/>
                  <a:pt x="3169403" y="1196006"/>
                </a:cubicBezTo>
                <a:cubicBezTo>
                  <a:pt x="3164732" y="1197005"/>
                  <a:pt x="3164732" y="1197005"/>
                  <a:pt x="3164732" y="1197005"/>
                </a:cubicBezTo>
                <a:cubicBezTo>
                  <a:pt x="3115346" y="1217324"/>
                  <a:pt x="3083647" y="1228980"/>
                  <a:pt x="3029591" y="1250298"/>
                </a:cubicBezTo>
                <a:cubicBezTo>
                  <a:pt x="3024920" y="1251297"/>
                  <a:pt x="3024920" y="1251297"/>
                  <a:pt x="3024920" y="1251297"/>
                </a:cubicBezTo>
                <a:cubicBezTo>
                  <a:pt x="3025917" y="1255966"/>
                  <a:pt x="3021247" y="1256965"/>
                  <a:pt x="3025917" y="1255966"/>
                </a:cubicBezTo>
                <a:cubicBezTo>
                  <a:pt x="3025917" y="1255966"/>
                  <a:pt x="3030589" y="1254969"/>
                  <a:pt x="3035260" y="1253970"/>
                </a:cubicBezTo>
                <a:cubicBezTo>
                  <a:pt x="3084644" y="1233653"/>
                  <a:pt x="3121016" y="1220997"/>
                  <a:pt x="3165731" y="1201677"/>
                </a:cubicBezTo>
                <a:cubicBezTo>
                  <a:pt x="3166728" y="1206348"/>
                  <a:pt x="3166728" y="1206348"/>
                  <a:pt x="3171401" y="1205351"/>
                </a:cubicBezTo>
                <a:cubicBezTo>
                  <a:pt x="3171401" y="1205351"/>
                  <a:pt x="3176071" y="1204352"/>
                  <a:pt x="3176071" y="1204352"/>
                </a:cubicBezTo>
                <a:cubicBezTo>
                  <a:pt x="3176071" y="1204352"/>
                  <a:pt x="3176071" y="1204352"/>
                  <a:pt x="3175073" y="1199680"/>
                </a:cubicBezTo>
                <a:cubicBezTo>
                  <a:pt x="3215116" y="1181357"/>
                  <a:pt x="3264821" y="1185391"/>
                  <a:pt x="3270170" y="1164711"/>
                </a:cubicBezTo>
                <a:lnTo>
                  <a:pt x="3288855" y="1160719"/>
                </a:lnTo>
                <a:cubicBezTo>
                  <a:pt x="3293525" y="1159721"/>
                  <a:pt x="3298195" y="1158724"/>
                  <a:pt x="3298195" y="1158724"/>
                </a:cubicBezTo>
                <a:cubicBezTo>
                  <a:pt x="3299194" y="1163394"/>
                  <a:pt x="3301190" y="1172736"/>
                  <a:pt x="3297518" y="1178405"/>
                </a:cubicBezTo>
                <a:cubicBezTo>
                  <a:pt x="3292847" y="1179404"/>
                  <a:pt x="3288175" y="1180401"/>
                  <a:pt x="3283504" y="1181399"/>
                </a:cubicBezTo>
                <a:cubicBezTo>
                  <a:pt x="3269491" y="1184393"/>
                  <a:pt x="3261147" y="1191060"/>
                  <a:pt x="3251805" y="1193056"/>
                </a:cubicBezTo>
                <a:cubicBezTo>
                  <a:pt x="3251805" y="1193056"/>
                  <a:pt x="3247133" y="1194053"/>
                  <a:pt x="3247133" y="1194053"/>
                </a:cubicBezTo>
                <a:cubicBezTo>
                  <a:pt x="3243461" y="1199722"/>
                  <a:pt x="3238789" y="1200720"/>
                  <a:pt x="3234118" y="1201718"/>
                </a:cubicBezTo>
                <a:cubicBezTo>
                  <a:pt x="3234118" y="1201718"/>
                  <a:pt x="3229448" y="1202715"/>
                  <a:pt x="3229448" y="1202715"/>
                </a:cubicBezTo>
                <a:cubicBezTo>
                  <a:pt x="3230447" y="1207386"/>
                  <a:pt x="3235117" y="1206389"/>
                  <a:pt x="3235117" y="1206389"/>
                </a:cubicBezTo>
                <a:cubicBezTo>
                  <a:pt x="3244459" y="1204394"/>
                  <a:pt x="3243461" y="1199722"/>
                  <a:pt x="3248132" y="1198724"/>
                </a:cubicBezTo>
                <a:cubicBezTo>
                  <a:pt x="3248132" y="1198724"/>
                  <a:pt x="3248132" y="1198724"/>
                  <a:pt x="3252802" y="1197727"/>
                </a:cubicBezTo>
                <a:cubicBezTo>
                  <a:pt x="3248132" y="1198724"/>
                  <a:pt x="3249131" y="1203396"/>
                  <a:pt x="3249131" y="1203396"/>
                </a:cubicBezTo>
                <a:cubicBezTo>
                  <a:pt x="3249131" y="1203396"/>
                  <a:pt x="3253801" y="1202397"/>
                  <a:pt x="3253801" y="1202397"/>
                </a:cubicBezTo>
                <a:cubicBezTo>
                  <a:pt x="3258472" y="1201400"/>
                  <a:pt x="3263143" y="1200401"/>
                  <a:pt x="3263143" y="1200401"/>
                </a:cubicBezTo>
                <a:cubicBezTo>
                  <a:pt x="3263143" y="1200401"/>
                  <a:pt x="3262146" y="1195729"/>
                  <a:pt x="3262146" y="1195729"/>
                </a:cubicBezTo>
                <a:cubicBezTo>
                  <a:pt x="3266816" y="1194732"/>
                  <a:pt x="3275160" y="1188065"/>
                  <a:pt x="3279831" y="1187067"/>
                </a:cubicBezTo>
                <a:cubicBezTo>
                  <a:pt x="3289174" y="1185071"/>
                  <a:pt x="3293844" y="1184074"/>
                  <a:pt x="3303187" y="1182078"/>
                </a:cubicBezTo>
                <a:cubicBezTo>
                  <a:pt x="3326541" y="1177088"/>
                  <a:pt x="3326541" y="1177088"/>
                  <a:pt x="3326541" y="1177088"/>
                </a:cubicBezTo>
                <a:cubicBezTo>
                  <a:pt x="3331213" y="1176089"/>
                  <a:pt x="3334885" y="1170421"/>
                  <a:pt x="3334885" y="1170421"/>
                </a:cubicBezTo>
                <a:cubicBezTo>
                  <a:pt x="3334885" y="1170421"/>
                  <a:pt x="3330215" y="1171419"/>
                  <a:pt x="3325543" y="1172418"/>
                </a:cubicBezTo>
                <a:cubicBezTo>
                  <a:pt x="3306859" y="1176409"/>
                  <a:pt x="3306859" y="1176409"/>
                  <a:pt x="3306859" y="1176409"/>
                </a:cubicBezTo>
                <a:cubicBezTo>
                  <a:pt x="3309534" y="1166069"/>
                  <a:pt x="3313208" y="1160400"/>
                  <a:pt x="3312209" y="1155729"/>
                </a:cubicBezTo>
                <a:cubicBezTo>
                  <a:pt x="3311211" y="1151058"/>
                  <a:pt x="3311211" y="1151058"/>
                  <a:pt x="3311211" y="1151058"/>
                </a:cubicBezTo>
                <a:cubicBezTo>
                  <a:pt x="3315882" y="1150059"/>
                  <a:pt x="3315882" y="1150059"/>
                  <a:pt x="3320555" y="1149062"/>
                </a:cubicBezTo>
                <a:cubicBezTo>
                  <a:pt x="3324227" y="1143393"/>
                  <a:pt x="3324227" y="1143393"/>
                  <a:pt x="3324227" y="1143393"/>
                </a:cubicBezTo>
                <a:cubicBezTo>
                  <a:pt x="3318557" y="1139720"/>
                  <a:pt x="3318557" y="1139720"/>
                  <a:pt x="3318557" y="1139720"/>
                </a:cubicBezTo>
                <a:cubicBezTo>
                  <a:pt x="3323230" y="1138722"/>
                  <a:pt x="3323230" y="1138722"/>
                  <a:pt x="3323230" y="1138722"/>
                </a:cubicBezTo>
                <a:cubicBezTo>
                  <a:pt x="3342911" y="1139401"/>
                  <a:pt x="3374612" y="1127745"/>
                  <a:pt x="3402637" y="1121757"/>
                </a:cubicBezTo>
                <a:cubicBezTo>
                  <a:pt x="3394293" y="1128423"/>
                  <a:pt x="3346584" y="1133732"/>
                  <a:pt x="3348580" y="1143073"/>
                </a:cubicBezTo>
                <a:lnTo>
                  <a:pt x="3343909" y="1144072"/>
                </a:lnTo>
                <a:cubicBezTo>
                  <a:pt x="3339239" y="1145071"/>
                  <a:pt x="3329895" y="1147066"/>
                  <a:pt x="3325225" y="1148063"/>
                </a:cubicBezTo>
                <a:cubicBezTo>
                  <a:pt x="3321552" y="1153733"/>
                  <a:pt x="3321552" y="1153733"/>
                  <a:pt x="3321552" y="1153733"/>
                </a:cubicBezTo>
                <a:cubicBezTo>
                  <a:pt x="3321552" y="1153733"/>
                  <a:pt x="3327221" y="1157406"/>
                  <a:pt x="3327221" y="1157406"/>
                </a:cubicBezTo>
                <a:cubicBezTo>
                  <a:pt x="3331892" y="1156408"/>
                  <a:pt x="3331892" y="1156408"/>
                  <a:pt x="3331892" y="1156408"/>
                </a:cubicBezTo>
                <a:cubicBezTo>
                  <a:pt x="3331892" y="1156408"/>
                  <a:pt x="3335565" y="1150740"/>
                  <a:pt x="3335565" y="1150740"/>
                </a:cubicBezTo>
                <a:cubicBezTo>
                  <a:pt x="3335565" y="1150740"/>
                  <a:pt x="3340236" y="1149741"/>
                  <a:pt x="3340236" y="1149741"/>
                </a:cubicBezTo>
                <a:cubicBezTo>
                  <a:pt x="3344907" y="1148743"/>
                  <a:pt x="3349577" y="1147746"/>
                  <a:pt x="3358920" y="1145750"/>
                </a:cubicBezTo>
                <a:cubicBezTo>
                  <a:pt x="3377604" y="1141758"/>
                  <a:pt x="3359919" y="1150420"/>
                  <a:pt x="3369260" y="1148425"/>
                </a:cubicBezTo>
                <a:cubicBezTo>
                  <a:pt x="3377604" y="1141758"/>
                  <a:pt x="3398285" y="1147107"/>
                  <a:pt x="3402955" y="1146109"/>
                </a:cubicBezTo>
                <a:cubicBezTo>
                  <a:pt x="3401956" y="1141439"/>
                  <a:pt x="3400959" y="1136768"/>
                  <a:pt x="3405630" y="1135769"/>
                </a:cubicBezTo>
                <a:cubicBezTo>
                  <a:pt x="3411300" y="1139443"/>
                  <a:pt x="3406629" y="1140442"/>
                  <a:pt x="3415970" y="1138446"/>
                </a:cubicBezTo>
                <a:cubicBezTo>
                  <a:pt x="3414971" y="1133775"/>
                  <a:pt x="3428985" y="1130780"/>
                  <a:pt x="3438328" y="1128784"/>
                </a:cubicBezTo>
                <a:cubicBezTo>
                  <a:pt x="3435651" y="1139124"/>
                  <a:pt x="3471025" y="1121798"/>
                  <a:pt x="3471025" y="1121798"/>
                </a:cubicBezTo>
                <a:cubicBezTo>
                  <a:pt x="3474697" y="1116129"/>
                  <a:pt x="3474697" y="1116129"/>
                  <a:pt x="3474697" y="1116129"/>
                </a:cubicBezTo>
                <a:cubicBezTo>
                  <a:pt x="3488711" y="1113136"/>
                  <a:pt x="3476695" y="1125472"/>
                  <a:pt x="3490707" y="1122479"/>
                </a:cubicBezTo>
                <a:cubicBezTo>
                  <a:pt x="3499051" y="1115811"/>
                  <a:pt x="3502725" y="1110142"/>
                  <a:pt x="3526079" y="1105153"/>
                </a:cubicBezTo>
                <a:cubicBezTo>
                  <a:pt x="3540093" y="1102158"/>
                  <a:pt x="3555104" y="1103836"/>
                  <a:pt x="3569117" y="1100842"/>
                </a:cubicBezTo>
                <a:cubicBezTo>
                  <a:pt x="3573788" y="1099844"/>
                  <a:pt x="3578459" y="1098846"/>
                  <a:pt x="3583129" y="1097849"/>
                </a:cubicBezTo>
                <a:cubicBezTo>
                  <a:pt x="3611156" y="1091861"/>
                  <a:pt x="3588799" y="1101522"/>
                  <a:pt x="3613152" y="1101202"/>
                </a:cubicBezTo>
                <a:cubicBezTo>
                  <a:pt x="3629841" y="1087868"/>
                  <a:pt x="3694555" y="1093580"/>
                  <a:pt x="3706573" y="1081242"/>
                </a:cubicBezTo>
                <a:lnTo>
                  <a:pt x="3708908" y="1080744"/>
                </a:lnTo>
                <a:cubicBezTo>
                  <a:pt x="3715914" y="1079247"/>
                  <a:pt x="3725257" y="1077251"/>
                  <a:pt x="3725257" y="1077251"/>
                </a:cubicBezTo>
                <a:cubicBezTo>
                  <a:pt x="3729928" y="1076254"/>
                  <a:pt x="3729928" y="1076254"/>
                  <a:pt x="3729928" y="1076254"/>
                </a:cubicBezTo>
                <a:cubicBezTo>
                  <a:pt x="3729928" y="1076254"/>
                  <a:pt x="3734599" y="1075255"/>
                  <a:pt x="3739269" y="1074258"/>
                </a:cubicBezTo>
                <a:cubicBezTo>
                  <a:pt x="3796321" y="1066953"/>
                  <a:pt x="3829017" y="1059968"/>
                  <a:pt x="3866705" y="1076336"/>
                </a:cubicBezTo>
                <a:cubicBezTo>
                  <a:pt x="3869380" y="1065996"/>
                  <a:pt x="3910740" y="1076699"/>
                  <a:pt x="3919084" y="1070031"/>
                </a:cubicBezTo>
                <a:cubicBezTo>
                  <a:pt x="3908744" y="1067356"/>
                  <a:pt x="3948108" y="1068716"/>
                  <a:pt x="3951782" y="1063046"/>
                </a:cubicBezTo>
                <a:cubicBezTo>
                  <a:pt x="3952779" y="1067717"/>
                  <a:pt x="3948108" y="1068716"/>
                  <a:pt x="3943436" y="1069713"/>
                </a:cubicBezTo>
                <a:cubicBezTo>
                  <a:pt x="3963959" y="1062885"/>
                  <a:pt x="3981973" y="1061480"/>
                  <a:pt x="4000821" y="1061115"/>
                </a:cubicBezTo>
                <a:lnTo>
                  <a:pt x="4059509" y="1058914"/>
                </a:lnTo>
                <a:lnTo>
                  <a:pt x="4065917" y="1060029"/>
                </a:lnTo>
                <a:cubicBezTo>
                  <a:pt x="4072129" y="1060534"/>
                  <a:pt x="4080553" y="1059956"/>
                  <a:pt x="4081891" y="1054786"/>
                </a:cubicBezTo>
                <a:close/>
                <a:moveTo>
                  <a:pt x="3073381" y="1003429"/>
                </a:moveTo>
                <a:lnTo>
                  <a:pt x="3075110" y="1006131"/>
                </a:lnTo>
                <a:cubicBezTo>
                  <a:pt x="3075110" y="1006131"/>
                  <a:pt x="3070439" y="1007129"/>
                  <a:pt x="3070439" y="1007129"/>
                </a:cubicBezTo>
                <a:cubicBezTo>
                  <a:pt x="3065769" y="1008126"/>
                  <a:pt x="3061097" y="1009125"/>
                  <a:pt x="3062096" y="1013796"/>
                </a:cubicBezTo>
                <a:cubicBezTo>
                  <a:pt x="3062096" y="1013796"/>
                  <a:pt x="3062096" y="1013796"/>
                  <a:pt x="3066767" y="1012799"/>
                </a:cubicBezTo>
                <a:cubicBezTo>
                  <a:pt x="3071437" y="1011800"/>
                  <a:pt x="3071437" y="1011800"/>
                  <a:pt x="3071437" y="1011800"/>
                </a:cubicBezTo>
                <a:cubicBezTo>
                  <a:pt x="3038741" y="1018786"/>
                  <a:pt x="2980013" y="1041101"/>
                  <a:pt x="2960649" y="1064775"/>
                </a:cubicBezTo>
                <a:cubicBezTo>
                  <a:pt x="2950141" y="1067019"/>
                  <a:pt x="2938419" y="1070746"/>
                  <a:pt x="2925558" y="1075554"/>
                </a:cubicBezTo>
                <a:lnTo>
                  <a:pt x="2899162" y="1086428"/>
                </a:lnTo>
                <a:lnTo>
                  <a:pt x="2903371" y="1080657"/>
                </a:lnTo>
                <a:cubicBezTo>
                  <a:pt x="2910167" y="1065009"/>
                  <a:pt x="2925269" y="1059755"/>
                  <a:pt x="2939957" y="1052562"/>
                </a:cubicBezTo>
                <a:close/>
                <a:moveTo>
                  <a:pt x="5800514" y="966736"/>
                </a:moveTo>
                <a:lnTo>
                  <a:pt x="5823561" y="985857"/>
                </a:lnTo>
                <a:lnTo>
                  <a:pt x="5812369" y="974867"/>
                </a:lnTo>
                <a:close/>
                <a:moveTo>
                  <a:pt x="4691065" y="966665"/>
                </a:moveTo>
                <a:lnTo>
                  <a:pt x="4697929" y="967981"/>
                </a:lnTo>
                <a:lnTo>
                  <a:pt x="4702739" y="970365"/>
                </a:lnTo>
                <a:close/>
                <a:moveTo>
                  <a:pt x="3242294" y="953477"/>
                </a:moveTo>
                <a:lnTo>
                  <a:pt x="3244945" y="955193"/>
                </a:lnTo>
                <a:cubicBezTo>
                  <a:pt x="3235603" y="957189"/>
                  <a:pt x="3226260" y="959187"/>
                  <a:pt x="3222587" y="964854"/>
                </a:cubicBezTo>
                <a:cubicBezTo>
                  <a:pt x="3217918" y="965853"/>
                  <a:pt x="3208575" y="967849"/>
                  <a:pt x="3203904" y="968846"/>
                </a:cubicBezTo>
                <a:cubicBezTo>
                  <a:pt x="3189891" y="971840"/>
                  <a:pt x="3180549" y="973837"/>
                  <a:pt x="3166536" y="976829"/>
                </a:cubicBezTo>
                <a:cubicBezTo>
                  <a:pt x="3143181" y="981820"/>
                  <a:pt x="3126491" y="995154"/>
                  <a:pt x="3102137" y="995473"/>
                </a:cubicBezTo>
                <a:lnTo>
                  <a:pt x="3102436" y="994324"/>
                </a:lnTo>
                <a:lnTo>
                  <a:pt x="3217427" y="959472"/>
                </a:lnTo>
                <a:close/>
                <a:moveTo>
                  <a:pt x="3376913" y="922116"/>
                </a:moveTo>
                <a:lnTo>
                  <a:pt x="3336954" y="930653"/>
                </a:lnTo>
                <a:lnTo>
                  <a:pt x="3358282" y="925510"/>
                </a:lnTo>
                <a:close/>
                <a:moveTo>
                  <a:pt x="3950309" y="744665"/>
                </a:moveTo>
                <a:cubicBezTo>
                  <a:pt x="4249637" y="736884"/>
                  <a:pt x="4545266" y="777512"/>
                  <a:pt x="4826941" y="861419"/>
                </a:cubicBezTo>
                <a:cubicBezTo>
                  <a:pt x="4817601" y="863415"/>
                  <a:pt x="4811931" y="859742"/>
                  <a:pt x="4812928" y="864412"/>
                </a:cubicBezTo>
                <a:cubicBezTo>
                  <a:pt x="4851613" y="885453"/>
                  <a:pt x="4859958" y="878787"/>
                  <a:pt x="4895649" y="885814"/>
                </a:cubicBezTo>
                <a:cubicBezTo>
                  <a:pt x="4926669" y="893839"/>
                  <a:pt x="4963358" y="905536"/>
                  <a:pt x="4995377" y="918233"/>
                </a:cubicBezTo>
                <a:cubicBezTo>
                  <a:pt x="5002043" y="926578"/>
                  <a:pt x="5044401" y="941949"/>
                  <a:pt x="5053743" y="939953"/>
                </a:cubicBezTo>
                <a:cubicBezTo>
                  <a:pt x="5054740" y="944624"/>
                  <a:pt x="5054740" y="944624"/>
                  <a:pt x="5054740" y="944624"/>
                </a:cubicBezTo>
                <a:cubicBezTo>
                  <a:pt x="5059411" y="943626"/>
                  <a:pt x="5059411" y="943626"/>
                  <a:pt x="5059411" y="943626"/>
                </a:cubicBezTo>
                <a:cubicBezTo>
                  <a:pt x="5060410" y="948297"/>
                  <a:pt x="5060410" y="948297"/>
                  <a:pt x="5065081" y="947300"/>
                </a:cubicBezTo>
                <a:cubicBezTo>
                  <a:pt x="5069751" y="946301"/>
                  <a:pt x="5069751" y="946301"/>
                  <a:pt x="5075420" y="949975"/>
                </a:cubicBezTo>
                <a:cubicBezTo>
                  <a:pt x="5081090" y="953649"/>
                  <a:pt x="5097099" y="959996"/>
                  <a:pt x="5101770" y="958998"/>
                </a:cubicBezTo>
                <a:cubicBezTo>
                  <a:pt x="5129117" y="972692"/>
                  <a:pt x="5156463" y="986386"/>
                  <a:pt x="5187483" y="994412"/>
                </a:cubicBezTo>
                <a:cubicBezTo>
                  <a:pt x="5198821" y="1001757"/>
                  <a:pt x="5210159" y="1009104"/>
                  <a:pt x="5220499" y="1011779"/>
                </a:cubicBezTo>
                <a:cubicBezTo>
                  <a:pt x="5247847" y="1025473"/>
                  <a:pt x="5275193" y="1039168"/>
                  <a:pt x="5296871" y="1049189"/>
                </a:cubicBezTo>
                <a:cubicBezTo>
                  <a:pt x="5296871" y="1049189"/>
                  <a:pt x="5292201" y="1050187"/>
                  <a:pt x="5292201" y="1050187"/>
                </a:cubicBezTo>
                <a:cubicBezTo>
                  <a:pt x="5297869" y="1053861"/>
                  <a:pt x="5303538" y="1057532"/>
                  <a:pt x="5308209" y="1056534"/>
                </a:cubicBezTo>
                <a:cubicBezTo>
                  <a:pt x="5631701" y="1221864"/>
                  <a:pt x="5925129" y="1452227"/>
                  <a:pt x="6165817" y="1732932"/>
                </a:cubicBezTo>
                <a:cubicBezTo>
                  <a:pt x="6298157" y="1895142"/>
                  <a:pt x="6412891" y="2072104"/>
                  <a:pt x="6507308" y="2262564"/>
                </a:cubicBezTo>
                <a:lnTo>
                  <a:pt x="6530564" y="2317112"/>
                </a:lnTo>
                <a:lnTo>
                  <a:pt x="6530564" y="2701060"/>
                </a:lnTo>
                <a:lnTo>
                  <a:pt x="6526175" y="2710932"/>
                </a:lnTo>
                <a:cubicBezTo>
                  <a:pt x="6503179" y="2671888"/>
                  <a:pt x="6478867" y="2603819"/>
                  <a:pt x="6455513" y="2608808"/>
                </a:cubicBezTo>
                <a:cubicBezTo>
                  <a:pt x="6455513" y="2608808"/>
                  <a:pt x="6454515" y="2604137"/>
                  <a:pt x="6454515" y="2604137"/>
                </a:cubicBezTo>
                <a:cubicBezTo>
                  <a:pt x="6454515" y="2604137"/>
                  <a:pt x="6452519" y="2594796"/>
                  <a:pt x="6452519" y="2594796"/>
                </a:cubicBezTo>
                <a:cubicBezTo>
                  <a:pt x="6446850" y="2591122"/>
                  <a:pt x="6445853" y="2586451"/>
                  <a:pt x="6446850" y="2591122"/>
                </a:cubicBezTo>
                <a:cubicBezTo>
                  <a:pt x="6440184" y="2582777"/>
                  <a:pt x="6437191" y="2568765"/>
                  <a:pt x="6421859" y="2542736"/>
                </a:cubicBezTo>
                <a:cubicBezTo>
                  <a:pt x="6415193" y="2534391"/>
                  <a:pt x="6414195" y="2529719"/>
                  <a:pt x="6413197" y="2525048"/>
                </a:cubicBezTo>
                <a:cubicBezTo>
                  <a:pt x="6413197" y="2525048"/>
                  <a:pt x="6407529" y="2521375"/>
                  <a:pt x="6407529" y="2521375"/>
                </a:cubicBezTo>
                <a:cubicBezTo>
                  <a:pt x="6406530" y="2516706"/>
                  <a:pt x="6406530" y="2516706"/>
                  <a:pt x="6406530" y="2516706"/>
                </a:cubicBezTo>
                <a:cubicBezTo>
                  <a:pt x="6405533" y="2512033"/>
                  <a:pt x="6401861" y="2517703"/>
                  <a:pt x="6401861" y="2517703"/>
                </a:cubicBezTo>
                <a:cubicBezTo>
                  <a:pt x="6400861" y="2513032"/>
                  <a:pt x="6400861" y="2513032"/>
                  <a:pt x="6400861" y="2513032"/>
                </a:cubicBezTo>
                <a:cubicBezTo>
                  <a:pt x="6396191" y="2514030"/>
                  <a:pt x="6392199" y="2495345"/>
                  <a:pt x="6387528" y="2496344"/>
                </a:cubicBezTo>
                <a:cubicBezTo>
                  <a:pt x="6397189" y="2518700"/>
                  <a:pt x="6388527" y="2501014"/>
                  <a:pt x="6385850" y="2511354"/>
                </a:cubicBezTo>
                <a:cubicBezTo>
                  <a:pt x="6375192" y="2484326"/>
                  <a:pt x="6383175" y="2521695"/>
                  <a:pt x="6374513" y="2504009"/>
                </a:cubicBezTo>
                <a:cubicBezTo>
                  <a:pt x="6363855" y="2476981"/>
                  <a:pt x="6359182" y="2477980"/>
                  <a:pt x="6360859" y="2462967"/>
                </a:cubicBezTo>
                <a:cubicBezTo>
                  <a:pt x="6346847" y="2465962"/>
                  <a:pt x="6323533" y="2402563"/>
                  <a:pt x="6299541" y="2358847"/>
                </a:cubicBezTo>
                <a:cubicBezTo>
                  <a:pt x="6298543" y="2354175"/>
                  <a:pt x="6291875" y="2345832"/>
                  <a:pt x="6284212" y="2332816"/>
                </a:cubicBezTo>
                <a:cubicBezTo>
                  <a:pt x="6261217" y="2293772"/>
                  <a:pt x="6245888" y="2267742"/>
                  <a:pt x="6231556" y="2246383"/>
                </a:cubicBezTo>
                <a:cubicBezTo>
                  <a:pt x="6224890" y="2238037"/>
                  <a:pt x="6230559" y="2241711"/>
                  <a:pt x="6228563" y="2232369"/>
                </a:cubicBezTo>
                <a:cubicBezTo>
                  <a:pt x="6223891" y="2233367"/>
                  <a:pt x="6218223" y="2229693"/>
                  <a:pt x="6217223" y="2225023"/>
                </a:cubicBezTo>
                <a:cubicBezTo>
                  <a:pt x="6216227" y="2220352"/>
                  <a:pt x="6228563" y="2232369"/>
                  <a:pt x="6220897" y="2219353"/>
                </a:cubicBezTo>
                <a:cubicBezTo>
                  <a:pt x="6201894" y="2198991"/>
                  <a:pt x="6205567" y="2193324"/>
                  <a:pt x="6178901" y="2159947"/>
                </a:cubicBezTo>
                <a:cubicBezTo>
                  <a:pt x="6188241" y="2157951"/>
                  <a:pt x="6188241" y="2157951"/>
                  <a:pt x="6188241" y="2157951"/>
                </a:cubicBezTo>
                <a:cubicBezTo>
                  <a:pt x="6173910" y="2136592"/>
                  <a:pt x="6167243" y="2128248"/>
                  <a:pt x="6171235" y="2146932"/>
                </a:cubicBezTo>
                <a:cubicBezTo>
                  <a:pt x="6158899" y="2134916"/>
                  <a:pt x="6167243" y="2128248"/>
                  <a:pt x="6150235" y="2117229"/>
                </a:cubicBezTo>
                <a:cubicBezTo>
                  <a:pt x="6155904" y="2120903"/>
                  <a:pt x="6154907" y="2116231"/>
                  <a:pt x="6149238" y="2112559"/>
                </a:cubicBezTo>
                <a:cubicBezTo>
                  <a:pt x="6153909" y="2111560"/>
                  <a:pt x="6153909" y="2111560"/>
                  <a:pt x="6153909" y="2111560"/>
                </a:cubicBezTo>
                <a:cubicBezTo>
                  <a:pt x="6159578" y="2115233"/>
                  <a:pt x="6158581" y="2110562"/>
                  <a:pt x="6158581" y="2110562"/>
                </a:cubicBezTo>
                <a:cubicBezTo>
                  <a:pt x="6157582" y="2105892"/>
                  <a:pt x="6157582" y="2105892"/>
                  <a:pt x="6157582" y="2105892"/>
                </a:cubicBezTo>
                <a:cubicBezTo>
                  <a:pt x="6170917" y="2122580"/>
                  <a:pt x="6160257" y="2095550"/>
                  <a:pt x="6147921" y="2083534"/>
                </a:cubicBezTo>
                <a:cubicBezTo>
                  <a:pt x="6152592" y="2082535"/>
                  <a:pt x="6152592" y="2082535"/>
                  <a:pt x="6152592" y="2082535"/>
                </a:cubicBezTo>
                <a:cubicBezTo>
                  <a:pt x="6152592" y="2082535"/>
                  <a:pt x="6152592" y="2082535"/>
                  <a:pt x="6151595" y="2077865"/>
                </a:cubicBezTo>
                <a:cubicBezTo>
                  <a:pt x="6151595" y="2077865"/>
                  <a:pt x="6145926" y="2074193"/>
                  <a:pt x="6145926" y="2074193"/>
                </a:cubicBezTo>
                <a:cubicBezTo>
                  <a:pt x="6131594" y="2052834"/>
                  <a:pt x="6110595" y="2023131"/>
                  <a:pt x="6089597" y="1993426"/>
                </a:cubicBezTo>
                <a:cubicBezTo>
                  <a:pt x="6063927" y="1964722"/>
                  <a:pt x="6038257" y="1936016"/>
                  <a:pt x="6019255" y="1915656"/>
                </a:cubicBezTo>
                <a:cubicBezTo>
                  <a:pt x="6010591" y="1897969"/>
                  <a:pt x="5985919" y="1873934"/>
                  <a:pt x="5960249" y="1845230"/>
                </a:cubicBezTo>
                <a:cubicBezTo>
                  <a:pt x="5940249" y="1820198"/>
                  <a:pt x="5914579" y="1791491"/>
                  <a:pt x="5903921" y="1764465"/>
                </a:cubicBezTo>
                <a:cubicBezTo>
                  <a:pt x="5893581" y="1761789"/>
                  <a:pt x="5881245" y="1749773"/>
                  <a:pt x="5875576" y="1746097"/>
                </a:cubicBezTo>
                <a:cubicBezTo>
                  <a:pt x="5875576" y="1746097"/>
                  <a:pt x="5874577" y="1741428"/>
                  <a:pt x="5874577" y="1741428"/>
                </a:cubicBezTo>
                <a:cubicBezTo>
                  <a:pt x="5868909" y="1737755"/>
                  <a:pt x="5868909" y="1737755"/>
                  <a:pt x="5867911" y="1733084"/>
                </a:cubicBezTo>
                <a:cubicBezTo>
                  <a:pt x="5863240" y="1734081"/>
                  <a:pt x="5863240" y="1734081"/>
                  <a:pt x="5864239" y="1738752"/>
                </a:cubicBezTo>
                <a:cubicBezTo>
                  <a:pt x="5817569" y="1680344"/>
                  <a:pt x="5734213" y="1610238"/>
                  <a:pt x="5653531" y="1529790"/>
                </a:cubicBezTo>
                <a:cubicBezTo>
                  <a:pt x="5653531" y="1529790"/>
                  <a:pt x="5653531" y="1529790"/>
                  <a:pt x="5652531" y="1525119"/>
                </a:cubicBezTo>
                <a:cubicBezTo>
                  <a:pt x="5666545" y="1522125"/>
                  <a:pt x="5664868" y="1537137"/>
                  <a:pt x="5697884" y="1554504"/>
                </a:cubicBezTo>
                <a:cubicBezTo>
                  <a:pt x="5694211" y="1560172"/>
                  <a:pt x="5695209" y="1564844"/>
                  <a:pt x="5701875" y="1573189"/>
                </a:cubicBezTo>
                <a:cubicBezTo>
                  <a:pt x="5707545" y="1576861"/>
                  <a:pt x="5724553" y="1587879"/>
                  <a:pt x="5742557" y="1603571"/>
                </a:cubicBezTo>
                <a:cubicBezTo>
                  <a:pt x="5760562" y="1619260"/>
                  <a:pt x="5778567" y="1634952"/>
                  <a:pt x="5779564" y="1639622"/>
                </a:cubicBezTo>
                <a:cubicBezTo>
                  <a:pt x="5791900" y="1651638"/>
                  <a:pt x="5816573" y="1675674"/>
                  <a:pt x="5840245" y="1695037"/>
                </a:cubicBezTo>
                <a:cubicBezTo>
                  <a:pt x="5859248" y="1715397"/>
                  <a:pt x="5878251" y="1735759"/>
                  <a:pt x="5879249" y="1740430"/>
                </a:cubicBezTo>
                <a:cubicBezTo>
                  <a:pt x="5895259" y="1746778"/>
                  <a:pt x="5917256" y="1781152"/>
                  <a:pt x="5934262" y="1792171"/>
                </a:cubicBezTo>
                <a:cubicBezTo>
                  <a:pt x="5934262" y="1792171"/>
                  <a:pt x="5935261" y="1796841"/>
                  <a:pt x="5935261" y="1796841"/>
                </a:cubicBezTo>
                <a:cubicBezTo>
                  <a:pt x="5936258" y="1801513"/>
                  <a:pt x="5936258" y="1801513"/>
                  <a:pt x="5936258" y="1801513"/>
                </a:cubicBezTo>
                <a:cubicBezTo>
                  <a:pt x="5936258" y="1801513"/>
                  <a:pt x="5940929" y="1800515"/>
                  <a:pt x="5940929" y="1800515"/>
                </a:cubicBezTo>
                <a:cubicBezTo>
                  <a:pt x="5953264" y="1812533"/>
                  <a:pt x="5948594" y="1813530"/>
                  <a:pt x="5955260" y="1821873"/>
                </a:cubicBezTo>
                <a:cubicBezTo>
                  <a:pt x="5955260" y="1821873"/>
                  <a:pt x="5956259" y="1826546"/>
                  <a:pt x="5956259" y="1826546"/>
                </a:cubicBezTo>
                <a:cubicBezTo>
                  <a:pt x="5956259" y="1826546"/>
                  <a:pt x="5961927" y="1830220"/>
                  <a:pt x="5961927" y="1830220"/>
                </a:cubicBezTo>
                <a:cubicBezTo>
                  <a:pt x="5960930" y="1825547"/>
                  <a:pt x="5960930" y="1825547"/>
                  <a:pt x="5960930" y="1825547"/>
                </a:cubicBezTo>
                <a:cubicBezTo>
                  <a:pt x="5979932" y="1845910"/>
                  <a:pt x="5987597" y="1858924"/>
                  <a:pt x="6004605" y="1869943"/>
                </a:cubicBezTo>
                <a:cubicBezTo>
                  <a:pt x="5999933" y="1870942"/>
                  <a:pt x="5999933" y="1870942"/>
                  <a:pt x="5999933" y="1870942"/>
                </a:cubicBezTo>
                <a:lnTo>
                  <a:pt x="6000931" y="1875612"/>
                </a:lnTo>
                <a:cubicBezTo>
                  <a:pt x="6001929" y="1880283"/>
                  <a:pt x="6006601" y="1879284"/>
                  <a:pt x="6006601" y="1879284"/>
                </a:cubicBezTo>
                <a:cubicBezTo>
                  <a:pt x="6006601" y="1879284"/>
                  <a:pt x="6006601" y="1879284"/>
                  <a:pt x="6011271" y="1878287"/>
                </a:cubicBezTo>
                <a:cubicBezTo>
                  <a:pt x="6012269" y="1882958"/>
                  <a:pt x="6012269" y="1882958"/>
                  <a:pt x="6012269" y="1882958"/>
                </a:cubicBezTo>
                <a:cubicBezTo>
                  <a:pt x="6024604" y="1894976"/>
                  <a:pt x="6020931" y="1900645"/>
                  <a:pt x="6027599" y="1908989"/>
                </a:cubicBezTo>
                <a:cubicBezTo>
                  <a:pt x="6032269" y="1907991"/>
                  <a:pt x="6031271" y="1903319"/>
                  <a:pt x="6037939" y="1911662"/>
                </a:cubicBezTo>
                <a:cubicBezTo>
                  <a:pt x="6038936" y="1916334"/>
                  <a:pt x="6043606" y="1915336"/>
                  <a:pt x="6044605" y="1920008"/>
                </a:cubicBezTo>
                <a:cubicBezTo>
                  <a:pt x="6039935" y="1921005"/>
                  <a:pt x="6039935" y="1921005"/>
                  <a:pt x="6040933" y="1925676"/>
                </a:cubicBezTo>
                <a:cubicBezTo>
                  <a:pt x="6040933" y="1925676"/>
                  <a:pt x="6041931" y="1930346"/>
                  <a:pt x="6046601" y="1929349"/>
                </a:cubicBezTo>
                <a:cubicBezTo>
                  <a:pt x="6046601" y="1929349"/>
                  <a:pt x="6047599" y="1934020"/>
                  <a:pt x="6052271" y="1933023"/>
                </a:cubicBezTo>
                <a:cubicBezTo>
                  <a:pt x="6058937" y="1941367"/>
                  <a:pt x="6090275" y="1973745"/>
                  <a:pt x="6084607" y="1970071"/>
                </a:cubicBezTo>
                <a:cubicBezTo>
                  <a:pt x="6092952" y="1963405"/>
                  <a:pt x="6067599" y="1959052"/>
                  <a:pt x="6075945" y="1952386"/>
                </a:cubicBezTo>
                <a:cubicBezTo>
                  <a:pt x="6070275" y="1948713"/>
                  <a:pt x="6064605" y="1945039"/>
                  <a:pt x="6057939" y="1936695"/>
                </a:cubicBezTo>
                <a:cubicBezTo>
                  <a:pt x="6057939" y="1936695"/>
                  <a:pt x="6057939" y="1936695"/>
                  <a:pt x="6056941" y="1932024"/>
                </a:cubicBezTo>
                <a:cubicBezTo>
                  <a:pt x="6056941" y="1932024"/>
                  <a:pt x="6055943" y="1927353"/>
                  <a:pt x="6055943" y="1927353"/>
                </a:cubicBezTo>
                <a:cubicBezTo>
                  <a:pt x="6054946" y="1922683"/>
                  <a:pt x="6049276" y="1919009"/>
                  <a:pt x="6049276" y="1919009"/>
                </a:cubicBezTo>
                <a:cubicBezTo>
                  <a:pt x="6046283" y="1904996"/>
                  <a:pt x="6031271" y="1903319"/>
                  <a:pt x="6017937" y="1886631"/>
                </a:cubicBezTo>
                <a:cubicBezTo>
                  <a:pt x="6022609" y="1885633"/>
                  <a:pt x="6021611" y="1880962"/>
                  <a:pt x="6015942" y="1877290"/>
                </a:cubicBezTo>
                <a:cubicBezTo>
                  <a:pt x="6014943" y="1872617"/>
                  <a:pt x="6014943" y="1872617"/>
                  <a:pt x="6014943" y="1872617"/>
                </a:cubicBezTo>
                <a:cubicBezTo>
                  <a:pt x="6014943" y="1872617"/>
                  <a:pt x="6013945" y="1867947"/>
                  <a:pt x="6012949" y="1863276"/>
                </a:cubicBezTo>
                <a:cubicBezTo>
                  <a:pt x="6008279" y="1864274"/>
                  <a:pt x="6007279" y="1859602"/>
                  <a:pt x="6008279" y="1864274"/>
                </a:cubicBezTo>
                <a:cubicBezTo>
                  <a:pt x="6008279" y="1864274"/>
                  <a:pt x="6003605" y="1865272"/>
                  <a:pt x="6003605" y="1865272"/>
                </a:cubicBezTo>
                <a:cubicBezTo>
                  <a:pt x="6000612" y="1851259"/>
                  <a:pt x="5992267" y="1857927"/>
                  <a:pt x="5985601" y="1849581"/>
                </a:cubicBezTo>
                <a:cubicBezTo>
                  <a:pt x="5977936" y="1836566"/>
                  <a:pt x="5971269" y="1828222"/>
                  <a:pt x="5965600" y="1824550"/>
                </a:cubicBezTo>
                <a:cubicBezTo>
                  <a:pt x="5965600" y="1824550"/>
                  <a:pt x="5964603" y="1819878"/>
                  <a:pt x="5964603" y="1819878"/>
                </a:cubicBezTo>
                <a:cubicBezTo>
                  <a:pt x="5964603" y="1819878"/>
                  <a:pt x="5964603" y="1819878"/>
                  <a:pt x="5963605" y="1815208"/>
                </a:cubicBezTo>
                <a:cubicBezTo>
                  <a:pt x="5952267" y="1807860"/>
                  <a:pt x="5952267" y="1807860"/>
                  <a:pt x="5945599" y="1799518"/>
                </a:cubicBezTo>
                <a:cubicBezTo>
                  <a:pt x="5946598" y="1804188"/>
                  <a:pt x="5946598" y="1804188"/>
                  <a:pt x="5951268" y="1803190"/>
                </a:cubicBezTo>
                <a:cubicBezTo>
                  <a:pt x="5951268" y="1803190"/>
                  <a:pt x="5951268" y="1803190"/>
                  <a:pt x="5950271" y="1798519"/>
                </a:cubicBezTo>
                <a:cubicBezTo>
                  <a:pt x="5950271" y="1798519"/>
                  <a:pt x="5944601" y="1794847"/>
                  <a:pt x="5944601" y="1794847"/>
                </a:cubicBezTo>
                <a:cubicBezTo>
                  <a:pt x="5938933" y="1791173"/>
                  <a:pt x="5938933" y="1791173"/>
                  <a:pt x="5938933" y="1791173"/>
                </a:cubicBezTo>
                <a:cubicBezTo>
                  <a:pt x="5937936" y="1786503"/>
                  <a:pt x="5937936" y="1786503"/>
                  <a:pt x="5931269" y="1778159"/>
                </a:cubicBezTo>
                <a:cubicBezTo>
                  <a:pt x="5932265" y="1782829"/>
                  <a:pt x="5926595" y="1779156"/>
                  <a:pt x="5919929" y="1770811"/>
                </a:cubicBezTo>
                <a:cubicBezTo>
                  <a:pt x="5924601" y="1769814"/>
                  <a:pt x="5925598" y="1774486"/>
                  <a:pt x="5930269" y="1773488"/>
                </a:cubicBezTo>
                <a:cubicBezTo>
                  <a:pt x="5917935" y="1761471"/>
                  <a:pt x="5919929" y="1770811"/>
                  <a:pt x="5913263" y="1762468"/>
                </a:cubicBezTo>
                <a:cubicBezTo>
                  <a:pt x="5905597" y="1749453"/>
                  <a:pt x="5912265" y="1757797"/>
                  <a:pt x="5894260" y="1742107"/>
                </a:cubicBezTo>
                <a:cubicBezTo>
                  <a:pt x="5897933" y="1736438"/>
                  <a:pt x="5903603" y="1740111"/>
                  <a:pt x="5908274" y="1739112"/>
                </a:cubicBezTo>
                <a:cubicBezTo>
                  <a:pt x="5896935" y="1731767"/>
                  <a:pt x="5891267" y="1728094"/>
                  <a:pt x="5885598" y="1724422"/>
                </a:cubicBezTo>
                <a:cubicBezTo>
                  <a:pt x="5890269" y="1723424"/>
                  <a:pt x="5890269" y="1723424"/>
                  <a:pt x="5890269" y="1723424"/>
                </a:cubicBezTo>
                <a:cubicBezTo>
                  <a:pt x="5890269" y="1723424"/>
                  <a:pt x="5890269" y="1723424"/>
                  <a:pt x="5889272" y="1718751"/>
                </a:cubicBezTo>
                <a:cubicBezTo>
                  <a:pt x="5889272" y="1718751"/>
                  <a:pt x="5884601" y="1719750"/>
                  <a:pt x="5883602" y="1715079"/>
                </a:cubicBezTo>
                <a:cubicBezTo>
                  <a:pt x="5877933" y="1711405"/>
                  <a:pt x="5871265" y="1703061"/>
                  <a:pt x="5866595" y="1704060"/>
                </a:cubicBezTo>
                <a:cubicBezTo>
                  <a:pt x="5866595" y="1704060"/>
                  <a:pt x="5860925" y="1700386"/>
                  <a:pt x="5859927" y="1695716"/>
                </a:cubicBezTo>
                <a:cubicBezTo>
                  <a:pt x="5859927" y="1695716"/>
                  <a:pt x="5859927" y="1695716"/>
                  <a:pt x="5854258" y="1692043"/>
                </a:cubicBezTo>
                <a:cubicBezTo>
                  <a:pt x="5854258" y="1692043"/>
                  <a:pt x="5854258" y="1692043"/>
                  <a:pt x="5855257" y="1696713"/>
                </a:cubicBezTo>
                <a:cubicBezTo>
                  <a:pt x="5855257" y="1696713"/>
                  <a:pt x="5855257" y="1696713"/>
                  <a:pt x="5856255" y="1701383"/>
                </a:cubicBezTo>
                <a:cubicBezTo>
                  <a:pt x="5839247" y="1690365"/>
                  <a:pt x="5831582" y="1677350"/>
                  <a:pt x="5824917" y="1669006"/>
                </a:cubicBezTo>
                <a:cubicBezTo>
                  <a:pt x="5829587" y="1668009"/>
                  <a:pt x="5835256" y="1671682"/>
                  <a:pt x="5839927" y="1670683"/>
                </a:cubicBezTo>
                <a:cubicBezTo>
                  <a:pt x="5820924" y="1650321"/>
                  <a:pt x="5801921" y="1629962"/>
                  <a:pt x="5805913" y="1648645"/>
                </a:cubicBezTo>
                <a:cubicBezTo>
                  <a:pt x="5791582" y="1627287"/>
                  <a:pt x="5791582" y="1627287"/>
                  <a:pt x="5774575" y="1616266"/>
                </a:cubicBezTo>
                <a:cubicBezTo>
                  <a:pt x="5774575" y="1616266"/>
                  <a:pt x="5779247" y="1615269"/>
                  <a:pt x="5780245" y="1619939"/>
                </a:cubicBezTo>
                <a:cubicBezTo>
                  <a:pt x="5780245" y="1619939"/>
                  <a:pt x="5784915" y="1618942"/>
                  <a:pt x="5784915" y="1618942"/>
                </a:cubicBezTo>
                <a:cubicBezTo>
                  <a:pt x="5790585" y="1622614"/>
                  <a:pt x="5789585" y="1617944"/>
                  <a:pt x="5789585" y="1617944"/>
                </a:cubicBezTo>
                <a:cubicBezTo>
                  <a:pt x="5788587" y="1613273"/>
                  <a:pt x="5788587" y="1613273"/>
                  <a:pt x="5782919" y="1609599"/>
                </a:cubicBezTo>
                <a:cubicBezTo>
                  <a:pt x="5787589" y="1608602"/>
                  <a:pt x="5787589" y="1608602"/>
                  <a:pt x="5787589" y="1608602"/>
                </a:cubicBezTo>
                <a:cubicBezTo>
                  <a:pt x="5788587" y="1613273"/>
                  <a:pt x="5793259" y="1612274"/>
                  <a:pt x="5793259" y="1612274"/>
                </a:cubicBezTo>
                <a:cubicBezTo>
                  <a:pt x="5794257" y="1616947"/>
                  <a:pt x="5794257" y="1616947"/>
                  <a:pt x="5794257" y="1616947"/>
                </a:cubicBezTo>
                <a:cubicBezTo>
                  <a:pt x="5794257" y="1616947"/>
                  <a:pt x="5799925" y="1620620"/>
                  <a:pt x="5799925" y="1620620"/>
                </a:cubicBezTo>
                <a:cubicBezTo>
                  <a:pt x="5799925" y="1620620"/>
                  <a:pt x="5805595" y="1624292"/>
                  <a:pt x="5805595" y="1624292"/>
                </a:cubicBezTo>
                <a:cubicBezTo>
                  <a:pt x="5849269" y="1668688"/>
                  <a:pt x="5887275" y="1709410"/>
                  <a:pt x="5930950" y="1753805"/>
                </a:cubicBezTo>
                <a:cubicBezTo>
                  <a:pt x="5931947" y="1758476"/>
                  <a:pt x="5931947" y="1758476"/>
                  <a:pt x="5931947" y="1758476"/>
                </a:cubicBezTo>
                <a:cubicBezTo>
                  <a:pt x="5932945" y="1763146"/>
                  <a:pt x="5937615" y="1762149"/>
                  <a:pt x="5937615" y="1762149"/>
                </a:cubicBezTo>
                <a:cubicBezTo>
                  <a:pt x="5954623" y="1773169"/>
                  <a:pt x="5949952" y="1774167"/>
                  <a:pt x="5962289" y="1786184"/>
                </a:cubicBezTo>
                <a:cubicBezTo>
                  <a:pt x="5963285" y="1790854"/>
                  <a:pt x="5964283" y="1795526"/>
                  <a:pt x="5969953" y="1799200"/>
                </a:cubicBezTo>
                <a:cubicBezTo>
                  <a:pt x="5970951" y="1803870"/>
                  <a:pt x="5975622" y="1802871"/>
                  <a:pt x="5975622" y="1802871"/>
                </a:cubicBezTo>
                <a:cubicBezTo>
                  <a:pt x="5987958" y="1814887"/>
                  <a:pt x="5995623" y="1827904"/>
                  <a:pt x="6005963" y="1830579"/>
                </a:cubicBezTo>
                <a:cubicBezTo>
                  <a:pt x="6005963" y="1830579"/>
                  <a:pt x="6011631" y="1834252"/>
                  <a:pt x="6011631" y="1834252"/>
                </a:cubicBezTo>
                <a:cubicBezTo>
                  <a:pt x="6012630" y="1838924"/>
                  <a:pt x="6013627" y="1843594"/>
                  <a:pt x="6014625" y="1848264"/>
                </a:cubicBezTo>
                <a:cubicBezTo>
                  <a:pt x="6019296" y="1847267"/>
                  <a:pt x="6033629" y="1868626"/>
                  <a:pt x="6044965" y="1875972"/>
                </a:cubicBezTo>
                <a:cubicBezTo>
                  <a:pt x="6044965" y="1875972"/>
                  <a:pt x="6045965" y="1880642"/>
                  <a:pt x="6050635" y="1879645"/>
                </a:cubicBezTo>
                <a:cubicBezTo>
                  <a:pt x="6051633" y="1884316"/>
                  <a:pt x="6051633" y="1884316"/>
                  <a:pt x="6051633" y="1884316"/>
                </a:cubicBezTo>
                <a:cubicBezTo>
                  <a:pt x="6079299" y="1922363"/>
                  <a:pt x="6107962" y="1965081"/>
                  <a:pt x="6140299" y="2002132"/>
                </a:cubicBezTo>
                <a:cubicBezTo>
                  <a:pt x="6141296" y="2006801"/>
                  <a:pt x="6146966" y="2010475"/>
                  <a:pt x="6152635" y="2014149"/>
                </a:cubicBezTo>
                <a:cubicBezTo>
                  <a:pt x="6153632" y="2018819"/>
                  <a:pt x="6154629" y="2023491"/>
                  <a:pt x="6155629" y="2028161"/>
                </a:cubicBezTo>
                <a:cubicBezTo>
                  <a:pt x="6154629" y="2023491"/>
                  <a:pt x="6160299" y="2027163"/>
                  <a:pt x="6164971" y="2026165"/>
                </a:cubicBezTo>
                <a:cubicBezTo>
                  <a:pt x="6165969" y="2030835"/>
                  <a:pt x="6171637" y="2034509"/>
                  <a:pt x="6171637" y="2034509"/>
                </a:cubicBezTo>
                <a:cubicBezTo>
                  <a:pt x="6185969" y="2055870"/>
                  <a:pt x="6195630" y="2078225"/>
                  <a:pt x="6208963" y="2094914"/>
                </a:cubicBezTo>
                <a:cubicBezTo>
                  <a:pt x="6208963" y="2094914"/>
                  <a:pt x="6209963" y="2099585"/>
                  <a:pt x="6209963" y="2099585"/>
                </a:cubicBezTo>
                <a:cubicBezTo>
                  <a:pt x="6210959" y="2104255"/>
                  <a:pt x="6210959" y="2104255"/>
                  <a:pt x="6211957" y="2108927"/>
                </a:cubicBezTo>
                <a:cubicBezTo>
                  <a:pt x="6216629" y="2107929"/>
                  <a:pt x="6216629" y="2107929"/>
                  <a:pt x="6216629" y="2107929"/>
                </a:cubicBezTo>
                <a:cubicBezTo>
                  <a:pt x="6236629" y="2132961"/>
                  <a:pt x="6255633" y="2153322"/>
                  <a:pt x="6264295" y="2171008"/>
                </a:cubicBezTo>
                <a:cubicBezTo>
                  <a:pt x="6281303" y="2182027"/>
                  <a:pt x="6299624" y="2222071"/>
                  <a:pt x="6321623" y="2256444"/>
                </a:cubicBezTo>
                <a:cubicBezTo>
                  <a:pt x="6332959" y="2263790"/>
                  <a:pt x="6344617" y="2295490"/>
                  <a:pt x="6351284" y="2303835"/>
                </a:cubicBezTo>
                <a:cubicBezTo>
                  <a:pt x="6351284" y="2303835"/>
                  <a:pt x="6352281" y="2308505"/>
                  <a:pt x="6352281" y="2308505"/>
                </a:cubicBezTo>
                <a:cubicBezTo>
                  <a:pt x="6352281" y="2308505"/>
                  <a:pt x="6353279" y="2313176"/>
                  <a:pt x="6353279" y="2313176"/>
                </a:cubicBezTo>
                <a:cubicBezTo>
                  <a:pt x="6354277" y="2317847"/>
                  <a:pt x="6354277" y="2317847"/>
                  <a:pt x="6354277" y="2317847"/>
                </a:cubicBezTo>
                <a:cubicBezTo>
                  <a:pt x="6359946" y="2321520"/>
                  <a:pt x="6359946" y="2321520"/>
                  <a:pt x="6358947" y="2316850"/>
                </a:cubicBezTo>
                <a:cubicBezTo>
                  <a:pt x="6366612" y="2329865"/>
                  <a:pt x="6364617" y="2320523"/>
                  <a:pt x="6369289" y="2319526"/>
                </a:cubicBezTo>
                <a:cubicBezTo>
                  <a:pt x="6367611" y="2334535"/>
                  <a:pt x="6381625" y="2331542"/>
                  <a:pt x="6385616" y="2350226"/>
                </a:cubicBezTo>
                <a:cubicBezTo>
                  <a:pt x="6389289" y="2344557"/>
                  <a:pt x="6392282" y="2358570"/>
                  <a:pt x="6396955" y="2357572"/>
                </a:cubicBezTo>
                <a:cubicBezTo>
                  <a:pt x="6383619" y="2340883"/>
                  <a:pt x="6371963" y="2309185"/>
                  <a:pt x="6361624" y="2306510"/>
                </a:cubicBezTo>
                <a:cubicBezTo>
                  <a:pt x="6361624" y="2306510"/>
                  <a:pt x="6360625" y="2301837"/>
                  <a:pt x="6359627" y="2297168"/>
                </a:cubicBezTo>
                <a:cubicBezTo>
                  <a:pt x="6359627" y="2297168"/>
                  <a:pt x="6358629" y="2292496"/>
                  <a:pt x="6353959" y="2293494"/>
                </a:cubicBezTo>
                <a:cubicBezTo>
                  <a:pt x="6347971" y="2265469"/>
                  <a:pt x="6328969" y="2245107"/>
                  <a:pt x="6314637" y="2223747"/>
                </a:cubicBezTo>
                <a:cubicBezTo>
                  <a:pt x="6278307" y="2168014"/>
                  <a:pt x="6246649" y="2111283"/>
                  <a:pt x="6212319" y="2064893"/>
                </a:cubicBezTo>
                <a:cubicBezTo>
                  <a:pt x="6184653" y="2026844"/>
                  <a:pt x="6151999" y="1965444"/>
                  <a:pt x="6107325" y="1916375"/>
                </a:cubicBezTo>
                <a:cubicBezTo>
                  <a:pt x="6100658" y="1908032"/>
                  <a:pt x="6090318" y="1905356"/>
                  <a:pt x="6088323" y="1896015"/>
                </a:cubicBezTo>
                <a:cubicBezTo>
                  <a:pt x="6055985" y="1858965"/>
                  <a:pt x="6032992" y="1819921"/>
                  <a:pt x="6007323" y="1791215"/>
                </a:cubicBezTo>
                <a:cubicBezTo>
                  <a:pt x="5983647" y="1771851"/>
                  <a:pt x="5995982" y="1783869"/>
                  <a:pt x="5975983" y="1758836"/>
                </a:cubicBezTo>
                <a:cubicBezTo>
                  <a:pt x="5954985" y="1729134"/>
                  <a:pt x="5930312" y="1705100"/>
                  <a:pt x="5907636" y="1690407"/>
                </a:cubicBezTo>
                <a:cubicBezTo>
                  <a:pt x="5879969" y="1652360"/>
                  <a:pt x="5821285" y="1606287"/>
                  <a:pt x="5789947" y="1573908"/>
                </a:cubicBezTo>
                <a:cubicBezTo>
                  <a:pt x="5777611" y="1561891"/>
                  <a:pt x="5773937" y="1567560"/>
                  <a:pt x="5761602" y="1555544"/>
                </a:cubicBezTo>
                <a:cubicBezTo>
                  <a:pt x="5769945" y="1548876"/>
                  <a:pt x="5746271" y="1529513"/>
                  <a:pt x="5729265" y="1518494"/>
                </a:cubicBezTo>
                <a:cubicBezTo>
                  <a:pt x="5729265" y="1518494"/>
                  <a:pt x="5724593" y="1519493"/>
                  <a:pt x="5718925" y="1515819"/>
                </a:cubicBezTo>
                <a:cubicBezTo>
                  <a:pt x="5701919" y="1504800"/>
                  <a:pt x="5685591" y="1474099"/>
                  <a:pt x="5658243" y="1460405"/>
                </a:cubicBezTo>
                <a:cubicBezTo>
                  <a:pt x="5652575" y="1456732"/>
                  <a:pt x="5648901" y="1462401"/>
                  <a:pt x="5637563" y="1455055"/>
                </a:cubicBezTo>
                <a:cubicBezTo>
                  <a:pt x="5637563" y="1455055"/>
                  <a:pt x="5634569" y="1441042"/>
                  <a:pt x="5624228" y="1438365"/>
                </a:cubicBezTo>
                <a:cubicBezTo>
                  <a:pt x="5575884" y="1394968"/>
                  <a:pt x="5503185" y="1351889"/>
                  <a:pt x="5452165" y="1318832"/>
                </a:cubicBezTo>
                <a:cubicBezTo>
                  <a:pt x="5429489" y="1304140"/>
                  <a:pt x="5405815" y="1284777"/>
                  <a:pt x="5377469" y="1266412"/>
                </a:cubicBezTo>
                <a:cubicBezTo>
                  <a:pt x="5366133" y="1259066"/>
                  <a:pt x="5345452" y="1253715"/>
                  <a:pt x="5334113" y="1246370"/>
                </a:cubicBezTo>
                <a:cubicBezTo>
                  <a:pt x="5334113" y="1246370"/>
                  <a:pt x="5321779" y="1234352"/>
                  <a:pt x="5321779" y="1234352"/>
                </a:cubicBezTo>
                <a:cubicBezTo>
                  <a:pt x="5310439" y="1227007"/>
                  <a:pt x="5305769" y="1228004"/>
                  <a:pt x="5300101" y="1224331"/>
                </a:cubicBezTo>
                <a:cubicBezTo>
                  <a:pt x="5299103" y="1219660"/>
                  <a:pt x="5299103" y="1219660"/>
                  <a:pt x="5299103" y="1219660"/>
                </a:cubicBezTo>
                <a:cubicBezTo>
                  <a:pt x="5313115" y="1216667"/>
                  <a:pt x="5322775" y="1239023"/>
                  <a:pt x="5325451" y="1228683"/>
                </a:cubicBezTo>
                <a:cubicBezTo>
                  <a:pt x="5325451" y="1228683"/>
                  <a:pt x="5325451" y="1228683"/>
                  <a:pt x="5326449" y="1233354"/>
                </a:cubicBezTo>
                <a:cubicBezTo>
                  <a:pt x="5336789" y="1236030"/>
                  <a:pt x="5336789" y="1236030"/>
                  <a:pt x="5336789" y="1236030"/>
                </a:cubicBezTo>
                <a:cubicBezTo>
                  <a:pt x="5336789" y="1236030"/>
                  <a:pt x="5341461" y="1235032"/>
                  <a:pt x="5341461" y="1235032"/>
                </a:cubicBezTo>
                <a:cubicBezTo>
                  <a:pt x="5341461" y="1235032"/>
                  <a:pt x="5342459" y="1239702"/>
                  <a:pt x="5347129" y="1238705"/>
                </a:cubicBezTo>
                <a:cubicBezTo>
                  <a:pt x="5347129" y="1238705"/>
                  <a:pt x="5351799" y="1237706"/>
                  <a:pt x="5351799" y="1237706"/>
                </a:cubicBezTo>
                <a:cubicBezTo>
                  <a:pt x="5368805" y="1248725"/>
                  <a:pt x="5367808" y="1244055"/>
                  <a:pt x="5384815" y="1255074"/>
                </a:cubicBezTo>
                <a:cubicBezTo>
                  <a:pt x="5384815" y="1255074"/>
                  <a:pt x="5390485" y="1258747"/>
                  <a:pt x="5390485" y="1258747"/>
                </a:cubicBezTo>
                <a:cubicBezTo>
                  <a:pt x="5390485" y="1258747"/>
                  <a:pt x="5390485" y="1258747"/>
                  <a:pt x="5395155" y="1257748"/>
                </a:cubicBezTo>
                <a:cubicBezTo>
                  <a:pt x="5395155" y="1257748"/>
                  <a:pt x="5396153" y="1262419"/>
                  <a:pt x="5396153" y="1262419"/>
                </a:cubicBezTo>
                <a:cubicBezTo>
                  <a:pt x="5402821" y="1270763"/>
                  <a:pt x="5376472" y="1261740"/>
                  <a:pt x="5392481" y="1268089"/>
                </a:cubicBezTo>
                <a:cubicBezTo>
                  <a:pt x="5398151" y="1271762"/>
                  <a:pt x="5401823" y="1266093"/>
                  <a:pt x="5416835" y="1267768"/>
                </a:cubicBezTo>
                <a:cubicBezTo>
                  <a:pt x="5424499" y="1280785"/>
                  <a:pt x="5433841" y="1278790"/>
                  <a:pt x="5457515" y="1298152"/>
                </a:cubicBezTo>
                <a:cubicBezTo>
                  <a:pt x="5452843" y="1299151"/>
                  <a:pt x="5452843" y="1299151"/>
                  <a:pt x="5452843" y="1299151"/>
                </a:cubicBezTo>
                <a:cubicBezTo>
                  <a:pt x="5458513" y="1302825"/>
                  <a:pt x="5458513" y="1302825"/>
                  <a:pt x="5458513" y="1302825"/>
                </a:cubicBezTo>
                <a:cubicBezTo>
                  <a:pt x="5460509" y="1312164"/>
                  <a:pt x="5448173" y="1300148"/>
                  <a:pt x="5443501" y="1301145"/>
                </a:cubicBezTo>
                <a:cubicBezTo>
                  <a:pt x="5455837" y="1313163"/>
                  <a:pt x="5460509" y="1312164"/>
                  <a:pt x="5469850" y="1310170"/>
                </a:cubicBezTo>
                <a:cubicBezTo>
                  <a:pt x="5470849" y="1314841"/>
                  <a:pt x="5470849" y="1314841"/>
                  <a:pt x="5476517" y="1318514"/>
                </a:cubicBezTo>
                <a:cubicBezTo>
                  <a:pt x="5477516" y="1323185"/>
                  <a:pt x="5482186" y="1322188"/>
                  <a:pt x="5482186" y="1322188"/>
                </a:cubicBezTo>
                <a:cubicBezTo>
                  <a:pt x="5485860" y="1316519"/>
                  <a:pt x="5485860" y="1316519"/>
                  <a:pt x="5485860" y="1316519"/>
                </a:cubicBezTo>
                <a:cubicBezTo>
                  <a:pt x="5494522" y="1334204"/>
                  <a:pt x="5500870" y="1318194"/>
                  <a:pt x="5519873" y="1338556"/>
                </a:cubicBezTo>
                <a:cubicBezTo>
                  <a:pt x="5525542" y="1342228"/>
                  <a:pt x="5525542" y="1342228"/>
                  <a:pt x="5525542" y="1342228"/>
                </a:cubicBezTo>
                <a:cubicBezTo>
                  <a:pt x="5525542" y="1342228"/>
                  <a:pt x="5530213" y="1341231"/>
                  <a:pt x="5530213" y="1341231"/>
                </a:cubicBezTo>
                <a:cubicBezTo>
                  <a:pt x="5570893" y="1371613"/>
                  <a:pt x="5604908" y="1393651"/>
                  <a:pt x="5637924" y="1411021"/>
                </a:cubicBezTo>
                <a:cubicBezTo>
                  <a:pt x="5633253" y="1412018"/>
                  <a:pt x="5637243" y="1430702"/>
                  <a:pt x="5645589" y="1424035"/>
                </a:cubicBezTo>
                <a:cubicBezTo>
                  <a:pt x="5638921" y="1415691"/>
                  <a:pt x="5649263" y="1418366"/>
                  <a:pt x="5655929" y="1426710"/>
                </a:cubicBezTo>
                <a:cubicBezTo>
                  <a:pt x="5673933" y="1442400"/>
                  <a:pt x="5707947" y="1464437"/>
                  <a:pt x="5738288" y="1492145"/>
                </a:cubicBezTo>
                <a:cubicBezTo>
                  <a:pt x="5767630" y="1515181"/>
                  <a:pt x="5797972" y="1542889"/>
                  <a:pt x="5821645" y="1562252"/>
                </a:cubicBezTo>
                <a:cubicBezTo>
                  <a:pt x="5815977" y="1558580"/>
                  <a:pt x="5824641" y="1576266"/>
                  <a:pt x="5829311" y="1575267"/>
                </a:cubicBezTo>
                <a:cubicBezTo>
                  <a:pt x="5822645" y="1566922"/>
                  <a:pt x="5827315" y="1565925"/>
                  <a:pt x="5832983" y="1569599"/>
                </a:cubicBezTo>
                <a:cubicBezTo>
                  <a:pt x="5834979" y="1578940"/>
                  <a:pt x="5858654" y="1598303"/>
                  <a:pt x="5876659" y="1613995"/>
                </a:cubicBezTo>
                <a:cubicBezTo>
                  <a:pt x="5894663" y="1629684"/>
                  <a:pt x="5911669" y="1640703"/>
                  <a:pt x="5906998" y="1641700"/>
                </a:cubicBezTo>
                <a:cubicBezTo>
                  <a:pt x="5929675" y="1656393"/>
                  <a:pt x="5943009" y="1673082"/>
                  <a:pt x="5956341" y="1689770"/>
                </a:cubicBezTo>
                <a:cubicBezTo>
                  <a:pt x="5975346" y="1710131"/>
                  <a:pt x="5989677" y="1731490"/>
                  <a:pt x="6019021" y="1754527"/>
                </a:cubicBezTo>
                <a:cubicBezTo>
                  <a:pt x="6019021" y="1754527"/>
                  <a:pt x="6020018" y="1759196"/>
                  <a:pt x="6021017" y="1763868"/>
                </a:cubicBezTo>
                <a:cubicBezTo>
                  <a:pt x="6040698" y="1764547"/>
                  <a:pt x="6067685" y="1822276"/>
                  <a:pt x="6085689" y="1837968"/>
                </a:cubicBezTo>
                <a:cubicBezTo>
                  <a:pt x="6091358" y="1841639"/>
                  <a:pt x="6090361" y="1836969"/>
                  <a:pt x="6097027" y="1845313"/>
                </a:cubicBezTo>
                <a:cubicBezTo>
                  <a:pt x="6109363" y="1857330"/>
                  <a:pt x="6112357" y="1871342"/>
                  <a:pt x="6124692" y="1883360"/>
                </a:cubicBezTo>
                <a:cubicBezTo>
                  <a:pt x="6131359" y="1891704"/>
                  <a:pt x="6137029" y="1895377"/>
                  <a:pt x="6148365" y="1902723"/>
                </a:cubicBezTo>
                <a:cubicBezTo>
                  <a:pt x="6168367" y="1927756"/>
                  <a:pt x="6186691" y="1967798"/>
                  <a:pt x="6207689" y="1997502"/>
                </a:cubicBezTo>
                <a:cubicBezTo>
                  <a:pt x="6234356" y="2030879"/>
                  <a:pt x="6265017" y="2082939"/>
                  <a:pt x="6292683" y="2120986"/>
                </a:cubicBezTo>
                <a:cubicBezTo>
                  <a:pt x="6300345" y="2134001"/>
                  <a:pt x="6312681" y="2146017"/>
                  <a:pt x="6319349" y="2154362"/>
                </a:cubicBezTo>
                <a:cubicBezTo>
                  <a:pt x="6319349" y="2154362"/>
                  <a:pt x="6313681" y="2150689"/>
                  <a:pt x="6313681" y="2150689"/>
                </a:cubicBezTo>
                <a:cubicBezTo>
                  <a:pt x="6322344" y="2168375"/>
                  <a:pt x="6335677" y="2185064"/>
                  <a:pt x="6343343" y="2198078"/>
                </a:cubicBezTo>
                <a:cubicBezTo>
                  <a:pt x="6344339" y="2202749"/>
                  <a:pt x="6346335" y="2212090"/>
                  <a:pt x="6346335" y="2212090"/>
                </a:cubicBezTo>
                <a:cubicBezTo>
                  <a:pt x="6370329" y="2255808"/>
                  <a:pt x="6401987" y="2312540"/>
                  <a:pt x="6424979" y="2351584"/>
                </a:cubicBezTo>
                <a:cubicBezTo>
                  <a:pt x="6424979" y="2351584"/>
                  <a:pt x="6424979" y="2351584"/>
                  <a:pt x="6420309" y="2352581"/>
                </a:cubicBezTo>
                <a:cubicBezTo>
                  <a:pt x="6420309" y="2352581"/>
                  <a:pt x="6421307" y="2357252"/>
                  <a:pt x="6421307" y="2357252"/>
                </a:cubicBezTo>
                <a:cubicBezTo>
                  <a:pt x="6421307" y="2357252"/>
                  <a:pt x="6426975" y="2360926"/>
                  <a:pt x="6426975" y="2360926"/>
                </a:cubicBezTo>
                <a:cubicBezTo>
                  <a:pt x="6434641" y="2373942"/>
                  <a:pt x="6450289" y="2424325"/>
                  <a:pt x="6451966" y="2409313"/>
                </a:cubicBezTo>
                <a:cubicBezTo>
                  <a:pt x="6452965" y="2413983"/>
                  <a:pt x="6452965" y="2413983"/>
                  <a:pt x="6452965" y="2413983"/>
                </a:cubicBezTo>
                <a:cubicBezTo>
                  <a:pt x="6453963" y="2418656"/>
                  <a:pt x="6453963" y="2418656"/>
                  <a:pt x="6453963" y="2418656"/>
                </a:cubicBezTo>
                <a:cubicBezTo>
                  <a:pt x="6458633" y="2417657"/>
                  <a:pt x="6458633" y="2417657"/>
                  <a:pt x="6458633" y="2417657"/>
                </a:cubicBezTo>
                <a:cubicBezTo>
                  <a:pt x="6457635" y="2412986"/>
                  <a:pt x="6457635" y="2412986"/>
                  <a:pt x="6457635" y="2412986"/>
                </a:cubicBezTo>
                <a:cubicBezTo>
                  <a:pt x="6465980" y="2406320"/>
                  <a:pt x="6465299" y="2426002"/>
                  <a:pt x="6466299" y="2430673"/>
                </a:cubicBezTo>
                <a:cubicBezTo>
                  <a:pt x="6468972" y="2420333"/>
                  <a:pt x="6484303" y="2446363"/>
                  <a:pt x="6475639" y="2428676"/>
                </a:cubicBezTo>
                <a:cubicBezTo>
                  <a:pt x="6470969" y="2429674"/>
                  <a:pt x="6467975" y="2415661"/>
                  <a:pt x="6467975" y="2415661"/>
                </a:cubicBezTo>
                <a:cubicBezTo>
                  <a:pt x="6474643" y="2424007"/>
                  <a:pt x="6473645" y="2419335"/>
                  <a:pt x="6472646" y="2414663"/>
                </a:cubicBezTo>
                <a:cubicBezTo>
                  <a:pt x="6462306" y="2411989"/>
                  <a:pt x="6458314" y="2393305"/>
                  <a:pt x="6445979" y="2381288"/>
                </a:cubicBezTo>
                <a:cubicBezTo>
                  <a:pt x="6445979" y="2381288"/>
                  <a:pt x="6444981" y="2376615"/>
                  <a:pt x="6443981" y="2371946"/>
                </a:cubicBezTo>
                <a:cubicBezTo>
                  <a:pt x="6443981" y="2371946"/>
                  <a:pt x="6442985" y="2367276"/>
                  <a:pt x="6442985" y="2367276"/>
                </a:cubicBezTo>
                <a:cubicBezTo>
                  <a:pt x="6441987" y="2362603"/>
                  <a:pt x="6441987" y="2362603"/>
                  <a:pt x="6441987" y="2362603"/>
                </a:cubicBezTo>
                <a:cubicBezTo>
                  <a:pt x="6441987" y="2362603"/>
                  <a:pt x="6437315" y="2363602"/>
                  <a:pt x="6437315" y="2363602"/>
                </a:cubicBezTo>
                <a:cubicBezTo>
                  <a:pt x="6436317" y="2358931"/>
                  <a:pt x="6436317" y="2358931"/>
                  <a:pt x="6435319" y="2354259"/>
                </a:cubicBezTo>
                <a:cubicBezTo>
                  <a:pt x="6438993" y="2348590"/>
                  <a:pt x="6440989" y="2357932"/>
                  <a:pt x="6445659" y="2356934"/>
                </a:cubicBezTo>
                <a:cubicBezTo>
                  <a:pt x="6443663" y="2347593"/>
                  <a:pt x="6438993" y="2348590"/>
                  <a:pt x="6437995" y="2343919"/>
                </a:cubicBezTo>
                <a:cubicBezTo>
                  <a:pt x="6437995" y="2343919"/>
                  <a:pt x="6437995" y="2343919"/>
                  <a:pt x="6436996" y="2339248"/>
                </a:cubicBezTo>
                <a:cubicBezTo>
                  <a:pt x="6436996" y="2339248"/>
                  <a:pt x="6435999" y="2334578"/>
                  <a:pt x="6435999" y="2334578"/>
                </a:cubicBezTo>
                <a:cubicBezTo>
                  <a:pt x="6435001" y="2329906"/>
                  <a:pt x="6435001" y="2329906"/>
                  <a:pt x="6435001" y="2329906"/>
                </a:cubicBezTo>
                <a:cubicBezTo>
                  <a:pt x="6426338" y="2312220"/>
                  <a:pt x="6426338" y="2312220"/>
                  <a:pt x="6426338" y="2312220"/>
                </a:cubicBezTo>
                <a:cubicBezTo>
                  <a:pt x="6420669" y="2308548"/>
                  <a:pt x="6420669" y="2308548"/>
                  <a:pt x="6420669" y="2308548"/>
                </a:cubicBezTo>
                <a:cubicBezTo>
                  <a:pt x="6405339" y="2282517"/>
                  <a:pt x="6407335" y="2291860"/>
                  <a:pt x="6396677" y="2264832"/>
                </a:cubicBezTo>
                <a:cubicBezTo>
                  <a:pt x="6395680" y="2260159"/>
                  <a:pt x="6395680" y="2260159"/>
                  <a:pt x="6394681" y="2255488"/>
                </a:cubicBezTo>
                <a:cubicBezTo>
                  <a:pt x="6389013" y="2251817"/>
                  <a:pt x="6389013" y="2251817"/>
                  <a:pt x="6390010" y="2256487"/>
                </a:cubicBezTo>
                <a:cubicBezTo>
                  <a:pt x="6387017" y="2242473"/>
                  <a:pt x="6377355" y="2220118"/>
                  <a:pt x="6367015" y="2217441"/>
                </a:cubicBezTo>
                <a:cubicBezTo>
                  <a:pt x="6373683" y="2225786"/>
                  <a:pt x="6369012" y="2226785"/>
                  <a:pt x="6362345" y="2218440"/>
                </a:cubicBezTo>
                <a:lnTo>
                  <a:pt x="6361347" y="2213768"/>
                </a:lnTo>
                <a:cubicBezTo>
                  <a:pt x="6366017" y="2212771"/>
                  <a:pt x="6366017" y="2212771"/>
                  <a:pt x="6366017" y="2212771"/>
                </a:cubicBezTo>
                <a:cubicBezTo>
                  <a:pt x="6366017" y="2212771"/>
                  <a:pt x="6366017" y="2212771"/>
                  <a:pt x="6365019" y="2208100"/>
                </a:cubicBezTo>
                <a:cubicBezTo>
                  <a:pt x="6365019" y="2208100"/>
                  <a:pt x="6365019" y="2208100"/>
                  <a:pt x="6359351" y="2204426"/>
                </a:cubicBezTo>
                <a:cubicBezTo>
                  <a:pt x="6353364" y="2176401"/>
                  <a:pt x="6305696" y="2113321"/>
                  <a:pt x="6289369" y="2082620"/>
                </a:cubicBezTo>
                <a:cubicBezTo>
                  <a:pt x="6280707" y="2064934"/>
                  <a:pt x="6284379" y="2059265"/>
                  <a:pt x="6272043" y="2047249"/>
                </a:cubicBezTo>
                <a:cubicBezTo>
                  <a:pt x="6270049" y="2037906"/>
                  <a:pt x="6259707" y="2035231"/>
                  <a:pt x="6253041" y="2026887"/>
                </a:cubicBezTo>
                <a:cubicBezTo>
                  <a:pt x="6244378" y="2009200"/>
                  <a:pt x="6241385" y="1995188"/>
                  <a:pt x="6226373" y="1993510"/>
                </a:cubicBezTo>
                <a:cubicBezTo>
                  <a:pt x="6179387" y="1910749"/>
                  <a:pt x="6107048" y="1823635"/>
                  <a:pt x="6037705" y="1750534"/>
                </a:cubicBezTo>
                <a:cubicBezTo>
                  <a:pt x="6041377" y="1744864"/>
                  <a:pt x="6041377" y="1744864"/>
                  <a:pt x="6040378" y="1740194"/>
                </a:cubicBezTo>
                <a:cubicBezTo>
                  <a:pt x="6040378" y="1740194"/>
                  <a:pt x="6041377" y="1744864"/>
                  <a:pt x="6041377" y="1744864"/>
                </a:cubicBezTo>
                <a:cubicBezTo>
                  <a:pt x="6046048" y="1743867"/>
                  <a:pt x="6046048" y="1743867"/>
                  <a:pt x="6046048" y="1743867"/>
                </a:cubicBezTo>
                <a:cubicBezTo>
                  <a:pt x="6046048" y="1743867"/>
                  <a:pt x="6045051" y="1739196"/>
                  <a:pt x="6039381" y="1735524"/>
                </a:cubicBezTo>
                <a:cubicBezTo>
                  <a:pt x="6038383" y="1730853"/>
                  <a:pt x="6043053" y="1729854"/>
                  <a:pt x="6036386" y="1721512"/>
                </a:cubicBezTo>
                <a:cubicBezTo>
                  <a:pt x="6032715" y="1727179"/>
                  <a:pt x="6027046" y="1723507"/>
                  <a:pt x="6014709" y="1711489"/>
                </a:cubicBezTo>
                <a:cubicBezTo>
                  <a:pt x="6013711" y="1706819"/>
                  <a:pt x="6013711" y="1706819"/>
                  <a:pt x="6013711" y="1706819"/>
                </a:cubicBezTo>
                <a:cubicBezTo>
                  <a:pt x="6013711" y="1706819"/>
                  <a:pt x="6009041" y="1707816"/>
                  <a:pt x="6008043" y="1703145"/>
                </a:cubicBezTo>
                <a:cubicBezTo>
                  <a:pt x="6008043" y="1703145"/>
                  <a:pt x="6007045" y="1698475"/>
                  <a:pt x="6007045" y="1698475"/>
                </a:cubicBezTo>
                <a:cubicBezTo>
                  <a:pt x="6002374" y="1699472"/>
                  <a:pt x="6002374" y="1699472"/>
                  <a:pt x="6002374" y="1699472"/>
                </a:cubicBezTo>
                <a:cubicBezTo>
                  <a:pt x="6001375" y="1694802"/>
                  <a:pt x="6001375" y="1694802"/>
                  <a:pt x="5995707" y="1691128"/>
                </a:cubicBezTo>
                <a:cubicBezTo>
                  <a:pt x="5998381" y="1680788"/>
                  <a:pt x="5976703" y="1670768"/>
                  <a:pt x="5981375" y="1669769"/>
                </a:cubicBezTo>
                <a:cubicBezTo>
                  <a:pt x="5981375" y="1669769"/>
                  <a:pt x="5986045" y="1668771"/>
                  <a:pt x="5986045" y="1668771"/>
                </a:cubicBezTo>
                <a:cubicBezTo>
                  <a:pt x="5987045" y="1673440"/>
                  <a:pt x="5991715" y="1672443"/>
                  <a:pt x="5991715" y="1672443"/>
                </a:cubicBezTo>
                <a:cubicBezTo>
                  <a:pt x="5990715" y="1667773"/>
                  <a:pt x="5986045" y="1668771"/>
                  <a:pt x="5985048" y="1664101"/>
                </a:cubicBezTo>
                <a:cubicBezTo>
                  <a:pt x="5985048" y="1664101"/>
                  <a:pt x="5979379" y="1660427"/>
                  <a:pt x="5979379" y="1660427"/>
                </a:cubicBezTo>
                <a:cubicBezTo>
                  <a:pt x="5972712" y="1652083"/>
                  <a:pt x="5966045" y="1643739"/>
                  <a:pt x="5961375" y="1644738"/>
                </a:cubicBezTo>
                <a:cubicBezTo>
                  <a:pt x="5961375" y="1644738"/>
                  <a:pt x="5961375" y="1644738"/>
                  <a:pt x="5960376" y="1640066"/>
                </a:cubicBezTo>
                <a:cubicBezTo>
                  <a:pt x="5960376" y="1640066"/>
                  <a:pt x="5959379" y="1635394"/>
                  <a:pt x="5953710" y="1631721"/>
                </a:cubicBezTo>
                <a:cubicBezTo>
                  <a:pt x="5953710" y="1631721"/>
                  <a:pt x="5949037" y="1632720"/>
                  <a:pt x="5949037" y="1632720"/>
                </a:cubicBezTo>
                <a:cubicBezTo>
                  <a:pt x="5949037" y="1632720"/>
                  <a:pt x="5950036" y="1637390"/>
                  <a:pt x="5950036" y="1637390"/>
                </a:cubicBezTo>
                <a:cubicBezTo>
                  <a:pt x="5949037" y="1632720"/>
                  <a:pt x="5948040" y="1628050"/>
                  <a:pt x="5942371" y="1624375"/>
                </a:cubicBezTo>
                <a:cubicBezTo>
                  <a:pt x="5943369" y="1629047"/>
                  <a:pt x="5938699" y="1630045"/>
                  <a:pt x="5933029" y="1626372"/>
                </a:cubicBezTo>
                <a:cubicBezTo>
                  <a:pt x="5937700" y="1625373"/>
                  <a:pt x="5932031" y="1621701"/>
                  <a:pt x="5931033" y="1617029"/>
                </a:cubicBezTo>
                <a:cubicBezTo>
                  <a:pt x="5925364" y="1613357"/>
                  <a:pt x="5925364" y="1613357"/>
                  <a:pt x="5925364" y="1613357"/>
                </a:cubicBezTo>
                <a:cubicBezTo>
                  <a:pt x="5924365" y="1608686"/>
                  <a:pt x="5924365" y="1608686"/>
                  <a:pt x="5924365" y="1608686"/>
                </a:cubicBezTo>
                <a:cubicBezTo>
                  <a:pt x="5919695" y="1609683"/>
                  <a:pt x="5919695" y="1609683"/>
                  <a:pt x="5919695" y="1609683"/>
                </a:cubicBezTo>
                <a:cubicBezTo>
                  <a:pt x="5919695" y="1609683"/>
                  <a:pt x="5919695" y="1609683"/>
                  <a:pt x="5920694" y="1614354"/>
                </a:cubicBezTo>
                <a:cubicBezTo>
                  <a:pt x="5901691" y="1593994"/>
                  <a:pt x="5882689" y="1573632"/>
                  <a:pt x="5872349" y="1570957"/>
                </a:cubicBezTo>
                <a:cubicBezTo>
                  <a:pt x="5866678" y="1567284"/>
                  <a:pt x="5866678" y="1567284"/>
                  <a:pt x="5865681" y="1562613"/>
                </a:cubicBezTo>
                <a:cubicBezTo>
                  <a:pt x="5860011" y="1558939"/>
                  <a:pt x="5860011" y="1558939"/>
                  <a:pt x="5855341" y="1559936"/>
                </a:cubicBezTo>
                <a:lnTo>
                  <a:pt x="5856125" y="1563605"/>
                </a:lnTo>
                <a:lnTo>
                  <a:pt x="5841049" y="1551621"/>
                </a:lnTo>
                <a:cubicBezTo>
                  <a:pt x="5824309" y="1537567"/>
                  <a:pt x="5816995" y="1529056"/>
                  <a:pt x="5789989" y="1505521"/>
                </a:cubicBezTo>
                <a:cubicBezTo>
                  <a:pt x="5773977" y="1499174"/>
                  <a:pt x="5768311" y="1495498"/>
                  <a:pt x="5763639" y="1496497"/>
                </a:cubicBezTo>
                <a:cubicBezTo>
                  <a:pt x="5762641" y="1491827"/>
                  <a:pt x="5767313" y="1490830"/>
                  <a:pt x="5760645" y="1482484"/>
                </a:cubicBezTo>
                <a:cubicBezTo>
                  <a:pt x="5751305" y="1484481"/>
                  <a:pt x="5748309" y="1470467"/>
                  <a:pt x="5731302" y="1459447"/>
                </a:cubicBezTo>
                <a:cubicBezTo>
                  <a:pt x="5714295" y="1448430"/>
                  <a:pt x="5728629" y="1469789"/>
                  <a:pt x="5710622" y="1454098"/>
                </a:cubicBezTo>
                <a:cubicBezTo>
                  <a:pt x="5726632" y="1460446"/>
                  <a:pt x="5708627" y="1444756"/>
                  <a:pt x="5691620" y="1433737"/>
                </a:cubicBezTo>
                <a:cubicBezTo>
                  <a:pt x="5696290" y="1432738"/>
                  <a:pt x="5696290" y="1432738"/>
                  <a:pt x="5696290" y="1432738"/>
                </a:cubicBezTo>
                <a:cubicBezTo>
                  <a:pt x="5701960" y="1436412"/>
                  <a:pt x="5707630" y="1440085"/>
                  <a:pt x="5706631" y="1435415"/>
                </a:cubicBezTo>
                <a:cubicBezTo>
                  <a:pt x="5706631" y="1435415"/>
                  <a:pt x="5705634" y="1430743"/>
                  <a:pt x="5699964" y="1427069"/>
                </a:cubicBezTo>
                <a:cubicBezTo>
                  <a:pt x="5694295" y="1423397"/>
                  <a:pt x="5694295" y="1423397"/>
                  <a:pt x="5694295" y="1423397"/>
                </a:cubicBezTo>
                <a:cubicBezTo>
                  <a:pt x="5698967" y="1422399"/>
                  <a:pt x="5706631" y="1435415"/>
                  <a:pt x="5710304" y="1429745"/>
                </a:cubicBezTo>
                <a:cubicBezTo>
                  <a:pt x="5698967" y="1422399"/>
                  <a:pt x="5692299" y="1414056"/>
                  <a:pt x="5687628" y="1415053"/>
                </a:cubicBezTo>
                <a:cubicBezTo>
                  <a:pt x="5682958" y="1416052"/>
                  <a:pt x="5682958" y="1416052"/>
                  <a:pt x="5681959" y="1411380"/>
                </a:cubicBezTo>
                <a:cubicBezTo>
                  <a:pt x="5676291" y="1407706"/>
                  <a:pt x="5670621" y="1404035"/>
                  <a:pt x="5665951" y="1405033"/>
                </a:cubicBezTo>
                <a:cubicBezTo>
                  <a:pt x="5665951" y="1405033"/>
                  <a:pt x="5666948" y="1409702"/>
                  <a:pt x="5672618" y="1413376"/>
                </a:cubicBezTo>
                <a:cubicBezTo>
                  <a:pt x="5673615" y="1418048"/>
                  <a:pt x="5673615" y="1418048"/>
                  <a:pt x="5673615" y="1418048"/>
                </a:cubicBezTo>
                <a:cubicBezTo>
                  <a:pt x="5663275" y="1415371"/>
                  <a:pt x="5665271" y="1424714"/>
                  <a:pt x="5656608" y="1407029"/>
                </a:cubicBezTo>
                <a:cubicBezTo>
                  <a:pt x="5652935" y="1412696"/>
                  <a:pt x="5664273" y="1420042"/>
                  <a:pt x="5665271" y="1424714"/>
                </a:cubicBezTo>
                <a:cubicBezTo>
                  <a:pt x="5647267" y="1409023"/>
                  <a:pt x="5650937" y="1403355"/>
                  <a:pt x="5639602" y="1396008"/>
                </a:cubicBezTo>
                <a:cubicBezTo>
                  <a:pt x="5644273" y="1395011"/>
                  <a:pt x="5645271" y="1399681"/>
                  <a:pt x="5645271" y="1399681"/>
                </a:cubicBezTo>
                <a:cubicBezTo>
                  <a:pt x="5650937" y="1403355"/>
                  <a:pt x="5650937" y="1403355"/>
                  <a:pt x="5654611" y="1397686"/>
                </a:cubicBezTo>
                <a:cubicBezTo>
                  <a:pt x="5654611" y="1397686"/>
                  <a:pt x="5648943" y="1394013"/>
                  <a:pt x="5643275" y="1390339"/>
                </a:cubicBezTo>
                <a:cubicBezTo>
                  <a:pt x="5653615" y="1393016"/>
                  <a:pt x="5652617" y="1388343"/>
                  <a:pt x="5642277" y="1385668"/>
                </a:cubicBezTo>
                <a:cubicBezTo>
                  <a:pt x="5641279" y="1380997"/>
                  <a:pt x="5641279" y="1380997"/>
                  <a:pt x="5641279" y="1380997"/>
                </a:cubicBezTo>
                <a:cubicBezTo>
                  <a:pt x="5646947" y="1384671"/>
                  <a:pt x="5645949" y="1379999"/>
                  <a:pt x="5645949" y="1379999"/>
                </a:cubicBezTo>
                <a:cubicBezTo>
                  <a:pt x="5640281" y="1376325"/>
                  <a:pt x="5640281" y="1376325"/>
                  <a:pt x="5635609" y="1377324"/>
                </a:cubicBezTo>
                <a:cubicBezTo>
                  <a:pt x="5634612" y="1372654"/>
                  <a:pt x="5634612" y="1372654"/>
                  <a:pt x="5629939" y="1373652"/>
                </a:cubicBezTo>
                <a:cubicBezTo>
                  <a:pt x="5623273" y="1365308"/>
                  <a:pt x="5623273" y="1365308"/>
                  <a:pt x="5616607" y="1356962"/>
                </a:cubicBezTo>
                <a:cubicBezTo>
                  <a:pt x="5622275" y="1360636"/>
                  <a:pt x="5622275" y="1360636"/>
                  <a:pt x="5622275" y="1360636"/>
                </a:cubicBezTo>
                <a:cubicBezTo>
                  <a:pt x="5627945" y="1364309"/>
                  <a:pt x="5632616" y="1363312"/>
                  <a:pt x="5632616" y="1363312"/>
                </a:cubicBezTo>
                <a:cubicBezTo>
                  <a:pt x="5631617" y="1358640"/>
                  <a:pt x="5625949" y="1354966"/>
                  <a:pt x="5620280" y="1351294"/>
                </a:cubicBezTo>
                <a:cubicBezTo>
                  <a:pt x="5614611" y="1347621"/>
                  <a:pt x="5614611" y="1347621"/>
                  <a:pt x="5614611" y="1347621"/>
                </a:cubicBezTo>
                <a:cubicBezTo>
                  <a:pt x="5608941" y="1343947"/>
                  <a:pt x="5608941" y="1343947"/>
                  <a:pt x="5608941" y="1343947"/>
                </a:cubicBezTo>
                <a:cubicBezTo>
                  <a:pt x="5603273" y="1340275"/>
                  <a:pt x="5598601" y="1341272"/>
                  <a:pt x="5599600" y="1345945"/>
                </a:cubicBezTo>
                <a:cubicBezTo>
                  <a:pt x="5599600" y="1345945"/>
                  <a:pt x="5600599" y="1350615"/>
                  <a:pt x="5606266" y="1354289"/>
                </a:cubicBezTo>
                <a:cubicBezTo>
                  <a:pt x="5606266" y="1354289"/>
                  <a:pt x="5606266" y="1354289"/>
                  <a:pt x="5610937" y="1353291"/>
                </a:cubicBezTo>
                <a:cubicBezTo>
                  <a:pt x="5616607" y="1356962"/>
                  <a:pt x="5616607" y="1356962"/>
                  <a:pt x="5616607" y="1356962"/>
                </a:cubicBezTo>
                <a:cubicBezTo>
                  <a:pt x="5591255" y="1352611"/>
                  <a:pt x="5612933" y="1362633"/>
                  <a:pt x="5625269" y="1374649"/>
                </a:cubicBezTo>
                <a:cubicBezTo>
                  <a:pt x="5619601" y="1370976"/>
                  <a:pt x="5619601" y="1370976"/>
                  <a:pt x="5619601" y="1370976"/>
                </a:cubicBezTo>
                <a:cubicBezTo>
                  <a:pt x="5619601" y="1370976"/>
                  <a:pt x="5620599" y="1375646"/>
                  <a:pt x="5620599" y="1375646"/>
                </a:cubicBezTo>
                <a:cubicBezTo>
                  <a:pt x="5620599" y="1375646"/>
                  <a:pt x="5620599" y="1375646"/>
                  <a:pt x="5621597" y="1380318"/>
                </a:cubicBezTo>
                <a:cubicBezTo>
                  <a:pt x="5626267" y="1379320"/>
                  <a:pt x="5626267" y="1379320"/>
                  <a:pt x="5626267" y="1379320"/>
                </a:cubicBezTo>
                <a:cubicBezTo>
                  <a:pt x="5631935" y="1382993"/>
                  <a:pt x="5631935" y="1382993"/>
                  <a:pt x="5631935" y="1382993"/>
                </a:cubicBezTo>
                <a:cubicBezTo>
                  <a:pt x="5627265" y="1383992"/>
                  <a:pt x="5627265" y="1383992"/>
                  <a:pt x="5627265" y="1383992"/>
                </a:cubicBezTo>
                <a:cubicBezTo>
                  <a:pt x="5627265" y="1383992"/>
                  <a:pt x="5628263" y="1388662"/>
                  <a:pt x="5632935" y="1387664"/>
                </a:cubicBezTo>
                <a:cubicBezTo>
                  <a:pt x="5633931" y="1392336"/>
                  <a:pt x="5633931" y="1392336"/>
                  <a:pt x="5633931" y="1392336"/>
                </a:cubicBezTo>
                <a:cubicBezTo>
                  <a:pt x="5618921" y="1390658"/>
                  <a:pt x="5612255" y="1382314"/>
                  <a:pt x="5594249" y="1366625"/>
                </a:cubicBezTo>
                <a:cubicBezTo>
                  <a:pt x="5598919" y="1365626"/>
                  <a:pt x="5598919" y="1365626"/>
                  <a:pt x="5598919" y="1365626"/>
                </a:cubicBezTo>
                <a:cubicBezTo>
                  <a:pt x="5603592" y="1364627"/>
                  <a:pt x="5603592" y="1364627"/>
                  <a:pt x="5603592" y="1364627"/>
                </a:cubicBezTo>
                <a:cubicBezTo>
                  <a:pt x="5597922" y="1360955"/>
                  <a:pt x="5597922" y="1360955"/>
                  <a:pt x="5597922" y="1360955"/>
                </a:cubicBezTo>
                <a:cubicBezTo>
                  <a:pt x="5593251" y="1361952"/>
                  <a:pt x="5593251" y="1361952"/>
                  <a:pt x="5593251" y="1361952"/>
                </a:cubicBezTo>
                <a:cubicBezTo>
                  <a:pt x="5587582" y="1358280"/>
                  <a:pt x="5587582" y="1358280"/>
                  <a:pt x="5587582" y="1358280"/>
                </a:cubicBezTo>
                <a:cubicBezTo>
                  <a:pt x="5581915" y="1354607"/>
                  <a:pt x="5585586" y="1348938"/>
                  <a:pt x="5574249" y="1341592"/>
                </a:cubicBezTo>
                <a:cubicBezTo>
                  <a:pt x="5573250" y="1336920"/>
                  <a:pt x="5573250" y="1336920"/>
                  <a:pt x="5573250" y="1336920"/>
                </a:cubicBezTo>
                <a:cubicBezTo>
                  <a:pt x="5568580" y="1337918"/>
                  <a:pt x="5567581" y="1333248"/>
                  <a:pt x="5567581" y="1333248"/>
                </a:cubicBezTo>
                <a:cubicBezTo>
                  <a:pt x="5562910" y="1334245"/>
                  <a:pt x="5562910" y="1334245"/>
                  <a:pt x="5562910" y="1334245"/>
                </a:cubicBezTo>
                <a:cubicBezTo>
                  <a:pt x="5563907" y="1338917"/>
                  <a:pt x="5563907" y="1338917"/>
                  <a:pt x="5563907" y="1338917"/>
                </a:cubicBezTo>
                <a:cubicBezTo>
                  <a:pt x="5552570" y="1331570"/>
                  <a:pt x="5549577" y="1317557"/>
                  <a:pt x="5540235" y="1319554"/>
                </a:cubicBezTo>
                <a:cubicBezTo>
                  <a:pt x="5540235" y="1319554"/>
                  <a:pt x="5535564" y="1320551"/>
                  <a:pt x="5534565" y="1315881"/>
                </a:cubicBezTo>
                <a:cubicBezTo>
                  <a:pt x="5534565" y="1315881"/>
                  <a:pt x="5529895" y="1316878"/>
                  <a:pt x="5529895" y="1316878"/>
                </a:cubicBezTo>
                <a:cubicBezTo>
                  <a:pt x="5530893" y="1321550"/>
                  <a:pt x="5530893" y="1321550"/>
                  <a:pt x="5530893" y="1321550"/>
                </a:cubicBezTo>
                <a:cubicBezTo>
                  <a:pt x="5505223" y="1292844"/>
                  <a:pt x="5519555" y="1314203"/>
                  <a:pt x="5510213" y="1316199"/>
                </a:cubicBezTo>
                <a:cubicBezTo>
                  <a:pt x="5501549" y="1298513"/>
                  <a:pt x="5467535" y="1276475"/>
                  <a:pt x="5439193" y="1258110"/>
                </a:cubicBezTo>
                <a:cubicBezTo>
                  <a:pt x="5435519" y="1263778"/>
                  <a:pt x="5435519" y="1263778"/>
                  <a:pt x="5435519" y="1263778"/>
                </a:cubicBezTo>
                <a:cubicBezTo>
                  <a:pt x="5434519" y="1259108"/>
                  <a:pt x="5434519" y="1259108"/>
                  <a:pt x="5434519" y="1259108"/>
                </a:cubicBezTo>
                <a:cubicBezTo>
                  <a:pt x="5434519" y="1259108"/>
                  <a:pt x="5433522" y="1254436"/>
                  <a:pt x="5428851" y="1255434"/>
                </a:cubicBezTo>
                <a:cubicBezTo>
                  <a:pt x="5428851" y="1255434"/>
                  <a:pt x="5429849" y="1260105"/>
                  <a:pt x="5429849" y="1260105"/>
                </a:cubicBezTo>
                <a:cubicBezTo>
                  <a:pt x="5412842" y="1249086"/>
                  <a:pt x="5399507" y="1232398"/>
                  <a:pt x="5392843" y="1224054"/>
                </a:cubicBezTo>
                <a:cubicBezTo>
                  <a:pt x="5389167" y="1229722"/>
                  <a:pt x="5390166" y="1234394"/>
                  <a:pt x="5384497" y="1230720"/>
                </a:cubicBezTo>
                <a:cubicBezTo>
                  <a:pt x="5383499" y="1226050"/>
                  <a:pt x="5383499" y="1226050"/>
                  <a:pt x="5377830" y="1222376"/>
                </a:cubicBezTo>
                <a:cubicBezTo>
                  <a:pt x="5374157" y="1228047"/>
                  <a:pt x="5373160" y="1223374"/>
                  <a:pt x="5366493" y="1215031"/>
                </a:cubicBezTo>
                <a:cubicBezTo>
                  <a:pt x="5366493" y="1215031"/>
                  <a:pt x="5366493" y="1215031"/>
                  <a:pt x="5371164" y="1214034"/>
                </a:cubicBezTo>
                <a:cubicBezTo>
                  <a:pt x="5371164" y="1214034"/>
                  <a:pt x="5371164" y="1214034"/>
                  <a:pt x="5370165" y="1209361"/>
                </a:cubicBezTo>
                <a:cubicBezTo>
                  <a:pt x="5365495" y="1210360"/>
                  <a:pt x="5364497" y="1205689"/>
                  <a:pt x="5359825" y="1206686"/>
                </a:cubicBezTo>
                <a:cubicBezTo>
                  <a:pt x="5359825" y="1206686"/>
                  <a:pt x="5355155" y="1207685"/>
                  <a:pt x="5355155" y="1207685"/>
                </a:cubicBezTo>
                <a:cubicBezTo>
                  <a:pt x="5353159" y="1198342"/>
                  <a:pt x="5305132" y="1179299"/>
                  <a:pt x="5316471" y="1186644"/>
                </a:cubicBezTo>
                <a:cubicBezTo>
                  <a:pt x="5330483" y="1183650"/>
                  <a:pt x="5315790" y="1206325"/>
                  <a:pt x="5328805" y="1198660"/>
                </a:cubicBezTo>
                <a:lnTo>
                  <a:pt x="5339148" y="1201337"/>
                </a:lnTo>
                <a:lnTo>
                  <a:pt x="5339145" y="1201337"/>
                </a:lnTo>
                <a:cubicBezTo>
                  <a:pt x="5334475" y="1202334"/>
                  <a:pt x="5340143" y="1206007"/>
                  <a:pt x="5340143" y="1206007"/>
                </a:cubicBezTo>
                <a:cubicBezTo>
                  <a:pt x="5345813" y="1209681"/>
                  <a:pt x="5345813" y="1209681"/>
                  <a:pt x="5345813" y="1209681"/>
                </a:cubicBezTo>
                <a:cubicBezTo>
                  <a:pt x="5341141" y="1210678"/>
                  <a:pt x="5341141" y="1210678"/>
                  <a:pt x="5341141" y="1210678"/>
                </a:cubicBezTo>
                <a:cubicBezTo>
                  <a:pt x="5340143" y="1206007"/>
                  <a:pt x="5335473" y="1207006"/>
                  <a:pt x="5335473" y="1207006"/>
                </a:cubicBezTo>
                <a:cubicBezTo>
                  <a:pt x="5335473" y="1207006"/>
                  <a:pt x="5336470" y="1211676"/>
                  <a:pt x="5336470" y="1211676"/>
                </a:cubicBezTo>
                <a:cubicBezTo>
                  <a:pt x="5342139" y="1215350"/>
                  <a:pt x="5342139" y="1215350"/>
                  <a:pt x="5342139" y="1215350"/>
                </a:cubicBezTo>
                <a:cubicBezTo>
                  <a:pt x="5347809" y="1219022"/>
                  <a:pt x="5347809" y="1219022"/>
                  <a:pt x="5347809" y="1219022"/>
                </a:cubicBezTo>
                <a:cubicBezTo>
                  <a:pt x="5347809" y="1219022"/>
                  <a:pt x="5337469" y="1216347"/>
                  <a:pt x="5337469" y="1216347"/>
                </a:cubicBezTo>
                <a:cubicBezTo>
                  <a:pt x="5331799" y="1212674"/>
                  <a:pt x="5331799" y="1212674"/>
                  <a:pt x="5331799" y="1212674"/>
                </a:cubicBezTo>
                <a:cubicBezTo>
                  <a:pt x="5326130" y="1209000"/>
                  <a:pt x="5326130" y="1209000"/>
                  <a:pt x="5326130" y="1209000"/>
                </a:cubicBezTo>
                <a:cubicBezTo>
                  <a:pt x="5325133" y="1204330"/>
                  <a:pt x="5319464" y="1200656"/>
                  <a:pt x="5314793" y="1201655"/>
                </a:cubicBezTo>
                <a:cubicBezTo>
                  <a:pt x="5310121" y="1202653"/>
                  <a:pt x="5311119" y="1207324"/>
                  <a:pt x="5316787" y="1210996"/>
                </a:cubicBezTo>
                <a:cubicBezTo>
                  <a:pt x="5316787" y="1210996"/>
                  <a:pt x="5316787" y="1210996"/>
                  <a:pt x="5317786" y="1215668"/>
                </a:cubicBezTo>
                <a:cubicBezTo>
                  <a:pt x="5300780" y="1204649"/>
                  <a:pt x="5314793" y="1201655"/>
                  <a:pt x="5294113" y="1196306"/>
                </a:cubicBezTo>
                <a:cubicBezTo>
                  <a:pt x="5298783" y="1195307"/>
                  <a:pt x="5298783" y="1195307"/>
                  <a:pt x="5298783" y="1195307"/>
                </a:cubicBezTo>
                <a:cubicBezTo>
                  <a:pt x="5298783" y="1195307"/>
                  <a:pt x="5298783" y="1195307"/>
                  <a:pt x="5297785" y="1190636"/>
                </a:cubicBezTo>
                <a:cubicBezTo>
                  <a:pt x="5293114" y="1191633"/>
                  <a:pt x="5293114" y="1191633"/>
                  <a:pt x="5293114" y="1191633"/>
                </a:cubicBezTo>
                <a:cubicBezTo>
                  <a:pt x="5293114" y="1191633"/>
                  <a:pt x="5288443" y="1192631"/>
                  <a:pt x="5288443" y="1192631"/>
                </a:cubicBezTo>
                <a:cubicBezTo>
                  <a:pt x="5282775" y="1188958"/>
                  <a:pt x="5282775" y="1188958"/>
                  <a:pt x="5282775" y="1188958"/>
                </a:cubicBezTo>
                <a:cubicBezTo>
                  <a:pt x="5277105" y="1185286"/>
                  <a:pt x="5277105" y="1185286"/>
                  <a:pt x="5265767" y="1177939"/>
                </a:cubicBezTo>
                <a:cubicBezTo>
                  <a:pt x="5258421" y="1189278"/>
                  <a:pt x="5234748" y="1169914"/>
                  <a:pt x="5237741" y="1183927"/>
                </a:cubicBezTo>
                <a:cubicBezTo>
                  <a:pt x="5247083" y="1181931"/>
                  <a:pt x="5253750" y="1190277"/>
                  <a:pt x="5264090" y="1192949"/>
                </a:cubicBezTo>
                <a:cubicBezTo>
                  <a:pt x="5253750" y="1190277"/>
                  <a:pt x="5253750" y="1190277"/>
                  <a:pt x="5254749" y="1194947"/>
                </a:cubicBezTo>
                <a:cubicBezTo>
                  <a:pt x="5254749" y="1194947"/>
                  <a:pt x="5254749" y="1194947"/>
                  <a:pt x="5255746" y="1199616"/>
                </a:cubicBezTo>
                <a:cubicBezTo>
                  <a:pt x="5243410" y="1187600"/>
                  <a:pt x="5226404" y="1176581"/>
                  <a:pt x="5210394" y="1170233"/>
                </a:cubicBezTo>
                <a:cubicBezTo>
                  <a:pt x="5199057" y="1162887"/>
                  <a:pt x="5182049" y="1151868"/>
                  <a:pt x="5166041" y="1145520"/>
                </a:cubicBezTo>
                <a:cubicBezTo>
                  <a:pt x="5171709" y="1149192"/>
                  <a:pt x="5182049" y="1151868"/>
                  <a:pt x="5175383" y="1143524"/>
                </a:cubicBezTo>
                <a:cubicBezTo>
                  <a:pt x="5154702" y="1138173"/>
                  <a:pt x="5154702" y="1138173"/>
                  <a:pt x="5152707" y="1128832"/>
                </a:cubicBezTo>
                <a:cubicBezTo>
                  <a:pt x="5132025" y="1123480"/>
                  <a:pt x="5124363" y="1110465"/>
                  <a:pt x="5132025" y="1123480"/>
                </a:cubicBezTo>
                <a:cubicBezTo>
                  <a:pt x="5127356" y="1124478"/>
                  <a:pt x="5127356" y="1124478"/>
                  <a:pt x="5122685" y="1125476"/>
                </a:cubicBezTo>
                <a:cubicBezTo>
                  <a:pt x="5095337" y="1111782"/>
                  <a:pt x="5068989" y="1102760"/>
                  <a:pt x="5046313" y="1088067"/>
                </a:cubicBezTo>
                <a:cubicBezTo>
                  <a:pt x="5041643" y="1089066"/>
                  <a:pt x="5035973" y="1085392"/>
                  <a:pt x="5030303" y="1081718"/>
                </a:cubicBezTo>
                <a:cubicBezTo>
                  <a:pt x="5050983" y="1087069"/>
                  <a:pt x="5065997" y="1088746"/>
                  <a:pt x="5086675" y="1094097"/>
                </a:cubicBezTo>
                <a:cubicBezTo>
                  <a:pt x="5086675" y="1094097"/>
                  <a:pt x="5103683" y="1105116"/>
                  <a:pt x="5085676" y="1089426"/>
                </a:cubicBezTo>
                <a:cubicBezTo>
                  <a:pt x="5091346" y="1093098"/>
                  <a:pt x="5101686" y="1095775"/>
                  <a:pt x="5095019" y="1087429"/>
                </a:cubicBezTo>
                <a:cubicBezTo>
                  <a:pt x="5076335" y="1091420"/>
                  <a:pt x="5054656" y="1081400"/>
                  <a:pt x="5029307" y="1077048"/>
                </a:cubicBezTo>
                <a:cubicBezTo>
                  <a:pt x="5033976" y="1076051"/>
                  <a:pt x="5032979" y="1071380"/>
                  <a:pt x="5028309" y="1072377"/>
                </a:cubicBezTo>
                <a:cubicBezTo>
                  <a:pt x="5032979" y="1071380"/>
                  <a:pt x="5032979" y="1071380"/>
                  <a:pt x="5032979" y="1071380"/>
                </a:cubicBezTo>
                <a:cubicBezTo>
                  <a:pt x="5031981" y="1066707"/>
                  <a:pt x="5031981" y="1066707"/>
                  <a:pt x="5027310" y="1067706"/>
                </a:cubicBezTo>
                <a:cubicBezTo>
                  <a:pt x="5026313" y="1063036"/>
                  <a:pt x="5015971" y="1060359"/>
                  <a:pt x="5005631" y="1057685"/>
                </a:cubicBezTo>
                <a:cubicBezTo>
                  <a:pt x="5000961" y="1058683"/>
                  <a:pt x="5000961" y="1058683"/>
                  <a:pt x="5000961" y="1058683"/>
                </a:cubicBezTo>
                <a:cubicBezTo>
                  <a:pt x="4999964" y="1054011"/>
                  <a:pt x="4999964" y="1054011"/>
                  <a:pt x="4995291" y="1055010"/>
                </a:cubicBezTo>
                <a:cubicBezTo>
                  <a:pt x="4989623" y="1051337"/>
                  <a:pt x="4989623" y="1051337"/>
                  <a:pt x="4983954" y="1047662"/>
                </a:cubicBezTo>
                <a:cubicBezTo>
                  <a:pt x="4983954" y="1047662"/>
                  <a:pt x="4982957" y="1042992"/>
                  <a:pt x="4982957" y="1042992"/>
                </a:cubicBezTo>
                <a:cubicBezTo>
                  <a:pt x="4977287" y="1039320"/>
                  <a:pt x="4977287" y="1039320"/>
                  <a:pt x="4977287" y="1039320"/>
                </a:cubicBezTo>
                <a:cubicBezTo>
                  <a:pt x="4973614" y="1044988"/>
                  <a:pt x="4973614" y="1044988"/>
                  <a:pt x="4973614" y="1044988"/>
                </a:cubicBezTo>
                <a:cubicBezTo>
                  <a:pt x="4962277" y="1037643"/>
                  <a:pt x="4952934" y="1039638"/>
                  <a:pt x="4942594" y="1036963"/>
                </a:cubicBezTo>
                <a:cubicBezTo>
                  <a:pt x="4942594" y="1036963"/>
                  <a:pt x="4947265" y="1035964"/>
                  <a:pt x="4947265" y="1035964"/>
                </a:cubicBezTo>
                <a:cubicBezTo>
                  <a:pt x="4947265" y="1035964"/>
                  <a:pt x="4947265" y="1035964"/>
                  <a:pt x="4946267" y="1031294"/>
                </a:cubicBezTo>
                <a:cubicBezTo>
                  <a:pt x="4946267" y="1031294"/>
                  <a:pt x="4941597" y="1032293"/>
                  <a:pt x="4941597" y="1032293"/>
                </a:cubicBezTo>
                <a:cubicBezTo>
                  <a:pt x="4941597" y="1032293"/>
                  <a:pt x="4936925" y="1033290"/>
                  <a:pt x="4936925" y="1033290"/>
                </a:cubicBezTo>
                <a:cubicBezTo>
                  <a:pt x="4945269" y="1026623"/>
                  <a:pt x="4900235" y="1021592"/>
                  <a:pt x="4921914" y="1031612"/>
                </a:cubicBezTo>
                <a:cubicBezTo>
                  <a:pt x="4922913" y="1036284"/>
                  <a:pt x="4927583" y="1035286"/>
                  <a:pt x="4927583" y="1035286"/>
                </a:cubicBezTo>
                <a:cubicBezTo>
                  <a:pt x="4914567" y="1042949"/>
                  <a:pt x="4957604" y="1038641"/>
                  <a:pt x="4973614" y="1044988"/>
                </a:cubicBezTo>
                <a:cubicBezTo>
                  <a:pt x="4968943" y="1045986"/>
                  <a:pt x="4968943" y="1045986"/>
                  <a:pt x="4964271" y="1046983"/>
                </a:cubicBezTo>
                <a:cubicBezTo>
                  <a:pt x="4964271" y="1046983"/>
                  <a:pt x="4965270" y="1051656"/>
                  <a:pt x="4965270" y="1051656"/>
                </a:cubicBezTo>
                <a:cubicBezTo>
                  <a:pt x="4969940" y="1050657"/>
                  <a:pt x="4969940" y="1050657"/>
                  <a:pt x="4969940" y="1050657"/>
                </a:cubicBezTo>
                <a:cubicBezTo>
                  <a:pt x="4970937" y="1055328"/>
                  <a:pt x="4975610" y="1054330"/>
                  <a:pt x="4975610" y="1054330"/>
                </a:cubicBezTo>
                <a:cubicBezTo>
                  <a:pt x="4980281" y="1053332"/>
                  <a:pt x="4980281" y="1053332"/>
                  <a:pt x="4980281" y="1053332"/>
                </a:cubicBezTo>
                <a:cubicBezTo>
                  <a:pt x="5002957" y="1068025"/>
                  <a:pt x="4954930" y="1048979"/>
                  <a:pt x="4976607" y="1059002"/>
                </a:cubicBezTo>
                <a:cubicBezTo>
                  <a:pt x="4966267" y="1056326"/>
                  <a:pt x="4955927" y="1053650"/>
                  <a:pt x="4945587" y="1050975"/>
                </a:cubicBezTo>
                <a:cubicBezTo>
                  <a:pt x="4926745" y="1042790"/>
                  <a:pt x="4906983" y="1036024"/>
                  <a:pt x="4888638" y="1030174"/>
                </a:cubicBezTo>
                <a:lnTo>
                  <a:pt x="4883576" y="1028576"/>
                </a:lnTo>
                <a:lnTo>
                  <a:pt x="4677737" y="918554"/>
                </a:lnTo>
                <a:cubicBezTo>
                  <a:pt x="4618194" y="886663"/>
                  <a:pt x="4554209" y="871943"/>
                  <a:pt x="4486061" y="866223"/>
                </a:cubicBezTo>
                <a:cubicBezTo>
                  <a:pt x="4338547" y="859209"/>
                  <a:pt x="4194645" y="831144"/>
                  <a:pt x="4048372" y="829950"/>
                </a:cubicBezTo>
                <a:cubicBezTo>
                  <a:pt x="3646949" y="830539"/>
                  <a:pt x="3256016" y="889726"/>
                  <a:pt x="2878191" y="1029255"/>
                </a:cubicBezTo>
                <a:cubicBezTo>
                  <a:pt x="2787997" y="1062720"/>
                  <a:pt x="2702509" y="1099236"/>
                  <a:pt x="2628640" y="1161658"/>
                </a:cubicBezTo>
                <a:cubicBezTo>
                  <a:pt x="2511256" y="1257713"/>
                  <a:pt x="2371313" y="1324113"/>
                  <a:pt x="2250745" y="1414763"/>
                </a:cubicBezTo>
                <a:cubicBezTo>
                  <a:pt x="2238411" y="1423482"/>
                  <a:pt x="2220675" y="1435383"/>
                  <a:pt x="2208076" y="1423878"/>
                </a:cubicBezTo>
                <a:cubicBezTo>
                  <a:pt x="2204928" y="1421004"/>
                  <a:pt x="2203060" y="1417600"/>
                  <a:pt x="2202136" y="1413869"/>
                </a:cubicBezTo>
                <a:lnTo>
                  <a:pt x="2202084" y="1411629"/>
                </a:lnTo>
                <a:lnTo>
                  <a:pt x="2206238" y="1407817"/>
                </a:lnTo>
                <a:cubicBezTo>
                  <a:pt x="2380395" y="1260518"/>
                  <a:pt x="2574630" y="1132593"/>
                  <a:pt x="2786866" y="1028640"/>
                </a:cubicBezTo>
                <a:cubicBezTo>
                  <a:pt x="2787863" y="1033311"/>
                  <a:pt x="2787863" y="1033311"/>
                  <a:pt x="2792535" y="1032314"/>
                </a:cubicBezTo>
                <a:cubicBezTo>
                  <a:pt x="2792535" y="1032314"/>
                  <a:pt x="2797204" y="1031315"/>
                  <a:pt x="2797204" y="1031315"/>
                </a:cubicBezTo>
                <a:cubicBezTo>
                  <a:pt x="2792535" y="1032314"/>
                  <a:pt x="2794529" y="1041655"/>
                  <a:pt x="2802875" y="1034988"/>
                </a:cubicBezTo>
                <a:cubicBezTo>
                  <a:pt x="2794529" y="1041655"/>
                  <a:pt x="2794529" y="1041655"/>
                  <a:pt x="2794529" y="1041655"/>
                </a:cubicBezTo>
                <a:cubicBezTo>
                  <a:pt x="2789859" y="1042653"/>
                  <a:pt x="2790857" y="1047324"/>
                  <a:pt x="2795528" y="1046327"/>
                </a:cubicBezTo>
                <a:cubicBezTo>
                  <a:pt x="2795528" y="1046327"/>
                  <a:pt x="2800199" y="1045328"/>
                  <a:pt x="2800199" y="1045328"/>
                </a:cubicBezTo>
                <a:cubicBezTo>
                  <a:pt x="2804871" y="1044330"/>
                  <a:pt x="2804871" y="1044330"/>
                  <a:pt x="2804871" y="1044330"/>
                </a:cubicBezTo>
                <a:cubicBezTo>
                  <a:pt x="2808543" y="1038660"/>
                  <a:pt x="2808543" y="1038660"/>
                  <a:pt x="2808543" y="1038660"/>
                </a:cubicBezTo>
                <a:cubicBezTo>
                  <a:pt x="2813215" y="1037663"/>
                  <a:pt x="2813215" y="1037663"/>
                  <a:pt x="2813215" y="1037663"/>
                </a:cubicBezTo>
                <a:cubicBezTo>
                  <a:pt x="2810539" y="1048003"/>
                  <a:pt x="2815209" y="1047006"/>
                  <a:pt x="2829222" y="1044011"/>
                </a:cubicBezTo>
                <a:cubicBezTo>
                  <a:pt x="2836568" y="1032673"/>
                  <a:pt x="2828224" y="1039341"/>
                  <a:pt x="2830901" y="1029001"/>
                </a:cubicBezTo>
                <a:lnTo>
                  <a:pt x="2826228" y="1029998"/>
                </a:lnTo>
                <a:cubicBezTo>
                  <a:pt x="2830901" y="1029001"/>
                  <a:pt x="2829902" y="1024329"/>
                  <a:pt x="2825231" y="1025328"/>
                </a:cubicBezTo>
                <a:cubicBezTo>
                  <a:pt x="2825231" y="1025328"/>
                  <a:pt x="2815890" y="1027323"/>
                  <a:pt x="2811218" y="1028322"/>
                </a:cubicBezTo>
                <a:cubicBezTo>
                  <a:pt x="2807546" y="1033990"/>
                  <a:pt x="2807546" y="1033990"/>
                  <a:pt x="2807546" y="1033990"/>
                </a:cubicBezTo>
                <a:cubicBezTo>
                  <a:pt x="2806549" y="1029320"/>
                  <a:pt x="2811218" y="1028322"/>
                  <a:pt x="2810219" y="1023650"/>
                </a:cubicBezTo>
                <a:cubicBezTo>
                  <a:pt x="2810219" y="1023650"/>
                  <a:pt x="2814891" y="1022653"/>
                  <a:pt x="2814891" y="1022653"/>
                </a:cubicBezTo>
                <a:cubicBezTo>
                  <a:pt x="2819564" y="1021654"/>
                  <a:pt x="2823235" y="1015986"/>
                  <a:pt x="2823235" y="1015986"/>
                </a:cubicBezTo>
                <a:cubicBezTo>
                  <a:pt x="2823235" y="1015986"/>
                  <a:pt x="2823235" y="1015986"/>
                  <a:pt x="2818565" y="1016983"/>
                </a:cubicBezTo>
                <a:cubicBezTo>
                  <a:pt x="2889309" y="982332"/>
                  <a:pt x="2965723" y="951353"/>
                  <a:pt x="3037465" y="921374"/>
                </a:cubicBezTo>
                <a:cubicBezTo>
                  <a:pt x="3038464" y="926044"/>
                  <a:pt x="3044133" y="929718"/>
                  <a:pt x="3058147" y="926725"/>
                </a:cubicBezTo>
                <a:cubicBezTo>
                  <a:pt x="3057148" y="922053"/>
                  <a:pt x="3051479" y="918379"/>
                  <a:pt x="3046809" y="919377"/>
                </a:cubicBezTo>
                <a:cubicBezTo>
                  <a:pt x="3046809" y="919377"/>
                  <a:pt x="3051479" y="918379"/>
                  <a:pt x="3051479" y="918379"/>
                </a:cubicBezTo>
                <a:cubicBezTo>
                  <a:pt x="3199715" y="863510"/>
                  <a:pt x="3349591" y="822028"/>
                  <a:pt x="3499823" y="793288"/>
                </a:cubicBezTo>
                <a:lnTo>
                  <a:pt x="3644023" y="771778"/>
                </a:lnTo>
                <a:lnTo>
                  <a:pt x="3664087" y="769873"/>
                </a:lnTo>
                <a:cubicBezTo>
                  <a:pt x="3709474" y="766929"/>
                  <a:pt x="3755207" y="765334"/>
                  <a:pt x="3801298" y="765118"/>
                </a:cubicBezTo>
                <a:cubicBezTo>
                  <a:pt x="3825607" y="764994"/>
                  <a:pt x="3838629" y="764240"/>
                  <a:pt x="3849108" y="758706"/>
                </a:cubicBezTo>
                <a:lnTo>
                  <a:pt x="3858639" y="750773"/>
                </a:lnTo>
                <a:close/>
                <a:moveTo>
                  <a:pt x="1876892" y="560831"/>
                </a:moveTo>
                <a:cubicBezTo>
                  <a:pt x="1882274" y="560831"/>
                  <a:pt x="1887657" y="560831"/>
                  <a:pt x="1898421" y="560831"/>
                </a:cubicBezTo>
                <a:cubicBezTo>
                  <a:pt x="1868820" y="611956"/>
                  <a:pt x="1831147" y="646935"/>
                  <a:pt x="1793475" y="681915"/>
                </a:cubicBezTo>
                <a:cubicBezTo>
                  <a:pt x="1330636" y="1093597"/>
                  <a:pt x="988888" y="1588690"/>
                  <a:pt x="776305" y="2172579"/>
                </a:cubicBezTo>
                <a:cubicBezTo>
                  <a:pt x="770924" y="2188723"/>
                  <a:pt x="757469" y="2210249"/>
                  <a:pt x="760159" y="2226393"/>
                </a:cubicBezTo>
                <a:cubicBezTo>
                  <a:pt x="768233" y="2398600"/>
                  <a:pt x="698268" y="2557354"/>
                  <a:pt x="674049" y="2724179"/>
                </a:cubicBezTo>
                <a:cubicBezTo>
                  <a:pt x="652522" y="2874859"/>
                  <a:pt x="622922" y="3022849"/>
                  <a:pt x="622922" y="3181602"/>
                </a:cubicBezTo>
                <a:cubicBezTo>
                  <a:pt x="665977" y="3152004"/>
                  <a:pt x="665977" y="3111643"/>
                  <a:pt x="668667" y="3073973"/>
                </a:cubicBezTo>
                <a:cubicBezTo>
                  <a:pt x="682124" y="2936746"/>
                  <a:pt x="698268" y="2799518"/>
                  <a:pt x="725177" y="2664982"/>
                </a:cubicBezTo>
                <a:cubicBezTo>
                  <a:pt x="835505" y="2102620"/>
                  <a:pt x="1077688" y="1602145"/>
                  <a:pt x="1438272" y="1155483"/>
                </a:cubicBezTo>
                <a:cubicBezTo>
                  <a:pt x="1489400" y="1090906"/>
                  <a:pt x="1562055" y="1047854"/>
                  <a:pt x="1629328" y="999420"/>
                </a:cubicBezTo>
                <a:cubicBezTo>
                  <a:pt x="1653547" y="983276"/>
                  <a:pt x="1675074" y="969822"/>
                  <a:pt x="1669692" y="929461"/>
                </a:cubicBezTo>
                <a:cubicBezTo>
                  <a:pt x="1667001" y="886410"/>
                  <a:pt x="1707365" y="867574"/>
                  <a:pt x="1739655" y="848740"/>
                </a:cubicBezTo>
                <a:cubicBezTo>
                  <a:pt x="1761183" y="837977"/>
                  <a:pt x="1788092" y="835286"/>
                  <a:pt x="1817693" y="837977"/>
                </a:cubicBezTo>
                <a:cubicBezTo>
                  <a:pt x="1782710" y="875647"/>
                  <a:pt x="1750420" y="916008"/>
                  <a:pt x="1715438" y="953679"/>
                </a:cubicBezTo>
                <a:cubicBezTo>
                  <a:pt x="1605109" y="1074761"/>
                  <a:pt x="1494782" y="1198535"/>
                  <a:pt x="1403290" y="1335761"/>
                </a:cubicBezTo>
                <a:cubicBezTo>
                  <a:pt x="1376382" y="1370741"/>
                  <a:pt x="1344091" y="1397649"/>
                  <a:pt x="1352163" y="1448772"/>
                </a:cubicBezTo>
                <a:cubicBezTo>
                  <a:pt x="1357545" y="1478370"/>
                  <a:pt x="1330636" y="1505278"/>
                  <a:pt x="1314489" y="1532185"/>
                </a:cubicBezTo>
                <a:cubicBezTo>
                  <a:pt x="1220307" y="1669413"/>
                  <a:pt x="1144962" y="1817402"/>
                  <a:pt x="1072307" y="1965393"/>
                </a:cubicBezTo>
                <a:cubicBezTo>
                  <a:pt x="1066925" y="1976156"/>
                  <a:pt x="1061543" y="1984227"/>
                  <a:pt x="1069616" y="1997681"/>
                </a:cubicBezTo>
                <a:cubicBezTo>
                  <a:pt x="1091144" y="2003063"/>
                  <a:pt x="1093835" y="1981536"/>
                  <a:pt x="1099217" y="1970774"/>
                </a:cubicBezTo>
                <a:cubicBezTo>
                  <a:pt x="1206853" y="1739372"/>
                  <a:pt x="1344091" y="1529495"/>
                  <a:pt x="1494782" y="1327690"/>
                </a:cubicBezTo>
                <a:cubicBezTo>
                  <a:pt x="1500164" y="1319618"/>
                  <a:pt x="1505545" y="1311545"/>
                  <a:pt x="1510927" y="1303472"/>
                </a:cubicBezTo>
                <a:cubicBezTo>
                  <a:pt x="1519001" y="1292711"/>
                  <a:pt x="1529764" y="1287329"/>
                  <a:pt x="1540528" y="1300782"/>
                </a:cubicBezTo>
                <a:cubicBezTo>
                  <a:pt x="1556672" y="1311545"/>
                  <a:pt x="1548600" y="1319618"/>
                  <a:pt x="1540528" y="1330381"/>
                </a:cubicBezTo>
                <a:cubicBezTo>
                  <a:pt x="1411363" y="1483752"/>
                  <a:pt x="1319872" y="1664031"/>
                  <a:pt x="1217616" y="1836238"/>
                </a:cubicBezTo>
                <a:cubicBezTo>
                  <a:pt x="1212235" y="1847000"/>
                  <a:pt x="1204162" y="1855072"/>
                  <a:pt x="1201472" y="1865836"/>
                </a:cubicBezTo>
                <a:cubicBezTo>
                  <a:pt x="1163799" y="2021897"/>
                  <a:pt x="1077688" y="2159125"/>
                  <a:pt x="1034634" y="2315188"/>
                </a:cubicBezTo>
                <a:cubicBezTo>
                  <a:pt x="945833" y="2646147"/>
                  <a:pt x="897396" y="2977107"/>
                  <a:pt x="886633" y="3316138"/>
                </a:cubicBezTo>
                <a:cubicBezTo>
                  <a:pt x="886633" y="3326902"/>
                  <a:pt x="886633" y="3334975"/>
                  <a:pt x="886633" y="3345737"/>
                </a:cubicBezTo>
                <a:cubicBezTo>
                  <a:pt x="916234" y="3332283"/>
                  <a:pt x="910852" y="3308066"/>
                  <a:pt x="910852" y="3286541"/>
                </a:cubicBezTo>
                <a:lnTo>
                  <a:pt x="912039" y="3267394"/>
                </a:lnTo>
                <a:lnTo>
                  <a:pt x="911945" y="3235898"/>
                </a:lnTo>
                <a:cubicBezTo>
                  <a:pt x="916573" y="3143655"/>
                  <a:pt x="911504" y="3053483"/>
                  <a:pt x="932891" y="2963742"/>
                </a:cubicBezTo>
                <a:cubicBezTo>
                  <a:pt x="934004" y="2959449"/>
                  <a:pt x="934041" y="2954878"/>
                  <a:pt x="935203" y="2950827"/>
                </a:cubicBezTo>
                <a:lnTo>
                  <a:pt x="936942" y="2948948"/>
                </a:lnTo>
                <a:lnTo>
                  <a:pt x="967110" y="2742550"/>
                </a:lnTo>
                <a:cubicBezTo>
                  <a:pt x="1067262" y="2215462"/>
                  <a:pt x="1298344" y="1738698"/>
                  <a:pt x="1653547" y="1308854"/>
                </a:cubicBezTo>
                <a:cubicBezTo>
                  <a:pt x="1782710" y="1152792"/>
                  <a:pt x="1933403" y="1015565"/>
                  <a:pt x="2092167" y="889101"/>
                </a:cubicBezTo>
                <a:cubicBezTo>
                  <a:pt x="2105621" y="878338"/>
                  <a:pt x="2119075" y="867574"/>
                  <a:pt x="2137913" y="856811"/>
                </a:cubicBezTo>
                <a:cubicBezTo>
                  <a:pt x="2148676" y="897172"/>
                  <a:pt x="2127149" y="916008"/>
                  <a:pt x="2108312" y="940224"/>
                </a:cubicBezTo>
                <a:cubicBezTo>
                  <a:pt x="2078713" y="972513"/>
                  <a:pt x="2043730" y="1004802"/>
                  <a:pt x="2046421" y="1055926"/>
                </a:cubicBezTo>
                <a:cubicBezTo>
                  <a:pt x="2046421" y="1072070"/>
                  <a:pt x="2030276" y="1082833"/>
                  <a:pt x="2016821" y="1093597"/>
                </a:cubicBezTo>
                <a:cubicBezTo>
                  <a:pt x="1928020" y="1171627"/>
                  <a:pt x="1849984" y="1257731"/>
                  <a:pt x="1774638" y="1349215"/>
                </a:cubicBezTo>
                <a:cubicBezTo>
                  <a:pt x="1766565" y="1359979"/>
                  <a:pt x="1734274" y="1373431"/>
                  <a:pt x="1777328" y="1386886"/>
                </a:cubicBezTo>
                <a:cubicBezTo>
                  <a:pt x="1801547" y="1394958"/>
                  <a:pt x="1774638" y="1413793"/>
                  <a:pt x="1766565" y="1421865"/>
                </a:cubicBezTo>
                <a:cubicBezTo>
                  <a:pt x="1597036" y="1626361"/>
                  <a:pt x="1459800" y="1849691"/>
                  <a:pt x="1352163" y="2091856"/>
                </a:cubicBezTo>
                <a:cubicBezTo>
                  <a:pt x="1212235" y="2409363"/>
                  <a:pt x="1136890" y="2743013"/>
                  <a:pt x="1101907" y="3087427"/>
                </a:cubicBezTo>
                <a:cubicBezTo>
                  <a:pt x="1101907" y="3088772"/>
                  <a:pt x="1101907" y="3090790"/>
                  <a:pt x="1102580" y="3094154"/>
                </a:cubicBezTo>
                <a:lnTo>
                  <a:pt x="1104570" y="3100406"/>
                </a:lnTo>
                <a:lnTo>
                  <a:pt x="1113843" y="2999101"/>
                </a:lnTo>
                <a:cubicBezTo>
                  <a:pt x="1138226" y="2826084"/>
                  <a:pt x="1179369" y="2655571"/>
                  <a:pt x="1236682" y="2487179"/>
                </a:cubicBezTo>
                <a:cubicBezTo>
                  <a:pt x="1239318" y="2480533"/>
                  <a:pt x="1242783" y="2477764"/>
                  <a:pt x="1249712" y="2472227"/>
                </a:cubicBezTo>
                <a:cubicBezTo>
                  <a:pt x="1202697" y="2647291"/>
                  <a:pt x="1165753" y="2822770"/>
                  <a:pt x="1144152" y="2998820"/>
                </a:cubicBezTo>
                <a:lnTo>
                  <a:pt x="1143877" y="3001792"/>
                </a:lnTo>
                <a:lnTo>
                  <a:pt x="1144625" y="2999599"/>
                </a:lnTo>
                <a:cubicBezTo>
                  <a:pt x="1169853" y="2888481"/>
                  <a:pt x="1167835" y="2773956"/>
                  <a:pt x="1220307" y="2673054"/>
                </a:cubicBezTo>
                <a:cubicBezTo>
                  <a:pt x="1196089" y="2780684"/>
                  <a:pt x="1228380" y="2896384"/>
                  <a:pt x="1182634" y="3001323"/>
                </a:cubicBezTo>
                <a:lnTo>
                  <a:pt x="1177230" y="3017964"/>
                </a:lnTo>
                <a:lnTo>
                  <a:pt x="1193129" y="3023733"/>
                </a:lnTo>
                <a:cubicBezTo>
                  <a:pt x="1206837" y="3030944"/>
                  <a:pt x="1205461" y="3015014"/>
                  <a:pt x="1207684" y="3006427"/>
                </a:cubicBezTo>
                <a:cubicBezTo>
                  <a:pt x="1226207" y="2846324"/>
                  <a:pt x="1272430" y="2692470"/>
                  <a:pt x="1314361" y="2537505"/>
                </a:cubicBezTo>
                <a:cubicBezTo>
                  <a:pt x="1316859" y="2527844"/>
                  <a:pt x="1315153" y="2514521"/>
                  <a:pt x="1324018" y="2510631"/>
                </a:cubicBezTo>
                <a:cubicBezTo>
                  <a:pt x="1326973" y="2509334"/>
                  <a:pt x="1331103" y="2509086"/>
                  <a:pt x="1336954" y="2510369"/>
                </a:cubicBezTo>
                <a:lnTo>
                  <a:pt x="1346335" y="2515455"/>
                </a:lnTo>
                <a:lnTo>
                  <a:pt x="1341475" y="2526822"/>
                </a:lnTo>
                <a:cubicBezTo>
                  <a:pt x="1282033" y="2684987"/>
                  <a:pt x="1236529" y="2849070"/>
                  <a:pt x="1206129" y="3017246"/>
                </a:cubicBezTo>
                <a:lnTo>
                  <a:pt x="1190428" y="3134619"/>
                </a:lnTo>
                <a:lnTo>
                  <a:pt x="1188018" y="3178911"/>
                </a:lnTo>
                <a:cubicBezTo>
                  <a:pt x="1171870" y="3302686"/>
                  <a:pt x="1175907" y="3425785"/>
                  <a:pt x="1189026" y="3548551"/>
                </a:cubicBezTo>
                <a:lnTo>
                  <a:pt x="1205813" y="3671558"/>
                </a:lnTo>
                <a:lnTo>
                  <a:pt x="1210772" y="3356381"/>
                </a:lnTo>
                <a:cubicBezTo>
                  <a:pt x="1228015" y="3130993"/>
                  <a:pt x="1272258" y="2909658"/>
                  <a:pt x="1341421" y="2696971"/>
                </a:cubicBezTo>
                <a:lnTo>
                  <a:pt x="1356818" y="2655264"/>
                </a:lnTo>
                <a:lnTo>
                  <a:pt x="1364300" y="2638368"/>
                </a:lnTo>
                <a:lnTo>
                  <a:pt x="1403642" y="2528432"/>
                </a:lnTo>
                <a:lnTo>
                  <a:pt x="1418816" y="2487337"/>
                </a:lnTo>
                <a:cubicBezTo>
                  <a:pt x="1532878" y="2212122"/>
                  <a:pt x="1690015" y="1955007"/>
                  <a:pt x="1885305" y="1726888"/>
                </a:cubicBezTo>
                <a:lnTo>
                  <a:pt x="1887481" y="1724542"/>
                </a:lnTo>
                <a:lnTo>
                  <a:pt x="1876956" y="1747601"/>
                </a:lnTo>
                <a:cubicBezTo>
                  <a:pt x="1867112" y="1764406"/>
                  <a:pt x="1856228" y="1779912"/>
                  <a:pt x="1845344" y="1795419"/>
                </a:cubicBezTo>
                <a:cubicBezTo>
                  <a:pt x="1575145" y="2163411"/>
                  <a:pt x="1405066" y="2572876"/>
                  <a:pt x="1341756" y="3026454"/>
                </a:cubicBezTo>
                <a:cubicBezTo>
                  <a:pt x="1340364" y="3038918"/>
                  <a:pt x="1333981" y="3056505"/>
                  <a:pt x="1338404" y="3067727"/>
                </a:cubicBezTo>
                <a:cubicBezTo>
                  <a:pt x="1370741" y="3190602"/>
                  <a:pt x="1344761" y="3315799"/>
                  <a:pt x="1352994" y="3439768"/>
                </a:cubicBezTo>
                <a:cubicBezTo>
                  <a:pt x="1360680" y="3551687"/>
                  <a:pt x="1362135" y="3662909"/>
                  <a:pt x="1386580" y="3777331"/>
                </a:cubicBezTo>
                <a:cubicBezTo>
                  <a:pt x="1413055" y="3749368"/>
                  <a:pt x="1406839" y="3720278"/>
                  <a:pt x="1402977" y="3692713"/>
                </a:cubicBezTo>
                <a:cubicBezTo>
                  <a:pt x="1391546" y="3591734"/>
                  <a:pt x="1382050" y="3490340"/>
                  <a:pt x="1380729" y="3389229"/>
                </a:cubicBezTo>
                <a:cubicBezTo>
                  <a:pt x="1373652" y="2966913"/>
                  <a:pt x="1471141" y="2568900"/>
                  <a:pt x="1662254" y="2191442"/>
                </a:cubicBezTo>
                <a:cubicBezTo>
                  <a:pt x="1689160" y="2137024"/>
                  <a:pt x="1734897" y="2094806"/>
                  <a:pt x="1775928" y="2049539"/>
                </a:cubicBezTo>
                <a:cubicBezTo>
                  <a:pt x="1790896" y="2034174"/>
                  <a:pt x="1804341" y="2021163"/>
                  <a:pt x="1794248" y="1992901"/>
                </a:cubicBezTo>
                <a:cubicBezTo>
                  <a:pt x="1785677" y="1962285"/>
                  <a:pt x="1811870" y="1942493"/>
                  <a:pt x="1832245" y="1923946"/>
                </a:cubicBezTo>
                <a:cubicBezTo>
                  <a:pt x="1846103" y="1912874"/>
                  <a:pt x="1865082" y="1906791"/>
                  <a:pt x="1886833" y="1904172"/>
                </a:cubicBezTo>
                <a:cubicBezTo>
                  <a:pt x="1867419" y="1936710"/>
                  <a:pt x="1850361" y="1970773"/>
                  <a:pt x="1830946" y="2003310"/>
                </a:cubicBezTo>
                <a:cubicBezTo>
                  <a:pt x="1770073" y="2107570"/>
                  <a:pt x="1709613" y="2213770"/>
                  <a:pt x="1664800" y="2326766"/>
                </a:cubicBezTo>
                <a:cubicBezTo>
                  <a:pt x="1650792" y="2356122"/>
                  <a:pt x="1631662" y="2380487"/>
                  <a:pt x="1645352" y="2416092"/>
                </a:cubicBezTo>
                <a:cubicBezTo>
                  <a:pt x="1653790" y="2436595"/>
                  <a:pt x="1638537" y="2460134"/>
                  <a:pt x="1631044" y="2482013"/>
                </a:cubicBezTo>
                <a:cubicBezTo>
                  <a:pt x="1584292" y="2595423"/>
                  <a:pt x="1552775" y="2713690"/>
                  <a:pt x="1523196" y="2831542"/>
                </a:cubicBezTo>
                <a:cubicBezTo>
                  <a:pt x="1520975" y="2840128"/>
                  <a:pt x="1518340" y="2846776"/>
                  <a:pt x="1526229" y="2855229"/>
                </a:cubicBezTo>
                <a:lnTo>
                  <a:pt x="1534614" y="2850072"/>
                </a:lnTo>
                <a:lnTo>
                  <a:pt x="1531478" y="2868343"/>
                </a:lnTo>
                <a:lnTo>
                  <a:pt x="1530525" y="2870743"/>
                </a:lnTo>
                <a:lnTo>
                  <a:pt x="1530643" y="2867299"/>
                </a:lnTo>
                <a:cubicBezTo>
                  <a:pt x="1530730" y="2864839"/>
                  <a:pt x="1530230" y="2862503"/>
                  <a:pt x="1527396" y="2860667"/>
                </a:cubicBezTo>
                <a:cubicBezTo>
                  <a:pt x="1527396" y="2860667"/>
                  <a:pt x="1523722" y="2866335"/>
                  <a:pt x="1520049" y="2872005"/>
                </a:cubicBezTo>
                <a:cubicBezTo>
                  <a:pt x="1521048" y="2876676"/>
                  <a:pt x="1521048" y="2876676"/>
                  <a:pt x="1521048" y="2876676"/>
                </a:cubicBezTo>
                <a:cubicBezTo>
                  <a:pt x="1511706" y="2878672"/>
                  <a:pt x="1513382" y="2863661"/>
                  <a:pt x="1521727" y="2856995"/>
                </a:cubicBezTo>
                <a:cubicBezTo>
                  <a:pt x="1513382" y="2863661"/>
                  <a:pt x="1517734" y="2838310"/>
                  <a:pt x="1511385" y="2854318"/>
                </a:cubicBezTo>
                <a:cubicBezTo>
                  <a:pt x="1522725" y="2861665"/>
                  <a:pt x="1494699" y="2867653"/>
                  <a:pt x="1498690" y="2886335"/>
                </a:cubicBezTo>
                <a:cubicBezTo>
                  <a:pt x="1499687" y="2891007"/>
                  <a:pt x="1499687" y="2891007"/>
                  <a:pt x="1499687" y="2891007"/>
                </a:cubicBezTo>
                <a:cubicBezTo>
                  <a:pt x="1499687" y="2891007"/>
                  <a:pt x="1499687" y="2891007"/>
                  <a:pt x="1495017" y="2892005"/>
                </a:cubicBezTo>
                <a:cubicBezTo>
                  <a:pt x="1495017" y="2892005"/>
                  <a:pt x="1496015" y="2896677"/>
                  <a:pt x="1496015" y="2896677"/>
                </a:cubicBezTo>
                <a:cubicBezTo>
                  <a:pt x="1497013" y="2901348"/>
                  <a:pt x="1497013" y="2901348"/>
                  <a:pt x="1497013" y="2901348"/>
                </a:cubicBezTo>
                <a:cubicBezTo>
                  <a:pt x="1496015" y="2896677"/>
                  <a:pt x="1500687" y="2895679"/>
                  <a:pt x="1500687" y="2895679"/>
                </a:cubicBezTo>
                <a:cubicBezTo>
                  <a:pt x="1501683" y="2900350"/>
                  <a:pt x="1499008" y="2910689"/>
                  <a:pt x="1500005" y="2915361"/>
                </a:cubicBezTo>
                <a:cubicBezTo>
                  <a:pt x="1502682" y="2905019"/>
                  <a:pt x="1504677" y="2914363"/>
                  <a:pt x="1504677" y="2914363"/>
                </a:cubicBezTo>
                <a:cubicBezTo>
                  <a:pt x="1508351" y="2908695"/>
                  <a:pt x="1511025" y="2898353"/>
                  <a:pt x="1514701" y="2892685"/>
                </a:cubicBezTo>
                <a:cubicBezTo>
                  <a:pt x="1514701" y="2892685"/>
                  <a:pt x="1514701" y="2892685"/>
                  <a:pt x="1519370" y="2891687"/>
                </a:cubicBezTo>
                <a:cubicBezTo>
                  <a:pt x="1515697" y="2897355"/>
                  <a:pt x="1515697" y="2897355"/>
                  <a:pt x="1515697" y="2897355"/>
                </a:cubicBezTo>
                <a:cubicBezTo>
                  <a:pt x="1516695" y="2902027"/>
                  <a:pt x="1517692" y="2906697"/>
                  <a:pt x="1522365" y="2905700"/>
                </a:cubicBezTo>
                <a:cubicBezTo>
                  <a:pt x="1522365" y="2905700"/>
                  <a:pt x="1526037" y="2900031"/>
                  <a:pt x="1525039" y="2895360"/>
                </a:cubicBezTo>
                <a:cubicBezTo>
                  <a:pt x="1525039" y="2895360"/>
                  <a:pt x="1525039" y="2895360"/>
                  <a:pt x="1524041" y="2890688"/>
                </a:cubicBezTo>
                <a:cubicBezTo>
                  <a:pt x="1527714" y="2885020"/>
                  <a:pt x="1527714" y="2885020"/>
                  <a:pt x="1527714" y="2885020"/>
                </a:cubicBezTo>
                <a:cubicBezTo>
                  <a:pt x="1530708" y="2899032"/>
                  <a:pt x="1523363" y="2910371"/>
                  <a:pt x="1518010" y="2931050"/>
                </a:cubicBezTo>
                <a:cubicBezTo>
                  <a:pt x="1530708" y="2899032"/>
                  <a:pt x="1522684" y="2930053"/>
                  <a:pt x="1529349" y="2938396"/>
                </a:cubicBezTo>
                <a:cubicBezTo>
                  <a:pt x="1529349" y="2938396"/>
                  <a:pt x="1530348" y="2943068"/>
                  <a:pt x="1530348" y="2943068"/>
                </a:cubicBezTo>
                <a:cubicBezTo>
                  <a:pt x="1530348" y="2943068"/>
                  <a:pt x="1529349" y="2938396"/>
                  <a:pt x="1524678" y="2939395"/>
                </a:cubicBezTo>
                <a:cubicBezTo>
                  <a:pt x="1524678" y="2939395"/>
                  <a:pt x="1524678" y="2939395"/>
                  <a:pt x="1523680" y="2934724"/>
                </a:cubicBezTo>
                <a:cubicBezTo>
                  <a:pt x="1523680" y="2934724"/>
                  <a:pt x="1523680" y="2934724"/>
                  <a:pt x="1519008" y="2935721"/>
                </a:cubicBezTo>
                <a:cubicBezTo>
                  <a:pt x="1520006" y="2940394"/>
                  <a:pt x="1516334" y="2946061"/>
                  <a:pt x="1516334" y="2946061"/>
                </a:cubicBezTo>
                <a:cubicBezTo>
                  <a:pt x="1516334" y="2946061"/>
                  <a:pt x="1517333" y="2950732"/>
                  <a:pt x="1517333" y="2950732"/>
                </a:cubicBezTo>
                <a:cubicBezTo>
                  <a:pt x="1513659" y="2956402"/>
                  <a:pt x="1513659" y="2956402"/>
                  <a:pt x="1509986" y="2962070"/>
                </a:cubicBezTo>
                <a:cubicBezTo>
                  <a:pt x="1508989" y="2957400"/>
                  <a:pt x="1508989" y="2957400"/>
                  <a:pt x="1507991" y="2952728"/>
                </a:cubicBezTo>
                <a:cubicBezTo>
                  <a:pt x="1506991" y="2948057"/>
                  <a:pt x="1506991" y="2948057"/>
                  <a:pt x="1503320" y="2953726"/>
                </a:cubicBezTo>
                <a:cubicBezTo>
                  <a:pt x="1503320" y="2953726"/>
                  <a:pt x="1499646" y="2959396"/>
                  <a:pt x="1500643" y="2964066"/>
                </a:cubicBezTo>
                <a:cubicBezTo>
                  <a:pt x="1501642" y="2968737"/>
                  <a:pt x="1501642" y="2968737"/>
                  <a:pt x="1502641" y="2973409"/>
                </a:cubicBezTo>
                <a:cubicBezTo>
                  <a:pt x="1504636" y="2982750"/>
                  <a:pt x="1511303" y="2991095"/>
                  <a:pt x="1514976" y="2985426"/>
                </a:cubicBezTo>
                <a:cubicBezTo>
                  <a:pt x="1515974" y="2990096"/>
                  <a:pt x="1516970" y="2994767"/>
                  <a:pt x="1513299" y="3000436"/>
                </a:cubicBezTo>
                <a:cubicBezTo>
                  <a:pt x="1508946" y="3025786"/>
                  <a:pt x="1499923" y="3052136"/>
                  <a:pt x="1495570" y="3077486"/>
                </a:cubicBezTo>
                <a:cubicBezTo>
                  <a:pt x="1495570" y="3077486"/>
                  <a:pt x="1489902" y="3073814"/>
                  <a:pt x="1489902" y="3073814"/>
                </a:cubicBezTo>
                <a:cubicBezTo>
                  <a:pt x="1489902" y="3073814"/>
                  <a:pt x="1490900" y="3078485"/>
                  <a:pt x="1490900" y="3078485"/>
                </a:cubicBezTo>
                <a:cubicBezTo>
                  <a:pt x="1490900" y="3078485"/>
                  <a:pt x="1486228" y="3079482"/>
                  <a:pt x="1486228" y="3079482"/>
                </a:cubicBezTo>
                <a:cubicBezTo>
                  <a:pt x="1490582" y="3054132"/>
                  <a:pt x="1485230" y="3074812"/>
                  <a:pt x="1480559" y="3075811"/>
                </a:cubicBezTo>
                <a:cubicBezTo>
                  <a:pt x="1482237" y="3060798"/>
                  <a:pt x="1488585" y="3044791"/>
                  <a:pt x="1485591" y="3030777"/>
                </a:cubicBezTo>
                <a:cubicBezTo>
                  <a:pt x="1491260" y="3034450"/>
                  <a:pt x="1491260" y="3034450"/>
                  <a:pt x="1491260" y="3034450"/>
                </a:cubicBezTo>
                <a:cubicBezTo>
                  <a:pt x="1493935" y="3024111"/>
                  <a:pt x="1496610" y="3013770"/>
                  <a:pt x="1496610" y="3013770"/>
                </a:cubicBezTo>
                <a:cubicBezTo>
                  <a:pt x="1493935" y="3024111"/>
                  <a:pt x="1489264" y="3025108"/>
                  <a:pt x="1489264" y="3025108"/>
                </a:cubicBezTo>
                <a:cubicBezTo>
                  <a:pt x="1491939" y="3014767"/>
                  <a:pt x="1486270" y="3011096"/>
                  <a:pt x="1489944" y="3005426"/>
                </a:cubicBezTo>
                <a:cubicBezTo>
                  <a:pt x="1488945" y="3000755"/>
                  <a:pt x="1488945" y="3000755"/>
                  <a:pt x="1488945" y="3000755"/>
                </a:cubicBezTo>
                <a:cubicBezTo>
                  <a:pt x="1488945" y="3000755"/>
                  <a:pt x="1493617" y="2999757"/>
                  <a:pt x="1492619" y="2995087"/>
                </a:cubicBezTo>
                <a:cubicBezTo>
                  <a:pt x="1492619" y="2995087"/>
                  <a:pt x="1492619" y="2995087"/>
                  <a:pt x="1491621" y="2990414"/>
                </a:cubicBezTo>
                <a:cubicBezTo>
                  <a:pt x="1491621" y="2990414"/>
                  <a:pt x="1490623" y="2985745"/>
                  <a:pt x="1490623" y="2985745"/>
                </a:cubicBezTo>
                <a:cubicBezTo>
                  <a:pt x="1482279" y="2992412"/>
                  <a:pt x="1482279" y="2992412"/>
                  <a:pt x="1482279" y="2992412"/>
                </a:cubicBezTo>
                <a:cubicBezTo>
                  <a:pt x="1482279" y="2992412"/>
                  <a:pt x="1478607" y="2998081"/>
                  <a:pt x="1479604" y="3002751"/>
                </a:cubicBezTo>
                <a:lnTo>
                  <a:pt x="1480602" y="3007422"/>
                </a:lnTo>
                <a:cubicBezTo>
                  <a:pt x="1485271" y="3006424"/>
                  <a:pt x="1485271" y="3006424"/>
                  <a:pt x="1485271" y="3006424"/>
                </a:cubicBezTo>
                <a:cubicBezTo>
                  <a:pt x="1483597" y="3021434"/>
                  <a:pt x="1476568" y="3057127"/>
                  <a:pt x="1475889" y="3076809"/>
                </a:cubicBezTo>
                <a:cubicBezTo>
                  <a:pt x="1472215" y="3082477"/>
                  <a:pt x="1472215" y="3082477"/>
                  <a:pt x="1472215" y="3082477"/>
                </a:cubicBezTo>
                <a:cubicBezTo>
                  <a:pt x="1468541" y="3088146"/>
                  <a:pt x="1468541" y="3088146"/>
                  <a:pt x="1469540" y="3092817"/>
                </a:cubicBezTo>
                <a:cubicBezTo>
                  <a:pt x="1474211" y="3091818"/>
                  <a:pt x="1474211" y="3091818"/>
                  <a:pt x="1474211" y="3091818"/>
                </a:cubicBezTo>
                <a:cubicBezTo>
                  <a:pt x="1470538" y="3097487"/>
                  <a:pt x="1468860" y="3112498"/>
                  <a:pt x="1466185" y="3122840"/>
                </a:cubicBezTo>
                <a:cubicBezTo>
                  <a:pt x="1461514" y="3123837"/>
                  <a:pt x="1462511" y="3128508"/>
                  <a:pt x="1463510" y="3133178"/>
                </a:cubicBezTo>
                <a:cubicBezTo>
                  <a:pt x="1464509" y="3137850"/>
                  <a:pt x="1464509" y="3137850"/>
                  <a:pt x="1464509" y="3137850"/>
                </a:cubicBezTo>
                <a:cubicBezTo>
                  <a:pt x="1464509" y="3137850"/>
                  <a:pt x="1464509" y="3137850"/>
                  <a:pt x="1469179" y="3136851"/>
                </a:cubicBezTo>
                <a:cubicBezTo>
                  <a:pt x="1460474" y="3187554"/>
                  <a:pt x="1451452" y="3213902"/>
                  <a:pt x="1458437" y="3246598"/>
                </a:cubicBezTo>
                <a:cubicBezTo>
                  <a:pt x="1458437" y="3246598"/>
                  <a:pt x="1453765" y="3247597"/>
                  <a:pt x="1454763" y="3252269"/>
                </a:cubicBezTo>
                <a:cubicBezTo>
                  <a:pt x="1455762" y="3256940"/>
                  <a:pt x="1455762" y="3256940"/>
                  <a:pt x="1455762" y="3256940"/>
                </a:cubicBezTo>
                <a:cubicBezTo>
                  <a:pt x="1456759" y="3261610"/>
                  <a:pt x="1456759" y="3261610"/>
                  <a:pt x="1456759" y="3261610"/>
                </a:cubicBezTo>
                <a:cubicBezTo>
                  <a:pt x="1452090" y="3262609"/>
                  <a:pt x="1450411" y="3277620"/>
                  <a:pt x="1452407" y="3286961"/>
                </a:cubicBezTo>
                <a:cubicBezTo>
                  <a:pt x="1452407" y="3286961"/>
                  <a:pt x="1453405" y="3291634"/>
                  <a:pt x="1448735" y="3292631"/>
                </a:cubicBezTo>
                <a:cubicBezTo>
                  <a:pt x="1449733" y="3297301"/>
                  <a:pt x="1449733" y="3297301"/>
                  <a:pt x="1450729" y="3301973"/>
                </a:cubicBezTo>
                <a:cubicBezTo>
                  <a:pt x="1450729" y="3301973"/>
                  <a:pt x="1451728" y="3306644"/>
                  <a:pt x="1451728" y="3306644"/>
                </a:cubicBezTo>
                <a:cubicBezTo>
                  <a:pt x="1451728" y="3306644"/>
                  <a:pt x="1451728" y="3306644"/>
                  <a:pt x="1448054" y="3312312"/>
                </a:cubicBezTo>
                <a:cubicBezTo>
                  <a:pt x="1448054" y="3312312"/>
                  <a:pt x="1449053" y="3316984"/>
                  <a:pt x="1449053" y="3316984"/>
                </a:cubicBezTo>
                <a:cubicBezTo>
                  <a:pt x="1455719" y="3325326"/>
                  <a:pt x="1440030" y="3343331"/>
                  <a:pt x="1455040" y="3345009"/>
                </a:cubicBezTo>
                <a:cubicBezTo>
                  <a:pt x="1450369" y="3346008"/>
                  <a:pt x="1450369" y="3346008"/>
                  <a:pt x="1451367" y="3350678"/>
                </a:cubicBezTo>
                <a:cubicBezTo>
                  <a:pt x="1451367" y="3350678"/>
                  <a:pt x="1452366" y="3355351"/>
                  <a:pt x="1452366" y="3355351"/>
                </a:cubicBezTo>
                <a:cubicBezTo>
                  <a:pt x="1453364" y="3360020"/>
                  <a:pt x="1449691" y="3365689"/>
                  <a:pt x="1450688" y="3370360"/>
                </a:cubicBezTo>
                <a:cubicBezTo>
                  <a:pt x="1450688" y="3370360"/>
                  <a:pt x="1450688" y="3370360"/>
                  <a:pt x="1451686" y="3375030"/>
                </a:cubicBezTo>
                <a:cubicBezTo>
                  <a:pt x="1450009" y="3390042"/>
                  <a:pt x="1447334" y="3400383"/>
                  <a:pt x="1445656" y="3415393"/>
                </a:cubicBezTo>
                <a:cubicBezTo>
                  <a:pt x="1446653" y="3420063"/>
                  <a:pt x="1446653" y="3420063"/>
                  <a:pt x="1446653" y="3420063"/>
                </a:cubicBezTo>
                <a:cubicBezTo>
                  <a:pt x="1446653" y="3420063"/>
                  <a:pt x="1446653" y="3420063"/>
                  <a:pt x="1441983" y="3421062"/>
                </a:cubicBezTo>
                <a:cubicBezTo>
                  <a:pt x="1442981" y="3425733"/>
                  <a:pt x="1442981" y="3425733"/>
                  <a:pt x="1442981" y="3425733"/>
                </a:cubicBezTo>
                <a:cubicBezTo>
                  <a:pt x="1443979" y="3430404"/>
                  <a:pt x="1443979" y="3430404"/>
                  <a:pt x="1443979" y="3430404"/>
                </a:cubicBezTo>
                <a:cubicBezTo>
                  <a:pt x="1443979" y="3430404"/>
                  <a:pt x="1448650" y="3429407"/>
                  <a:pt x="1448650" y="3429407"/>
                </a:cubicBezTo>
                <a:cubicBezTo>
                  <a:pt x="1444977" y="3435075"/>
                  <a:pt x="1445976" y="3439745"/>
                  <a:pt x="1446973" y="3444417"/>
                </a:cubicBezTo>
                <a:cubicBezTo>
                  <a:pt x="1446973" y="3444417"/>
                  <a:pt x="1445976" y="3439745"/>
                  <a:pt x="1445976" y="3439745"/>
                </a:cubicBezTo>
                <a:cubicBezTo>
                  <a:pt x="1444296" y="3454757"/>
                  <a:pt x="1444296" y="3454757"/>
                  <a:pt x="1445295" y="3459428"/>
                </a:cubicBezTo>
                <a:cubicBezTo>
                  <a:pt x="1446294" y="3464099"/>
                  <a:pt x="1447291" y="3468769"/>
                  <a:pt x="1448290" y="3473441"/>
                </a:cubicBezTo>
                <a:cubicBezTo>
                  <a:pt x="1448290" y="3473441"/>
                  <a:pt x="1444616" y="3479111"/>
                  <a:pt x="1444616" y="3479111"/>
                </a:cubicBezTo>
                <a:cubicBezTo>
                  <a:pt x="1445615" y="3483781"/>
                  <a:pt x="1445615" y="3483781"/>
                  <a:pt x="1445615" y="3483781"/>
                </a:cubicBezTo>
                <a:cubicBezTo>
                  <a:pt x="1445615" y="3483781"/>
                  <a:pt x="1440943" y="3484778"/>
                  <a:pt x="1441943" y="3489449"/>
                </a:cubicBezTo>
                <a:cubicBezTo>
                  <a:pt x="1441943" y="3489449"/>
                  <a:pt x="1442939" y="3494121"/>
                  <a:pt x="1442939" y="3494121"/>
                </a:cubicBezTo>
                <a:cubicBezTo>
                  <a:pt x="1447611" y="3493123"/>
                  <a:pt x="1447611" y="3493123"/>
                  <a:pt x="1447611" y="3493123"/>
                </a:cubicBezTo>
                <a:cubicBezTo>
                  <a:pt x="1450603" y="3507136"/>
                  <a:pt x="1448928" y="3522147"/>
                  <a:pt x="1456592" y="3535162"/>
                </a:cubicBezTo>
                <a:cubicBezTo>
                  <a:pt x="1455594" y="3530490"/>
                  <a:pt x="1455594" y="3530490"/>
                  <a:pt x="1450922" y="3531488"/>
                </a:cubicBezTo>
                <a:cubicBezTo>
                  <a:pt x="1449926" y="3526818"/>
                  <a:pt x="1449926" y="3526818"/>
                  <a:pt x="1446252" y="3532487"/>
                </a:cubicBezTo>
                <a:cubicBezTo>
                  <a:pt x="1447250" y="3537157"/>
                  <a:pt x="1448249" y="3541828"/>
                  <a:pt x="1448249" y="3541828"/>
                </a:cubicBezTo>
                <a:cubicBezTo>
                  <a:pt x="1449247" y="3546500"/>
                  <a:pt x="1449247" y="3546500"/>
                  <a:pt x="1449247" y="3546500"/>
                </a:cubicBezTo>
                <a:cubicBezTo>
                  <a:pt x="1442897" y="3562510"/>
                  <a:pt x="1459904" y="3573529"/>
                  <a:pt x="1449883" y="3595205"/>
                </a:cubicBezTo>
                <a:cubicBezTo>
                  <a:pt x="1454554" y="3594207"/>
                  <a:pt x="1454554" y="3594207"/>
                  <a:pt x="1454554" y="3594207"/>
                </a:cubicBezTo>
                <a:cubicBezTo>
                  <a:pt x="1449883" y="3595205"/>
                  <a:pt x="1449883" y="3595205"/>
                  <a:pt x="1450880" y="3599876"/>
                </a:cubicBezTo>
                <a:cubicBezTo>
                  <a:pt x="1451878" y="3604549"/>
                  <a:pt x="1451878" y="3604549"/>
                  <a:pt x="1451878" y="3604549"/>
                </a:cubicBezTo>
                <a:cubicBezTo>
                  <a:pt x="1454873" y="3618561"/>
                  <a:pt x="1457866" y="3632574"/>
                  <a:pt x="1457866" y="3632574"/>
                </a:cubicBezTo>
                <a:cubicBezTo>
                  <a:pt x="1456608" y="3643833"/>
                  <a:pt x="1458742" y="3632388"/>
                  <a:pt x="1461993" y="3635813"/>
                </a:cubicBezTo>
                <a:lnTo>
                  <a:pt x="1465432" y="3645315"/>
                </a:lnTo>
                <a:lnTo>
                  <a:pt x="1464828" y="3645610"/>
                </a:lnTo>
                <a:lnTo>
                  <a:pt x="1458859" y="3645794"/>
                </a:lnTo>
                <a:cubicBezTo>
                  <a:pt x="1457357" y="3647335"/>
                  <a:pt x="1456688" y="3649919"/>
                  <a:pt x="1457188" y="3652257"/>
                </a:cubicBezTo>
                <a:cubicBezTo>
                  <a:pt x="1460022" y="3654092"/>
                  <a:pt x="1462528" y="3648673"/>
                  <a:pt x="1464365" y="3645838"/>
                </a:cubicBezTo>
                <a:lnTo>
                  <a:pt x="1464828" y="3645610"/>
                </a:lnTo>
                <a:lnTo>
                  <a:pt x="1465530" y="3645589"/>
                </a:lnTo>
                <a:lnTo>
                  <a:pt x="1465432" y="3645315"/>
                </a:lnTo>
                <a:lnTo>
                  <a:pt x="1466575" y="3644755"/>
                </a:lnTo>
                <a:cubicBezTo>
                  <a:pt x="1467116" y="3645862"/>
                  <a:pt x="1467447" y="3648843"/>
                  <a:pt x="1467526" y="3654930"/>
                </a:cubicBezTo>
                <a:cubicBezTo>
                  <a:pt x="1462856" y="3655929"/>
                  <a:pt x="1462856" y="3655929"/>
                  <a:pt x="1463852" y="3660600"/>
                </a:cubicBezTo>
                <a:cubicBezTo>
                  <a:pt x="1463852" y="3660600"/>
                  <a:pt x="1464851" y="3665270"/>
                  <a:pt x="1464851" y="3665270"/>
                </a:cubicBezTo>
                <a:cubicBezTo>
                  <a:pt x="1461179" y="3670939"/>
                  <a:pt x="1461179" y="3670939"/>
                  <a:pt x="1461179" y="3670939"/>
                </a:cubicBezTo>
                <a:cubicBezTo>
                  <a:pt x="1462178" y="3675610"/>
                  <a:pt x="1462178" y="3675610"/>
                  <a:pt x="1462178" y="3675610"/>
                </a:cubicBezTo>
                <a:cubicBezTo>
                  <a:pt x="1462178" y="3675610"/>
                  <a:pt x="1463175" y="3680282"/>
                  <a:pt x="1464173" y="3684953"/>
                </a:cubicBezTo>
                <a:cubicBezTo>
                  <a:pt x="1464173" y="3684953"/>
                  <a:pt x="1465171" y="3689624"/>
                  <a:pt x="1466168" y="3694296"/>
                </a:cubicBezTo>
                <a:cubicBezTo>
                  <a:pt x="1461498" y="3695293"/>
                  <a:pt x="1462496" y="3699964"/>
                  <a:pt x="1463494" y="3704634"/>
                </a:cubicBezTo>
                <a:cubicBezTo>
                  <a:pt x="1459821" y="3710304"/>
                  <a:pt x="1459821" y="3710304"/>
                  <a:pt x="1460818" y="3714976"/>
                </a:cubicBezTo>
                <a:cubicBezTo>
                  <a:pt x="1460818" y="3714976"/>
                  <a:pt x="1461815" y="3719645"/>
                  <a:pt x="1461815" y="3719645"/>
                </a:cubicBezTo>
                <a:cubicBezTo>
                  <a:pt x="1461815" y="3719645"/>
                  <a:pt x="1462814" y="3724317"/>
                  <a:pt x="1462814" y="3724317"/>
                </a:cubicBezTo>
                <a:cubicBezTo>
                  <a:pt x="1458143" y="3725314"/>
                  <a:pt x="1458143" y="3725314"/>
                  <a:pt x="1458143" y="3725314"/>
                </a:cubicBezTo>
                <a:cubicBezTo>
                  <a:pt x="1458143" y="3725314"/>
                  <a:pt x="1458143" y="3725314"/>
                  <a:pt x="1454470" y="3730983"/>
                </a:cubicBezTo>
                <a:cubicBezTo>
                  <a:pt x="1455467" y="3735654"/>
                  <a:pt x="1455467" y="3735654"/>
                  <a:pt x="1455467" y="3735654"/>
                </a:cubicBezTo>
                <a:cubicBezTo>
                  <a:pt x="1461137" y="3739328"/>
                  <a:pt x="1461137" y="3739328"/>
                  <a:pt x="1461137" y="3739328"/>
                </a:cubicBezTo>
                <a:cubicBezTo>
                  <a:pt x="1462135" y="3743998"/>
                  <a:pt x="1462135" y="3743998"/>
                  <a:pt x="1462135" y="3743998"/>
                </a:cubicBezTo>
                <a:cubicBezTo>
                  <a:pt x="1462135" y="3743998"/>
                  <a:pt x="1463132" y="3748671"/>
                  <a:pt x="1463132" y="3748671"/>
                </a:cubicBezTo>
                <a:cubicBezTo>
                  <a:pt x="1464130" y="3753341"/>
                  <a:pt x="1465128" y="3758012"/>
                  <a:pt x="1466126" y="3762683"/>
                </a:cubicBezTo>
                <a:cubicBezTo>
                  <a:pt x="1463452" y="3773022"/>
                  <a:pt x="1464449" y="3777695"/>
                  <a:pt x="1464449" y="3777695"/>
                </a:cubicBezTo>
                <a:cubicBezTo>
                  <a:pt x="1465447" y="3782365"/>
                  <a:pt x="1465447" y="3782365"/>
                  <a:pt x="1465447" y="3782365"/>
                </a:cubicBezTo>
                <a:cubicBezTo>
                  <a:pt x="1466445" y="3787036"/>
                  <a:pt x="1466445" y="3787036"/>
                  <a:pt x="1467443" y="3791707"/>
                </a:cubicBezTo>
                <a:cubicBezTo>
                  <a:pt x="1467443" y="3791707"/>
                  <a:pt x="1467443" y="3791707"/>
                  <a:pt x="1472113" y="3790710"/>
                </a:cubicBezTo>
                <a:cubicBezTo>
                  <a:pt x="1468442" y="3796379"/>
                  <a:pt x="1468442" y="3796379"/>
                  <a:pt x="1468442" y="3796379"/>
                </a:cubicBezTo>
                <a:cubicBezTo>
                  <a:pt x="1468442" y="3796379"/>
                  <a:pt x="1469439" y="3801048"/>
                  <a:pt x="1470437" y="3805720"/>
                </a:cubicBezTo>
                <a:cubicBezTo>
                  <a:pt x="1475427" y="3829075"/>
                  <a:pt x="1481096" y="3832748"/>
                  <a:pt x="1479418" y="3847759"/>
                </a:cubicBezTo>
                <a:cubicBezTo>
                  <a:pt x="1474748" y="3848756"/>
                  <a:pt x="1475745" y="3853428"/>
                  <a:pt x="1475745" y="3853428"/>
                </a:cubicBezTo>
                <a:cubicBezTo>
                  <a:pt x="1475745" y="3853428"/>
                  <a:pt x="1476743" y="3858097"/>
                  <a:pt x="1476743" y="3858097"/>
                </a:cubicBezTo>
                <a:cubicBezTo>
                  <a:pt x="1481415" y="3857100"/>
                  <a:pt x="1481415" y="3857100"/>
                  <a:pt x="1481415" y="3857100"/>
                </a:cubicBezTo>
                <a:cubicBezTo>
                  <a:pt x="1478739" y="3867441"/>
                  <a:pt x="1480735" y="3876783"/>
                  <a:pt x="1481734" y="3881454"/>
                </a:cubicBezTo>
                <a:cubicBezTo>
                  <a:pt x="1482731" y="3886125"/>
                  <a:pt x="1482731" y="3886125"/>
                  <a:pt x="1482731" y="3886125"/>
                </a:cubicBezTo>
                <a:cubicBezTo>
                  <a:pt x="1483728" y="3890795"/>
                  <a:pt x="1483728" y="3890795"/>
                  <a:pt x="1488400" y="3889796"/>
                </a:cubicBezTo>
                <a:cubicBezTo>
                  <a:pt x="1491393" y="3903810"/>
                  <a:pt x="1493389" y="3913153"/>
                  <a:pt x="1490714" y="3923492"/>
                </a:cubicBezTo>
                <a:cubicBezTo>
                  <a:pt x="1495385" y="3922494"/>
                  <a:pt x="1495385" y="3922494"/>
                  <a:pt x="1495385" y="3922494"/>
                </a:cubicBezTo>
                <a:cubicBezTo>
                  <a:pt x="1499376" y="3941178"/>
                  <a:pt x="1499376" y="3941178"/>
                  <a:pt x="1499376" y="3941178"/>
                </a:cubicBezTo>
                <a:cubicBezTo>
                  <a:pt x="1499376" y="3941178"/>
                  <a:pt x="1499376" y="3941178"/>
                  <a:pt x="1495705" y="3946848"/>
                </a:cubicBezTo>
                <a:cubicBezTo>
                  <a:pt x="1493708" y="3937506"/>
                  <a:pt x="1488039" y="3933833"/>
                  <a:pt x="1485365" y="3944173"/>
                </a:cubicBezTo>
                <a:cubicBezTo>
                  <a:pt x="1493708" y="3937506"/>
                  <a:pt x="1494026" y="3961858"/>
                  <a:pt x="1498697" y="3960861"/>
                </a:cubicBezTo>
                <a:cubicBezTo>
                  <a:pt x="1507679" y="4002900"/>
                  <a:pt x="1505683" y="3993557"/>
                  <a:pt x="1519336" y="4034599"/>
                </a:cubicBezTo>
                <a:cubicBezTo>
                  <a:pt x="1519336" y="4034599"/>
                  <a:pt x="1514664" y="4035598"/>
                  <a:pt x="1514664" y="4035598"/>
                </a:cubicBezTo>
                <a:cubicBezTo>
                  <a:pt x="1515663" y="4040268"/>
                  <a:pt x="1515663" y="4040268"/>
                  <a:pt x="1516661" y="4044938"/>
                </a:cubicBezTo>
                <a:cubicBezTo>
                  <a:pt x="1522649" y="4072964"/>
                  <a:pt x="1524644" y="4082307"/>
                  <a:pt x="1528636" y="4100992"/>
                </a:cubicBezTo>
                <a:cubicBezTo>
                  <a:pt x="1528636" y="4100992"/>
                  <a:pt x="1528636" y="4100992"/>
                  <a:pt x="1529635" y="4105662"/>
                </a:cubicBezTo>
                <a:cubicBezTo>
                  <a:pt x="1529635" y="4105662"/>
                  <a:pt x="1529635" y="4105662"/>
                  <a:pt x="1530632" y="4110333"/>
                </a:cubicBezTo>
                <a:cubicBezTo>
                  <a:pt x="1532945" y="4144028"/>
                  <a:pt x="1535303" y="4109335"/>
                  <a:pt x="1543966" y="4127021"/>
                </a:cubicBezTo>
                <a:cubicBezTo>
                  <a:pt x="1539294" y="4128018"/>
                  <a:pt x="1532945" y="4144028"/>
                  <a:pt x="1541290" y="4137361"/>
                </a:cubicBezTo>
                <a:cubicBezTo>
                  <a:pt x="1542289" y="4142032"/>
                  <a:pt x="1542289" y="4142032"/>
                  <a:pt x="1542289" y="4142032"/>
                </a:cubicBezTo>
                <a:cubicBezTo>
                  <a:pt x="1542289" y="4142032"/>
                  <a:pt x="1542289" y="4142032"/>
                  <a:pt x="1543286" y="4146702"/>
                </a:cubicBezTo>
                <a:cubicBezTo>
                  <a:pt x="1538615" y="4147700"/>
                  <a:pt x="1544284" y="4151374"/>
                  <a:pt x="1544284" y="4151374"/>
                </a:cubicBezTo>
                <a:cubicBezTo>
                  <a:pt x="1548276" y="4170059"/>
                  <a:pt x="1543605" y="4171056"/>
                  <a:pt x="1538933" y="4172054"/>
                </a:cubicBezTo>
                <a:cubicBezTo>
                  <a:pt x="1542925" y="4190739"/>
                  <a:pt x="1553266" y="4193413"/>
                  <a:pt x="1550590" y="4203753"/>
                </a:cubicBezTo>
                <a:cubicBezTo>
                  <a:pt x="1557258" y="4212097"/>
                  <a:pt x="1560251" y="4226111"/>
                  <a:pt x="1569592" y="4224113"/>
                </a:cubicBezTo>
                <a:cubicBezTo>
                  <a:pt x="1566917" y="4234454"/>
                  <a:pt x="1575581" y="4252141"/>
                  <a:pt x="1565241" y="4249466"/>
                </a:cubicBezTo>
                <a:cubicBezTo>
                  <a:pt x="1573903" y="4267151"/>
                  <a:pt x="1574584" y="4247470"/>
                  <a:pt x="1574902" y="4271822"/>
                </a:cubicBezTo>
                <a:cubicBezTo>
                  <a:pt x="1575900" y="4276494"/>
                  <a:pt x="1581569" y="4280167"/>
                  <a:pt x="1587238" y="4283840"/>
                </a:cubicBezTo>
                <a:cubicBezTo>
                  <a:pt x="1575900" y="4276494"/>
                  <a:pt x="1590549" y="4322205"/>
                  <a:pt x="1604882" y="4343564"/>
                </a:cubicBezTo>
                <a:cubicBezTo>
                  <a:pt x="1602208" y="4353904"/>
                  <a:pt x="1601209" y="4349234"/>
                  <a:pt x="1595539" y="4345560"/>
                </a:cubicBezTo>
                <a:cubicBezTo>
                  <a:pt x="1602208" y="4353904"/>
                  <a:pt x="1603205" y="4358574"/>
                  <a:pt x="1607875" y="4357577"/>
                </a:cubicBezTo>
                <a:cubicBezTo>
                  <a:pt x="1599531" y="4364244"/>
                  <a:pt x="1608874" y="4362248"/>
                  <a:pt x="1607196" y="4377259"/>
                </a:cubicBezTo>
                <a:cubicBezTo>
                  <a:pt x="1613863" y="4385603"/>
                  <a:pt x="1610870" y="4371589"/>
                  <a:pt x="1622525" y="4403290"/>
                </a:cubicBezTo>
                <a:lnTo>
                  <a:pt x="1618736" y="4400103"/>
                </a:lnTo>
                <a:lnTo>
                  <a:pt x="1614862" y="4390275"/>
                </a:lnTo>
                <a:cubicBezTo>
                  <a:pt x="1615361" y="4392610"/>
                  <a:pt x="1616110" y="4396114"/>
                  <a:pt x="1617316" y="4398908"/>
                </a:cubicBezTo>
                <a:lnTo>
                  <a:pt x="1618736" y="4400103"/>
                </a:lnTo>
                <a:lnTo>
                  <a:pt x="1625519" y="4417302"/>
                </a:lnTo>
                <a:cubicBezTo>
                  <a:pt x="1619850" y="4413630"/>
                  <a:pt x="1615180" y="4414629"/>
                  <a:pt x="1611506" y="4420296"/>
                </a:cubicBezTo>
                <a:cubicBezTo>
                  <a:pt x="1599849" y="4388597"/>
                  <a:pt x="1596856" y="4374584"/>
                  <a:pt x="1580528" y="4343884"/>
                </a:cubicBezTo>
                <a:cubicBezTo>
                  <a:pt x="1572185" y="4350550"/>
                  <a:pt x="1563522" y="4332863"/>
                  <a:pt x="1553861" y="4310507"/>
                </a:cubicBezTo>
                <a:cubicBezTo>
                  <a:pt x="1547194" y="4302163"/>
                  <a:pt x="1546194" y="4297492"/>
                  <a:pt x="1544200" y="4288151"/>
                </a:cubicBezTo>
                <a:cubicBezTo>
                  <a:pt x="1543202" y="4283479"/>
                  <a:pt x="1541206" y="4274137"/>
                  <a:pt x="1540208" y="4269467"/>
                </a:cubicBezTo>
                <a:cubicBezTo>
                  <a:pt x="1536536" y="4275134"/>
                  <a:pt x="1531226" y="4227428"/>
                  <a:pt x="1526874" y="4252779"/>
                </a:cubicBezTo>
                <a:lnTo>
                  <a:pt x="1519888" y="4220081"/>
                </a:lnTo>
                <a:cubicBezTo>
                  <a:pt x="1513902" y="4192054"/>
                  <a:pt x="1530228" y="4222756"/>
                  <a:pt x="1521566" y="4205070"/>
                </a:cubicBezTo>
                <a:cubicBezTo>
                  <a:pt x="1520568" y="4200398"/>
                  <a:pt x="1519571" y="4195728"/>
                  <a:pt x="1518573" y="4191057"/>
                </a:cubicBezTo>
                <a:cubicBezTo>
                  <a:pt x="1518573" y="4191057"/>
                  <a:pt x="1517576" y="4186384"/>
                  <a:pt x="1517576" y="4186384"/>
                </a:cubicBezTo>
                <a:cubicBezTo>
                  <a:pt x="1517576" y="4186384"/>
                  <a:pt x="1517576" y="4186384"/>
                  <a:pt x="1516577" y="4181714"/>
                </a:cubicBezTo>
                <a:cubicBezTo>
                  <a:pt x="1517576" y="4186384"/>
                  <a:pt x="1517576" y="4186384"/>
                  <a:pt x="1522245" y="4185387"/>
                </a:cubicBezTo>
                <a:cubicBezTo>
                  <a:pt x="1513583" y="4167702"/>
                  <a:pt x="1513583" y="4167702"/>
                  <a:pt x="1513583" y="4167702"/>
                </a:cubicBezTo>
                <a:cubicBezTo>
                  <a:pt x="1517256" y="4162033"/>
                  <a:pt x="1517256" y="4162033"/>
                  <a:pt x="1517256" y="4162033"/>
                </a:cubicBezTo>
                <a:cubicBezTo>
                  <a:pt x="1517256" y="4162033"/>
                  <a:pt x="1517256" y="4162033"/>
                  <a:pt x="1516257" y="4157362"/>
                </a:cubicBezTo>
                <a:cubicBezTo>
                  <a:pt x="1515260" y="4152691"/>
                  <a:pt x="1515260" y="4152691"/>
                  <a:pt x="1515260" y="4152691"/>
                </a:cubicBezTo>
                <a:cubicBezTo>
                  <a:pt x="1514261" y="4148019"/>
                  <a:pt x="1509591" y="4149018"/>
                  <a:pt x="1509591" y="4149018"/>
                </a:cubicBezTo>
                <a:cubicBezTo>
                  <a:pt x="1509271" y="4124666"/>
                  <a:pt x="1504602" y="4125663"/>
                  <a:pt x="1503605" y="4120992"/>
                </a:cubicBezTo>
                <a:cubicBezTo>
                  <a:pt x="1503605" y="4120992"/>
                  <a:pt x="1497934" y="4117319"/>
                  <a:pt x="1497934" y="4117319"/>
                </a:cubicBezTo>
                <a:cubicBezTo>
                  <a:pt x="1494941" y="4103305"/>
                  <a:pt x="1496618" y="4088295"/>
                  <a:pt x="1491948" y="4089292"/>
                </a:cubicBezTo>
                <a:cubicBezTo>
                  <a:pt x="1490948" y="4084621"/>
                  <a:pt x="1490948" y="4084621"/>
                  <a:pt x="1490948" y="4084621"/>
                </a:cubicBezTo>
                <a:cubicBezTo>
                  <a:pt x="1490948" y="4084621"/>
                  <a:pt x="1489951" y="4079950"/>
                  <a:pt x="1489951" y="4079950"/>
                </a:cubicBezTo>
                <a:cubicBezTo>
                  <a:pt x="1486277" y="4085620"/>
                  <a:pt x="1486277" y="4085620"/>
                  <a:pt x="1486277" y="4085620"/>
                </a:cubicBezTo>
                <a:cubicBezTo>
                  <a:pt x="1491629" y="4064938"/>
                  <a:pt x="1478973" y="4028571"/>
                  <a:pt x="1475301" y="4034238"/>
                </a:cubicBezTo>
                <a:cubicBezTo>
                  <a:pt x="1480970" y="4037911"/>
                  <a:pt x="1477297" y="4043581"/>
                  <a:pt x="1478294" y="4048252"/>
                </a:cubicBezTo>
                <a:cubicBezTo>
                  <a:pt x="1476299" y="4038909"/>
                  <a:pt x="1470629" y="4035237"/>
                  <a:pt x="1470629" y="4035237"/>
                </a:cubicBezTo>
                <a:cubicBezTo>
                  <a:pt x="1473623" y="4049251"/>
                  <a:pt x="1473623" y="4049251"/>
                  <a:pt x="1473623" y="4049251"/>
                </a:cubicBezTo>
                <a:cubicBezTo>
                  <a:pt x="1473623" y="4049251"/>
                  <a:pt x="1468953" y="4050248"/>
                  <a:pt x="1467954" y="4045576"/>
                </a:cubicBezTo>
                <a:cubicBezTo>
                  <a:pt x="1464282" y="4051246"/>
                  <a:pt x="1465279" y="4055915"/>
                  <a:pt x="1469951" y="4054918"/>
                </a:cubicBezTo>
                <a:cubicBezTo>
                  <a:pt x="1469951" y="4054918"/>
                  <a:pt x="1469951" y="4054918"/>
                  <a:pt x="1470949" y="4059589"/>
                </a:cubicBezTo>
                <a:cubicBezTo>
                  <a:pt x="1464600" y="4075598"/>
                  <a:pt x="1456256" y="4082266"/>
                  <a:pt x="1463242" y="4114962"/>
                </a:cubicBezTo>
                <a:cubicBezTo>
                  <a:pt x="1464239" y="4119633"/>
                  <a:pt x="1464239" y="4119633"/>
                  <a:pt x="1465238" y="4124305"/>
                </a:cubicBezTo>
                <a:cubicBezTo>
                  <a:pt x="1459568" y="4120631"/>
                  <a:pt x="1459568" y="4120631"/>
                  <a:pt x="1454896" y="4121629"/>
                </a:cubicBezTo>
                <a:cubicBezTo>
                  <a:pt x="1453899" y="4116958"/>
                  <a:pt x="1453899" y="4116958"/>
                  <a:pt x="1452901" y="4112288"/>
                </a:cubicBezTo>
                <a:cubicBezTo>
                  <a:pt x="1448230" y="4113286"/>
                  <a:pt x="1447233" y="4108614"/>
                  <a:pt x="1448230" y="4113286"/>
                </a:cubicBezTo>
                <a:cubicBezTo>
                  <a:pt x="1448230" y="4113286"/>
                  <a:pt x="1449228" y="4117957"/>
                  <a:pt x="1449228" y="4117957"/>
                </a:cubicBezTo>
                <a:cubicBezTo>
                  <a:pt x="1437573" y="4086258"/>
                  <a:pt x="1439250" y="4071246"/>
                  <a:pt x="1426595" y="4034876"/>
                </a:cubicBezTo>
                <a:cubicBezTo>
                  <a:pt x="1432264" y="4038549"/>
                  <a:pt x="1433262" y="4043220"/>
                  <a:pt x="1432264" y="4038549"/>
                </a:cubicBezTo>
                <a:cubicBezTo>
                  <a:pt x="1432264" y="4038549"/>
                  <a:pt x="1435937" y="4032880"/>
                  <a:pt x="1435937" y="4032880"/>
                </a:cubicBezTo>
                <a:lnTo>
                  <a:pt x="1437931" y="4042221"/>
                </a:lnTo>
                <a:cubicBezTo>
                  <a:pt x="1437613" y="4017869"/>
                  <a:pt x="1434620" y="4003856"/>
                  <a:pt x="1426954" y="3990842"/>
                </a:cubicBezTo>
                <a:cubicBezTo>
                  <a:pt x="1426954" y="3990842"/>
                  <a:pt x="1426954" y="3990842"/>
                  <a:pt x="1431626" y="3989844"/>
                </a:cubicBezTo>
                <a:lnTo>
                  <a:pt x="1430629" y="3985172"/>
                </a:lnTo>
                <a:cubicBezTo>
                  <a:pt x="1429630" y="3980499"/>
                  <a:pt x="1429630" y="3980499"/>
                  <a:pt x="1428631" y="3975830"/>
                </a:cubicBezTo>
                <a:cubicBezTo>
                  <a:pt x="1421965" y="3967486"/>
                  <a:pt x="1422644" y="3947804"/>
                  <a:pt x="1421646" y="3943133"/>
                </a:cubicBezTo>
                <a:cubicBezTo>
                  <a:pt x="1421646" y="3943133"/>
                  <a:pt x="1420648" y="3938462"/>
                  <a:pt x="1420648" y="3938462"/>
                </a:cubicBezTo>
                <a:cubicBezTo>
                  <a:pt x="1419652" y="3933790"/>
                  <a:pt x="1419652" y="3933790"/>
                  <a:pt x="1419652" y="3933790"/>
                </a:cubicBezTo>
                <a:cubicBezTo>
                  <a:pt x="1411985" y="3920775"/>
                  <a:pt x="1410669" y="3891751"/>
                  <a:pt x="1405000" y="3888080"/>
                </a:cubicBezTo>
                <a:cubicBezTo>
                  <a:pt x="1405000" y="3888080"/>
                  <a:pt x="1404002" y="3883408"/>
                  <a:pt x="1404002" y="3883408"/>
                </a:cubicBezTo>
                <a:cubicBezTo>
                  <a:pt x="1404002" y="3883408"/>
                  <a:pt x="1403004" y="3878736"/>
                  <a:pt x="1403004" y="3878736"/>
                </a:cubicBezTo>
                <a:cubicBezTo>
                  <a:pt x="1402006" y="3874066"/>
                  <a:pt x="1401007" y="3869395"/>
                  <a:pt x="1401007" y="3869395"/>
                </a:cubicBezTo>
                <a:cubicBezTo>
                  <a:pt x="1396337" y="3870392"/>
                  <a:pt x="1396337" y="3870392"/>
                  <a:pt x="1398335" y="3879735"/>
                </a:cubicBezTo>
                <a:cubicBezTo>
                  <a:pt x="1398335" y="3879735"/>
                  <a:pt x="1393662" y="3880734"/>
                  <a:pt x="1394660" y="3885404"/>
                </a:cubicBezTo>
                <a:cubicBezTo>
                  <a:pt x="1397336" y="3875064"/>
                  <a:pt x="1391667" y="3871391"/>
                  <a:pt x="1390668" y="3866720"/>
                </a:cubicBezTo>
                <a:cubicBezTo>
                  <a:pt x="1395340" y="3865721"/>
                  <a:pt x="1395340" y="3865721"/>
                  <a:pt x="1395340" y="3865721"/>
                </a:cubicBezTo>
                <a:cubicBezTo>
                  <a:pt x="1395340" y="3865721"/>
                  <a:pt x="1394342" y="3861051"/>
                  <a:pt x="1394342" y="3861051"/>
                </a:cubicBezTo>
                <a:cubicBezTo>
                  <a:pt x="1393344" y="3856381"/>
                  <a:pt x="1393344" y="3856381"/>
                  <a:pt x="1393344" y="3856381"/>
                </a:cubicBezTo>
                <a:cubicBezTo>
                  <a:pt x="1388672" y="3857379"/>
                  <a:pt x="1388672" y="3857379"/>
                  <a:pt x="1388672" y="3857379"/>
                </a:cubicBezTo>
                <a:cubicBezTo>
                  <a:pt x="1384681" y="3838693"/>
                  <a:pt x="1390351" y="3842367"/>
                  <a:pt x="1393024" y="3832027"/>
                </a:cubicBezTo>
                <a:cubicBezTo>
                  <a:pt x="1388354" y="3833025"/>
                  <a:pt x="1385361" y="3819012"/>
                  <a:pt x="1380689" y="3820009"/>
                </a:cubicBezTo>
                <a:cubicBezTo>
                  <a:pt x="1388354" y="3833025"/>
                  <a:pt x="1375339" y="3840689"/>
                  <a:pt x="1383004" y="3853705"/>
                </a:cubicBezTo>
                <a:cubicBezTo>
                  <a:pt x="1385679" y="3843366"/>
                  <a:pt x="1386677" y="3848036"/>
                  <a:pt x="1388672" y="3857379"/>
                </a:cubicBezTo>
                <a:cubicBezTo>
                  <a:pt x="1384002" y="3858376"/>
                  <a:pt x="1384002" y="3858376"/>
                  <a:pt x="1384002" y="3858376"/>
                </a:cubicBezTo>
                <a:cubicBezTo>
                  <a:pt x="1384002" y="3858376"/>
                  <a:pt x="1384002" y="3858376"/>
                  <a:pt x="1385000" y="3863047"/>
                </a:cubicBezTo>
                <a:cubicBezTo>
                  <a:pt x="1385000" y="3863047"/>
                  <a:pt x="1385998" y="3867719"/>
                  <a:pt x="1385998" y="3867719"/>
                </a:cubicBezTo>
                <a:cubicBezTo>
                  <a:pt x="1390668" y="3866720"/>
                  <a:pt x="1390668" y="3866720"/>
                  <a:pt x="1390668" y="3866720"/>
                </a:cubicBezTo>
                <a:cubicBezTo>
                  <a:pt x="1393503" y="3868555"/>
                  <a:pt x="1393334" y="3873478"/>
                  <a:pt x="1393163" y="3878397"/>
                </a:cubicBezTo>
                <a:lnTo>
                  <a:pt x="1394660" y="3885404"/>
                </a:lnTo>
                <a:lnTo>
                  <a:pt x="1395658" y="3890075"/>
                </a:lnTo>
                <a:cubicBezTo>
                  <a:pt x="1390987" y="3891074"/>
                  <a:pt x="1390987" y="3891074"/>
                  <a:pt x="1390987" y="3891074"/>
                </a:cubicBezTo>
                <a:cubicBezTo>
                  <a:pt x="1390987" y="3891074"/>
                  <a:pt x="1390987" y="3891074"/>
                  <a:pt x="1391984" y="3895744"/>
                </a:cubicBezTo>
                <a:cubicBezTo>
                  <a:pt x="1392983" y="3900415"/>
                  <a:pt x="1392983" y="3900415"/>
                  <a:pt x="1392983" y="3900415"/>
                </a:cubicBezTo>
                <a:cubicBezTo>
                  <a:pt x="1396296" y="3938780"/>
                  <a:pt x="1411944" y="3989163"/>
                  <a:pt x="1420606" y="4006850"/>
                </a:cubicBezTo>
                <a:cubicBezTo>
                  <a:pt x="1420606" y="4006850"/>
                  <a:pt x="1420606" y="4006850"/>
                  <a:pt x="1415936" y="4007847"/>
                </a:cubicBezTo>
                <a:cubicBezTo>
                  <a:pt x="1415936" y="4007847"/>
                  <a:pt x="1416933" y="4012520"/>
                  <a:pt x="1417931" y="4017190"/>
                </a:cubicBezTo>
                <a:cubicBezTo>
                  <a:pt x="1427591" y="4039547"/>
                  <a:pt x="1420924" y="4031202"/>
                  <a:pt x="1421923" y="4035875"/>
                </a:cubicBezTo>
                <a:cubicBezTo>
                  <a:pt x="1429588" y="4048889"/>
                  <a:pt x="1442562" y="4109612"/>
                  <a:pt x="1437890" y="4110609"/>
                </a:cubicBezTo>
                <a:cubicBezTo>
                  <a:pt x="1447551" y="4132968"/>
                  <a:pt x="1443877" y="4138635"/>
                  <a:pt x="1458528" y="4184349"/>
                </a:cubicBezTo>
                <a:cubicBezTo>
                  <a:pt x="1461522" y="4198361"/>
                  <a:pt x="1459845" y="4213371"/>
                  <a:pt x="1462839" y="4227385"/>
                </a:cubicBezTo>
                <a:cubicBezTo>
                  <a:pt x="1460164" y="4237725"/>
                  <a:pt x="1454494" y="4234052"/>
                  <a:pt x="1456490" y="4243395"/>
                </a:cubicBezTo>
                <a:cubicBezTo>
                  <a:pt x="1453136" y="4273416"/>
                  <a:pt x="1466788" y="4314457"/>
                  <a:pt x="1468105" y="4343482"/>
                </a:cubicBezTo>
                <a:cubicBezTo>
                  <a:pt x="1469102" y="4348152"/>
                  <a:pt x="1462436" y="4339808"/>
                  <a:pt x="1461439" y="4335137"/>
                </a:cubicBezTo>
                <a:cubicBezTo>
                  <a:pt x="1459761" y="4350148"/>
                  <a:pt x="1471736" y="4406199"/>
                  <a:pt x="1454730" y="4395182"/>
                </a:cubicBezTo>
                <a:cubicBezTo>
                  <a:pt x="1448063" y="4386836"/>
                  <a:pt x="1448063" y="4386836"/>
                  <a:pt x="1448063" y="4386836"/>
                </a:cubicBezTo>
                <a:cubicBezTo>
                  <a:pt x="1450058" y="4396179"/>
                  <a:pt x="1450058" y="4396179"/>
                  <a:pt x="1450058" y="4396179"/>
                </a:cubicBezTo>
                <a:cubicBezTo>
                  <a:pt x="1437723" y="4384161"/>
                  <a:pt x="1432733" y="4360806"/>
                  <a:pt x="1422075" y="4333778"/>
                </a:cubicBezTo>
                <a:cubicBezTo>
                  <a:pt x="1419080" y="4319766"/>
                  <a:pt x="1416086" y="4305753"/>
                  <a:pt x="1413412" y="4316093"/>
                </a:cubicBezTo>
                <a:cubicBezTo>
                  <a:pt x="1412414" y="4311422"/>
                  <a:pt x="1412414" y="4311422"/>
                  <a:pt x="1412414" y="4311422"/>
                </a:cubicBezTo>
                <a:cubicBezTo>
                  <a:pt x="1407741" y="4312421"/>
                  <a:pt x="1407741" y="4312421"/>
                  <a:pt x="1407741" y="4312421"/>
                </a:cubicBezTo>
                <a:cubicBezTo>
                  <a:pt x="1398400" y="4314415"/>
                  <a:pt x="1404748" y="4298407"/>
                  <a:pt x="1402752" y="4289064"/>
                </a:cubicBezTo>
                <a:cubicBezTo>
                  <a:pt x="1400078" y="4299405"/>
                  <a:pt x="1390415" y="4277046"/>
                  <a:pt x="1393410" y="4291060"/>
                </a:cubicBezTo>
                <a:cubicBezTo>
                  <a:pt x="1399079" y="4294733"/>
                  <a:pt x="1401076" y="4304075"/>
                  <a:pt x="1396404" y="4305073"/>
                </a:cubicBezTo>
                <a:cubicBezTo>
                  <a:pt x="1402074" y="4308745"/>
                  <a:pt x="1404069" y="4318088"/>
                  <a:pt x="1407063" y="4332102"/>
                </a:cubicBezTo>
                <a:cubicBezTo>
                  <a:pt x="1396043" y="4349108"/>
                  <a:pt x="1404346" y="4410830"/>
                  <a:pt x="1419993" y="4461213"/>
                </a:cubicBezTo>
                <a:cubicBezTo>
                  <a:pt x="1416321" y="4466881"/>
                  <a:pt x="1416321" y="4466881"/>
                  <a:pt x="1412648" y="4472550"/>
                </a:cubicBezTo>
                <a:cubicBezTo>
                  <a:pt x="1406978" y="4468877"/>
                  <a:pt x="1405981" y="4464205"/>
                  <a:pt x="1404983" y="4459535"/>
                </a:cubicBezTo>
                <a:cubicBezTo>
                  <a:pt x="1404983" y="4459535"/>
                  <a:pt x="1403985" y="4454865"/>
                  <a:pt x="1403985" y="4454865"/>
                </a:cubicBezTo>
                <a:cubicBezTo>
                  <a:pt x="1403985" y="4454865"/>
                  <a:pt x="1398316" y="4451189"/>
                  <a:pt x="1398316" y="4451189"/>
                </a:cubicBezTo>
                <a:cubicBezTo>
                  <a:pt x="1398316" y="4451189"/>
                  <a:pt x="1398316" y="4451189"/>
                  <a:pt x="1399315" y="4455862"/>
                </a:cubicBezTo>
                <a:cubicBezTo>
                  <a:pt x="1399315" y="4455862"/>
                  <a:pt x="1400312" y="4460533"/>
                  <a:pt x="1400312" y="4460533"/>
                </a:cubicBezTo>
                <a:cubicBezTo>
                  <a:pt x="1400312" y="4460533"/>
                  <a:pt x="1394644" y="4456859"/>
                  <a:pt x="1393645" y="4452188"/>
                </a:cubicBezTo>
                <a:cubicBezTo>
                  <a:pt x="1391649" y="4442847"/>
                  <a:pt x="1390651" y="4438176"/>
                  <a:pt x="1388655" y="4428834"/>
                </a:cubicBezTo>
                <a:lnTo>
                  <a:pt x="1396421" y="4442316"/>
                </a:lnTo>
                <a:lnTo>
                  <a:pt x="1397319" y="4446519"/>
                </a:lnTo>
                <a:cubicBezTo>
                  <a:pt x="1403485" y="4452529"/>
                  <a:pt x="1401820" y="4450442"/>
                  <a:pt x="1398362" y="4445687"/>
                </a:cubicBezTo>
                <a:lnTo>
                  <a:pt x="1396421" y="4442316"/>
                </a:lnTo>
                <a:lnTo>
                  <a:pt x="1394700" y="4434259"/>
                </a:lnTo>
                <a:cubicBezTo>
                  <a:pt x="1394325" y="4432507"/>
                  <a:pt x="1394325" y="4432507"/>
                  <a:pt x="1394325" y="4432507"/>
                </a:cubicBezTo>
                <a:cubicBezTo>
                  <a:pt x="1394325" y="4432507"/>
                  <a:pt x="1398995" y="4431508"/>
                  <a:pt x="1398995" y="4431508"/>
                </a:cubicBezTo>
                <a:cubicBezTo>
                  <a:pt x="1398995" y="4431508"/>
                  <a:pt x="1398995" y="4431508"/>
                  <a:pt x="1397996" y="4426838"/>
                </a:cubicBezTo>
                <a:cubicBezTo>
                  <a:pt x="1397996" y="4426838"/>
                  <a:pt x="1397000" y="4422167"/>
                  <a:pt x="1397000" y="4422167"/>
                </a:cubicBezTo>
                <a:cubicBezTo>
                  <a:pt x="1393327" y="4427837"/>
                  <a:pt x="1392329" y="4423164"/>
                  <a:pt x="1392329" y="4423164"/>
                </a:cubicBezTo>
                <a:cubicBezTo>
                  <a:pt x="1391330" y="4418493"/>
                  <a:pt x="1390333" y="4413823"/>
                  <a:pt x="1385662" y="4414822"/>
                </a:cubicBezTo>
                <a:cubicBezTo>
                  <a:pt x="1384664" y="4410150"/>
                  <a:pt x="1384664" y="4410150"/>
                  <a:pt x="1384664" y="4410150"/>
                </a:cubicBezTo>
                <a:cubicBezTo>
                  <a:pt x="1389336" y="4409152"/>
                  <a:pt x="1388338" y="4404480"/>
                  <a:pt x="1383666" y="4405478"/>
                </a:cubicBezTo>
                <a:cubicBezTo>
                  <a:pt x="1382668" y="4400808"/>
                  <a:pt x="1380424" y="4390299"/>
                  <a:pt x="1378801" y="4382708"/>
                </a:cubicBezTo>
                <a:lnTo>
                  <a:pt x="1377677" y="4377453"/>
                </a:lnTo>
                <a:cubicBezTo>
                  <a:pt x="1379673" y="4386795"/>
                  <a:pt x="1377996" y="4401807"/>
                  <a:pt x="1377996" y="4401807"/>
                </a:cubicBezTo>
                <a:cubicBezTo>
                  <a:pt x="1375004" y="4387793"/>
                  <a:pt x="1367339" y="4374777"/>
                  <a:pt x="1364344" y="4360763"/>
                </a:cubicBezTo>
                <a:cubicBezTo>
                  <a:pt x="1357100" y="4343998"/>
                  <a:pt x="1355467" y="4353504"/>
                  <a:pt x="1349899" y="4354235"/>
                </a:cubicBezTo>
                <a:lnTo>
                  <a:pt x="1345078" y="4351907"/>
                </a:lnTo>
                <a:lnTo>
                  <a:pt x="1348800" y="4372250"/>
                </a:lnTo>
                <a:cubicBezTo>
                  <a:pt x="1354182" y="4389739"/>
                  <a:pt x="1362927" y="4405884"/>
                  <a:pt x="1379072" y="4419338"/>
                </a:cubicBezTo>
                <a:cubicBezTo>
                  <a:pt x="1389836" y="4430100"/>
                  <a:pt x="1387145" y="4440864"/>
                  <a:pt x="1389836" y="4454318"/>
                </a:cubicBezTo>
                <a:cubicBezTo>
                  <a:pt x="1389836" y="4481225"/>
                  <a:pt x="1395218" y="4505441"/>
                  <a:pt x="1411363" y="4524275"/>
                </a:cubicBezTo>
                <a:cubicBezTo>
                  <a:pt x="1451727" y="4567327"/>
                  <a:pt x="1482001" y="4616433"/>
                  <a:pt x="1509583" y="4667558"/>
                </a:cubicBezTo>
                <a:lnTo>
                  <a:pt x="1577273" y="4795718"/>
                </a:lnTo>
                <a:lnTo>
                  <a:pt x="1579917" y="4798245"/>
                </a:lnTo>
                <a:cubicBezTo>
                  <a:pt x="1584587" y="4797247"/>
                  <a:pt x="1580594" y="4778563"/>
                  <a:pt x="1576604" y="4759879"/>
                </a:cubicBezTo>
                <a:cubicBezTo>
                  <a:pt x="1609577" y="4845636"/>
                  <a:pt x="1674569" y="4944085"/>
                  <a:pt x="1731897" y="5029523"/>
                </a:cubicBezTo>
                <a:lnTo>
                  <a:pt x="1728521" y="5034733"/>
                </a:lnTo>
                <a:lnTo>
                  <a:pt x="1864742" y="5210497"/>
                </a:lnTo>
                <a:lnTo>
                  <a:pt x="1960966" y="5314141"/>
                </a:lnTo>
                <a:lnTo>
                  <a:pt x="1964240" y="5316895"/>
                </a:lnTo>
                <a:lnTo>
                  <a:pt x="1966833" y="5320459"/>
                </a:lnTo>
                <a:lnTo>
                  <a:pt x="2003292" y="5359731"/>
                </a:lnTo>
                <a:lnTo>
                  <a:pt x="2005134" y="5358985"/>
                </a:lnTo>
                <a:cubicBezTo>
                  <a:pt x="2006603" y="5359434"/>
                  <a:pt x="2009083" y="5361041"/>
                  <a:pt x="2013584" y="5364962"/>
                </a:cubicBezTo>
                <a:cubicBezTo>
                  <a:pt x="2007915" y="5361289"/>
                  <a:pt x="2008414" y="5363625"/>
                  <a:pt x="2011996" y="5368965"/>
                </a:cubicBezTo>
                <a:lnTo>
                  <a:pt x="2012621" y="5369779"/>
                </a:lnTo>
                <a:lnTo>
                  <a:pt x="2021956" y="5379834"/>
                </a:lnTo>
                <a:lnTo>
                  <a:pt x="2059336" y="5413704"/>
                </a:lnTo>
                <a:lnTo>
                  <a:pt x="2059384" y="5410736"/>
                </a:lnTo>
                <a:cubicBezTo>
                  <a:pt x="2056760" y="5407022"/>
                  <a:pt x="2053427" y="5402851"/>
                  <a:pt x="2055262" y="5400017"/>
                </a:cubicBezTo>
                <a:cubicBezTo>
                  <a:pt x="2064764" y="5410196"/>
                  <a:pt x="2067179" y="5415787"/>
                  <a:pt x="2068636" y="5419749"/>
                </a:cubicBezTo>
                <a:lnTo>
                  <a:pt x="2074568" y="5427506"/>
                </a:lnTo>
                <a:lnTo>
                  <a:pt x="2093075" y="5444275"/>
                </a:lnTo>
                <a:lnTo>
                  <a:pt x="2096976" y="5446663"/>
                </a:lnTo>
                <a:lnTo>
                  <a:pt x="2101272" y="5451702"/>
                </a:lnTo>
                <a:lnTo>
                  <a:pt x="2190614" y="5532655"/>
                </a:lnTo>
                <a:lnTo>
                  <a:pt x="2190957" y="5532205"/>
                </a:lnTo>
                <a:lnTo>
                  <a:pt x="2192913" y="5534621"/>
                </a:lnTo>
                <a:lnTo>
                  <a:pt x="2345065" y="5651238"/>
                </a:lnTo>
                <a:lnTo>
                  <a:pt x="2345801" y="5651144"/>
                </a:lnTo>
                <a:cubicBezTo>
                  <a:pt x="2348510" y="5652397"/>
                  <a:pt x="2351344" y="5654233"/>
                  <a:pt x="2353680" y="5653734"/>
                </a:cubicBezTo>
                <a:cubicBezTo>
                  <a:pt x="2353680" y="5653734"/>
                  <a:pt x="2354677" y="5658406"/>
                  <a:pt x="2354677" y="5658406"/>
                </a:cubicBezTo>
                <a:lnTo>
                  <a:pt x="2354729" y="5658644"/>
                </a:lnTo>
                <a:lnTo>
                  <a:pt x="2365695" y="5667049"/>
                </a:lnTo>
                <a:lnTo>
                  <a:pt x="2371685" y="5669425"/>
                </a:lnTo>
                <a:cubicBezTo>
                  <a:pt x="2371685" y="5669425"/>
                  <a:pt x="2376356" y="5668427"/>
                  <a:pt x="2370688" y="5664753"/>
                </a:cubicBezTo>
                <a:cubicBezTo>
                  <a:pt x="2369689" y="5660084"/>
                  <a:pt x="2369689" y="5660084"/>
                  <a:pt x="2369689" y="5660084"/>
                </a:cubicBezTo>
                <a:cubicBezTo>
                  <a:pt x="2386696" y="5671101"/>
                  <a:pt x="2367015" y="5670422"/>
                  <a:pt x="2387695" y="5675773"/>
                </a:cubicBezTo>
                <a:cubicBezTo>
                  <a:pt x="2388692" y="5680444"/>
                  <a:pt x="2388692" y="5680444"/>
                  <a:pt x="2388692" y="5680444"/>
                </a:cubicBezTo>
                <a:cubicBezTo>
                  <a:pt x="2389690" y="5685115"/>
                  <a:pt x="2389690" y="5685115"/>
                  <a:pt x="2394361" y="5684116"/>
                </a:cubicBezTo>
                <a:cubicBezTo>
                  <a:pt x="2400030" y="5687790"/>
                  <a:pt x="2400030" y="5687790"/>
                  <a:pt x="2400030" y="5687790"/>
                </a:cubicBezTo>
                <a:cubicBezTo>
                  <a:pt x="2402865" y="5689627"/>
                  <a:pt x="2404282" y="5690545"/>
                  <a:pt x="2405825" y="5692047"/>
                </a:cubicBezTo>
                <a:lnTo>
                  <a:pt x="2409797" y="5696759"/>
                </a:lnTo>
                <a:lnTo>
                  <a:pt x="2414794" y="5700011"/>
                </a:lnTo>
                <a:lnTo>
                  <a:pt x="2432881" y="5701530"/>
                </a:lnTo>
                <a:cubicBezTo>
                  <a:pt x="2440053" y="5703661"/>
                  <a:pt x="2445223" y="5704998"/>
                  <a:pt x="2441390" y="5698491"/>
                </a:cubicBezTo>
                <a:cubicBezTo>
                  <a:pt x="2439054" y="5698990"/>
                  <a:pt x="2435053" y="5697402"/>
                  <a:pt x="2430801" y="5694648"/>
                </a:cubicBezTo>
                <a:lnTo>
                  <a:pt x="2423109" y="5687744"/>
                </a:lnTo>
                <a:lnTo>
                  <a:pt x="2429054" y="5686473"/>
                </a:lnTo>
                <a:cubicBezTo>
                  <a:pt x="2457400" y="5704839"/>
                  <a:pt x="2485743" y="5723205"/>
                  <a:pt x="2503749" y="5738894"/>
                </a:cubicBezTo>
                <a:cubicBezTo>
                  <a:pt x="2504747" y="5743565"/>
                  <a:pt x="2509419" y="5742568"/>
                  <a:pt x="2509419" y="5742568"/>
                </a:cubicBezTo>
                <a:cubicBezTo>
                  <a:pt x="2527423" y="5758257"/>
                  <a:pt x="2493408" y="5736220"/>
                  <a:pt x="2500075" y="5744562"/>
                </a:cubicBezTo>
                <a:cubicBezTo>
                  <a:pt x="2521754" y="5754584"/>
                  <a:pt x="2517083" y="5755583"/>
                  <a:pt x="2519077" y="5764924"/>
                </a:cubicBezTo>
                <a:cubicBezTo>
                  <a:pt x="2539757" y="5770275"/>
                  <a:pt x="2548422" y="5787961"/>
                  <a:pt x="2540756" y="5774946"/>
                </a:cubicBezTo>
                <a:cubicBezTo>
                  <a:pt x="2545427" y="5773948"/>
                  <a:pt x="2545427" y="5773948"/>
                  <a:pt x="2545427" y="5773948"/>
                </a:cubicBezTo>
                <a:cubicBezTo>
                  <a:pt x="2550097" y="5772950"/>
                  <a:pt x="2550097" y="5772950"/>
                  <a:pt x="2550097" y="5772950"/>
                </a:cubicBezTo>
                <a:cubicBezTo>
                  <a:pt x="2555767" y="5776622"/>
                  <a:pt x="2566107" y="5779297"/>
                  <a:pt x="2572773" y="5787641"/>
                </a:cubicBezTo>
                <a:cubicBezTo>
                  <a:pt x="2571776" y="5782971"/>
                  <a:pt x="2576447" y="5781973"/>
                  <a:pt x="2582118" y="5785645"/>
                </a:cubicBezTo>
                <a:cubicBezTo>
                  <a:pt x="2602796" y="5790996"/>
                  <a:pt x="2623796" y="5820700"/>
                  <a:pt x="2650143" y="5829723"/>
                </a:cubicBezTo>
                <a:cubicBezTo>
                  <a:pt x="2656810" y="5838067"/>
                  <a:pt x="2660484" y="5832397"/>
                  <a:pt x="2670824" y="5835072"/>
                </a:cubicBezTo>
                <a:cubicBezTo>
                  <a:pt x="2670824" y="5835072"/>
                  <a:pt x="2677490" y="5843417"/>
                  <a:pt x="2684158" y="5851761"/>
                </a:cubicBezTo>
                <a:cubicBezTo>
                  <a:pt x="2739850" y="5883820"/>
                  <a:pt x="2819895" y="5915562"/>
                  <a:pt x="2874588" y="5942950"/>
                </a:cubicBezTo>
                <a:cubicBezTo>
                  <a:pt x="2901935" y="5956644"/>
                  <a:pt x="2923613" y="5966665"/>
                  <a:pt x="2956629" y="5984033"/>
                </a:cubicBezTo>
                <a:cubicBezTo>
                  <a:pt x="2966969" y="5986708"/>
                  <a:pt x="2992320" y="5991060"/>
                  <a:pt x="3003657" y="5998405"/>
                </a:cubicBezTo>
                <a:cubicBezTo>
                  <a:pt x="3003657" y="5998405"/>
                  <a:pt x="3010325" y="6006750"/>
                  <a:pt x="3010325" y="6006750"/>
                </a:cubicBezTo>
                <a:cubicBezTo>
                  <a:pt x="3036674" y="6015773"/>
                  <a:pt x="3035676" y="6011102"/>
                  <a:pt x="3052682" y="6022121"/>
                </a:cubicBezTo>
                <a:cubicBezTo>
                  <a:pt x="3041345" y="6014776"/>
                  <a:pt x="3101709" y="6045837"/>
                  <a:pt x="3132727" y="6053863"/>
                </a:cubicBezTo>
                <a:cubicBezTo>
                  <a:pt x="3181752" y="6077579"/>
                  <a:pt x="3248465" y="6092630"/>
                  <a:pt x="3306831" y="6114351"/>
                </a:cubicBezTo>
                <a:cubicBezTo>
                  <a:pt x="3332182" y="6118703"/>
                  <a:pt x="3368871" y="6130401"/>
                  <a:pt x="3409233" y="6136431"/>
                </a:cubicBezTo>
                <a:cubicBezTo>
                  <a:pt x="3450593" y="6147132"/>
                  <a:pt x="3495627" y="6152162"/>
                  <a:pt x="3520977" y="6156515"/>
                </a:cubicBezTo>
                <a:cubicBezTo>
                  <a:pt x="3591361" y="6165899"/>
                  <a:pt x="3648729" y="6182948"/>
                  <a:pt x="3704103" y="6190654"/>
                </a:cubicBezTo>
                <a:cubicBezTo>
                  <a:pt x="3743467" y="6192014"/>
                  <a:pt x="3797843" y="6195048"/>
                  <a:pt x="3841878" y="6195409"/>
                </a:cubicBezTo>
                <a:cubicBezTo>
                  <a:pt x="3868226" y="6204433"/>
                  <a:pt x="3901921" y="6202118"/>
                  <a:pt x="3935617" y="6199803"/>
                </a:cubicBezTo>
                <a:cubicBezTo>
                  <a:pt x="3952624" y="6210822"/>
                  <a:pt x="4001331" y="6210186"/>
                  <a:pt x="4050037" y="6209548"/>
                </a:cubicBezTo>
                <a:cubicBezTo>
                  <a:pt x="4098742" y="6208910"/>
                  <a:pt x="4147449" y="6208274"/>
                  <a:pt x="4164456" y="6219291"/>
                </a:cubicBezTo>
                <a:cubicBezTo>
                  <a:pt x="4178470" y="6216298"/>
                  <a:pt x="4202823" y="6215980"/>
                  <a:pt x="4208491" y="6219652"/>
                </a:cubicBezTo>
                <a:cubicBezTo>
                  <a:pt x="4220508" y="6207318"/>
                  <a:pt x="4273885" y="6205681"/>
                  <a:pt x="4280553" y="6214026"/>
                </a:cubicBezTo>
                <a:cubicBezTo>
                  <a:pt x="4285225" y="6213027"/>
                  <a:pt x="4294565" y="6211031"/>
                  <a:pt x="4299237" y="6210033"/>
                </a:cubicBezTo>
                <a:cubicBezTo>
                  <a:pt x="4302232" y="6224047"/>
                  <a:pt x="4342273" y="6205722"/>
                  <a:pt x="4376966" y="6208079"/>
                </a:cubicBezTo>
                <a:cubicBezTo>
                  <a:pt x="4381639" y="6207082"/>
                  <a:pt x="4381639" y="6207082"/>
                  <a:pt x="4381639" y="6207082"/>
                </a:cubicBezTo>
                <a:cubicBezTo>
                  <a:pt x="4381639" y="6207082"/>
                  <a:pt x="4382636" y="6211752"/>
                  <a:pt x="4382636" y="6211752"/>
                </a:cubicBezTo>
                <a:cubicBezTo>
                  <a:pt x="4387307" y="6210754"/>
                  <a:pt x="4387307" y="6210754"/>
                  <a:pt x="4391979" y="6209755"/>
                </a:cubicBezTo>
                <a:cubicBezTo>
                  <a:pt x="4391979" y="6209755"/>
                  <a:pt x="4391979" y="6209755"/>
                  <a:pt x="4390980" y="6205086"/>
                </a:cubicBezTo>
                <a:cubicBezTo>
                  <a:pt x="4390980" y="6205086"/>
                  <a:pt x="4386310" y="6206084"/>
                  <a:pt x="4386310" y="6206084"/>
                </a:cubicBezTo>
                <a:cubicBezTo>
                  <a:pt x="4395651" y="6204087"/>
                  <a:pt x="4409664" y="6201093"/>
                  <a:pt x="4408667" y="6196422"/>
                </a:cubicBezTo>
                <a:cubicBezTo>
                  <a:pt x="4490071" y="6188798"/>
                  <a:pt x="4570475" y="6176505"/>
                  <a:pt x="4653556" y="6153870"/>
                </a:cubicBezTo>
                <a:cubicBezTo>
                  <a:pt x="4685257" y="6142215"/>
                  <a:pt x="4708611" y="6137225"/>
                  <a:pt x="4745978" y="6129242"/>
                </a:cubicBezTo>
                <a:cubicBezTo>
                  <a:pt x="4787019" y="6115589"/>
                  <a:pt x="4845748" y="6093274"/>
                  <a:pt x="4900802" y="6076627"/>
                </a:cubicBezTo>
                <a:cubicBezTo>
                  <a:pt x="4959529" y="6054313"/>
                  <a:pt x="5013586" y="6032994"/>
                  <a:pt x="5058301" y="6013674"/>
                </a:cubicBezTo>
                <a:cubicBezTo>
                  <a:pt x="5094672" y="6001018"/>
                  <a:pt x="5112357" y="5992356"/>
                  <a:pt x="5152401" y="5974033"/>
                </a:cubicBezTo>
                <a:cubicBezTo>
                  <a:pt x="5160745" y="5967365"/>
                  <a:pt x="5174758" y="5964372"/>
                  <a:pt x="5184101" y="5962374"/>
                </a:cubicBezTo>
                <a:cubicBezTo>
                  <a:pt x="5206457" y="5952716"/>
                  <a:pt x="5222147" y="5934711"/>
                  <a:pt x="5245504" y="5929720"/>
                </a:cubicBezTo>
                <a:cubicBezTo>
                  <a:pt x="5245504" y="5929720"/>
                  <a:pt x="5246501" y="5934392"/>
                  <a:pt x="5246501" y="5934392"/>
                </a:cubicBezTo>
                <a:cubicBezTo>
                  <a:pt x="5241830" y="5935389"/>
                  <a:pt x="5247499" y="5939063"/>
                  <a:pt x="5251173" y="5933393"/>
                </a:cubicBezTo>
                <a:cubicBezTo>
                  <a:pt x="5255843" y="5932396"/>
                  <a:pt x="5260514" y="5931398"/>
                  <a:pt x="5260514" y="5931398"/>
                </a:cubicBezTo>
                <a:cubicBezTo>
                  <a:pt x="5259517" y="5926727"/>
                  <a:pt x="5264188" y="5925730"/>
                  <a:pt x="5264188" y="5925730"/>
                </a:cubicBezTo>
                <a:cubicBezTo>
                  <a:pt x="5265185" y="5930400"/>
                  <a:pt x="5269857" y="5929401"/>
                  <a:pt x="5274527" y="5928403"/>
                </a:cubicBezTo>
                <a:cubicBezTo>
                  <a:pt x="5278201" y="5922735"/>
                  <a:pt x="5273529" y="5923733"/>
                  <a:pt x="5272531" y="5919062"/>
                </a:cubicBezTo>
                <a:cubicBezTo>
                  <a:pt x="5272531" y="5919062"/>
                  <a:pt x="5277203" y="5918063"/>
                  <a:pt x="5277203" y="5918063"/>
                </a:cubicBezTo>
                <a:cubicBezTo>
                  <a:pt x="5281873" y="5917066"/>
                  <a:pt x="5285546" y="5911397"/>
                  <a:pt x="5285546" y="5911397"/>
                </a:cubicBezTo>
                <a:cubicBezTo>
                  <a:pt x="5284549" y="5906727"/>
                  <a:pt x="5279879" y="5907725"/>
                  <a:pt x="5275207" y="5908722"/>
                </a:cubicBezTo>
                <a:cubicBezTo>
                  <a:pt x="5276205" y="5913393"/>
                  <a:pt x="5276205" y="5913393"/>
                  <a:pt x="5276205" y="5913393"/>
                </a:cubicBezTo>
                <a:cubicBezTo>
                  <a:pt x="5270536" y="5909721"/>
                  <a:pt x="5270536" y="5909721"/>
                  <a:pt x="5270536" y="5909721"/>
                </a:cubicBezTo>
                <a:cubicBezTo>
                  <a:pt x="5306907" y="5897065"/>
                  <a:pt x="5359965" y="5871077"/>
                  <a:pt x="5379329" y="5847404"/>
                </a:cubicBezTo>
                <a:cubicBezTo>
                  <a:pt x="5419372" y="5829081"/>
                  <a:pt x="5475105" y="5792750"/>
                  <a:pt x="5542857" y="5744086"/>
                </a:cubicBezTo>
                <a:cubicBezTo>
                  <a:pt x="5543855" y="5748759"/>
                  <a:pt x="5543855" y="5748759"/>
                  <a:pt x="5543855" y="5748759"/>
                </a:cubicBezTo>
                <a:cubicBezTo>
                  <a:pt x="5543855" y="5748759"/>
                  <a:pt x="5539183" y="5749756"/>
                  <a:pt x="5539183" y="5749756"/>
                </a:cubicBezTo>
                <a:cubicBezTo>
                  <a:pt x="5535510" y="5755425"/>
                  <a:pt x="5530840" y="5756424"/>
                  <a:pt x="5536507" y="5760095"/>
                </a:cubicBezTo>
                <a:cubicBezTo>
                  <a:pt x="5536507" y="5760095"/>
                  <a:pt x="5541179" y="5759098"/>
                  <a:pt x="5544853" y="5753429"/>
                </a:cubicBezTo>
                <a:cubicBezTo>
                  <a:pt x="5549523" y="5752432"/>
                  <a:pt x="5549523" y="5752432"/>
                  <a:pt x="5553195" y="5746762"/>
                </a:cubicBezTo>
                <a:cubicBezTo>
                  <a:pt x="5554194" y="5751434"/>
                  <a:pt x="5558865" y="5750436"/>
                  <a:pt x="5568208" y="5748439"/>
                </a:cubicBezTo>
                <a:cubicBezTo>
                  <a:pt x="5567709" y="5746105"/>
                  <a:pt x="5567209" y="5743768"/>
                  <a:pt x="5565793" y="5742849"/>
                </a:cubicBezTo>
                <a:lnTo>
                  <a:pt x="5563150" y="5743821"/>
                </a:lnTo>
                <a:lnTo>
                  <a:pt x="5569884" y="5733428"/>
                </a:lnTo>
                <a:cubicBezTo>
                  <a:pt x="5565213" y="5734427"/>
                  <a:pt x="5560543" y="5735424"/>
                  <a:pt x="5555871" y="5736423"/>
                </a:cubicBezTo>
                <a:cubicBezTo>
                  <a:pt x="5566891" y="5719416"/>
                  <a:pt x="5574237" y="5708077"/>
                  <a:pt x="5595597" y="5693746"/>
                </a:cubicBezTo>
                <a:cubicBezTo>
                  <a:pt x="5591923" y="5699415"/>
                  <a:pt x="5596594" y="5698416"/>
                  <a:pt x="5601265" y="5697419"/>
                </a:cubicBezTo>
                <a:cubicBezTo>
                  <a:pt x="5622624" y="5683088"/>
                  <a:pt x="5640990" y="5654743"/>
                  <a:pt x="5654005" y="5647078"/>
                </a:cubicBezTo>
                <a:cubicBezTo>
                  <a:pt x="5654005" y="5647078"/>
                  <a:pt x="5655003" y="5651750"/>
                  <a:pt x="5650333" y="5652747"/>
                </a:cubicBezTo>
                <a:cubicBezTo>
                  <a:pt x="5680037" y="5631749"/>
                  <a:pt x="5698401" y="5603403"/>
                  <a:pt x="5713411" y="5605080"/>
                </a:cubicBezTo>
                <a:cubicBezTo>
                  <a:pt x="5708741" y="5606079"/>
                  <a:pt x="5712413" y="5600409"/>
                  <a:pt x="5717085" y="5599412"/>
                </a:cubicBezTo>
                <a:cubicBezTo>
                  <a:pt x="5723434" y="5583402"/>
                  <a:pt x="5703073" y="5602405"/>
                  <a:pt x="5698401" y="5603403"/>
                </a:cubicBezTo>
                <a:cubicBezTo>
                  <a:pt x="5723434" y="5583402"/>
                  <a:pt x="5732775" y="5581407"/>
                  <a:pt x="5739123" y="5565397"/>
                </a:cubicBezTo>
                <a:cubicBezTo>
                  <a:pt x="5744793" y="5569071"/>
                  <a:pt x="5737447" y="5580410"/>
                  <a:pt x="5749465" y="5568074"/>
                </a:cubicBezTo>
                <a:cubicBezTo>
                  <a:pt x="5752140" y="5557732"/>
                  <a:pt x="5748466" y="5563402"/>
                  <a:pt x="5755813" y="5552065"/>
                </a:cubicBezTo>
                <a:cubicBezTo>
                  <a:pt x="5754813" y="5547394"/>
                  <a:pt x="5759485" y="5546395"/>
                  <a:pt x="5759485" y="5546395"/>
                </a:cubicBezTo>
                <a:cubicBezTo>
                  <a:pt x="5763159" y="5540726"/>
                  <a:pt x="5767829" y="5539729"/>
                  <a:pt x="5766831" y="5535057"/>
                </a:cubicBezTo>
                <a:cubicBezTo>
                  <a:pt x="5765834" y="5530386"/>
                  <a:pt x="5761163" y="5531383"/>
                  <a:pt x="5757489" y="5537052"/>
                </a:cubicBezTo>
                <a:cubicBezTo>
                  <a:pt x="5757489" y="5537052"/>
                  <a:pt x="5757489" y="5537052"/>
                  <a:pt x="5752817" y="5538051"/>
                </a:cubicBezTo>
                <a:cubicBezTo>
                  <a:pt x="5789869" y="5505714"/>
                  <a:pt x="5796216" y="5489707"/>
                  <a:pt x="5840612" y="5446031"/>
                </a:cubicBezTo>
                <a:cubicBezTo>
                  <a:pt x="5861292" y="5451381"/>
                  <a:pt x="5844285" y="5440361"/>
                  <a:pt x="5875984" y="5428705"/>
                </a:cubicBezTo>
                <a:cubicBezTo>
                  <a:pt x="5876981" y="5433377"/>
                  <a:pt x="5876981" y="5433377"/>
                  <a:pt x="5876981" y="5433377"/>
                </a:cubicBezTo>
                <a:cubicBezTo>
                  <a:pt x="5873309" y="5439045"/>
                  <a:pt x="5877980" y="5438048"/>
                  <a:pt x="5881654" y="5432378"/>
                </a:cubicBezTo>
                <a:cubicBezTo>
                  <a:pt x="5886325" y="5431380"/>
                  <a:pt x="5889997" y="5425712"/>
                  <a:pt x="5888999" y="5421040"/>
                </a:cubicBezTo>
                <a:cubicBezTo>
                  <a:pt x="5892673" y="5415372"/>
                  <a:pt x="5892673" y="5415372"/>
                  <a:pt x="5892673" y="5415372"/>
                </a:cubicBezTo>
                <a:cubicBezTo>
                  <a:pt x="5901015" y="5408706"/>
                  <a:pt x="5900018" y="5404034"/>
                  <a:pt x="5894349" y="5400360"/>
                </a:cubicBezTo>
                <a:cubicBezTo>
                  <a:pt x="5903692" y="5398364"/>
                  <a:pt x="5906367" y="5388024"/>
                  <a:pt x="5910040" y="5382356"/>
                </a:cubicBezTo>
                <a:cubicBezTo>
                  <a:pt x="5901696" y="5389023"/>
                  <a:pt x="5893352" y="5395689"/>
                  <a:pt x="5885009" y="5402357"/>
                </a:cubicBezTo>
                <a:cubicBezTo>
                  <a:pt x="5886005" y="5407028"/>
                  <a:pt x="5887003" y="5411699"/>
                  <a:pt x="5887003" y="5411699"/>
                </a:cubicBezTo>
                <a:cubicBezTo>
                  <a:pt x="5887003" y="5411699"/>
                  <a:pt x="5882333" y="5412697"/>
                  <a:pt x="5883331" y="5417368"/>
                </a:cubicBezTo>
                <a:cubicBezTo>
                  <a:pt x="5883331" y="5417368"/>
                  <a:pt x="5878661" y="5418365"/>
                  <a:pt x="5878661" y="5418365"/>
                </a:cubicBezTo>
                <a:cubicBezTo>
                  <a:pt x="5873988" y="5419363"/>
                  <a:pt x="5874987" y="5424035"/>
                  <a:pt x="5875984" y="5428705"/>
                </a:cubicBezTo>
                <a:cubicBezTo>
                  <a:pt x="5850633" y="5424354"/>
                  <a:pt x="5823605" y="5435012"/>
                  <a:pt x="5797893" y="5474694"/>
                </a:cubicBezTo>
                <a:cubicBezTo>
                  <a:pt x="5793223" y="5475693"/>
                  <a:pt x="5789550" y="5481361"/>
                  <a:pt x="5788553" y="5476691"/>
                </a:cubicBezTo>
                <a:cubicBezTo>
                  <a:pt x="5793223" y="5475693"/>
                  <a:pt x="5792224" y="5471021"/>
                  <a:pt x="5787554" y="5472019"/>
                </a:cubicBezTo>
                <a:cubicBezTo>
                  <a:pt x="5787554" y="5472019"/>
                  <a:pt x="5787554" y="5472019"/>
                  <a:pt x="5783880" y="5477689"/>
                </a:cubicBezTo>
                <a:cubicBezTo>
                  <a:pt x="5783880" y="5477689"/>
                  <a:pt x="5779209" y="5478686"/>
                  <a:pt x="5779209" y="5478686"/>
                </a:cubicBezTo>
                <a:cubicBezTo>
                  <a:pt x="5787893" y="5462179"/>
                  <a:pt x="5797326" y="5449175"/>
                  <a:pt x="5809467" y="5437421"/>
                </a:cubicBezTo>
                <a:lnTo>
                  <a:pt x="5851753" y="5406742"/>
                </a:lnTo>
                <a:lnTo>
                  <a:pt x="5852311" y="5409342"/>
                </a:lnTo>
                <a:cubicBezTo>
                  <a:pt x="5856982" y="5408343"/>
                  <a:pt x="5856982" y="5408343"/>
                  <a:pt x="5855983" y="5403674"/>
                </a:cubicBezTo>
                <a:cubicBezTo>
                  <a:pt x="5865325" y="5401676"/>
                  <a:pt x="5864329" y="5397006"/>
                  <a:pt x="5872672" y="5390339"/>
                </a:cubicBezTo>
                <a:cubicBezTo>
                  <a:pt x="5872672" y="5390339"/>
                  <a:pt x="5873671" y="5395010"/>
                  <a:pt x="5868998" y="5396009"/>
                </a:cubicBezTo>
                <a:cubicBezTo>
                  <a:pt x="5868998" y="5396009"/>
                  <a:pt x="5873671" y="5395010"/>
                  <a:pt x="5873671" y="5395010"/>
                </a:cubicBezTo>
                <a:cubicBezTo>
                  <a:pt x="5873671" y="5395010"/>
                  <a:pt x="5877343" y="5389341"/>
                  <a:pt x="5877343" y="5389341"/>
                </a:cubicBezTo>
                <a:cubicBezTo>
                  <a:pt x="5902375" y="5369340"/>
                  <a:pt x="5925731" y="5364351"/>
                  <a:pt x="5944096" y="5336008"/>
                </a:cubicBezTo>
                <a:cubicBezTo>
                  <a:pt x="5936751" y="5347345"/>
                  <a:pt x="5945093" y="5340677"/>
                  <a:pt x="5954436" y="5338681"/>
                </a:cubicBezTo>
                <a:cubicBezTo>
                  <a:pt x="5943417" y="5355687"/>
                  <a:pt x="5929403" y="5358682"/>
                  <a:pt x="5936071" y="5367026"/>
                </a:cubicBezTo>
                <a:cubicBezTo>
                  <a:pt x="5959106" y="5337683"/>
                  <a:pt x="5974798" y="5319679"/>
                  <a:pt x="6011847" y="5287342"/>
                </a:cubicBezTo>
                <a:cubicBezTo>
                  <a:pt x="6012845" y="5292014"/>
                  <a:pt x="6016519" y="5286345"/>
                  <a:pt x="6021190" y="5285346"/>
                </a:cubicBezTo>
                <a:cubicBezTo>
                  <a:pt x="6024863" y="5279677"/>
                  <a:pt x="6028537" y="5274009"/>
                  <a:pt x="6023863" y="5275006"/>
                </a:cubicBezTo>
                <a:cubicBezTo>
                  <a:pt x="6032207" y="5268340"/>
                  <a:pt x="6034884" y="5257999"/>
                  <a:pt x="6041233" y="5241991"/>
                </a:cubicBezTo>
                <a:cubicBezTo>
                  <a:pt x="6046901" y="5245664"/>
                  <a:pt x="6039554" y="5257001"/>
                  <a:pt x="6047899" y="5250335"/>
                </a:cubicBezTo>
                <a:cubicBezTo>
                  <a:pt x="6046901" y="5245664"/>
                  <a:pt x="6055246" y="5238997"/>
                  <a:pt x="6054247" y="5234325"/>
                </a:cubicBezTo>
                <a:cubicBezTo>
                  <a:pt x="6054247" y="5234325"/>
                  <a:pt x="6058919" y="5233328"/>
                  <a:pt x="6057920" y="5228658"/>
                </a:cubicBezTo>
                <a:cubicBezTo>
                  <a:pt x="6062591" y="5227659"/>
                  <a:pt x="6062591" y="5227659"/>
                  <a:pt x="6062591" y="5227659"/>
                </a:cubicBezTo>
                <a:cubicBezTo>
                  <a:pt x="6061593" y="5222988"/>
                  <a:pt x="6061593" y="5222988"/>
                  <a:pt x="6061593" y="5222988"/>
                </a:cubicBezTo>
                <a:cubicBezTo>
                  <a:pt x="6057920" y="5228658"/>
                  <a:pt x="6057920" y="5228658"/>
                  <a:pt x="6057920" y="5228658"/>
                </a:cubicBezTo>
                <a:cubicBezTo>
                  <a:pt x="6053250" y="5229655"/>
                  <a:pt x="6053250" y="5229655"/>
                  <a:pt x="6053250" y="5229655"/>
                </a:cubicBezTo>
                <a:cubicBezTo>
                  <a:pt x="6068941" y="5211651"/>
                  <a:pt x="6068941" y="5211651"/>
                  <a:pt x="6068941" y="5211651"/>
                </a:cubicBezTo>
                <a:cubicBezTo>
                  <a:pt x="6065267" y="5217319"/>
                  <a:pt x="6066265" y="5221991"/>
                  <a:pt x="6069937" y="5216321"/>
                </a:cubicBezTo>
                <a:cubicBezTo>
                  <a:pt x="6103993" y="5169972"/>
                  <a:pt x="6125712" y="5111605"/>
                  <a:pt x="6153103" y="5056910"/>
                </a:cubicBezTo>
                <a:cubicBezTo>
                  <a:pt x="6174822" y="4998546"/>
                  <a:pt x="6197539" y="4944849"/>
                  <a:pt x="6220259" y="4891153"/>
                </a:cubicBezTo>
                <a:cubicBezTo>
                  <a:pt x="6229601" y="4889157"/>
                  <a:pt x="6230598" y="4893829"/>
                  <a:pt x="6232593" y="4903170"/>
                </a:cubicBezTo>
                <a:cubicBezTo>
                  <a:pt x="6246968" y="4856141"/>
                  <a:pt x="6259665" y="4824124"/>
                  <a:pt x="6266691" y="4788433"/>
                </a:cubicBezTo>
                <a:cubicBezTo>
                  <a:pt x="6272541" y="4770088"/>
                  <a:pt x="6277222" y="4751993"/>
                  <a:pt x="6282822" y="4732481"/>
                </a:cubicBezTo>
                <a:lnTo>
                  <a:pt x="6302855" y="4672815"/>
                </a:lnTo>
                <a:lnTo>
                  <a:pt x="6305460" y="4672697"/>
                </a:lnTo>
                <a:cubicBezTo>
                  <a:pt x="6305460" y="4672697"/>
                  <a:pt x="6310131" y="4671699"/>
                  <a:pt x="6313804" y="4666031"/>
                </a:cubicBezTo>
                <a:cubicBezTo>
                  <a:pt x="6318475" y="4665033"/>
                  <a:pt x="6318475" y="4665033"/>
                  <a:pt x="6318475" y="4665033"/>
                </a:cubicBezTo>
                <a:cubicBezTo>
                  <a:pt x="6321151" y="4654692"/>
                  <a:pt x="6328497" y="4643354"/>
                  <a:pt x="6322827" y="4639682"/>
                </a:cubicBezTo>
                <a:cubicBezTo>
                  <a:pt x="6327499" y="4638683"/>
                  <a:pt x="6331173" y="4633014"/>
                  <a:pt x="6330175" y="4628345"/>
                </a:cubicBezTo>
                <a:cubicBezTo>
                  <a:pt x="6333847" y="4622674"/>
                  <a:pt x="6329177" y="4623672"/>
                  <a:pt x="6329177" y="4623672"/>
                </a:cubicBezTo>
                <a:cubicBezTo>
                  <a:pt x="6324505" y="4624671"/>
                  <a:pt x="6324505" y="4624671"/>
                  <a:pt x="6324505" y="4624671"/>
                </a:cubicBezTo>
                <a:cubicBezTo>
                  <a:pt x="6338199" y="4597325"/>
                  <a:pt x="6335206" y="4583312"/>
                  <a:pt x="6348900" y="4555965"/>
                </a:cubicBezTo>
                <a:cubicBezTo>
                  <a:pt x="6334887" y="4558958"/>
                  <a:pt x="6346904" y="4546622"/>
                  <a:pt x="6345907" y="4541951"/>
                </a:cubicBezTo>
                <a:cubicBezTo>
                  <a:pt x="6339557" y="4557959"/>
                  <a:pt x="6337561" y="4548618"/>
                  <a:pt x="6330216" y="4559955"/>
                </a:cubicBezTo>
                <a:cubicBezTo>
                  <a:pt x="6327541" y="4570295"/>
                  <a:pt x="6338559" y="4553288"/>
                  <a:pt x="6336883" y="4568299"/>
                </a:cubicBezTo>
                <a:cubicBezTo>
                  <a:pt x="6324866" y="4580635"/>
                  <a:pt x="6323189" y="4595647"/>
                  <a:pt x="6314844" y="4602314"/>
                </a:cubicBezTo>
                <a:cubicBezTo>
                  <a:pt x="6318517" y="4596645"/>
                  <a:pt x="6322191" y="4590975"/>
                  <a:pt x="6321192" y="4586304"/>
                </a:cubicBezTo>
                <a:cubicBezTo>
                  <a:pt x="6307497" y="4613651"/>
                  <a:pt x="6290131" y="4646668"/>
                  <a:pt x="6273761" y="4684354"/>
                </a:cubicBezTo>
                <a:cubicBezTo>
                  <a:pt x="6257391" y="4722041"/>
                  <a:pt x="6241021" y="4759728"/>
                  <a:pt x="6228327" y="4791746"/>
                </a:cubicBezTo>
                <a:cubicBezTo>
                  <a:pt x="6227328" y="4787073"/>
                  <a:pt x="6222657" y="4788072"/>
                  <a:pt x="6218983" y="4793740"/>
                </a:cubicBezTo>
                <a:cubicBezTo>
                  <a:pt x="6201617" y="4826756"/>
                  <a:pt x="6187921" y="4854104"/>
                  <a:pt x="6164885" y="4883446"/>
                </a:cubicBezTo>
                <a:cubicBezTo>
                  <a:pt x="6171551" y="4891790"/>
                  <a:pt x="6150193" y="4906124"/>
                  <a:pt x="6142846" y="4917459"/>
                </a:cubicBezTo>
                <a:cubicBezTo>
                  <a:pt x="6139172" y="4923130"/>
                  <a:pt x="6144842" y="4926804"/>
                  <a:pt x="6136497" y="4933470"/>
                </a:cubicBezTo>
                <a:cubicBezTo>
                  <a:pt x="6137495" y="4938141"/>
                  <a:pt x="6124481" y="4945806"/>
                  <a:pt x="6117135" y="4957143"/>
                </a:cubicBezTo>
                <a:cubicBezTo>
                  <a:pt x="6106115" y="4974149"/>
                  <a:pt x="6096093" y="4995828"/>
                  <a:pt x="6085074" y="5012834"/>
                </a:cubicBezTo>
                <a:cubicBezTo>
                  <a:pt x="6070383" y="5035511"/>
                  <a:pt x="6071379" y="5040181"/>
                  <a:pt x="6052017" y="5063855"/>
                </a:cubicBezTo>
                <a:cubicBezTo>
                  <a:pt x="6019957" y="5119547"/>
                  <a:pt x="5963543" y="5175556"/>
                  <a:pt x="5949849" y="5202903"/>
                </a:cubicBezTo>
                <a:cubicBezTo>
                  <a:pt x="5935836" y="5205898"/>
                  <a:pt x="5926811" y="5232245"/>
                  <a:pt x="5919467" y="5243586"/>
                </a:cubicBezTo>
                <a:cubicBezTo>
                  <a:pt x="5922141" y="5233244"/>
                  <a:pt x="5918469" y="5238913"/>
                  <a:pt x="5913797" y="5239912"/>
                </a:cubicBezTo>
                <a:cubicBezTo>
                  <a:pt x="5888085" y="5279594"/>
                  <a:pt x="5840696" y="5309255"/>
                  <a:pt x="5798296" y="5362272"/>
                </a:cubicBezTo>
                <a:cubicBezTo>
                  <a:pt x="5783605" y="5384947"/>
                  <a:pt x="5795621" y="5372612"/>
                  <a:pt x="5770589" y="5392612"/>
                </a:cubicBezTo>
                <a:cubicBezTo>
                  <a:pt x="5753900" y="5405947"/>
                  <a:pt x="5742883" y="5422953"/>
                  <a:pt x="5726193" y="5436286"/>
                </a:cubicBezTo>
                <a:cubicBezTo>
                  <a:pt x="5668782" y="5487625"/>
                  <a:pt x="5610372" y="5534294"/>
                  <a:pt x="5560309" y="5574296"/>
                </a:cubicBezTo>
                <a:cubicBezTo>
                  <a:pt x="5539947" y="5593298"/>
                  <a:pt x="5522261" y="5601962"/>
                  <a:pt x="5511241" y="5618968"/>
                </a:cubicBezTo>
                <a:cubicBezTo>
                  <a:pt x="5506569" y="5619967"/>
                  <a:pt x="5506569" y="5619967"/>
                  <a:pt x="5501899" y="5620964"/>
                </a:cubicBezTo>
                <a:cubicBezTo>
                  <a:pt x="5497229" y="5621963"/>
                  <a:pt x="5483216" y="5624956"/>
                  <a:pt x="5462853" y="5643958"/>
                </a:cubicBezTo>
                <a:cubicBezTo>
                  <a:pt x="5454509" y="5650624"/>
                  <a:pt x="5442491" y="5662962"/>
                  <a:pt x="5434147" y="5669628"/>
                </a:cubicBezTo>
                <a:cubicBezTo>
                  <a:pt x="5395101" y="5692624"/>
                  <a:pt x="5346715" y="5717613"/>
                  <a:pt x="5335695" y="5734620"/>
                </a:cubicBezTo>
                <a:cubicBezTo>
                  <a:pt x="5342043" y="5718611"/>
                  <a:pt x="5291979" y="5758613"/>
                  <a:pt x="5279961" y="5770948"/>
                </a:cubicBezTo>
                <a:cubicBezTo>
                  <a:pt x="5260279" y="5770269"/>
                  <a:pt x="5232571" y="5800610"/>
                  <a:pt x="5196201" y="5813264"/>
                </a:cubicBezTo>
                <a:cubicBezTo>
                  <a:pt x="5191531" y="5814263"/>
                  <a:pt x="5198197" y="5822607"/>
                  <a:pt x="5184185" y="5825600"/>
                </a:cubicBezTo>
                <a:cubicBezTo>
                  <a:pt x="5173845" y="5822925"/>
                  <a:pt x="5143143" y="5839253"/>
                  <a:pt x="5148811" y="5842926"/>
                </a:cubicBezTo>
                <a:cubicBezTo>
                  <a:pt x="5132803" y="5836578"/>
                  <a:pt x="5108769" y="5861249"/>
                  <a:pt x="5098429" y="5858574"/>
                </a:cubicBezTo>
                <a:cubicBezTo>
                  <a:pt x="5100425" y="5867915"/>
                  <a:pt x="5096752" y="5873584"/>
                  <a:pt x="5093078" y="5879254"/>
                </a:cubicBezTo>
                <a:cubicBezTo>
                  <a:pt x="5084733" y="5885921"/>
                  <a:pt x="5080063" y="5886918"/>
                  <a:pt x="5071717" y="5893584"/>
                </a:cubicBezTo>
                <a:cubicBezTo>
                  <a:pt x="5041017" y="5909914"/>
                  <a:pt x="4999977" y="5923566"/>
                  <a:pt x="4963607" y="5936220"/>
                </a:cubicBezTo>
                <a:cubicBezTo>
                  <a:pt x="4954263" y="5938216"/>
                  <a:pt x="4943924" y="5935541"/>
                  <a:pt x="4943924" y="5935541"/>
                </a:cubicBezTo>
                <a:cubicBezTo>
                  <a:pt x="4940250" y="5941210"/>
                  <a:pt x="4935579" y="5942209"/>
                  <a:pt x="4931907" y="5947877"/>
                </a:cubicBezTo>
                <a:cubicBezTo>
                  <a:pt x="4927236" y="5948876"/>
                  <a:pt x="4927236" y="5948876"/>
                  <a:pt x="4927236" y="5948876"/>
                </a:cubicBezTo>
                <a:cubicBezTo>
                  <a:pt x="4892542" y="5946518"/>
                  <a:pt x="4848827" y="5970511"/>
                  <a:pt x="4813453" y="5987836"/>
                </a:cubicBezTo>
                <a:cubicBezTo>
                  <a:pt x="4812455" y="5983165"/>
                  <a:pt x="4812455" y="5983165"/>
                  <a:pt x="4812455" y="5983165"/>
                </a:cubicBezTo>
                <a:cubicBezTo>
                  <a:pt x="4797445" y="5981489"/>
                  <a:pt x="4796766" y="6001171"/>
                  <a:pt x="4789099" y="5988156"/>
                </a:cubicBezTo>
                <a:cubicBezTo>
                  <a:pt x="4765746" y="5993144"/>
                  <a:pt x="4781755" y="5999492"/>
                  <a:pt x="4763071" y="6003484"/>
                </a:cubicBezTo>
                <a:cubicBezTo>
                  <a:pt x="4762072" y="5998814"/>
                  <a:pt x="4752731" y="6000810"/>
                  <a:pt x="4747061" y="5997136"/>
                </a:cubicBezTo>
                <a:cubicBezTo>
                  <a:pt x="4730373" y="6010470"/>
                  <a:pt x="4711689" y="6014462"/>
                  <a:pt x="4687335" y="6014782"/>
                </a:cubicBezTo>
                <a:cubicBezTo>
                  <a:pt x="4680987" y="6030790"/>
                  <a:pt x="4650965" y="6027436"/>
                  <a:pt x="4642621" y="6034102"/>
                </a:cubicBezTo>
                <a:cubicBezTo>
                  <a:pt x="4641623" y="6029431"/>
                  <a:pt x="4636952" y="6030429"/>
                  <a:pt x="4636952" y="6030429"/>
                </a:cubicBezTo>
                <a:cubicBezTo>
                  <a:pt x="4610921" y="6045759"/>
                  <a:pt x="4586569" y="6046077"/>
                  <a:pt x="4563214" y="6051067"/>
                </a:cubicBezTo>
                <a:cubicBezTo>
                  <a:pt x="4558541" y="6052066"/>
                  <a:pt x="4553871" y="6053063"/>
                  <a:pt x="4553871" y="6053063"/>
                </a:cubicBezTo>
                <a:cubicBezTo>
                  <a:pt x="4552873" y="6048393"/>
                  <a:pt x="4552873" y="6048393"/>
                  <a:pt x="4552873" y="6048393"/>
                </a:cubicBezTo>
                <a:cubicBezTo>
                  <a:pt x="4551875" y="6043722"/>
                  <a:pt x="4547205" y="6044719"/>
                  <a:pt x="4547205" y="6044719"/>
                </a:cubicBezTo>
                <a:cubicBezTo>
                  <a:pt x="4542534" y="6045718"/>
                  <a:pt x="4543531" y="6050388"/>
                  <a:pt x="4543531" y="6050388"/>
                </a:cubicBezTo>
                <a:cubicBezTo>
                  <a:pt x="4528521" y="6048711"/>
                  <a:pt x="4517502" y="6065717"/>
                  <a:pt x="4494145" y="6070708"/>
                </a:cubicBezTo>
                <a:cubicBezTo>
                  <a:pt x="4511832" y="6062045"/>
                  <a:pt x="4481809" y="6058690"/>
                  <a:pt x="4478137" y="6064359"/>
                </a:cubicBezTo>
                <a:cubicBezTo>
                  <a:pt x="4487478" y="6062363"/>
                  <a:pt x="4488477" y="6067034"/>
                  <a:pt x="4479134" y="6069030"/>
                </a:cubicBezTo>
                <a:cubicBezTo>
                  <a:pt x="4482808" y="6063362"/>
                  <a:pt x="4464125" y="6067353"/>
                  <a:pt x="4459453" y="6068351"/>
                </a:cubicBezTo>
                <a:cubicBezTo>
                  <a:pt x="4461447" y="6077694"/>
                  <a:pt x="4450111" y="6070346"/>
                  <a:pt x="4432425" y="6079010"/>
                </a:cubicBezTo>
                <a:cubicBezTo>
                  <a:pt x="4444441" y="6066673"/>
                  <a:pt x="4417414" y="6077333"/>
                  <a:pt x="4404399" y="6084998"/>
                </a:cubicBezTo>
                <a:cubicBezTo>
                  <a:pt x="4399727" y="6085995"/>
                  <a:pt x="4399727" y="6085995"/>
                  <a:pt x="4394059" y="6082323"/>
                </a:cubicBezTo>
                <a:cubicBezTo>
                  <a:pt x="4389386" y="6083320"/>
                  <a:pt x="4384716" y="6084319"/>
                  <a:pt x="4379047" y="6080645"/>
                </a:cubicBezTo>
                <a:cubicBezTo>
                  <a:pt x="4379047" y="6080645"/>
                  <a:pt x="4374376" y="6081644"/>
                  <a:pt x="4374376" y="6081644"/>
                </a:cubicBezTo>
                <a:cubicBezTo>
                  <a:pt x="4345352" y="6082961"/>
                  <a:pt x="4318323" y="6093619"/>
                  <a:pt x="4292971" y="6089266"/>
                </a:cubicBezTo>
                <a:cubicBezTo>
                  <a:pt x="4266943" y="6104597"/>
                  <a:pt x="4215243" y="6091221"/>
                  <a:pt x="4193882" y="6105553"/>
                </a:cubicBezTo>
                <a:cubicBezTo>
                  <a:pt x="4189212" y="6106550"/>
                  <a:pt x="4189212" y="6106550"/>
                  <a:pt x="4184541" y="6107549"/>
                </a:cubicBezTo>
                <a:cubicBezTo>
                  <a:pt x="4183543" y="6102876"/>
                  <a:pt x="4183543" y="6102876"/>
                  <a:pt x="4178872" y="6103875"/>
                </a:cubicBezTo>
                <a:cubicBezTo>
                  <a:pt x="4178872" y="6103875"/>
                  <a:pt x="4174201" y="6104874"/>
                  <a:pt x="4174201" y="6104874"/>
                </a:cubicBezTo>
                <a:cubicBezTo>
                  <a:pt x="4168532" y="6101200"/>
                  <a:pt x="4149847" y="6105192"/>
                  <a:pt x="4146175" y="6110861"/>
                </a:cubicBezTo>
                <a:cubicBezTo>
                  <a:pt x="4146175" y="6110861"/>
                  <a:pt x="4141503" y="6111859"/>
                  <a:pt x="4141503" y="6111859"/>
                </a:cubicBezTo>
                <a:cubicBezTo>
                  <a:pt x="4135835" y="6108185"/>
                  <a:pt x="4135835" y="6108185"/>
                  <a:pt x="4135835" y="6108185"/>
                </a:cubicBezTo>
                <a:cubicBezTo>
                  <a:pt x="4131163" y="6109183"/>
                  <a:pt x="4131163" y="6109183"/>
                  <a:pt x="4131163" y="6109183"/>
                </a:cubicBezTo>
                <a:cubicBezTo>
                  <a:pt x="4117151" y="6112178"/>
                  <a:pt x="4102139" y="6110500"/>
                  <a:pt x="4092798" y="6112497"/>
                </a:cubicBezTo>
                <a:cubicBezTo>
                  <a:pt x="4092798" y="6112497"/>
                  <a:pt x="4087129" y="6108823"/>
                  <a:pt x="4082458" y="6109821"/>
                </a:cubicBezTo>
                <a:cubicBezTo>
                  <a:pt x="4083455" y="6114492"/>
                  <a:pt x="4058104" y="6110139"/>
                  <a:pt x="4052435" y="6106468"/>
                </a:cubicBezTo>
                <a:cubicBezTo>
                  <a:pt x="4053433" y="6111138"/>
                  <a:pt x="4053433" y="6111138"/>
                  <a:pt x="4053433" y="6111138"/>
                </a:cubicBezTo>
                <a:cubicBezTo>
                  <a:pt x="4048763" y="6112135"/>
                  <a:pt x="4048763" y="6112135"/>
                  <a:pt x="4043093" y="6108462"/>
                </a:cubicBezTo>
                <a:cubicBezTo>
                  <a:pt x="4050100" y="6106966"/>
                  <a:pt x="4051017" y="6105549"/>
                  <a:pt x="4049935" y="6103338"/>
                </a:cubicBezTo>
                <a:lnTo>
                  <a:pt x="4045742" y="6095312"/>
                </a:lnTo>
                <a:lnTo>
                  <a:pt x="4059782" y="6095129"/>
                </a:lnTo>
                <a:cubicBezTo>
                  <a:pt x="4093477" y="6092815"/>
                  <a:pt x="4160866" y="6088185"/>
                  <a:pt x="4208575" y="6082877"/>
                </a:cubicBezTo>
                <a:cubicBezTo>
                  <a:pt x="4337687" y="6069945"/>
                  <a:pt x="4461129" y="6053340"/>
                  <a:pt x="4574233" y="6034059"/>
                </a:cubicBezTo>
                <a:cubicBezTo>
                  <a:pt x="4590921" y="6020727"/>
                  <a:pt x="4639627" y="6020089"/>
                  <a:pt x="4653639" y="6017096"/>
                </a:cubicBezTo>
                <a:cubicBezTo>
                  <a:pt x="4653639" y="6017096"/>
                  <a:pt x="4661985" y="6010429"/>
                  <a:pt x="4666657" y="6009430"/>
                </a:cubicBezTo>
                <a:cubicBezTo>
                  <a:pt x="4666657" y="6009430"/>
                  <a:pt x="4666657" y="6009430"/>
                  <a:pt x="4671326" y="6008432"/>
                </a:cubicBezTo>
                <a:cubicBezTo>
                  <a:pt x="4671326" y="6008432"/>
                  <a:pt x="4671326" y="6008432"/>
                  <a:pt x="4680669" y="6006436"/>
                </a:cubicBezTo>
                <a:cubicBezTo>
                  <a:pt x="4707697" y="5995778"/>
                  <a:pt x="4741392" y="5993462"/>
                  <a:pt x="4777762" y="5980809"/>
                </a:cubicBezTo>
                <a:cubicBezTo>
                  <a:pt x="4810460" y="5973824"/>
                  <a:pt x="4872861" y="5945840"/>
                  <a:pt x="4917575" y="5926517"/>
                </a:cubicBezTo>
                <a:cubicBezTo>
                  <a:pt x="4957619" y="5908194"/>
                  <a:pt x="5003331" y="5893543"/>
                  <a:pt x="5024691" y="5879212"/>
                </a:cubicBezTo>
                <a:cubicBezTo>
                  <a:pt x="5042377" y="5870549"/>
                  <a:pt x="5031038" y="5863204"/>
                  <a:pt x="5063735" y="5856218"/>
                </a:cubicBezTo>
                <a:cubicBezTo>
                  <a:pt x="5064733" y="5860888"/>
                  <a:pt x="5069405" y="5859891"/>
                  <a:pt x="5078746" y="5857895"/>
                </a:cubicBezTo>
                <a:cubicBezTo>
                  <a:pt x="5082420" y="5852226"/>
                  <a:pt x="5081423" y="5847555"/>
                  <a:pt x="5094437" y="5839890"/>
                </a:cubicBezTo>
                <a:cubicBezTo>
                  <a:pt x="5103779" y="5837894"/>
                  <a:pt x="5117791" y="5834899"/>
                  <a:pt x="5130807" y="5827235"/>
                </a:cubicBezTo>
                <a:cubicBezTo>
                  <a:pt x="5174523" y="5803242"/>
                  <a:pt x="5227582" y="5777255"/>
                  <a:pt x="5253613" y="5761925"/>
                </a:cubicBezTo>
                <a:cubicBezTo>
                  <a:pt x="5266627" y="5754260"/>
                  <a:pt x="5265629" y="5749589"/>
                  <a:pt x="5273974" y="5742921"/>
                </a:cubicBezTo>
                <a:cubicBezTo>
                  <a:pt x="5310345" y="5730267"/>
                  <a:pt x="5356737" y="5695935"/>
                  <a:pt x="5398457" y="5662600"/>
                </a:cubicBezTo>
                <a:cubicBezTo>
                  <a:pt x="5441175" y="5633938"/>
                  <a:pt x="5478225" y="5601601"/>
                  <a:pt x="5508927" y="5585273"/>
                </a:cubicBezTo>
                <a:cubicBezTo>
                  <a:pt x="5503258" y="5581600"/>
                  <a:pt x="5507928" y="5580601"/>
                  <a:pt x="5516272" y="5573935"/>
                </a:cubicBezTo>
                <a:cubicBezTo>
                  <a:pt x="5512598" y="5579604"/>
                  <a:pt x="5513597" y="5584275"/>
                  <a:pt x="5517271" y="5578605"/>
                </a:cubicBezTo>
                <a:cubicBezTo>
                  <a:pt x="5520943" y="5572937"/>
                  <a:pt x="5576677" y="5536610"/>
                  <a:pt x="5566338" y="5533934"/>
                </a:cubicBezTo>
                <a:cubicBezTo>
                  <a:pt x="5586699" y="5514930"/>
                  <a:pt x="5597039" y="5517607"/>
                  <a:pt x="5597039" y="5517607"/>
                </a:cubicBezTo>
                <a:cubicBezTo>
                  <a:pt x="5612731" y="5499602"/>
                  <a:pt x="5596041" y="5512935"/>
                  <a:pt x="5590371" y="5509261"/>
                </a:cubicBezTo>
                <a:cubicBezTo>
                  <a:pt x="5610733" y="5490259"/>
                  <a:pt x="5610733" y="5490259"/>
                  <a:pt x="5610733" y="5490259"/>
                </a:cubicBezTo>
                <a:cubicBezTo>
                  <a:pt x="5604385" y="5506268"/>
                  <a:pt x="5621073" y="5492935"/>
                  <a:pt x="5625744" y="5491937"/>
                </a:cubicBezTo>
                <a:cubicBezTo>
                  <a:pt x="5639440" y="5464590"/>
                  <a:pt x="5687825" y="5439599"/>
                  <a:pt x="5718210" y="5398918"/>
                </a:cubicBezTo>
                <a:cubicBezTo>
                  <a:pt x="5722880" y="5397921"/>
                  <a:pt x="5721883" y="5393250"/>
                  <a:pt x="5726553" y="5392252"/>
                </a:cubicBezTo>
                <a:cubicBezTo>
                  <a:pt x="5731224" y="5391254"/>
                  <a:pt x="5730227" y="5386582"/>
                  <a:pt x="5730227" y="5386582"/>
                </a:cubicBezTo>
                <a:cubicBezTo>
                  <a:pt x="5733899" y="5380915"/>
                  <a:pt x="5729229" y="5381912"/>
                  <a:pt x="5725555" y="5387581"/>
                </a:cubicBezTo>
                <a:cubicBezTo>
                  <a:pt x="5725555" y="5387581"/>
                  <a:pt x="5725555" y="5387581"/>
                  <a:pt x="5720884" y="5388578"/>
                </a:cubicBezTo>
                <a:cubicBezTo>
                  <a:pt x="5760609" y="5345901"/>
                  <a:pt x="5786639" y="5330572"/>
                  <a:pt x="5821693" y="5288895"/>
                </a:cubicBezTo>
                <a:cubicBezTo>
                  <a:pt x="5827363" y="5292568"/>
                  <a:pt x="5831035" y="5286898"/>
                  <a:pt x="5836704" y="5290572"/>
                </a:cubicBezTo>
                <a:cubicBezTo>
                  <a:pt x="5883775" y="5236557"/>
                  <a:pt x="5935517" y="5181544"/>
                  <a:pt x="5981591" y="5122858"/>
                </a:cubicBezTo>
                <a:cubicBezTo>
                  <a:pt x="6032334" y="5063177"/>
                  <a:pt x="6077409" y="4999820"/>
                  <a:pt x="6118812" y="4942132"/>
                </a:cubicBezTo>
                <a:cubicBezTo>
                  <a:pt x="6104798" y="4945127"/>
                  <a:pt x="6093101" y="4981814"/>
                  <a:pt x="6076412" y="4995149"/>
                </a:cubicBezTo>
                <a:cubicBezTo>
                  <a:pt x="6077409" y="4999820"/>
                  <a:pt x="6068067" y="5001815"/>
                  <a:pt x="6063397" y="5002813"/>
                </a:cubicBezTo>
                <a:cubicBezTo>
                  <a:pt x="6036685" y="5037826"/>
                  <a:pt x="6002631" y="5084175"/>
                  <a:pt x="5966579" y="5121182"/>
                </a:cubicBezTo>
                <a:cubicBezTo>
                  <a:pt x="5927851" y="5168529"/>
                  <a:pt x="5885453" y="5221546"/>
                  <a:pt x="5844729" y="5259552"/>
                </a:cubicBezTo>
                <a:cubicBezTo>
                  <a:pt x="5840058" y="5260549"/>
                  <a:pt x="5827043" y="5268214"/>
                  <a:pt x="5827043" y="5268214"/>
                </a:cubicBezTo>
                <a:cubicBezTo>
                  <a:pt x="5803009" y="5292886"/>
                  <a:pt x="5779973" y="5322229"/>
                  <a:pt x="5759611" y="5341232"/>
                </a:cubicBezTo>
                <a:cubicBezTo>
                  <a:pt x="5754940" y="5342230"/>
                  <a:pt x="5758613" y="5336560"/>
                  <a:pt x="5750269" y="5343228"/>
                </a:cubicBezTo>
                <a:cubicBezTo>
                  <a:pt x="5754940" y="5342230"/>
                  <a:pt x="5751266" y="5347898"/>
                  <a:pt x="5752265" y="5352569"/>
                </a:cubicBezTo>
                <a:cubicBezTo>
                  <a:pt x="5719885" y="5383909"/>
                  <a:pt x="5685513" y="5405904"/>
                  <a:pt x="5656807" y="5431574"/>
                </a:cubicBezTo>
                <a:cubicBezTo>
                  <a:pt x="5660479" y="5425905"/>
                  <a:pt x="5665151" y="5424908"/>
                  <a:pt x="5668823" y="5419239"/>
                </a:cubicBezTo>
                <a:cubicBezTo>
                  <a:pt x="5688186" y="5395564"/>
                  <a:pt x="5708548" y="5376562"/>
                  <a:pt x="5700204" y="5383229"/>
                </a:cubicBezTo>
                <a:cubicBezTo>
                  <a:pt x="5720565" y="5364226"/>
                  <a:pt x="5743601" y="5334884"/>
                  <a:pt x="5759291" y="5316879"/>
                </a:cubicBezTo>
                <a:cubicBezTo>
                  <a:pt x="5762965" y="5311210"/>
                  <a:pt x="5762965" y="5311210"/>
                  <a:pt x="5767637" y="5310212"/>
                </a:cubicBezTo>
                <a:cubicBezTo>
                  <a:pt x="5764961" y="5320552"/>
                  <a:pt x="5774982" y="5298873"/>
                  <a:pt x="5776978" y="5308215"/>
                </a:cubicBezTo>
                <a:cubicBezTo>
                  <a:pt x="5784325" y="5296878"/>
                  <a:pt x="5791671" y="5285539"/>
                  <a:pt x="5795344" y="5279871"/>
                </a:cubicBezTo>
                <a:cubicBezTo>
                  <a:pt x="5807361" y="5267535"/>
                  <a:pt x="5815704" y="5260867"/>
                  <a:pt x="5823052" y="5249530"/>
                </a:cubicBezTo>
                <a:cubicBezTo>
                  <a:pt x="5843414" y="5230528"/>
                  <a:pt x="5868445" y="5210527"/>
                  <a:pt x="5876789" y="5203859"/>
                </a:cubicBezTo>
                <a:cubicBezTo>
                  <a:pt x="5872119" y="5204858"/>
                  <a:pt x="5875791" y="5199189"/>
                  <a:pt x="5875791" y="5199189"/>
                </a:cubicBezTo>
                <a:cubicBezTo>
                  <a:pt x="5879465" y="5193519"/>
                  <a:pt x="5883139" y="5187851"/>
                  <a:pt x="5891483" y="5181185"/>
                </a:cubicBezTo>
                <a:cubicBezTo>
                  <a:pt x="5891483" y="5181185"/>
                  <a:pt x="5896154" y="5180186"/>
                  <a:pt x="5895155" y="5175515"/>
                </a:cubicBezTo>
                <a:cubicBezTo>
                  <a:pt x="5907171" y="5163179"/>
                  <a:pt x="5919189" y="5150844"/>
                  <a:pt x="5926536" y="5139505"/>
                </a:cubicBezTo>
                <a:cubicBezTo>
                  <a:pt x="5938553" y="5127170"/>
                  <a:pt x="5951567" y="5119504"/>
                  <a:pt x="5942227" y="5121500"/>
                </a:cubicBezTo>
                <a:cubicBezTo>
                  <a:pt x="5953245" y="5104494"/>
                  <a:pt x="5968936" y="5086488"/>
                  <a:pt x="5989296" y="5067486"/>
                </a:cubicBezTo>
                <a:cubicBezTo>
                  <a:pt x="5992970" y="5061817"/>
                  <a:pt x="6000317" y="5050480"/>
                  <a:pt x="6008661" y="5043813"/>
                </a:cubicBezTo>
                <a:cubicBezTo>
                  <a:pt x="6008661" y="5043813"/>
                  <a:pt x="6013332" y="5042815"/>
                  <a:pt x="6013332" y="5042815"/>
                </a:cubicBezTo>
                <a:cubicBezTo>
                  <a:pt x="6012333" y="5038142"/>
                  <a:pt x="6017005" y="5037145"/>
                  <a:pt x="6017005" y="5037145"/>
                </a:cubicBezTo>
                <a:cubicBezTo>
                  <a:pt x="6016007" y="5032475"/>
                  <a:pt x="6016007" y="5032475"/>
                  <a:pt x="6016007" y="5032475"/>
                </a:cubicBezTo>
                <a:cubicBezTo>
                  <a:pt x="6016007" y="5032475"/>
                  <a:pt x="6016007" y="5032475"/>
                  <a:pt x="6020679" y="5031478"/>
                </a:cubicBezTo>
                <a:cubicBezTo>
                  <a:pt x="6047387" y="4996466"/>
                  <a:pt x="6074096" y="4961453"/>
                  <a:pt x="6092463" y="4933109"/>
                </a:cubicBezTo>
                <a:cubicBezTo>
                  <a:pt x="6097135" y="4932111"/>
                  <a:pt x="6101805" y="4931113"/>
                  <a:pt x="6100805" y="4926443"/>
                </a:cubicBezTo>
                <a:cubicBezTo>
                  <a:pt x="6105477" y="4925444"/>
                  <a:pt x="6105477" y="4925444"/>
                  <a:pt x="6105477" y="4925444"/>
                </a:cubicBezTo>
                <a:cubicBezTo>
                  <a:pt x="6105477" y="4925444"/>
                  <a:pt x="6110149" y="4924445"/>
                  <a:pt x="6109151" y="4919775"/>
                </a:cubicBezTo>
                <a:cubicBezTo>
                  <a:pt x="6108152" y="4915104"/>
                  <a:pt x="6108152" y="4915104"/>
                  <a:pt x="6108152" y="4915104"/>
                </a:cubicBezTo>
                <a:cubicBezTo>
                  <a:pt x="6119173" y="4898096"/>
                  <a:pt x="6145882" y="4863086"/>
                  <a:pt x="6132867" y="4870749"/>
                </a:cubicBezTo>
                <a:cubicBezTo>
                  <a:pt x="6132867" y="4870749"/>
                  <a:pt x="6132867" y="4870749"/>
                  <a:pt x="6136541" y="4865082"/>
                </a:cubicBezTo>
                <a:cubicBezTo>
                  <a:pt x="6141211" y="4864083"/>
                  <a:pt x="6139215" y="4854742"/>
                  <a:pt x="6139215" y="4854742"/>
                </a:cubicBezTo>
                <a:lnTo>
                  <a:pt x="6130068" y="4856695"/>
                </a:lnTo>
                <a:lnTo>
                  <a:pt x="6137803" y="4845276"/>
                </a:lnTo>
                <a:lnTo>
                  <a:pt x="6138892" y="4830440"/>
                </a:lnTo>
                <a:lnTo>
                  <a:pt x="6138972" y="4830325"/>
                </a:lnTo>
                <a:lnTo>
                  <a:pt x="6153373" y="4818137"/>
                </a:lnTo>
                <a:cubicBezTo>
                  <a:pt x="6156921" y="4811884"/>
                  <a:pt x="6160097" y="4803880"/>
                  <a:pt x="6165606" y="4795377"/>
                </a:cubicBezTo>
                <a:cubicBezTo>
                  <a:pt x="6165606" y="4795377"/>
                  <a:pt x="6170277" y="4794378"/>
                  <a:pt x="6170277" y="4794378"/>
                </a:cubicBezTo>
                <a:cubicBezTo>
                  <a:pt x="6169280" y="4789708"/>
                  <a:pt x="6173950" y="4788710"/>
                  <a:pt x="6169280" y="4789708"/>
                </a:cubicBezTo>
                <a:cubicBezTo>
                  <a:pt x="6169280" y="4789708"/>
                  <a:pt x="6169280" y="4789708"/>
                  <a:pt x="6168281" y="4785037"/>
                </a:cubicBezTo>
                <a:cubicBezTo>
                  <a:pt x="6171954" y="4779368"/>
                  <a:pt x="6176625" y="4778371"/>
                  <a:pt x="6181297" y="4777372"/>
                </a:cubicBezTo>
                <a:cubicBezTo>
                  <a:pt x="6177623" y="4783041"/>
                  <a:pt x="6177623" y="4783041"/>
                  <a:pt x="6177623" y="4783041"/>
                </a:cubicBezTo>
                <a:cubicBezTo>
                  <a:pt x="6173950" y="4788710"/>
                  <a:pt x="6174949" y="4793381"/>
                  <a:pt x="6174949" y="4793381"/>
                </a:cubicBezTo>
                <a:cubicBezTo>
                  <a:pt x="6179619" y="4792384"/>
                  <a:pt x="6184290" y="4791385"/>
                  <a:pt x="6183293" y="4786714"/>
                </a:cubicBezTo>
                <a:cubicBezTo>
                  <a:pt x="6187964" y="4785716"/>
                  <a:pt x="6187964" y="4785716"/>
                  <a:pt x="6187964" y="4785716"/>
                </a:cubicBezTo>
                <a:cubicBezTo>
                  <a:pt x="6188961" y="4790387"/>
                  <a:pt x="6168599" y="4809391"/>
                  <a:pt x="6174269" y="4813062"/>
                </a:cubicBezTo>
                <a:cubicBezTo>
                  <a:pt x="6206328" y="4757371"/>
                  <a:pt x="6251403" y="4694016"/>
                  <a:pt x="6287136" y="4632654"/>
                </a:cubicBezTo>
                <a:cubicBezTo>
                  <a:pt x="6290809" y="4626985"/>
                  <a:pt x="6293485" y="4616645"/>
                  <a:pt x="6297159" y="4610975"/>
                </a:cubicBezTo>
                <a:cubicBezTo>
                  <a:pt x="6296160" y="4606305"/>
                  <a:pt x="6297159" y="4610975"/>
                  <a:pt x="6300830" y="4605308"/>
                </a:cubicBezTo>
                <a:cubicBezTo>
                  <a:pt x="6329219" y="4555284"/>
                  <a:pt x="6359283" y="4490251"/>
                  <a:pt x="6383677" y="4421545"/>
                </a:cubicBezTo>
                <a:cubicBezTo>
                  <a:pt x="6387351" y="4415875"/>
                  <a:pt x="6392021" y="4414877"/>
                  <a:pt x="6391023" y="4410207"/>
                </a:cubicBezTo>
                <a:cubicBezTo>
                  <a:pt x="6392021" y="4414877"/>
                  <a:pt x="6393019" y="4419549"/>
                  <a:pt x="6384674" y="4426216"/>
                </a:cubicBezTo>
                <a:cubicBezTo>
                  <a:pt x="6389347" y="4425217"/>
                  <a:pt x="6390344" y="4429887"/>
                  <a:pt x="6386671" y="4435557"/>
                </a:cubicBezTo>
                <a:cubicBezTo>
                  <a:pt x="6381003" y="4431885"/>
                  <a:pt x="6380323" y="4451566"/>
                  <a:pt x="6381321" y="4456237"/>
                </a:cubicBezTo>
                <a:cubicBezTo>
                  <a:pt x="6381321" y="4456237"/>
                  <a:pt x="6376649" y="4457235"/>
                  <a:pt x="6377647" y="4461907"/>
                </a:cubicBezTo>
                <a:cubicBezTo>
                  <a:pt x="6377647" y="4461907"/>
                  <a:pt x="6378645" y="4466577"/>
                  <a:pt x="6378645" y="4466577"/>
                </a:cubicBezTo>
                <a:cubicBezTo>
                  <a:pt x="6376968" y="4481587"/>
                  <a:pt x="6365269" y="4518277"/>
                  <a:pt x="6368942" y="4512608"/>
                </a:cubicBezTo>
                <a:cubicBezTo>
                  <a:pt x="6367945" y="4507937"/>
                  <a:pt x="6372616" y="4506940"/>
                  <a:pt x="6371617" y="4502267"/>
                </a:cubicBezTo>
                <a:cubicBezTo>
                  <a:pt x="6372616" y="4506940"/>
                  <a:pt x="6373613" y="4511611"/>
                  <a:pt x="6373613" y="4511611"/>
                </a:cubicBezTo>
                <a:cubicBezTo>
                  <a:pt x="6373613" y="4511611"/>
                  <a:pt x="6378285" y="4510612"/>
                  <a:pt x="6381957" y="4504944"/>
                </a:cubicBezTo>
                <a:cubicBezTo>
                  <a:pt x="6381957" y="4504944"/>
                  <a:pt x="6381957" y="4504944"/>
                  <a:pt x="6382956" y="4509615"/>
                </a:cubicBezTo>
                <a:cubicBezTo>
                  <a:pt x="6382956" y="4509615"/>
                  <a:pt x="6378285" y="4510612"/>
                  <a:pt x="6379282" y="4515282"/>
                </a:cubicBezTo>
                <a:cubicBezTo>
                  <a:pt x="6379282" y="4515282"/>
                  <a:pt x="6379282" y="4515282"/>
                  <a:pt x="6380281" y="4519954"/>
                </a:cubicBezTo>
                <a:cubicBezTo>
                  <a:pt x="6373933" y="4535964"/>
                  <a:pt x="6371258" y="4546302"/>
                  <a:pt x="6372255" y="4550974"/>
                </a:cubicBezTo>
                <a:cubicBezTo>
                  <a:pt x="6373253" y="4555646"/>
                  <a:pt x="6373253" y="4555646"/>
                  <a:pt x="6373253" y="4555646"/>
                </a:cubicBezTo>
                <a:cubicBezTo>
                  <a:pt x="6373253" y="4555646"/>
                  <a:pt x="6373253" y="4555646"/>
                  <a:pt x="6376927" y="4549976"/>
                </a:cubicBezTo>
                <a:cubicBezTo>
                  <a:pt x="6373253" y="4555646"/>
                  <a:pt x="6377924" y="4554648"/>
                  <a:pt x="6381598" y="4548979"/>
                </a:cubicBezTo>
                <a:cubicBezTo>
                  <a:pt x="6365227" y="4586665"/>
                  <a:pt x="6360875" y="4612016"/>
                  <a:pt x="6352849" y="4643036"/>
                </a:cubicBezTo>
                <a:cubicBezTo>
                  <a:pt x="6343827" y="4669385"/>
                  <a:pt x="6334803" y="4695734"/>
                  <a:pt x="6318434" y="4733420"/>
                </a:cubicBezTo>
                <a:cubicBezTo>
                  <a:pt x="6322107" y="4727751"/>
                  <a:pt x="6323104" y="4732422"/>
                  <a:pt x="6319431" y="4738091"/>
                </a:cubicBezTo>
                <a:cubicBezTo>
                  <a:pt x="6319431" y="4738091"/>
                  <a:pt x="6319431" y="4738091"/>
                  <a:pt x="6314760" y="4739090"/>
                </a:cubicBezTo>
                <a:cubicBezTo>
                  <a:pt x="6314760" y="4739090"/>
                  <a:pt x="6315757" y="4743761"/>
                  <a:pt x="6315757" y="4743761"/>
                </a:cubicBezTo>
                <a:cubicBezTo>
                  <a:pt x="6312085" y="4749430"/>
                  <a:pt x="6312085" y="4749430"/>
                  <a:pt x="6312085" y="4749430"/>
                </a:cubicBezTo>
                <a:cubicBezTo>
                  <a:pt x="6305737" y="4765438"/>
                  <a:pt x="6305737" y="4765438"/>
                  <a:pt x="6305737" y="4765438"/>
                </a:cubicBezTo>
                <a:cubicBezTo>
                  <a:pt x="6310409" y="4764441"/>
                  <a:pt x="6306735" y="4770110"/>
                  <a:pt x="6307733" y="4774781"/>
                </a:cubicBezTo>
                <a:cubicBezTo>
                  <a:pt x="6315079" y="4763444"/>
                  <a:pt x="6310409" y="4764441"/>
                  <a:pt x="6313083" y="4754099"/>
                </a:cubicBezTo>
                <a:cubicBezTo>
                  <a:pt x="6313083" y="4754099"/>
                  <a:pt x="6317755" y="4753102"/>
                  <a:pt x="6317755" y="4753102"/>
                </a:cubicBezTo>
                <a:cubicBezTo>
                  <a:pt x="6317755" y="4753102"/>
                  <a:pt x="6317755" y="4753102"/>
                  <a:pt x="6318753" y="4757773"/>
                </a:cubicBezTo>
                <a:cubicBezTo>
                  <a:pt x="6323424" y="4756776"/>
                  <a:pt x="6322425" y="4752103"/>
                  <a:pt x="6322425" y="4752103"/>
                </a:cubicBezTo>
                <a:cubicBezTo>
                  <a:pt x="6322425" y="4752103"/>
                  <a:pt x="6321427" y="4747433"/>
                  <a:pt x="6321427" y="4747433"/>
                </a:cubicBezTo>
                <a:cubicBezTo>
                  <a:pt x="6325101" y="4741765"/>
                  <a:pt x="6325101" y="4741765"/>
                  <a:pt x="6325101" y="4741765"/>
                </a:cubicBezTo>
                <a:cubicBezTo>
                  <a:pt x="6328773" y="4736096"/>
                  <a:pt x="6325779" y="4722082"/>
                  <a:pt x="6331449" y="4725756"/>
                </a:cubicBezTo>
                <a:cubicBezTo>
                  <a:pt x="6339792" y="4719089"/>
                  <a:pt x="6325779" y="4722082"/>
                  <a:pt x="6329453" y="4716413"/>
                </a:cubicBezTo>
                <a:cubicBezTo>
                  <a:pt x="6333126" y="4710745"/>
                  <a:pt x="6334123" y="4715415"/>
                  <a:pt x="6338795" y="4714417"/>
                </a:cubicBezTo>
                <a:cubicBezTo>
                  <a:pt x="6341470" y="4704079"/>
                  <a:pt x="6345823" y="4678727"/>
                  <a:pt x="6345823" y="4678727"/>
                </a:cubicBezTo>
                <a:cubicBezTo>
                  <a:pt x="6351173" y="4658048"/>
                  <a:pt x="6368540" y="4625031"/>
                  <a:pt x="6371215" y="4614691"/>
                </a:cubicBezTo>
                <a:cubicBezTo>
                  <a:pt x="6374889" y="4609023"/>
                  <a:pt x="6371215" y="4614691"/>
                  <a:pt x="6366544" y="4615689"/>
                </a:cubicBezTo>
                <a:cubicBezTo>
                  <a:pt x="6371215" y="4614691"/>
                  <a:pt x="6373891" y="4604351"/>
                  <a:pt x="6373891" y="4604351"/>
                </a:cubicBezTo>
                <a:cubicBezTo>
                  <a:pt x="6373891" y="4604351"/>
                  <a:pt x="6371895" y="4595009"/>
                  <a:pt x="6371895" y="4595009"/>
                </a:cubicBezTo>
                <a:cubicBezTo>
                  <a:pt x="6375569" y="4589342"/>
                  <a:pt x="6377565" y="4598681"/>
                  <a:pt x="6376566" y="4594011"/>
                </a:cubicBezTo>
                <a:cubicBezTo>
                  <a:pt x="6384909" y="4587344"/>
                  <a:pt x="6373573" y="4579997"/>
                  <a:pt x="6383911" y="4582674"/>
                </a:cubicBezTo>
                <a:cubicBezTo>
                  <a:pt x="6384591" y="4562991"/>
                  <a:pt x="6390621" y="4522630"/>
                  <a:pt x="6402637" y="4510294"/>
                </a:cubicBezTo>
                <a:cubicBezTo>
                  <a:pt x="6403635" y="4514964"/>
                  <a:pt x="6398965" y="4515963"/>
                  <a:pt x="6393296" y="4512289"/>
                </a:cubicBezTo>
                <a:cubicBezTo>
                  <a:pt x="6409665" y="4474603"/>
                  <a:pt x="6426715" y="4417234"/>
                  <a:pt x="6427395" y="4397552"/>
                </a:cubicBezTo>
                <a:cubicBezTo>
                  <a:pt x="6430069" y="4387213"/>
                  <a:pt x="6456460" y="4327847"/>
                  <a:pt x="6451471" y="4304493"/>
                </a:cubicBezTo>
                <a:cubicBezTo>
                  <a:pt x="6454145" y="4294152"/>
                  <a:pt x="6451471" y="4304493"/>
                  <a:pt x="6456141" y="4303494"/>
                </a:cubicBezTo>
                <a:cubicBezTo>
                  <a:pt x="6453148" y="4289482"/>
                  <a:pt x="6465844" y="4257463"/>
                  <a:pt x="6472191" y="4241454"/>
                </a:cubicBezTo>
                <a:cubicBezTo>
                  <a:pt x="6472191" y="4241454"/>
                  <a:pt x="6469517" y="4251796"/>
                  <a:pt x="6475185" y="4255467"/>
                </a:cubicBezTo>
                <a:cubicBezTo>
                  <a:pt x="6477543" y="4220774"/>
                  <a:pt x="6474867" y="4231114"/>
                  <a:pt x="6466523" y="4237782"/>
                </a:cubicBezTo>
                <a:cubicBezTo>
                  <a:pt x="6477223" y="4196422"/>
                  <a:pt x="6476227" y="4191750"/>
                  <a:pt x="6490918" y="4169076"/>
                </a:cubicBezTo>
                <a:cubicBezTo>
                  <a:pt x="6490918" y="4169076"/>
                  <a:pt x="6494591" y="4163407"/>
                  <a:pt x="6494591" y="4163407"/>
                </a:cubicBezTo>
                <a:cubicBezTo>
                  <a:pt x="6494591" y="4163407"/>
                  <a:pt x="6494591" y="4163407"/>
                  <a:pt x="6493593" y="4158734"/>
                </a:cubicBezTo>
                <a:cubicBezTo>
                  <a:pt x="6493593" y="4158734"/>
                  <a:pt x="6488922" y="4159733"/>
                  <a:pt x="6488922" y="4159733"/>
                </a:cubicBezTo>
                <a:cubicBezTo>
                  <a:pt x="6488922" y="4159733"/>
                  <a:pt x="6487925" y="4155062"/>
                  <a:pt x="6491597" y="4149395"/>
                </a:cubicBezTo>
                <a:cubicBezTo>
                  <a:pt x="6491597" y="4149395"/>
                  <a:pt x="6491597" y="4149395"/>
                  <a:pt x="6492596" y="4154064"/>
                </a:cubicBezTo>
                <a:cubicBezTo>
                  <a:pt x="6492596" y="4154064"/>
                  <a:pt x="6492596" y="4154064"/>
                  <a:pt x="6497267" y="4153066"/>
                </a:cubicBezTo>
                <a:cubicBezTo>
                  <a:pt x="6496270" y="4148396"/>
                  <a:pt x="6496270" y="4148396"/>
                  <a:pt x="6495271" y="4143724"/>
                </a:cubicBezTo>
                <a:cubicBezTo>
                  <a:pt x="6498943" y="4138054"/>
                  <a:pt x="6498943" y="4138054"/>
                  <a:pt x="6498943" y="4138054"/>
                </a:cubicBezTo>
                <a:cubicBezTo>
                  <a:pt x="6502617" y="4132387"/>
                  <a:pt x="6506969" y="4107034"/>
                  <a:pt x="6495950" y="4124042"/>
                </a:cubicBezTo>
                <a:cubicBezTo>
                  <a:pt x="6499623" y="4118375"/>
                  <a:pt x="6499623" y="4118375"/>
                  <a:pt x="6498625" y="4113702"/>
                </a:cubicBezTo>
                <a:cubicBezTo>
                  <a:pt x="6498625" y="4113702"/>
                  <a:pt x="6493954" y="4114701"/>
                  <a:pt x="6494951" y="4119372"/>
                </a:cubicBezTo>
                <a:cubicBezTo>
                  <a:pt x="6494951" y="4119372"/>
                  <a:pt x="6490281" y="4120369"/>
                  <a:pt x="6491279" y="4125039"/>
                </a:cubicBezTo>
                <a:cubicBezTo>
                  <a:pt x="6490281" y="4120369"/>
                  <a:pt x="6489284" y="4115698"/>
                  <a:pt x="6489284" y="4115698"/>
                </a:cubicBezTo>
                <a:cubicBezTo>
                  <a:pt x="6492955" y="4110029"/>
                  <a:pt x="6495632" y="4099689"/>
                  <a:pt x="6497309" y="4084679"/>
                </a:cubicBezTo>
                <a:cubicBezTo>
                  <a:pt x="6502659" y="4063998"/>
                  <a:pt x="6508009" y="4043318"/>
                  <a:pt x="6509686" y="4028308"/>
                </a:cubicBezTo>
                <a:cubicBezTo>
                  <a:pt x="6508689" y="4023635"/>
                  <a:pt x="6513359" y="4022638"/>
                  <a:pt x="6513359" y="4022638"/>
                </a:cubicBezTo>
                <a:cubicBezTo>
                  <a:pt x="6513359" y="4022638"/>
                  <a:pt x="6512361" y="4017968"/>
                  <a:pt x="6512361" y="4017968"/>
                </a:cubicBezTo>
                <a:cubicBezTo>
                  <a:pt x="6510365" y="4008625"/>
                  <a:pt x="6513040" y="3998285"/>
                  <a:pt x="6516714" y="3992617"/>
                </a:cubicBezTo>
                <a:cubicBezTo>
                  <a:pt x="6515717" y="3987947"/>
                  <a:pt x="6518391" y="3977605"/>
                  <a:pt x="6517393" y="3972936"/>
                </a:cubicBezTo>
                <a:cubicBezTo>
                  <a:pt x="6520069" y="3962596"/>
                  <a:pt x="6526416" y="3946585"/>
                  <a:pt x="6529091" y="3936247"/>
                </a:cubicBezTo>
                <a:lnTo>
                  <a:pt x="6530564" y="3935932"/>
                </a:lnTo>
                <a:lnTo>
                  <a:pt x="6530564" y="4704434"/>
                </a:lnTo>
                <a:lnTo>
                  <a:pt x="6484646" y="4808415"/>
                </a:lnTo>
                <a:cubicBezTo>
                  <a:pt x="6268425" y="5225199"/>
                  <a:pt x="5948779" y="5586542"/>
                  <a:pt x="5551795" y="5854513"/>
                </a:cubicBezTo>
                <a:cubicBezTo>
                  <a:pt x="5551795" y="5854513"/>
                  <a:pt x="5551795" y="5854513"/>
                  <a:pt x="5547125" y="5855512"/>
                </a:cubicBezTo>
                <a:cubicBezTo>
                  <a:pt x="5547125" y="5855512"/>
                  <a:pt x="5542455" y="5856509"/>
                  <a:pt x="5542455" y="5856509"/>
                </a:cubicBezTo>
                <a:cubicBezTo>
                  <a:pt x="5550799" y="5849843"/>
                  <a:pt x="5545129" y="5846171"/>
                  <a:pt x="5536785" y="5852838"/>
                </a:cubicBezTo>
                <a:cubicBezTo>
                  <a:pt x="5545129" y="5846171"/>
                  <a:pt x="5545129" y="5846171"/>
                  <a:pt x="5545129" y="5846171"/>
                </a:cubicBezTo>
                <a:cubicBezTo>
                  <a:pt x="5548802" y="5840501"/>
                  <a:pt x="5548802" y="5840501"/>
                  <a:pt x="5543133" y="5836827"/>
                </a:cubicBezTo>
                <a:cubicBezTo>
                  <a:pt x="5543133" y="5836827"/>
                  <a:pt x="5538462" y="5837825"/>
                  <a:pt x="5534788" y="5843494"/>
                </a:cubicBezTo>
                <a:cubicBezTo>
                  <a:pt x="5531117" y="5849164"/>
                  <a:pt x="5531117" y="5849164"/>
                  <a:pt x="5531117" y="5849164"/>
                </a:cubicBezTo>
                <a:cubicBezTo>
                  <a:pt x="5526445" y="5850162"/>
                  <a:pt x="5526445" y="5850162"/>
                  <a:pt x="5526445" y="5850162"/>
                </a:cubicBezTo>
                <a:cubicBezTo>
                  <a:pt x="5524449" y="5840819"/>
                  <a:pt x="5519777" y="5841818"/>
                  <a:pt x="5511435" y="5848485"/>
                </a:cubicBezTo>
                <a:cubicBezTo>
                  <a:pt x="5504088" y="5859824"/>
                  <a:pt x="5512432" y="5853156"/>
                  <a:pt x="5509757" y="5863495"/>
                </a:cubicBezTo>
                <a:cubicBezTo>
                  <a:pt x="5518102" y="5856829"/>
                  <a:pt x="5518102" y="5856829"/>
                  <a:pt x="5518102" y="5856829"/>
                </a:cubicBezTo>
                <a:cubicBezTo>
                  <a:pt x="5514428" y="5862498"/>
                  <a:pt x="5509757" y="5863495"/>
                  <a:pt x="5515425" y="5867169"/>
                </a:cubicBezTo>
                <a:cubicBezTo>
                  <a:pt x="5520097" y="5866172"/>
                  <a:pt x="5524768" y="5865173"/>
                  <a:pt x="5528441" y="5859504"/>
                </a:cubicBezTo>
                <a:cubicBezTo>
                  <a:pt x="5532115" y="5853836"/>
                  <a:pt x="5532115" y="5853836"/>
                  <a:pt x="5532115" y="5853836"/>
                </a:cubicBezTo>
                <a:cubicBezTo>
                  <a:pt x="5533112" y="5858505"/>
                  <a:pt x="5528441" y="5859504"/>
                  <a:pt x="5529439" y="5864176"/>
                </a:cubicBezTo>
                <a:cubicBezTo>
                  <a:pt x="5524768" y="5865173"/>
                  <a:pt x="5524768" y="5865173"/>
                  <a:pt x="5524768" y="5865173"/>
                </a:cubicBezTo>
                <a:cubicBezTo>
                  <a:pt x="5521095" y="5870842"/>
                  <a:pt x="5521095" y="5870842"/>
                  <a:pt x="5521095" y="5870842"/>
                </a:cubicBezTo>
                <a:cubicBezTo>
                  <a:pt x="5522093" y="5875511"/>
                  <a:pt x="5522093" y="5875511"/>
                  <a:pt x="5522093" y="5875511"/>
                </a:cubicBezTo>
                <a:lnTo>
                  <a:pt x="5336527" y="5986393"/>
                </a:lnTo>
                <a:lnTo>
                  <a:pt x="5474406" y="5921652"/>
                </a:lnTo>
                <a:cubicBezTo>
                  <a:pt x="5567705" y="5872762"/>
                  <a:pt x="5657473" y="5820388"/>
                  <a:pt x="5743583" y="5764408"/>
                </a:cubicBezTo>
                <a:lnTo>
                  <a:pt x="5973095" y="5598350"/>
                </a:lnTo>
                <a:lnTo>
                  <a:pt x="5987645" y="5585565"/>
                </a:lnTo>
                <a:cubicBezTo>
                  <a:pt x="6143280" y="5433873"/>
                  <a:pt x="6280077" y="5265447"/>
                  <a:pt x="6396010" y="5084383"/>
                </a:cubicBezTo>
                <a:lnTo>
                  <a:pt x="6530564" y="4845456"/>
                </a:lnTo>
                <a:lnTo>
                  <a:pt x="6530564" y="6858000"/>
                </a:lnTo>
                <a:lnTo>
                  <a:pt x="1733020" y="6858000"/>
                </a:lnTo>
                <a:lnTo>
                  <a:pt x="1622264" y="6769480"/>
                </a:lnTo>
                <a:cubicBezTo>
                  <a:pt x="1563232" y="6720248"/>
                  <a:pt x="1504873" y="6670133"/>
                  <a:pt x="1446345" y="6620355"/>
                </a:cubicBezTo>
                <a:cubicBezTo>
                  <a:pt x="1298344" y="6493891"/>
                  <a:pt x="1150344" y="6370116"/>
                  <a:pt x="1021180" y="6222127"/>
                </a:cubicBezTo>
                <a:cubicBezTo>
                  <a:pt x="1013107" y="6211364"/>
                  <a:pt x="1002343" y="6200600"/>
                  <a:pt x="994270" y="6189838"/>
                </a:cubicBezTo>
                <a:cubicBezTo>
                  <a:pt x="978124" y="6171003"/>
                  <a:pt x="986197" y="6152168"/>
                  <a:pt x="1002343" y="6138714"/>
                </a:cubicBezTo>
                <a:cubicBezTo>
                  <a:pt x="1021180" y="6125260"/>
                  <a:pt x="1029252" y="6141405"/>
                  <a:pt x="1040015" y="6154859"/>
                </a:cubicBezTo>
                <a:cubicBezTo>
                  <a:pt x="1104598" y="6232889"/>
                  <a:pt x="1174562" y="6308230"/>
                  <a:pt x="1255290" y="6372807"/>
                </a:cubicBezTo>
                <a:cubicBezTo>
                  <a:pt x="1268744" y="6383571"/>
                  <a:pt x="1282199" y="6397023"/>
                  <a:pt x="1301035" y="6399714"/>
                </a:cubicBezTo>
                <a:cubicBezTo>
                  <a:pt x="1303727" y="6399714"/>
                  <a:pt x="1311799" y="6402405"/>
                  <a:pt x="1311799" y="6399714"/>
                </a:cubicBezTo>
                <a:cubicBezTo>
                  <a:pt x="1317181" y="6394332"/>
                  <a:pt x="1311799" y="6391643"/>
                  <a:pt x="1306417" y="6391643"/>
                </a:cubicBezTo>
                <a:cubicBezTo>
                  <a:pt x="1179943" y="6249034"/>
                  <a:pt x="1045399" y="6114498"/>
                  <a:pt x="924306" y="5969198"/>
                </a:cubicBezTo>
                <a:cubicBezTo>
                  <a:pt x="886633" y="5923455"/>
                  <a:pt x="851652" y="5877714"/>
                  <a:pt x="811288" y="5831971"/>
                </a:cubicBezTo>
                <a:cubicBezTo>
                  <a:pt x="803214" y="5821207"/>
                  <a:pt x="797832" y="5805064"/>
                  <a:pt x="770924" y="5805064"/>
                </a:cubicBezTo>
                <a:cubicBezTo>
                  <a:pt x="819360" y="5893857"/>
                  <a:pt x="908161" y="5955744"/>
                  <a:pt x="894705" y="6068755"/>
                </a:cubicBezTo>
                <a:cubicBezTo>
                  <a:pt x="620231" y="5756630"/>
                  <a:pt x="413030" y="5409527"/>
                  <a:pt x="267721" y="5019370"/>
                </a:cubicBezTo>
                <a:cubicBezTo>
                  <a:pt x="305392" y="5027443"/>
                  <a:pt x="313466" y="5059732"/>
                  <a:pt x="326921" y="5086639"/>
                </a:cubicBezTo>
                <a:cubicBezTo>
                  <a:pt x="340375" y="5116237"/>
                  <a:pt x="353829" y="5143144"/>
                  <a:pt x="375357" y="5167361"/>
                </a:cubicBezTo>
                <a:cubicBezTo>
                  <a:pt x="407649" y="5245391"/>
                  <a:pt x="445320" y="5320732"/>
                  <a:pt x="493757" y="5385309"/>
                </a:cubicBezTo>
                <a:cubicBezTo>
                  <a:pt x="499140" y="5382619"/>
                  <a:pt x="504522" y="5379928"/>
                  <a:pt x="509903" y="5377237"/>
                </a:cubicBezTo>
                <a:cubicBezTo>
                  <a:pt x="469539" y="5304588"/>
                  <a:pt x="429175" y="5231938"/>
                  <a:pt x="386121" y="5159289"/>
                </a:cubicBezTo>
                <a:cubicBezTo>
                  <a:pt x="270411" y="4863307"/>
                  <a:pt x="154701" y="4567327"/>
                  <a:pt x="87429" y="4255203"/>
                </a:cubicBezTo>
                <a:cubicBezTo>
                  <a:pt x="-47118" y="3606738"/>
                  <a:pt x="-25592" y="2966343"/>
                  <a:pt x="146628" y="2328641"/>
                </a:cubicBezTo>
                <a:cubicBezTo>
                  <a:pt x="178920" y="2207559"/>
                  <a:pt x="197757" y="2086475"/>
                  <a:pt x="251574" y="1973465"/>
                </a:cubicBezTo>
                <a:cubicBezTo>
                  <a:pt x="256956" y="1962702"/>
                  <a:pt x="256956" y="1949248"/>
                  <a:pt x="273102" y="1946557"/>
                </a:cubicBezTo>
                <a:cubicBezTo>
                  <a:pt x="286557" y="1949248"/>
                  <a:pt x="283866" y="1960011"/>
                  <a:pt x="281175" y="1965393"/>
                </a:cubicBezTo>
                <a:cubicBezTo>
                  <a:pt x="152011" y="2344786"/>
                  <a:pt x="103574" y="2737632"/>
                  <a:pt x="65900" y="3133169"/>
                </a:cubicBezTo>
                <a:cubicBezTo>
                  <a:pt x="44375" y="3340355"/>
                  <a:pt x="65900" y="3547541"/>
                  <a:pt x="76665" y="3754727"/>
                </a:cubicBezTo>
                <a:cubicBezTo>
                  <a:pt x="79356" y="3778943"/>
                  <a:pt x="79356" y="3805852"/>
                  <a:pt x="79356" y="3830068"/>
                </a:cubicBezTo>
                <a:cubicBezTo>
                  <a:pt x="82047" y="3843522"/>
                  <a:pt x="71283" y="3862357"/>
                  <a:pt x="95501" y="3862357"/>
                </a:cubicBezTo>
                <a:cubicBezTo>
                  <a:pt x="119719" y="3862357"/>
                  <a:pt x="117029" y="3846212"/>
                  <a:pt x="117029" y="3827377"/>
                </a:cubicBezTo>
                <a:cubicBezTo>
                  <a:pt x="106264" y="3730511"/>
                  <a:pt x="98192" y="3630954"/>
                  <a:pt x="95501" y="3534088"/>
                </a:cubicBezTo>
                <a:cubicBezTo>
                  <a:pt x="79356" y="2724179"/>
                  <a:pt x="256956" y="1968083"/>
                  <a:pt x="711722" y="1290020"/>
                </a:cubicBezTo>
                <a:cubicBezTo>
                  <a:pt x="714413" y="1284638"/>
                  <a:pt x="717104" y="1276565"/>
                  <a:pt x="722486" y="1273875"/>
                </a:cubicBezTo>
                <a:cubicBezTo>
                  <a:pt x="725177" y="1271184"/>
                  <a:pt x="730558" y="1271184"/>
                  <a:pt x="741323" y="1268493"/>
                </a:cubicBezTo>
                <a:cubicBezTo>
                  <a:pt x="717104" y="1319618"/>
                  <a:pt x="698268" y="1365360"/>
                  <a:pt x="671359" y="1411102"/>
                </a:cubicBezTo>
                <a:cubicBezTo>
                  <a:pt x="472230" y="1752825"/>
                  <a:pt x="356520" y="2129527"/>
                  <a:pt x="238121" y="2506229"/>
                </a:cubicBezTo>
                <a:cubicBezTo>
                  <a:pt x="224666" y="2549281"/>
                  <a:pt x="224666" y="2595023"/>
                  <a:pt x="219284" y="2638075"/>
                </a:cubicBezTo>
                <a:cubicBezTo>
                  <a:pt x="219284" y="2648838"/>
                  <a:pt x="211210" y="2664982"/>
                  <a:pt x="230049" y="2667673"/>
                </a:cubicBezTo>
                <a:cubicBezTo>
                  <a:pt x="243502" y="2670363"/>
                  <a:pt x="251574" y="2659600"/>
                  <a:pt x="259647" y="2648838"/>
                </a:cubicBezTo>
                <a:cubicBezTo>
                  <a:pt x="267721" y="2635384"/>
                  <a:pt x="278485" y="2619240"/>
                  <a:pt x="289247" y="2608477"/>
                </a:cubicBezTo>
                <a:cubicBezTo>
                  <a:pt x="251574" y="2915220"/>
                  <a:pt x="216594" y="3219272"/>
                  <a:pt x="240811" y="3528707"/>
                </a:cubicBezTo>
                <a:cubicBezTo>
                  <a:pt x="238121" y="3577139"/>
                  <a:pt x="243502" y="3625573"/>
                  <a:pt x="256956" y="3674006"/>
                </a:cubicBezTo>
                <a:cubicBezTo>
                  <a:pt x="256956" y="3625573"/>
                  <a:pt x="265030" y="3577139"/>
                  <a:pt x="251574" y="3528707"/>
                </a:cubicBezTo>
                <a:cubicBezTo>
                  <a:pt x="248883" y="3273087"/>
                  <a:pt x="262337" y="3017468"/>
                  <a:pt x="302703" y="2764539"/>
                </a:cubicBezTo>
                <a:cubicBezTo>
                  <a:pt x="378048" y="2285589"/>
                  <a:pt x="542194" y="1841620"/>
                  <a:pt x="789760" y="1427247"/>
                </a:cubicBezTo>
                <a:cubicBezTo>
                  <a:pt x="795141" y="1419174"/>
                  <a:pt x="800523" y="1416484"/>
                  <a:pt x="811288" y="1411102"/>
                </a:cubicBezTo>
                <a:cubicBezTo>
                  <a:pt x="512594" y="1994990"/>
                  <a:pt x="308084" y="2603095"/>
                  <a:pt x="329611" y="3267706"/>
                </a:cubicBezTo>
                <a:cubicBezTo>
                  <a:pt x="351139" y="3184293"/>
                  <a:pt x="348447" y="3100880"/>
                  <a:pt x="353829" y="3017468"/>
                </a:cubicBezTo>
                <a:cubicBezTo>
                  <a:pt x="372667" y="2799518"/>
                  <a:pt x="410340" y="2584261"/>
                  <a:pt x="480303" y="2377074"/>
                </a:cubicBezTo>
                <a:cubicBezTo>
                  <a:pt x="504522" y="2301734"/>
                  <a:pt x="509903" y="2221011"/>
                  <a:pt x="536812" y="2148363"/>
                </a:cubicBezTo>
                <a:cubicBezTo>
                  <a:pt x="542194" y="2132218"/>
                  <a:pt x="542194" y="2091856"/>
                  <a:pt x="579867" y="2126836"/>
                </a:cubicBezTo>
                <a:cubicBezTo>
                  <a:pt x="596013" y="2140290"/>
                  <a:pt x="598704" y="2118763"/>
                  <a:pt x="604086" y="2108002"/>
                </a:cubicBezTo>
                <a:cubicBezTo>
                  <a:pt x="674049" y="1900815"/>
                  <a:pt x="778996" y="1709773"/>
                  <a:pt x="878561" y="1516040"/>
                </a:cubicBezTo>
                <a:cubicBezTo>
                  <a:pt x="886633" y="1499897"/>
                  <a:pt x="886633" y="1472988"/>
                  <a:pt x="916234" y="1486443"/>
                </a:cubicBezTo>
                <a:cubicBezTo>
                  <a:pt x="943142" y="1499897"/>
                  <a:pt x="929688" y="1521422"/>
                  <a:pt x="921615" y="1537567"/>
                </a:cubicBezTo>
                <a:cubicBezTo>
                  <a:pt x="883942" y="1607525"/>
                  <a:pt x="840887" y="1672104"/>
                  <a:pt x="813979" y="1747443"/>
                </a:cubicBezTo>
                <a:cubicBezTo>
                  <a:pt x="811288" y="1752825"/>
                  <a:pt x="803214" y="1758206"/>
                  <a:pt x="811288" y="1763588"/>
                </a:cubicBezTo>
                <a:cubicBezTo>
                  <a:pt x="819360" y="1771660"/>
                  <a:pt x="819360" y="1760897"/>
                  <a:pt x="822051" y="1755515"/>
                </a:cubicBezTo>
                <a:cubicBezTo>
                  <a:pt x="867797" y="1739372"/>
                  <a:pt x="892015" y="1701701"/>
                  <a:pt x="916234" y="1664031"/>
                </a:cubicBezTo>
                <a:cubicBezTo>
                  <a:pt x="1056161" y="1413793"/>
                  <a:pt x="1214926" y="1174318"/>
                  <a:pt x="1408672" y="961751"/>
                </a:cubicBezTo>
                <a:cubicBezTo>
                  <a:pt x="1543218" y="819142"/>
                  <a:pt x="1688528" y="687297"/>
                  <a:pt x="1849984" y="576976"/>
                </a:cubicBezTo>
                <a:cubicBezTo>
                  <a:pt x="1858057" y="571595"/>
                  <a:pt x="1868820" y="566213"/>
                  <a:pt x="1876892" y="560831"/>
                </a:cubicBezTo>
                <a:close/>
                <a:moveTo>
                  <a:pt x="3989439" y="394434"/>
                </a:moveTo>
                <a:lnTo>
                  <a:pt x="4081738" y="396538"/>
                </a:lnTo>
                <a:lnTo>
                  <a:pt x="4080500" y="396329"/>
                </a:lnTo>
                <a:lnTo>
                  <a:pt x="4071877" y="395619"/>
                </a:lnTo>
                <a:close/>
                <a:moveTo>
                  <a:pt x="3502109" y="0"/>
                </a:moveTo>
                <a:lnTo>
                  <a:pt x="4589616" y="0"/>
                </a:lnTo>
                <a:lnTo>
                  <a:pt x="4634080" y="6163"/>
                </a:lnTo>
                <a:cubicBezTo>
                  <a:pt x="4763917" y="27562"/>
                  <a:pt x="4893418" y="55647"/>
                  <a:pt x="5022582" y="89954"/>
                </a:cubicBezTo>
                <a:cubicBezTo>
                  <a:pt x="5157129" y="127624"/>
                  <a:pt x="5286293" y="173367"/>
                  <a:pt x="5418149" y="216418"/>
                </a:cubicBezTo>
                <a:cubicBezTo>
                  <a:pt x="5455822" y="227181"/>
                  <a:pt x="5488112" y="248706"/>
                  <a:pt x="5515022" y="278306"/>
                </a:cubicBezTo>
                <a:cubicBezTo>
                  <a:pt x="5560767" y="324047"/>
                  <a:pt x="5614586" y="348265"/>
                  <a:pt x="5679169" y="353645"/>
                </a:cubicBezTo>
                <a:cubicBezTo>
                  <a:pt x="5778733" y="361717"/>
                  <a:pt x="5859459" y="402079"/>
                  <a:pt x="5910587" y="496254"/>
                </a:cubicBezTo>
                <a:cubicBezTo>
                  <a:pt x="5915970" y="509708"/>
                  <a:pt x="5926733" y="523161"/>
                  <a:pt x="5940187" y="531233"/>
                </a:cubicBezTo>
                <a:cubicBezTo>
                  <a:pt x="6074734" y="622718"/>
                  <a:pt x="6185061" y="741111"/>
                  <a:pt x="6314226" y="835286"/>
                </a:cubicBezTo>
                <a:cubicBezTo>
                  <a:pt x="6341136" y="854122"/>
                  <a:pt x="6362663" y="872956"/>
                  <a:pt x="6400336" y="878338"/>
                </a:cubicBezTo>
                <a:cubicBezTo>
                  <a:pt x="6386881" y="837977"/>
                  <a:pt x="6357281" y="813761"/>
                  <a:pt x="6330373" y="786854"/>
                </a:cubicBezTo>
                <a:cubicBezTo>
                  <a:pt x="6265789" y="730347"/>
                  <a:pt x="6209281" y="684606"/>
                  <a:pt x="6136625" y="638863"/>
                </a:cubicBezTo>
                <a:cubicBezTo>
                  <a:pt x="6120479" y="628100"/>
                  <a:pt x="6125861" y="633481"/>
                  <a:pt x="6096262" y="593120"/>
                </a:cubicBezTo>
                <a:cubicBezTo>
                  <a:pt x="6107025" y="579667"/>
                  <a:pt x="6088188" y="566213"/>
                  <a:pt x="6077425" y="555450"/>
                </a:cubicBezTo>
                <a:cubicBezTo>
                  <a:pt x="5985933" y="477420"/>
                  <a:pt x="5894442" y="399388"/>
                  <a:pt x="5800259" y="321356"/>
                </a:cubicBezTo>
                <a:cubicBezTo>
                  <a:pt x="5730296" y="262161"/>
                  <a:pt x="5649568" y="224490"/>
                  <a:pt x="5560767" y="197583"/>
                </a:cubicBezTo>
                <a:cubicBezTo>
                  <a:pt x="5367021" y="146459"/>
                  <a:pt x="5184038" y="68429"/>
                  <a:pt x="4990292" y="25376"/>
                </a:cubicBezTo>
                <a:lnTo>
                  <a:pt x="4858639" y="0"/>
                </a:lnTo>
                <a:lnTo>
                  <a:pt x="5574004" y="0"/>
                </a:lnTo>
                <a:lnTo>
                  <a:pt x="5574348" y="150"/>
                </a:lnTo>
                <a:cubicBezTo>
                  <a:pt x="5595749" y="7886"/>
                  <a:pt x="5617949" y="13940"/>
                  <a:pt x="5641495" y="17304"/>
                </a:cubicBezTo>
                <a:cubicBezTo>
                  <a:pt x="5659658" y="19322"/>
                  <a:pt x="5680850" y="27395"/>
                  <a:pt x="5693716" y="15413"/>
                </a:cubicBezTo>
                <a:lnTo>
                  <a:pt x="5701308" y="0"/>
                </a:lnTo>
                <a:lnTo>
                  <a:pt x="5893094" y="0"/>
                </a:lnTo>
                <a:lnTo>
                  <a:pt x="5928120" y="15497"/>
                </a:lnTo>
                <a:cubicBezTo>
                  <a:pt x="5964574" y="32440"/>
                  <a:pt x="6000734" y="49593"/>
                  <a:pt x="6037061" y="65738"/>
                </a:cubicBezTo>
                <a:cubicBezTo>
                  <a:pt x="6123171" y="111479"/>
                  <a:pt x="6195826" y="176056"/>
                  <a:pt x="6287317" y="211037"/>
                </a:cubicBezTo>
                <a:cubicBezTo>
                  <a:pt x="6217353" y="143769"/>
                  <a:pt x="6133934" y="103408"/>
                  <a:pt x="6050517" y="54974"/>
                </a:cubicBezTo>
                <a:cubicBezTo>
                  <a:pt x="6022935" y="36139"/>
                  <a:pt x="5994343" y="18986"/>
                  <a:pt x="5964995" y="3094"/>
                </a:cubicBezTo>
                <a:lnTo>
                  <a:pt x="5958708" y="0"/>
                </a:lnTo>
                <a:lnTo>
                  <a:pt x="6034737" y="0"/>
                </a:lnTo>
                <a:lnTo>
                  <a:pt x="6100298" y="33785"/>
                </a:lnTo>
                <a:cubicBezTo>
                  <a:pt x="6179007" y="78518"/>
                  <a:pt x="6256371" y="126279"/>
                  <a:pt x="6333063" y="176056"/>
                </a:cubicBezTo>
                <a:cubicBezTo>
                  <a:pt x="6335754" y="178747"/>
                  <a:pt x="6341136" y="178747"/>
                  <a:pt x="6349209" y="178747"/>
                </a:cubicBezTo>
                <a:cubicBezTo>
                  <a:pt x="6362663" y="143769"/>
                  <a:pt x="6354590" y="122243"/>
                  <a:pt x="6319607" y="100717"/>
                </a:cubicBezTo>
                <a:lnTo>
                  <a:pt x="6159296" y="0"/>
                </a:lnTo>
                <a:lnTo>
                  <a:pt x="6494412" y="0"/>
                </a:lnTo>
                <a:lnTo>
                  <a:pt x="6530564" y="24963"/>
                </a:lnTo>
                <a:lnTo>
                  <a:pt x="6530564" y="2283869"/>
                </a:lnTo>
                <a:lnTo>
                  <a:pt x="6452592" y="2135053"/>
                </a:lnTo>
                <a:cubicBezTo>
                  <a:pt x="6368738" y="1991179"/>
                  <a:pt x="6272827" y="1856596"/>
                  <a:pt x="6165817" y="1732932"/>
                </a:cubicBezTo>
                <a:cubicBezTo>
                  <a:pt x="6052481" y="1591083"/>
                  <a:pt x="5916785" y="1458895"/>
                  <a:pt x="5773745" y="1338044"/>
                </a:cubicBezTo>
                <a:cubicBezTo>
                  <a:pt x="5779413" y="1341717"/>
                  <a:pt x="5779413" y="1341717"/>
                  <a:pt x="5784085" y="1340719"/>
                </a:cubicBezTo>
                <a:cubicBezTo>
                  <a:pt x="5771750" y="1328702"/>
                  <a:pt x="5742407" y="1305666"/>
                  <a:pt x="5718731" y="1286303"/>
                </a:cubicBezTo>
                <a:cubicBezTo>
                  <a:pt x="5701725" y="1275284"/>
                  <a:pt x="5689388" y="1263266"/>
                  <a:pt x="5679049" y="1260591"/>
                </a:cubicBezTo>
                <a:cubicBezTo>
                  <a:pt x="5639367" y="1234880"/>
                  <a:pt x="5598685" y="1204498"/>
                  <a:pt x="5559003" y="1178786"/>
                </a:cubicBezTo>
                <a:cubicBezTo>
                  <a:pt x="5546667" y="1166769"/>
                  <a:pt x="5529659" y="1155750"/>
                  <a:pt x="5513651" y="1149403"/>
                </a:cubicBezTo>
                <a:cubicBezTo>
                  <a:pt x="5382265" y="1060250"/>
                  <a:pt x="5239864" y="988106"/>
                  <a:pt x="5089115" y="922629"/>
                </a:cubicBezTo>
                <a:cubicBezTo>
                  <a:pt x="5136145" y="937001"/>
                  <a:pt x="5183173" y="951374"/>
                  <a:pt x="5219861" y="963072"/>
                </a:cubicBezTo>
                <a:cubicBezTo>
                  <a:pt x="5221858" y="972417"/>
                  <a:pt x="5242538" y="977766"/>
                  <a:pt x="5243535" y="982437"/>
                </a:cubicBezTo>
                <a:cubicBezTo>
                  <a:pt x="5285894" y="997808"/>
                  <a:pt x="5335917" y="1026195"/>
                  <a:pt x="5376279" y="1032223"/>
                </a:cubicBezTo>
                <a:cubicBezTo>
                  <a:pt x="5359273" y="1021205"/>
                  <a:pt x="5336597" y="1006512"/>
                  <a:pt x="5339271" y="996174"/>
                </a:cubicBezTo>
                <a:cubicBezTo>
                  <a:pt x="5311925" y="982478"/>
                  <a:pt x="5246891" y="952416"/>
                  <a:pt x="5227209" y="951735"/>
                </a:cubicBezTo>
                <a:cubicBezTo>
                  <a:pt x="5215871" y="944390"/>
                  <a:pt x="5209205" y="936045"/>
                  <a:pt x="5203535" y="932372"/>
                </a:cubicBezTo>
                <a:cubicBezTo>
                  <a:pt x="5171517" y="919677"/>
                  <a:pt x="5146165" y="915324"/>
                  <a:pt x="5115146" y="907298"/>
                </a:cubicBezTo>
                <a:cubicBezTo>
                  <a:pt x="5093467" y="897276"/>
                  <a:pt x="5054783" y="876237"/>
                  <a:pt x="5028434" y="867212"/>
                </a:cubicBezTo>
                <a:cubicBezTo>
                  <a:pt x="5018094" y="864537"/>
                  <a:pt x="5014421" y="870207"/>
                  <a:pt x="5004080" y="867531"/>
                </a:cubicBezTo>
                <a:cubicBezTo>
                  <a:pt x="4993741" y="864858"/>
                  <a:pt x="4975737" y="849166"/>
                  <a:pt x="4965395" y="846491"/>
                </a:cubicBezTo>
                <a:cubicBezTo>
                  <a:pt x="4933378" y="833794"/>
                  <a:pt x="4919364" y="836789"/>
                  <a:pt x="4917369" y="827446"/>
                </a:cubicBezTo>
                <a:cubicBezTo>
                  <a:pt x="4897687" y="826767"/>
                  <a:pt x="4866667" y="818742"/>
                  <a:pt x="4859320" y="830080"/>
                </a:cubicBezTo>
                <a:cubicBezTo>
                  <a:pt x="4879003" y="830759"/>
                  <a:pt x="4875330" y="836428"/>
                  <a:pt x="4876327" y="841099"/>
                </a:cubicBezTo>
                <a:cubicBezTo>
                  <a:pt x="4413385" y="686027"/>
                  <a:pt x="3907001" y="647686"/>
                  <a:pt x="3393185" y="757460"/>
                </a:cubicBezTo>
                <a:lnTo>
                  <a:pt x="3342975" y="770687"/>
                </a:lnTo>
                <a:lnTo>
                  <a:pt x="3291917" y="780409"/>
                </a:lnTo>
                <a:cubicBezTo>
                  <a:pt x="2973092" y="853467"/>
                  <a:pt x="2679548" y="994128"/>
                  <a:pt x="2400079" y="1173988"/>
                </a:cubicBezTo>
                <a:cubicBezTo>
                  <a:pt x="2357675" y="1203326"/>
                  <a:pt x="2312502" y="1229200"/>
                  <a:pt x="2269683" y="1256599"/>
                </a:cubicBezTo>
                <a:cubicBezTo>
                  <a:pt x="2262754" y="1262135"/>
                  <a:pt x="2257068" y="1273490"/>
                  <a:pt x="2246824" y="1263510"/>
                </a:cubicBezTo>
                <a:cubicBezTo>
                  <a:pt x="2236994" y="1255472"/>
                  <a:pt x="2238801" y="1244946"/>
                  <a:pt x="2244901" y="1235531"/>
                </a:cubicBezTo>
                <a:cubicBezTo>
                  <a:pt x="2258628" y="1214348"/>
                  <a:pt x="2277477" y="1198153"/>
                  <a:pt x="2297569" y="1187778"/>
                </a:cubicBezTo>
                <a:cubicBezTo>
                  <a:pt x="2412582" y="1118591"/>
                  <a:pt x="2522339" y="1034306"/>
                  <a:pt x="2654790" y="989786"/>
                </a:cubicBezTo>
                <a:cubicBezTo>
                  <a:pt x="2640950" y="972465"/>
                  <a:pt x="2621271" y="984780"/>
                  <a:pt x="2604795" y="974104"/>
                </a:cubicBezTo>
                <a:cubicBezTo>
                  <a:pt x="2642906" y="943655"/>
                  <a:pt x="2685444" y="924427"/>
                  <a:pt x="2728393" y="907142"/>
                </a:cubicBezTo>
                <a:cubicBezTo>
                  <a:pt x="3024345" y="783076"/>
                  <a:pt x="3326509" y="688101"/>
                  <a:pt x="3647056" y="660175"/>
                </a:cubicBezTo>
                <a:cubicBezTo>
                  <a:pt x="3872435" y="642443"/>
                  <a:pt x="4096551" y="647286"/>
                  <a:pt x="4318016" y="687170"/>
                </a:cubicBezTo>
                <a:cubicBezTo>
                  <a:pt x="4385465" y="699121"/>
                  <a:pt x="4446533" y="728661"/>
                  <a:pt x="4516487" y="723856"/>
                </a:cubicBezTo>
                <a:cubicBezTo>
                  <a:pt x="4534357" y="722064"/>
                  <a:pt x="4557763" y="727203"/>
                  <a:pt x="4557781" y="698810"/>
                </a:cubicBezTo>
                <a:cubicBezTo>
                  <a:pt x="4559739" y="670001"/>
                  <a:pt x="4535353" y="679267"/>
                  <a:pt x="4518180" y="674824"/>
                </a:cubicBezTo>
                <a:cubicBezTo>
                  <a:pt x="4497541" y="673149"/>
                  <a:pt x="4471499" y="674658"/>
                  <a:pt x="4454063" y="649993"/>
                </a:cubicBezTo>
                <a:cubicBezTo>
                  <a:pt x="4579151" y="637464"/>
                  <a:pt x="4694375" y="673682"/>
                  <a:pt x="4809052" y="697851"/>
                </a:cubicBezTo>
                <a:cubicBezTo>
                  <a:pt x="4878159" y="717561"/>
                  <a:pt x="4940470" y="752918"/>
                  <a:pt x="5011799" y="764041"/>
                </a:cubicBezTo>
                <a:cubicBezTo>
                  <a:pt x="4951013" y="726331"/>
                  <a:pt x="4884674" y="710086"/>
                  <a:pt x="4817092" y="688021"/>
                </a:cubicBezTo>
                <a:cubicBezTo>
                  <a:pt x="4725971" y="650709"/>
                  <a:pt x="4627357" y="635277"/>
                  <a:pt x="4528741" y="619842"/>
                </a:cubicBezTo>
                <a:cubicBezTo>
                  <a:pt x="4260185" y="577853"/>
                  <a:pt x="3989536" y="554560"/>
                  <a:pt x="3716648" y="568249"/>
                </a:cubicBezTo>
                <a:cubicBezTo>
                  <a:pt x="3682848" y="571413"/>
                  <a:pt x="3645865" y="569175"/>
                  <a:pt x="3612199" y="582452"/>
                </a:cubicBezTo>
                <a:cubicBezTo>
                  <a:pt x="3616756" y="603785"/>
                  <a:pt x="3633383" y="596177"/>
                  <a:pt x="3645435" y="595629"/>
                </a:cubicBezTo>
                <a:cubicBezTo>
                  <a:pt x="3875105" y="579008"/>
                  <a:pt x="4105457" y="584547"/>
                  <a:pt x="4335789" y="618481"/>
                </a:cubicBezTo>
                <a:cubicBezTo>
                  <a:pt x="4348253" y="619874"/>
                  <a:pt x="4371114" y="612962"/>
                  <a:pt x="4369439" y="633599"/>
                </a:cubicBezTo>
                <a:cubicBezTo>
                  <a:pt x="4367764" y="654235"/>
                  <a:pt x="4345187" y="652975"/>
                  <a:pt x="4330367" y="650057"/>
                </a:cubicBezTo>
                <a:cubicBezTo>
                  <a:pt x="4257512" y="641288"/>
                  <a:pt x="4184940" y="624346"/>
                  <a:pt x="4109450" y="622223"/>
                </a:cubicBezTo>
                <a:cubicBezTo>
                  <a:pt x="3783385" y="614827"/>
                  <a:pt x="3459524" y="627237"/>
                  <a:pt x="3144894" y="720819"/>
                </a:cubicBezTo>
                <a:cubicBezTo>
                  <a:pt x="2900781" y="793251"/>
                  <a:pt x="2670360" y="901288"/>
                  <a:pt x="2449900" y="1027476"/>
                </a:cubicBezTo>
                <a:cubicBezTo>
                  <a:pt x="2404727" y="1053349"/>
                  <a:pt x="2357614" y="1079638"/>
                  <a:pt x="2308845" y="1098169"/>
                </a:cubicBezTo>
                <a:cubicBezTo>
                  <a:pt x="2636030" y="864009"/>
                  <a:pt x="2999184" y="703280"/>
                  <a:pt x="3399136" y="619861"/>
                </a:cubicBezTo>
                <a:cubicBezTo>
                  <a:pt x="3380587" y="599489"/>
                  <a:pt x="3359384" y="614158"/>
                  <a:pt x="3330855" y="604030"/>
                </a:cubicBezTo>
                <a:cubicBezTo>
                  <a:pt x="3400677" y="589112"/>
                  <a:pt x="3460803" y="576266"/>
                  <a:pt x="3520230" y="569654"/>
                </a:cubicBezTo>
                <a:cubicBezTo>
                  <a:pt x="3609580" y="560703"/>
                  <a:pt x="3699343" y="553695"/>
                  <a:pt x="3790217" y="542392"/>
                </a:cubicBezTo>
                <a:cubicBezTo>
                  <a:pt x="3796450" y="543088"/>
                  <a:pt x="3811685" y="547944"/>
                  <a:pt x="3810723" y="533954"/>
                </a:cubicBezTo>
                <a:cubicBezTo>
                  <a:pt x="3812117" y="521489"/>
                  <a:pt x="3798540" y="524390"/>
                  <a:pt x="3790368" y="524109"/>
                </a:cubicBezTo>
                <a:cubicBezTo>
                  <a:pt x="3677198" y="525980"/>
                  <a:pt x="3566249" y="519265"/>
                  <a:pt x="3455830" y="552995"/>
                </a:cubicBezTo>
                <a:cubicBezTo>
                  <a:pt x="3431446" y="562261"/>
                  <a:pt x="3401392" y="554486"/>
                  <a:pt x="3373410" y="556409"/>
                </a:cubicBezTo>
                <a:cubicBezTo>
                  <a:pt x="3256777" y="561047"/>
                  <a:pt x="3151198" y="607938"/>
                  <a:pt x="3041191" y="643608"/>
                </a:cubicBezTo>
                <a:cubicBezTo>
                  <a:pt x="2797211" y="726152"/>
                  <a:pt x="2563608" y="828785"/>
                  <a:pt x="2341622" y="957326"/>
                </a:cubicBezTo>
                <a:cubicBezTo>
                  <a:pt x="2202226" y="1035776"/>
                  <a:pt x="2083448" y="1144297"/>
                  <a:pt x="1953599" y="1238958"/>
                </a:cubicBezTo>
                <a:cubicBezTo>
                  <a:pt x="1942791" y="1245322"/>
                  <a:pt x="1930456" y="1254041"/>
                  <a:pt x="1914658" y="1265528"/>
                </a:cubicBezTo>
                <a:cubicBezTo>
                  <a:pt x="1915373" y="1230902"/>
                  <a:pt x="1930211" y="1205424"/>
                  <a:pt x="1953768" y="1192281"/>
                </a:cubicBezTo>
                <a:cubicBezTo>
                  <a:pt x="2070022" y="1128914"/>
                  <a:pt x="2162889" y="1032014"/>
                  <a:pt x="2273195" y="959778"/>
                </a:cubicBezTo>
                <a:cubicBezTo>
                  <a:pt x="2628081" y="731867"/>
                  <a:pt x="3011588" y="580986"/>
                  <a:pt x="3429259" y="514058"/>
                </a:cubicBezTo>
                <a:cubicBezTo>
                  <a:pt x="3602008" y="487291"/>
                  <a:pt x="3774041" y="495152"/>
                  <a:pt x="3947467" y="490544"/>
                </a:cubicBezTo>
                <a:cubicBezTo>
                  <a:pt x="4168684" y="481812"/>
                  <a:pt x="4386005" y="502302"/>
                  <a:pt x="4596509" y="566835"/>
                </a:cubicBezTo>
                <a:cubicBezTo>
                  <a:pt x="4616037" y="572801"/>
                  <a:pt x="4636260" y="572538"/>
                  <a:pt x="4640121" y="600103"/>
                </a:cubicBezTo>
                <a:cubicBezTo>
                  <a:pt x="4639840" y="608275"/>
                  <a:pt x="4648842" y="612435"/>
                  <a:pt x="4657014" y="612717"/>
                </a:cubicBezTo>
                <a:cubicBezTo>
                  <a:pt x="4786923" y="641743"/>
                  <a:pt x="4913502" y="683647"/>
                  <a:pt x="5039385" y="731785"/>
                </a:cubicBezTo>
                <a:cubicBezTo>
                  <a:pt x="5041737" y="733309"/>
                  <a:pt x="5045617" y="732481"/>
                  <a:pt x="5051435" y="731238"/>
                </a:cubicBezTo>
                <a:cubicBezTo>
                  <a:pt x="5055747" y="703956"/>
                  <a:pt x="5046613" y="689683"/>
                  <a:pt x="5018085" y="679555"/>
                </a:cubicBezTo>
                <a:cubicBezTo>
                  <a:pt x="4824207" y="607415"/>
                  <a:pt x="4631439" y="530982"/>
                  <a:pt x="4427845" y="489308"/>
                </a:cubicBezTo>
                <a:lnTo>
                  <a:pt x="4310509" y="471335"/>
                </a:lnTo>
                <a:lnTo>
                  <a:pt x="4176892" y="462604"/>
                </a:lnTo>
                <a:cubicBezTo>
                  <a:pt x="4103169" y="460013"/>
                  <a:pt x="4028959" y="459592"/>
                  <a:pt x="3954287" y="461274"/>
                </a:cubicBezTo>
                <a:cubicBezTo>
                  <a:pt x="3873558" y="461274"/>
                  <a:pt x="3790139" y="463965"/>
                  <a:pt x="3706721" y="469347"/>
                </a:cubicBezTo>
                <a:lnTo>
                  <a:pt x="3819638" y="441228"/>
                </a:lnTo>
                <a:lnTo>
                  <a:pt x="3678438" y="446944"/>
                </a:lnTo>
                <a:cubicBezTo>
                  <a:pt x="3595111" y="454417"/>
                  <a:pt x="3511778" y="466010"/>
                  <a:pt x="3428450" y="481785"/>
                </a:cubicBezTo>
                <a:cubicBezTo>
                  <a:pt x="3241428" y="517687"/>
                  <a:pt x="3054409" y="553586"/>
                  <a:pt x="2876370" y="622042"/>
                </a:cubicBezTo>
                <a:cubicBezTo>
                  <a:pt x="2807509" y="650949"/>
                  <a:pt x="2731736" y="656997"/>
                  <a:pt x="2659974" y="672328"/>
                </a:cubicBezTo>
                <a:cubicBezTo>
                  <a:pt x="2772757" y="625926"/>
                  <a:pt x="2886957" y="583784"/>
                  <a:pt x="3002779" y="546873"/>
                </a:cubicBezTo>
                <a:lnTo>
                  <a:pt x="3243522" y="482631"/>
                </a:lnTo>
                <a:lnTo>
                  <a:pt x="3245900" y="478428"/>
                </a:lnTo>
                <a:cubicBezTo>
                  <a:pt x="3251955" y="475401"/>
                  <a:pt x="3258682" y="473383"/>
                  <a:pt x="3260028" y="466656"/>
                </a:cubicBezTo>
                <a:cubicBezTo>
                  <a:pt x="3257337" y="463965"/>
                  <a:pt x="3254646" y="461274"/>
                  <a:pt x="3251955" y="461274"/>
                </a:cubicBezTo>
                <a:cubicBezTo>
                  <a:pt x="3198135" y="461274"/>
                  <a:pt x="3149699" y="474729"/>
                  <a:pt x="3098571" y="490872"/>
                </a:cubicBezTo>
                <a:cubicBezTo>
                  <a:pt x="2945189" y="541997"/>
                  <a:pt x="2797189" y="601193"/>
                  <a:pt x="2651879" y="673842"/>
                </a:cubicBezTo>
                <a:cubicBezTo>
                  <a:pt x="2619588" y="689986"/>
                  <a:pt x="2587296" y="700749"/>
                  <a:pt x="2549624" y="692677"/>
                </a:cubicBezTo>
                <a:cubicBezTo>
                  <a:pt x="2514642" y="687297"/>
                  <a:pt x="2485041" y="711513"/>
                  <a:pt x="2455442" y="727656"/>
                </a:cubicBezTo>
                <a:cubicBezTo>
                  <a:pt x="2404315" y="754563"/>
                  <a:pt x="2353186" y="768018"/>
                  <a:pt x="2291295" y="751874"/>
                </a:cubicBezTo>
                <a:cubicBezTo>
                  <a:pt x="2751443" y="469347"/>
                  <a:pt x="3235809" y="278306"/>
                  <a:pt x="3763231" y="200274"/>
                </a:cubicBezTo>
                <a:cubicBezTo>
                  <a:pt x="3354210" y="248706"/>
                  <a:pt x="2947880" y="307904"/>
                  <a:pt x="2579224" y="507017"/>
                </a:cubicBezTo>
                <a:cubicBezTo>
                  <a:pt x="2888680" y="294449"/>
                  <a:pt x="3243881" y="211037"/>
                  <a:pt x="3604465" y="146459"/>
                </a:cubicBezTo>
                <a:cubicBezTo>
                  <a:pt x="3967741" y="81881"/>
                  <a:pt x="4331015" y="111479"/>
                  <a:pt x="4702363" y="165295"/>
                </a:cubicBezTo>
                <a:cubicBezTo>
                  <a:pt x="4680835" y="135697"/>
                  <a:pt x="4653927" y="135697"/>
                  <a:pt x="4632399" y="133006"/>
                </a:cubicBezTo>
                <a:cubicBezTo>
                  <a:pt x="4374071" y="95336"/>
                  <a:pt x="4115741" y="71119"/>
                  <a:pt x="3854723" y="89954"/>
                </a:cubicBezTo>
                <a:cubicBezTo>
                  <a:pt x="3822431" y="92645"/>
                  <a:pt x="3790139" y="95336"/>
                  <a:pt x="3763231" y="76501"/>
                </a:cubicBezTo>
                <a:cubicBezTo>
                  <a:pt x="3749775" y="68429"/>
                  <a:pt x="3739012" y="68429"/>
                  <a:pt x="3728249" y="73810"/>
                </a:cubicBezTo>
                <a:cubicBezTo>
                  <a:pt x="3609847" y="124933"/>
                  <a:pt x="3480684" y="133006"/>
                  <a:pt x="3356901" y="157222"/>
                </a:cubicBezTo>
                <a:cubicBezTo>
                  <a:pt x="3106645" y="205656"/>
                  <a:pt x="2867152" y="283686"/>
                  <a:pt x="2633042" y="383243"/>
                </a:cubicBezTo>
                <a:cubicBezTo>
                  <a:pt x="2614206" y="391315"/>
                  <a:pt x="2595370" y="404770"/>
                  <a:pt x="2565769" y="396697"/>
                </a:cubicBezTo>
                <a:cubicBezTo>
                  <a:pt x="2748752" y="283686"/>
                  <a:pt x="2950571" y="229872"/>
                  <a:pt x="3141627" y="151840"/>
                </a:cubicBezTo>
                <a:cubicBezTo>
                  <a:pt x="3012463" y="165295"/>
                  <a:pt x="2896753" y="237944"/>
                  <a:pt x="2756825" y="229872"/>
                </a:cubicBezTo>
                <a:cubicBezTo>
                  <a:pt x="2789116" y="192202"/>
                  <a:pt x="2824099" y="178747"/>
                  <a:pt x="2861770" y="170676"/>
                </a:cubicBezTo>
                <a:cubicBezTo>
                  <a:pt x="2950571" y="154531"/>
                  <a:pt x="3036681" y="135697"/>
                  <a:pt x="3120100" y="103408"/>
                </a:cubicBezTo>
                <a:cubicBezTo>
                  <a:pt x="3184681" y="76501"/>
                  <a:pt x="3251955" y="89954"/>
                  <a:pt x="3319228" y="76501"/>
                </a:cubicBezTo>
                <a:cubicBezTo>
                  <a:pt x="3351519" y="71119"/>
                  <a:pt x="3381119" y="65738"/>
                  <a:pt x="3399956" y="33449"/>
                </a:cubicBezTo>
                <a:cubicBezTo>
                  <a:pt x="3413410" y="14613"/>
                  <a:pt x="3434938" y="11922"/>
                  <a:pt x="3456465" y="6542"/>
                </a:cubicBezTo>
                <a:close/>
                <a:moveTo>
                  <a:pt x="2942330" y="0"/>
                </a:moveTo>
                <a:lnTo>
                  <a:pt x="3174123" y="0"/>
                </a:lnTo>
                <a:lnTo>
                  <a:pt x="3100717" y="23190"/>
                </a:lnTo>
                <a:cubicBezTo>
                  <a:pt x="3070822" y="34458"/>
                  <a:pt x="3041390" y="47575"/>
                  <a:pt x="3012463" y="63047"/>
                </a:cubicBezTo>
                <a:cubicBezTo>
                  <a:pt x="2829480" y="157222"/>
                  <a:pt x="2624969" y="205656"/>
                  <a:pt x="2439295" y="291759"/>
                </a:cubicBezTo>
                <a:cubicBezTo>
                  <a:pt x="2420460" y="299831"/>
                  <a:pt x="2393550" y="310594"/>
                  <a:pt x="2380096" y="291759"/>
                </a:cubicBezTo>
                <a:cubicBezTo>
                  <a:pt x="2366641" y="272924"/>
                  <a:pt x="2382786" y="248706"/>
                  <a:pt x="2396241" y="229872"/>
                </a:cubicBezTo>
                <a:cubicBezTo>
                  <a:pt x="2409696" y="211037"/>
                  <a:pt x="2431223" y="197583"/>
                  <a:pt x="2452751" y="189511"/>
                </a:cubicBezTo>
                <a:cubicBezTo>
                  <a:pt x="2580570" y="142423"/>
                  <a:pt x="2707043" y="89281"/>
                  <a:pt x="2834861" y="39503"/>
                </a:cubicBezTo>
                <a:close/>
                <a:moveTo>
                  <a:pt x="2576296" y="0"/>
                </a:moveTo>
                <a:lnTo>
                  <a:pt x="2746997" y="0"/>
                </a:lnTo>
                <a:lnTo>
                  <a:pt x="2705697" y="14613"/>
                </a:lnTo>
                <a:cubicBezTo>
                  <a:pt x="2641116" y="41521"/>
                  <a:pt x="2573842" y="63047"/>
                  <a:pt x="2509260" y="87263"/>
                </a:cubicBezTo>
                <a:cubicBezTo>
                  <a:pt x="2498497" y="92645"/>
                  <a:pt x="2487732" y="106099"/>
                  <a:pt x="2476969" y="89954"/>
                </a:cubicBezTo>
                <a:cubicBezTo>
                  <a:pt x="2466205" y="76501"/>
                  <a:pt x="2471587" y="63047"/>
                  <a:pt x="2482350" y="52283"/>
                </a:cubicBezTo>
                <a:cubicBezTo>
                  <a:pt x="2506569" y="28067"/>
                  <a:pt x="2536169" y="11922"/>
                  <a:pt x="2565769" y="385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6310932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994487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C5B8C3BC-30AC-4B0F-BEBE-EE9F6776594E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5921830" cy="6858000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527B471C-89AA-49D9-9452-73E8E148A9B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270170" y="3916392"/>
            <a:ext cx="5921830" cy="2941607"/>
          </a:xfrm>
          <a:prstGeom prst="roundRect">
            <a:avLst>
              <a:gd name="adj" fmla="val 0"/>
            </a:avLst>
          </a:prstGeom>
          <a:solidFill>
            <a:schemeClr val="bg1">
              <a:lumMod val="95000"/>
            </a:schemeClr>
          </a:solidFill>
          <a:ln w="152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36501890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957806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7">
            <a:extLst>
              <a:ext uri="{FF2B5EF4-FFF2-40B4-BE49-F238E27FC236}">
                <a16:creationId xmlns:a16="http://schemas.microsoft.com/office/drawing/2014/main" xmlns="" id="{2B911B9C-7AC0-4439-B279-941619F0ECE3}"/>
              </a:ext>
            </a:extLst>
          </p:cNvPr>
          <p:cNvGrpSpPr/>
          <p:nvPr userDrawn="1"/>
        </p:nvGrpSpPr>
        <p:grpSpPr>
          <a:xfrm>
            <a:off x="850796" y="2141886"/>
            <a:ext cx="2126862" cy="3673670"/>
            <a:chOff x="1438761" y="2033015"/>
            <a:chExt cx="1980000" cy="3420000"/>
          </a:xfrm>
        </p:grpSpPr>
        <p:sp>
          <p:nvSpPr>
            <p:cNvPr id="3" name="Rounded Rectangle 58">
              <a:extLst>
                <a:ext uri="{FF2B5EF4-FFF2-40B4-BE49-F238E27FC236}">
                  <a16:creationId xmlns:a16="http://schemas.microsoft.com/office/drawing/2014/main" xmlns="" id="{61D06D85-780B-4761-8162-4C1D9C032BDA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4" name="Rectangle 59">
              <a:extLst>
                <a:ext uri="{FF2B5EF4-FFF2-40B4-BE49-F238E27FC236}">
                  <a16:creationId xmlns:a16="http://schemas.microsoft.com/office/drawing/2014/main" xmlns="" id="{D4453C17-8DD9-443A-A2DC-035A73479185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grpSp>
          <p:nvGrpSpPr>
            <p:cNvPr id="5" name="Group 60">
              <a:extLst>
                <a:ext uri="{FF2B5EF4-FFF2-40B4-BE49-F238E27FC236}">
                  <a16:creationId xmlns:a16="http://schemas.microsoft.com/office/drawing/2014/main" xmlns="" id="{5927C0AF-C07D-41A9-8C1F-43B3A20E0406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6" name="Oval 61">
                <a:extLst>
                  <a:ext uri="{FF2B5EF4-FFF2-40B4-BE49-F238E27FC236}">
                    <a16:creationId xmlns:a16="http://schemas.microsoft.com/office/drawing/2014/main" xmlns="" id="{AA7F0E01-A59A-4E72-8633-C4792131721B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7" name="Rounded Rectangle 62">
                <a:extLst>
                  <a:ext uri="{FF2B5EF4-FFF2-40B4-BE49-F238E27FC236}">
                    <a16:creationId xmlns:a16="http://schemas.microsoft.com/office/drawing/2014/main" xmlns="" id="{A75D6F9D-D687-45E5-9D5E-6EB8E7BC335F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</p:grpSp>
      <p:grpSp>
        <p:nvGrpSpPr>
          <p:cNvPr id="8" name="Group 51">
            <a:extLst>
              <a:ext uri="{FF2B5EF4-FFF2-40B4-BE49-F238E27FC236}">
                <a16:creationId xmlns:a16="http://schemas.microsoft.com/office/drawing/2014/main" xmlns="" id="{3FA90F74-9FBF-4B08-87AE-B7AB879D55A6}"/>
              </a:ext>
            </a:extLst>
          </p:cNvPr>
          <p:cNvGrpSpPr/>
          <p:nvPr userDrawn="1"/>
        </p:nvGrpSpPr>
        <p:grpSpPr>
          <a:xfrm>
            <a:off x="3428276" y="2108018"/>
            <a:ext cx="2126862" cy="3673670"/>
            <a:chOff x="1438761" y="2033015"/>
            <a:chExt cx="1980000" cy="3420000"/>
          </a:xfrm>
        </p:grpSpPr>
        <p:sp>
          <p:nvSpPr>
            <p:cNvPr id="9" name="Rounded Rectangle 52">
              <a:extLst>
                <a:ext uri="{FF2B5EF4-FFF2-40B4-BE49-F238E27FC236}">
                  <a16:creationId xmlns:a16="http://schemas.microsoft.com/office/drawing/2014/main" xmlns="" id="{F4467050-FB9C-4C00-80BB-25385546913C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0" name="Rectangle 53">
              <a:extLst>
                <a:ext uri="{FF2B5EF4-FFF2-40B4-BE49-F238E27FC236}">
                  <a16:creationId xmlns:a16="http://schemas.microsoft.com/office/drawing/2014/main" xmlns="" id="{BFB69184-F129-435E-B32E-F17440D56EB2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grpSp>
          <p:nvGrpSpPr>
            <p:cNvPr id="11" name="Group 54">
              <a:extLst>
                <a:ext uri="{FF2B5EF4-FFF2-40B4-BE49-F238E27FC236}">
                  <a16:creationId xmlns:a16="http://schemas.microsoft.com/office/drawing/2014/main" xmlns="" id="{DD555917-2950-4962-9058-2940D91C30E3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12" name="Oval 55">
                <a:extLst>
                  <a:ext uri="{FF2B5EF4-FFF2-40B4-BE49-F238E27FC236}">
                    <a16:creationId xmlns:a16="http://schemas.microsoft.com/office/drawing/2014/main" xmlns="" id="{E1347983-4020-4D04-98E2-432F47403A78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13" name="Rounded Rectangle 56">
                <a:extLst>
                  <a:ext uri="{FF2B5EF4-FFF2-40B4-BE49-F238E27FC236}">
                    <a16:creationId xmlns:a16="http://schemas.microsoft.com/office/drawing/2014/main" xmlns="" id="{A7373AD9-6765-49BA-BD27-010608BCFFF4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</p:grpSp>
      <p:sp>
        <p:nvSpPr>
          <p:cNvPr id="14" name="Picture Placeholder 9">
            <a:extLst>
              <a:ext uri="{FF2B5EF4-FFF2-40B4-BE49-F238E27FC236}">
                <a16:creationId xmlns:a16="http://schemas.microsoft.com/office/drawing/2014/main" xmlns="" id="{4C2C2A87-6608-4D3D-82ED-756E3E50D32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56027" y="2391378"/>
            <a:ext cx="1060913" cy="290555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xmlns="" id="{F5143C5E-1F77-4730-8C65-48C0352E20B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02845" y="2440275"/>
            <a:ext cx="1087042" cy="290555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16" name="Group 5">
            <a:extLst>
              <a:ext uri="{FF2B5EF4-FFF2-40B4-BE49-F238E27FC236}">
                <a16:creationId xmlns:a16="http://schemas.microsoft.com/office/drawing/2014/main" xmlns="" id="{E5729333-E0A2-444C-B86D-6A6D786736BA}"/>
              </a:ext>
            </a:extLst>
          </p:cNvPr>
          <p:cNvGrpSpPr/>
          <p:nvPr userDrawn="1"/>
        </p:nvGrpSpPr>
        <p:grpSpPr>
          <a:xfrm>
            <a:off x="2077784" y="1970191"/>
            <a:ext cx="2304289" cy="3980137"/>
            <a:chOff x="1438761" y="2033015"/>
            <a:chExt cx="1980000" cy="3420000"/>
          </a:xfrm>
        </p:grpSpPr>
        <p:sp>
          <p:nvSpPr>
            <p:cNvPr id="17" name="Rounded Rectangle 41">
              <a:extLst>
                <a:ext uri="{FF2B5EF4-FFF2-40B4-BE49-F238E27FC236}">
                  <a16:creationId xmlns:a16="http://schemas.microsoft.com/office/drawing/2014/main" xmlns="" id="{00003B70-DA10-4423-AD78-81A864DDB2ED}"/>
                </a:ext>
              </a:extLst>
            </p:cNvPr>
            <p:cNvSpPr/>
            <p:nvPr userDrawn="1"/>
          </p:nvSpPr>
          <p:spPr>
            <a:xfrm>
              <a:off x="1438761" y="2033015"/>
              <a:ext cx="1980000" cy="3420000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sp>
          <p:nvSpPr>
            <p:cNvPr id="18" name="Rectangle 42">
              <a:extLst>
                <a:ext uri="{FF2B5EF4-FFF2-40B4-BE49-F238E27FC236}">
                  <a16:creationId xmlns:a16="http://schemas.microsoft.com/office/drawing/2014/main" xmlns="" id="{57D1F3A3-CCDF-4586-AC47-BC39C66C2D8A}"/>
                </a:ext>
              </a:extLst>
            </p:cNvPr>
            <p:cNvSpPr/>
            <p:nvPr userDrawn="1"/>
          </p:nvSpPr>
          <p:spPr>
            <a:xfrm>
              <a:off x="2310398" y="2205587"/>
              <a:ext cx="236725" cy="45719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700"/>
            </a:p>
          </p:txBody>
        </p:sp>
        <p:grpSp>
          <p:nvGrpSpPr>
            <p:cNvPr id="19" name="Group 6">
              <a:extLst>
                <a:ext uri="{FF2B5EF4-FFF2-40B4-BE49-F238E27FC236}">
                  <a16:creationId xmlns:a16="http://schemas.microsoft.com/office/drawing/2014/main" xmlns="" id="{6FD698D9-D6CA-45B2-9FBA-D5D87F51596E}"/>
                </a:ext>
              </a:extLst>
            </p:cNvPr>
            <p:cNvGrpSpPr/>
            <p:nvPr userDrawn="1"/>
          </p:nvGrpSpPr>
          <p:grpSpPr>
            <a:xfrm>
              <a:off x="2332851" y="5138854"/>
              <a:ext cx="191820" cy="211002"/>
              <a:chOff x="2453209" y="5151638"/>
              <a:chExt cx="191820" cy="211002"/>
            </a:xfrm>
          </p:grpSpPr>
          <p:sp>
            <p:nvSpPr>
              <p:cNvPr id="20" name="Oval 44">
                <a:extLst>
                  <a:ext uri="{FF2B5EF4-FFF2-40B4-BE49-F238E27FC236}">
                    <a16:creationId xmlns:a16="http://schemas.microsoft.com/office/drawing/2014/main" xmlns="" id="{E2F813C3-4DA9-4825-85E8-96B2B7FF8D8D}"/>
                  </a:ext>
                </a:extLst>
              </p:cNvPr>
              <p:cNvSpPr/>
              <p:nvPr userDrawn="1"/>
            </p:nvSpPr>
            <p:spPr>
              <a:xfrm>
                <a:off x="2453209" y="5151638"/>
                <a:ext cx="191820" cy="211002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  <p:sp>
            <p:nvSpPr>
              <p:cNvPr id="21" name="Rounded Rectangle 45">
                <a:extLst>
                  <a:ext uri="{FF2B5EF4-FFF2-40B4-BE49-F238E27FC236}">
                    <a16:creationId xmlns:a16="http://schemas.microsoft.com/office/drawing/2014/main" xmlns="" id="{46316A48-316C-410A-9713-1489C834A9B0}"/>
                  </a:ext>
                </a:extLst>
              </p:cNvPr>
              <p:cNvSpPr/>
              <p:nvPr userDrawn="1"/>
            </p:nvSpPr>
            <p:spPr>
              <a:xfrm>
                <a:off x="2505251" y="5208531"/>
                <a:ext cx="87734" cy="97215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2700"/>
              </a:p>
            </p:txBody>
          </p:sp>
        </p:grpSp>
      </p:grpSp>
      <p:sp>
        <p:nvSpPr>
          <p:cNvPr id="22" name="Picture Placeholder 9">
            <a:extLst>
              <a:ext uri="{FF2B5EF4-FFF2-40B4-BE49-F238E27FC236}">
                <a16:creationId xmlns:a16="http://schemas.microsoft.com/office/drawing/2014/main" xmlns="" id="{E584DD74-8F2B-4880-8D84-F5C079E309F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17448" y="2301827"/>
            <a:ext cx="2023386" cy="3142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xmlns="" id="{237A4EB9-6FB0-4B0C-AA6A-4E6470E80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976301091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463502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8">
            <a:extLst>
              <a:ext uri="{FF2B5EF4-FFF2-40B4-BE49-F238E27FC236}">
                <a16:creationId xmlns:a16="http://schemas.microsoft.com/office/drawing/2014/main" xmlns="" id="{06720F70-BA56-4CED-8129-02AC4F79AB2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0" y="-9526"/>
            <a:ext cx="7184425" cy="6886575"/>
          </a:xfrm>
          <a:custGeom>
            <a:avLst/>
            <a:gdLst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2358530 w 7155850"/>
              <a:gd name="connsiteY12" fmla="*/ 6877050 h 6877050"/>
              <a:gd name="connsiteX13" fmla="*/ 1329860 w 7155850"/>
              <a:gd name="connsiteY13" fmla="*/ 6877050 h 6877050"/>
              <a:gd name="connsiteX14" fmla="*/ 1323481 w 7155850"/>
              <a:gd name="connsiteY14" fmla="*/ 6866659 h 6877050"/>
              <a:gd name="connsiteX15" fmla="*/ 0 w 7155850"/>
              <a:gd name="connsiteY15" fmla="*/ 6858000 h 6877050"/>
              <a:gd name="connsiteX16" fmla="*/ 0 w 7155850"/>
              <a:gd name="connsiteY16" fmla="*/ 4710909 h 6877050"/>
              <a:gd name="connsiteX17" fmla="*/ 0 w 7155850"/>
              <a:gd name="connsiteY17" fmla="*/ 304398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2358530 w 7155850"/>
              <a:gd name="connsiteY12" fmla="*/ 6877050 h 6877050"/>
              <a:gd name="connsiteX13" fmla="*/ 1329860 w 7155850"/>
              <a:gd name="connsiteY13" fmla="*/ 6877050 h 6877050"/>
              <a:gd name="connsiteX14" fmla="*/ 1323481 w 7155850"/>
              <a:gd name="connsiteY14" fmla="*/ 6866659 h 6877050"/>
              <a:gd name="connsiteX15" fmla="*/ 0 w 7155850"/>
              <a:gd name="connsiteY15" fmla="*/ 6858000 h 6877050"/>
              <a:gd name="connsiteX16" fmla="*/ 0 w 7155850"/>
              <a:gd name="connsiteY16" fmla="*/ 4710909 h 6877050"/>
              <a:gd name="connsiteX17" fmla="*/ 0 w 7155850"/>
              <a:gd name="connsiteY17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2358530 w 7155850"/>
              <a:gd name="connsiteY12" fmla="*/ 6877050 h 6877050"/>
              <a:gd name="connsiteX13" fmla="*/ 1329860 w 7155850"/>
              <a:gd name="connsiteY13" fmla="*/ 6877050 h 6877050"/>
              <a:gd name="connsiteX14" fmla="*/ 1323481 w 7155850"/>
              <a:gd name="connsiteY14" fmla="*/ 6866659 h 6877050"/>
              <a:gd name="connsiteX15" fmla="*/ 0 w 7155850"/>
              <a:gd name="connsiteY15" fmla="*/ 6858000 h 6877050"/>
              <a:gd name="connsiteX16" fmla="*/ 0 w 7155850"/>
              <a:gd name="connsiteY16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2358530 w 7155850"/>
              <a:gd name="connsiteY12" fmla="*/ 6877050 h 6877050"/>
              <a:gd name="connsiteX13" fmla="*/ 1329860 w 7155850"/>
              <a:gd name="connsiteY13" fmla="*/ 6877050 h 6877050"/>
              <a:gd name="connsiteX14" fmla="*/ 0 w 7155850"/>
              <a:gd name="connsiteY14" fmla="*/ 6858000 h 6877050"/>
              <a:gd name="connsiteX15" fmla="*/ 0 w 7155850"/>
              <a:gd name="connsiteY15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1329860 w 7155850"/>
              <a:gd name="connsiteY12" fmla="*/ 6877050 h 6877050"/>
              <a:gd name="connsiteX13" fmla="*/ 0 w 7155850"/>
              <a:gd name="connsiteY13" fmla="*/ 6858000 h 6877050"/>
              <a:gd name="connsiteX14" fmla="*/ 0 w 7155850"/>
              <a:gd name="connsiteY14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2356294 w 7155850"/>
              <a:gd name="connsiteY11" fmla="*/ 6873416 h 6877050"/>
              <a:gd name="connsiteX12" fmla="*/ 0 w 7155850"/>
              <a:gd name="connsiteY12" fmla="*/ 6858000 h 6877050"/>
              <a:gd name="connsiteX13" fmla="*/ 0 w 7155850"/>
              <a:gd name="connsiteY13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3459898 w 7155850"/>
              <a:gd name="connsiteY7" fmla="*/ 6039202 h 6877050"/>
              <a:gd name="connsiteX8" fmla="*/ 2945517 w 7155850"/>
              <a:gd name="connsiteY8" fmla="*/ 6877050 h 6877050"/>
              <a:gd name="connsiteX9" fmla="*/ 2928567 w 7155850"/>
              <a:gd name="connsiteY9" fmla="*/ 6849441 h 6877050"/>
              <a:gd name="connsiteX10" fmla="*/ 2911768 w 7155850"/>
              <a:gd name="connsiteY10" fmla="*/ 6877050 h 6877050"/>
              <a:gd name="connsiteX11" fmla="*/ 0 w 7155850"/>
              <a:gd name="connsiteY11" fmla="*/ 6858000 h 6877050"/>
              <a:gd name="connsiteX12" fmla="*/ 0 w 7155850"/>
              <a:gd name="connsiteY12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3440621 w 7155850"/>
              <a:gd name="connsiteY6" fmla="*/ 6007873 h 6877050"/>
              <a:gd name="connsiteX7" fmla="*/ 2945517 w 7155850"/>
              <a:gd name="connsiteY7" fmla="*/ 6877050 h 6877050"/>
              <a:gd name="connsiteX8" fmla="*/ 2928567 w 7155850"/>
              <a:gd name="connsiteY8" fmla="*/ 6849441 h 6877050"/>
              <a:gd name="connsiteX9" fmla="*/ 2911768 w 7155850"/>
              <a:gd name="connsiteY9" fmla="*/ 6877050 h 6877050"/>
              <a:gd name="connsiteX10" fmla="*/ 0 w 7155850"/>
              <a:gd name="connsiteY10" fmla="*/ 6858000 h 6877050"/>
              <a:gd name="connsiteX11" fmla="*/ 0 w 7155850"/>
              <a:gd name="connsiteY11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3759438 w 7155850"/>
              <a:gd name="connsiteY5" fmla="*/ 5483894 h 6877050"/>
              <a:gd name="connsiteX6" fmla="*/ 2945517 w 7155850"/>
              <a:gd name="connsiteY6" fmla="*/ 6877050 h 6877050"/>
              <a:gd name="connsiteX7" fmla="*/ 2928567 w 7155850"/>
              <a:gd name="connsiteY7" fmla="*/ 6849441 h 6877050"/>
              <a:gd name="connsiteX8" fmla="*/ 2911768 w 7155850"/>
              <a:gd name="connsiteY8" fmla="*/ 6877050 h 6877050"/>
              <a:gd name="connsiteX9" fmla="*/ 0 w 7155850"/>
              <a:gd name="connsiteY9" fmla="*/ 6858000 h 6877050"/>
              <a:gd name="connsiteX10" fmla="*/ 0 w 7155850"/>
              <a:gd name="connsiteY10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3780151 w 7155850"/>
              <a:gd name="connsiteY4" fmla="*/ 5517557 h 6877050"/>
              <a:gd name="connsiteX5" fmla="*/ 2945517 w 7155850"/>
              <a:gd name="connsiteY5" fmla="*/ 6877050 h 6877050"/>
              <a:gd name="connsiteX6" fmla="*/ 2928567 w 7155850"/>
              <a:gd name="connsiteY6" fmla="*/ 6849441 h 6877050"/>
              <a:gd name="connsiteX7" fmla="*/ 2911768 w 7155850"/>
              <a:gd name="connsiteY7" fmla="*/ 6877050 h 6877050"/>
              <a:gd name="connsiteX8" fmla="*/ 0 w 7155850"/>
              <a:gd name="connsiteY8" fmla="*/ 6858000 h 6877050"/>
              <a:gd name="connsiteX9" fmla="*/ 0 w 7155850"/>
              <a:gd name="connsiteY9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084534 w 7155850"/>
              <a:gd name="connsiteY2" fmla="*/ 19050 h 6877050"/>
              <a:gd name="connsiteX3" fmla="*/ 7155850 w 7155850"/>
              <a:gd name="connsiteY3" fmla="*/ 19050 h 6877050"/>
              <a:gd name="connsiteX4" fmla="*/ 2945517 w 7155850"/>
              <a:gd name="connsiteY4" fmla="*/ 6877050 h 6877050"/>
              <a:gd name="connsiteX5" fmla="*/ 2928567 w 7155850"/>
              <a:gd name="connsiteY5" fmla="*/ 6849441 h 6877050"/>
              <a:gd name="connsiteX6" fmla="*/ 2911768 w 7155850"/>
              <a:gd name="connsiteY6" fmla="*/ 6877050 h 6877050"/>
              <a:gd name="connsiteX7" fmla="*/ 0 w 7155850"/>
              <a:gd name="connsiteY7" fmla="*/ 6858000 h 6877050"/>
              <a:gd name="connsiteX8" fmla="*/ 0 w 7155850"/>
              <a:gd name="connsiteY8" fmla="*/ 0 h 6877050"/>
              <a:gd name="connsiteX0" fmla="*/ 0 w 7155850"/>
              <a:gd name="connsiteY0" fmla="*/ 0 h 6877050"/>
              <a:gd name="connsiteX1" fmla="*/ 7096125 w 7155850"/>
              <a:gd name="connsiteY1" fmla="*/ 0 h 6877050"/>
              <a:gd name="connsiteX2" fmla="*/ 7155850 w 7155850"/>
              <a:gd name="connsiteY2" fmla="*/ 19050 h 6877050"/>
              <a:gd name="connsiteX3" fmla="*/ 2945517 w 7155850"/>
              <a:gd name="connsiteY3" fmla="*/ 6877050 h 6877050"/>
              <a:gd name="connsiteX4" fmla="*/ 2928567 w 7155850"/>
              <a:gd name="connsiteY4" fmla="*/ 6849441 h 6877050"/>
              <a:gd name="connsiteX5" fmla="*/ 2911768 w 7155850"/>
              <a:gd name="connsiteY5" fmla="*/ 6877050 h 6877050"/>
              <a:gd name="connsiteX6" fmla="*/ 0 w 7155850"/>
              <a:gd name="connsiteY6" fmla="*/ 6858000 h 6877050"/>
              <a:gd name="connsiteX7" fmla="*/ 0 w 7155850"/>
              <a:gd name="connsiteY7" fmla="*/ 0 h 6877050"/>
              <a:gd name="connsiteX0" fmla="*/ 0 w 7155850"/>
              <a:gd name="connsiteY0" fmla="*/ 0 h 6877050"/>
              <a:gd name="connsiteX1" fmla="*/ 7155850 w 7155850"/>
              <a:gd name="connsiteY1" fmla="*/ 19050 h 6877050"/>
              <a:gd name="connsiteX2" fmla="*/ 2945517 w 7155850"/>
              <a:gd name="connsiteY2" fmla="*/ 6877050 h 6877050"/>
              <a:gd name="connsiteX3" fmla="*/ 2928567 w 7155850"/>
              <a:gd name="connsiteY3" fmla="*/ 6849441 h 6877050"/>
              <a:gd name="connsiteX4" fmla="*/ 2911768 w 7155850"/>
              <a:gd name="connsiteY4" fmla="*/ 6877050 h 6877050"/>
              <a:gd name="connsiteX5" fmla="*/ 0 w 7155850"/>
              <a:gd name="connsiteY5" fmla="*/ 6858000 h 6877050"/>
              <a:gd name="connsiteX6" fmla="*/ 0 w 7155850"/>
              <a:gd name="connsiteY6" fmla="*/ 0 h 6877050"/>
              <a:gd name="connsiteX0" fmla="*/ 0 w 7184425"/>
              <a:gd name="connsiteY0" fmla="*/ 9525 h 6886575"/>
              <a:gd name="connsiteX1" fmla="*/ 7184425 w 7184425"/>
              <a:gd name="connsiteY1" fmla="*/ 0 h 6886575"/>
              <a:gd name="connsiteX2" fmla="*/ 2945517 w 7184425"/>
              <a:gd name="connsiteY2" fmla="*/ 6886575 h 6886575"/>
              <a:gd name="connsiteX3" fmla="*/ 2928567 w 7184425"/>
              <a:gd name="connsiteY3" fmla="*/ 6858966 h 6886575"/>
              <a:gd name="connsiteX4" fmla="*/ 2911768 w 7184425"/>
              <a:gd name="connsiteY4" fmla="*/ 6886575 h 6886575"/>
              <a:gd name="connsiteX5" fmla="*/ 0 w 7184425"/>
              <a:gd name="connsiteY5" fmla="*/ 6867525 h 6886575"/>
              <a:gd name="connsiteX6" fmla="*/ 0 w 7184425"/>
              <a:gd name="connsiteY6" fmla="*/ 9525 h 6886575"/>
              <a:gd name="connsiteX0" fmla="*/ 0 w 7184425"/>
              <a:gd name="connsiteY0" fmla="*/ 9525 h 6886575"/>
              <a:gd name="connsiteX1" fmla="*/ 7184425 w 7184425"/>
              <a:gd name="connsiteY1" fmla="*/ 0 h 6886575"/>
              <a:gd name="connsiteX2" fmla="*/ 2945517 w 7184425"/>
              <a:gd name="connsiteY2" fmla="*/ 6886575 h 6886575"/>
              <a:gd name="connsiteX3" fmla="*/ 2928567 w 7184425"/>
              <a:gd name="connsiteY3" fmla="*/ 6858966 h 6886575"/>
              <a:gd name="connsiteX4" fmla="*/ 0 w 7184425"/>
              <a:gd name="connsiteY4" fmla="*/ 6867525 h 6886575"/>
              <a:gd name="connsiteX5" fmla="*/ 0 w 7184425"/>
              <a:gd name="connsiteY5" fmla="*/ 9525 h 6886575"/>
              <a:gd name="connsiteX0" fmla="*/ 0 w 7184425"/>
              <a:gd name="connsiteY0" fmla="*/ 9525 h 6886575"/>
              <a:gd name="connsiteX1" fmla="*/ 7184425 w 7184425"/>
              <a:gd name="connsiteY1" fmla="*/ 0 h 6886575"/>
              <a:gd name="connsiteX2" fmla="*/ 2945517 w 7184425"/>
              <a:gd name="connsiteY2" fmla="*/ 6886575 h 6886575"/>
              <a:gd name="connsiteX3" fmla="*/ 0 w 7184425"/>
              <a:gd name="connsiteY3" fmla="*/ 6867525 h 6886575"/>
              <a:gd name="connsiteX4" fmla="*/ 0 w 7184425"/>
              <a:gd name="connsiteY4" fmla="*/ 9525 h 68865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84425" h="6886575">
                <a:moveTo>
                  <a:pt x="0" y="9525"/>
                </a:moveTo>
                <a:lnTo>
                  <a:pt x="7184425" y="0"/>
                </a:lnTo>
                <a:lnTo>
                  <a:pt x="2945517" y="6886575"/>
                </a:lnTo>
                <a:lnTo>
                  <a:pt x="0" y="6867525"/>
                </a:lnTo>
                <a:lnTo>
                  <a:pt x="0" y="952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37163816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801079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2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1367658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94F7CC53-A36C-4D93-9F7C-4C700EF14111}"/>
              </a:ext>
            </a:extLst>
          </p:cNvPr>
          <p:cNvGrpSpPr/>
          <p:nvPr userDrawn="1"/>
        </p:nvGrpSpPr>
        <p:grpSpPr>
          <a:xfrm>
            <a:off x="580088" y="2381012"/>
            <a:ext cx="5265908" cy="2893260"/>
            <a:chOff x="-548507" y="477868"/>
            <a:chExt cx="11570449" cy="6357177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52FB75B8-3239-4653-89F8-BC18EB1DACD2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5D080612-9FFE-4326-A4AB-6DD2D34BF3FC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FD0CE6C6-8292-4BBD-B0BE-529CA590DDE0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0491C6C6-F21F-4379-9888-C019D1072001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F896A7EA-9159-44B6-B689-FA7C45183FF4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5D6A45D0-0735-4D0E-B921-956D797E14E8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xmlns="" id="{95682682-EEC1-45C1-8DBD-FDE934CEF4AD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xmlns="" id="{40CA23FC-5CCC-4455-A4C0-0576978D15D3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E6FCDE46-E227-4A73-892B-831DB15B38BD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xmlns="" id="{3702B253-DFF7-46FE-9D8A-A6BEA1EC6A2C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xmlns="" id="{CB7635C6-671E-47C7-864A-0E3B88B638ED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460A1CE2-64A0-4790-AA7A-F8D31AA6282B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5" name="그림 개체 틀 2">
            <a:extLst>
              <a:ext uri="{FF2B5EF4-FFF2-40B4-BE49-F238E27FC236}">
                <a16:creationId xmlns:a16="http://schemas.microsoft.com/office/drawing/2014/main" xmlns="" id="{84C83AB2-22CB-425D-80FA-9A4A987EA62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13650" y="2545573"/>
            <a:ext cx="3795983" cy="234864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xmlns="" id="{7692AED9-5A1C-4291-A685-38C1BCC00DE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4680314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409191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3A836DBF-0045-451A-B884-57703C49E95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1713554"/>
            <a:ext cx="12192000" cy="324036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5AD9D005-1A52-44B7-9752-F8F6596AD05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89994060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485019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130121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3445989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158957057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2483150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7333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Teardrop 6">
            <a:extLst>
              <a:ext uri="{FF2B5EF4-FFF2-40B4-BE49-F238E27FC236}">
                <a16:creationId xmlns:a16="http://schemas.microsoft.com/office/drawing/2014/main" xmlns="" id="{599424D7-8771-4882-8231-888CC6AEC430}"/>
              </a:ext>
            </a:extLst>
          </p:cNvPr>
          <p:cNvSpPr/>
          <p:nvPr userDrawn="1"/>
        </p:nvSpPr>
        <p:spPr>
          <a:xfrm rot="5400000">
            <a:off x="4667633" y="1598517"/>
            <a:ext cx="2484307" cy="2484307"/>
          </a:xfrm>
          <a:prstGeom prst="teardrop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5" name="Teardrop 7">
            <a:extLst>
              <a:ext uri="{FF2B5EF4-FFF2-40B4-BE49-F238E27FC236}">
                <a16:creationId xmlns:a16="http://schemas.microsoft.com/office/drawing/2014/main" xmlns="" id="{7FBCB63D-10B1-4298-91F0-5D85FB9F2190}"/>
              </a:ext>
            </a:extLst>
          </p:cNvPr>
          <p:cNvSpPr/>
          <p:nvPr userDrawn="1"/>
        </p:nvSpPr>
        <p:spPr>
          <a:xfrm rot="5400000">
            <a:off x="8519544" y="1598517"/>
            <a:ext cx="2484307" cy="2484307"/>
          </a:xfrm>
          <a:prstGeom prst="teardrop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6" name="Teardrop 1">
            <a:extLst>
              <a:ext uri="{FF2B5EF4-FFF2-40B4-BE49-F238E27FC236}">
                <a16:creationId xmlns:a16="http://schemas.microsoft.com/office/drawing/2014/main" xmlns="" id="{145750A7-1A1A-42D5-9A67-FA3BA49924AF}"/>
              </a:ext>
            </a:extLst>
          </p:cNvPr>
          <p:cNvSpPr/>
          <p:nvPr userDrawn="1"/>
        </p:nvSpPr>
        <p:spPr>
          <a:xfrm rot="5400000">
            <a:off x="815721" y="1598517"/>
            <a:ext cx="2484307" cy="2484307"/>
          </a:xfrm>
          <a:prstGeom prst="teardrop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7" name="그림 개체 틀 2">
            <a:extLst>
              <a:ext uri="{FF2B5EF4-FFF2-40B4-BE49-F238E27FC236}">
                <a16:creationId xmlns:a16="http://schemas.microsoft.com/office/drawing/2014/main" xmlns="" id="{55673249-3E22-43EE-86B3-99AB94FA9BC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5875" y="1688671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>
            <a:innerShdw blurRad="114300">
              <a:schemeClr val="bg1"/>
            </a:innerShdw>
          </a:effectLst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8" name="그림 개체 틀 2">
            <a:extLst>
              <a:ext uri="{FF2B5EF4-FFF2-40B4-BE49-F238E27FC236}">
                <a16:creationId xmlns:a16="http://schemas.microsoft.com/office/drawing/2014/main" xmlns="" id="{B4D5C21F-DF50-4469-BF69-608CB2211B1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57787" y="1688671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>
            <a:innerShdw blurRad="114300">
              <a:schemeClr val="bg1"/>
            </a:innerShdw>
          </a:effectLst>
        </p:spPr>
        <p:txBody>
          <a:bodyPr anchor="ctr"/>
          <a:lstStyle>
            <a:lvl1pPr marL="0" indent="0" algn="ctr">
              <a:buNone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그림 개체 틀 2">
            <a:extLst>
              <a:ext uri="{FF2B5EF4-FFF2-40B4-BE49-F238E27FC236}">
                <a16:creationId xmlns:a16="http://schemas.microsoft.com/office/drawing/2014/main" xmlns="" id="{163522E4-F046-42DD-9D9B-6EA54491E86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609697" y="1688671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5875">
            <a:noFill/>
          </a:ln>
          <a:effectLst>
            <a:innerShdw blurRad="114300">
              <a:schemeClr val="bg1"/>
            </a:innerShdw>
          </a:effectLst>
        </p:spPr>
        <p:txBody>
          <a:bodyPr anchor="ctr"/>
          <a:lstStyle>
            <a:lvl1pPr marL="0" indent="0" algn="ctr">
              <a:buFontTx/>
              <a:buNone/>
              <a:defRPr lang="ko-KR" altLang="en-US" sz="1200" dirty="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009131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8472024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0">
            <a:extLst>
              <a:ext uri="{FF2B5EF4-FFF2-40B4-BE49-F238E27FC236}">
                <a16:creationId xmlns:a16="http://schemas.microsoft.com/office/drawing/2014/main" xmlns="" id="{B00E3A9C-02B2-4D47-AF26-25E14C355A1A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5387008" y="670893"/>
            <a:ext cx="5724941" cy="5516217"/>
          </a:xfrm>
          <a:custGeom>
            <a:avLst/>
            <a:gdLst>
              <a:gd name="connsiteX0" fmla="*/ 0 w 5724941"/>
              <a:gd name="connsiteY0" fmla="*/ 4750906 h 5516217"/>
              <a:gd name="connsiteX1" fmla="*/ 3980624 w 5724941"/>
              <a:gd name="connsiteY1" fmla="*/ 4750906 h 5516217"/>
              <a:gd name="connsiteX2" fmla="*/ 3980624 w 5724941"/>
              <a:gd name="connsiteY2" fmla="*/ 5516217 h 5516217"/>
              <a:gd name="connsiteX3" fmla="*/ 0 w 5724941"/>
              <a:gd name="connsiteY3" fmla="*/ 5516217 h 5516217"/>
              <a:gd name="connsiteX4" fmla="*/ 4123085 w 5724941"/>
              <a:gd name="connsiteY4" fmla="*/ 2822714 h 5516217"/>
              <a:gd name="connsiteX5" fmla="*/ 5724941 w 5724941"/>
              <a:gd name="connsiteY5" fmla="*/ 2822714 h 5516217"/>
              <a:gd name="connsiteX6" fmla="*/ 5724941 w 5724941"/>
              <a:gd name="connsiteY6" fmla="*/ 4949686 h 5516217"/>
              <a:gd name="connsiteX7" fmla="*/ 4123085 w 5724941"/>
              <a:gd name="connsiteY7" fmla="*/ 4949686 h 5516217"/>
              <a:gd name="connsiteX8" fmla="*/ 2796210 w 5724941"/>
              <a:gd name="connsiteY8" fmla="*/ 2822714 h 5516217"/>
              <a:gd name="connsiteX9" fmla="*/ 3980623 w 5724941"/>
              <a:gd name="connsiteY9" fmla="*/ 2822714 h 5516217"/>
              <a:gd name="connsiteX10" fmla="*/ 3980623 w 5724941"/>
              <a:gd name="connsiteY10" fmla="*/ 4611758 h 5516217"/>
              <a:gd name="connsiteX11" fmla="*/ 2796210 w 5724941"/>
              <a:gd name="connsiteY11" fmla="*/ 4611758 h 5516217"/>
              <a:gd name="connsiteX12" fmla="*/ 0 w 5724941"/>
              <a:gd name="connsiteY12" fmla="*/ 1928192 h 5516217"/>
              <a:gd name="connsiteX13" fmla="*/ 2653748 w 5724941"/>
              <a:gd name="connsiteY13" fmla="*/ 1928192 h 5516217"/>
              <a:gd name="connsiteX14" fmla="*/ 2653748 w 5724941"/>
              <a:gd name="connsiteY14" fmla="*/ 4611758 h 5516217"/>
              <a:gd name="connsiteX15" fmla="*/ 0 w 5724941"/>
              <a:gd name="connsiteY15" fmla="*/ 4611758 h 5516217"/>
              <a:gd name="connsiteX16" fmla="*/ 2796211 w 5724941"/>
              <a:gd name="connsiteY16" fmla="*/ 894522 h 5516217"/>
              <a:gd name="connsiteX17" fmla="*/ 5449959 w 5724941"/>
              <a:gd name="connsiteY17" fmla="*/ 894522 h 5516217"/>
              <a:gd name="connsiteX18" fmla="*/ 5449959 w 5724941"/>
              <a:gd name="connsiteY18" fmla="*/ 2683566 h 5516217"/>
              <a:gd name="connsiteX19" fmla="*/ 2796211 w 5724941"/>
              <a:gd name="connsiteY19" fmla="*/ 2683566 h 5516217"/>
              <a:gd name="connsiteX20" fmla="*/ 1007166 w 5724941"/>
              <a:gd name="connsiteY20" fmla="*/ 0 h 5516217"/>
              <a:gd name="connsiteX21" fmla="*/ 2653749 w 5724941"/>
              <a:gd name="connsiteY21" fmla="*/ 0 h 5516217"/>
              <a:gd name="connsiteX22" fmla="*/ 2653749 w 5724941"/>
              <a:gd name="connsiteY22" fmla="*/ 1789044 h 5516217"/>
              <a:gd name="connsiteX23" fmla="*/ 1007166 w 5724941"/>
              <a:gd name="connsiteY23" fmla="*/ 1789044 h 55162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5724941" h="5516217">
                <a:moveTo>
                  <a:pt x="0" y="4750906"/>
                </a:moveTo>
                <a:lnTo>
                  <a:pt x="3980624" y="4750906"/>
                </a:lnTo>
                <a:lnTo>
                  <a:pt x="3980624" y="5516217"/>
                </a:lnTo>
                <a:lnTo>
                  <a:pt x="0" y="5516217"/>
                </a:lnTo>
                <a:close/>
                <a:moveTo>
                  <a:pt x="4123085" y="2822714"/>
                </a:moveTo>
                <a:lnTo>
                  <a:pt x="5724941" y="2822714"/>
                </a:lnTo>
                <a:lnTo>
                  <a:pt x="5724941" y="4949686"/>
                </a:lnTo>
                <a:lnTo>
                  <a:pt x="4123085" y="4949686"/>
                </a:lnTo>
                <a:close/>
                <a:moveTo>
                  <a:pt x="2796210" y="2822714"/>
                </a:moveTo>
                <a:lnTo>
                  <a:pt x="3980623" y="2822714"/>
                </a:lnTo>
                <a:lnTo>
                  <a:pt x="3980623" y="4611758"/>
                </a:lnTo>
                <a:lnTo>
                  <a:pt x="2796210" y="4611758"/>
                </a:lnTo>
                <a:close/>
                <a:moveTo>
                  <a:pt x="0" y="1928192"/>
                </a:moveTo>
                <a:lnTo>
                  <a:pt x="2653748" y="1928192"/>
                </a:lnTo>
                <a:lnTo>
                  <a:pt x="2653748" y="4611758"/>
                </a:lnTo>
                <a:lnTo>
                  <a:pt x="0" y="4611758"/>
                </a:lnTo>
                <a:close/>
                <a:moveTo>
                  <a:pt x="2796211" y="894522"/>
                </a:moveTo>
                <a:lnTo>
                  <a:pt x="5449959" y="894522"/>
                </a:lnTo>
                <a:lnTo>
                  <a:pt x="5449959" y="2683566"/>
                </a:lnTo>
                <a:lnTo>
                  <a:pt x="2796211" y="2683566"/>
                </a:lnTo>
                <a:close/>
                <a:moveTo>
                  <a:pt x="1007166" y="0"/>
                </a:moveTo>
                <a:lnTo>
                  <a:pt x="2653749" y="0"/>
                </a:lnTo>
                <a:lnTo>
                  <a:pt x="2653749" y="1789044"/>
                </a:lnTo>
                <a:lnTo>
                  <a:pt x="1007166" y="178904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11" indent="0">
              <a:buNone/>
              <a:defRPr sz="2800"/>
            </a:lvl2pPr>
            <a:lvl3pPr marL="914424" indent="0">
              <a:buNone/>
              <a:defRPr sz="2400"/>
            </a:lvl3pPr>
            <a:lvl4pPr marL="1371635" indent="0">
              <a:buNone/>
              <a:defRPr sz="2000"/>
            </a:lvl4pPr>
            <a:lvl5pPr marL="1828845" indent="0">
              <a:buNone/>
              <a:defRPr sz="2000"/>
            </a:lvl5pPr>
            <a:lvl6pPr marL="2286058" indent="0">
              <a:buNone/>
              <a:defRPr sz="2000"/>
            </a:lvl6pPr>
            <a:lvl7pPr marL="2743269" indent="0">
              <a:buNone/>
              <a:defRPr sz="2000"/>
            </a:lvl7pPr>
            <a:lvl8pPr marL="3200480" indent="0">
              <a:buNone/>
              <a:defRPr sz="2000"/>
            </a:lvl8pPr>
            <a:lvl9pPr marL="3657691" indent="0">
              <a:buNone/>
              <a:defRPr sz="2000"/>
            </a:lvl9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7307860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532804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216E0E6-3CD8-4642-B8CB-3D39B25CDBC1}"/>
              </a:ext>
            </a:extLst>
          </p:cNvPr>
          <p:cNvSpPr/>
          <p:nvPr userDrawn="1"/>
        </p:nvSpPr>
        <p:spPr>
          <a:xfrm>
            <a:off x="0" y="-38098"/>
            <a:ext cx="12192000" cy="4448175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3" name="Group 14">
            <a:extLst>
              <a:ext uri="{FF2B5EF4-FFF2-40B4-BE49-F238E27FC236}">
                <a16:creationId xmlns:a16="http://schemas.microsoft.com/office/drawing/2014/main" xmlns="" id="{32C23BD1-BF5E-4F19-A3E6-8932E05B56D9}"/>
              </a:ext>
            </a:extLst>
          </p:cNvPr>
          <p:cNvGrpSpPr/>
          <p:nvPr userDrawn="1"/>
        </p:nvGrpSpPr>
        <p:grpSpPr>
          <a:xfrm>
            <a:off x="7168868" y="1596913"/>
            <a:ext cx="2388835" cy="4199448"/>
            <a:chOff x="445712" y="1449040"/>
            <a:chExt cx="2113018" cy="3924176"/>
          </a:xfrm>
        </p:grpSpPr>
        <p:sp>
          <p:nvSpPr>
            <p:cNvPr id="4" name="Rounded Rectangle 15">
              <a:extLst>
                <a:ext uri="{FF2B5EF4-FFF2-40B4-BE49-F238E27FC236}">
                  <a16:creationId xmlns:a16="http://schemas.microsoft.com/office/drawing/2014/main" xmlns="" id="{16928F1C-E233-4746-AD89-06D9E2C0D7E9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" name="Rectangle 16">
              <a:extLst>
                <a:ext uri="{FF2B5EF4-FFF2-40B4-BE49-F238E27FC236}">
                  <a16:creationId xmlns:a16="http://schemas.microsoft.com/office/drawing/2014/main" xmlns="" id="{53B56079-9848-4699-A28A-8CEE9FF74A5E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6" name="Group 17">
              <a:extLst>
                <a:ext uri="{FF2B5EF4-FFF2-40B4-BE49-F238E27FC236}">
                  <a16:creationId xmlns:a16="http://schemas.microsoft.com/office/drawing/2014/main" xmlns="" id="{BEE2638C-70A0-4ACC-9EEE-8E5E8DF8AC60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7" name="Oval 18">
                <a:extLst>
                  <a:ext uri="{FF2B5EF4-FFF2-40B4-BE49-F238E27FC236}">
                    <a16:creationId xmlns:a16="http://schemas.microsoft.com/office/drawing/2014/main" xmlns="" id="{E6A4EF29-17EF-4D8C-A3F4-F65CCCC07C70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8" name="Rounded Rectangle 19">
                <a:extLst>
                  <a:ext uri="{FF2B5EF4-FFF2-40B4-BE49-F238E27FC236}">
                    <a16:creationId xmlns:a16="http://schemas.microsoft.com/office/drawing/2014/main" xmlns="" id="{C1DF49B4-1C37-4D6D-B846-DFD2AB9DED1B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9" name="그림 개체 틀 2">
            <a:extLst>
              <a:ext uri="{FF2B5EF4-FFF2-40B4-BE49-F238E27FC236}">
                <a16:creationId xmlns:a16="http://schemas.microsoft.com/office/drawing/2014/main" xmlns="" id="{A4BB918E-42E3-433D-82C5-D553957DBA5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7267717" y="1973174"/>
            <a:ext cx="1400643" cy="3375239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  <p:grpSp>
        <p:nvGrpSpPr>
          <p:cNvPr id="10" name="Group 14">
            <a:extLst>
              <a:ext uri="{FF2B5EF4-FFF2-40B4-BE49-F238E27FC236}">
                <a16:creationId xmlns:a16="http://schemas.microsoft.com/office/drawing/2014/main" xmlns="" id="{CFE1EF3E-04D4-4043-AC8F-BFE8C5CB534C}"/>
              </a:ext>
            </a:extLst>
          </p:cNvPr>
          <p:cNvGrpSpPr/>
          <p:nvPr userDrawn="1"/>
        </p:nvGrpSpPr>
        <p:grpSpPr>
          <a:xfrm>
            <a:off x="8668361" y="1409273"/>
            <a:ext cx="2565503" cy="4510019"/>
            <a:chOff x="445712" y="1449040"/>
            <a:chExt cx="2113018" cy="3924176"/>
          </a:xfrm>
        </p:grpSpPr>
        <p:sp>
          <p:nvSpPr>
            <p:cNvPr id="11" name="Rounded Rectangle 15">
              <a:extLst>
                <a:ext uri="{FF2B5EF4-FFF2-40B4-BE49-F238E27FC236}">
                  <a16:creationId xmlns:a16="http://schemas.microsoft.com/office/drawing/2014/main" xmlns="" id="{06658BAB-7E05-45FE-8764-692F1810E825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12" name="Rectangle 16">
              <a:extLst>
                <a:ext uri="{FF2B5EF4-FFF2-40B4-BE49-F238E27FC236}">
                  <a16:creationId xmlns:a16="http://schemas.microsoft.com/office/drawing/2014/main" xmlns="" id="{258E05E7-B0FA-468B-8CF5-A506DC41C367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13" name="Group 17">
              <a:extLst>
                <a:ext uri="{FF2B5EF4-FFF2-40B4-BE49-F238E27FC236}">
                  <a16:creationId xmlns:a16="http://schemas.microsoft.com/office/drawing/2014/main" xmlns="" id="{C2C7F807-41AA-4922-A382-7CFE7B7F542A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14" name="Oval 18">
                <a:extLst>
                  <a:ext uri="{FF2B5EF4-FFF2-40B4-BE49-F238E27FC236}">
                    <a16:creationId xmlns:a16="http://schemas.microsoft.com/office/drawing/2014/main" xmlns="" id="{D7FA24BD-C7CC-4577-8BA3-4F3DDABE2194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15" name="Rounded Rectangle 19">
                <a:extLst>
                  <a:ext uri="{FF2B5EF4-FFF2-40B4-BE49-F238E27FC236}">
                    <a16:creationId xmlns:a16="http://schemas.microsoft.com/office/drawing/2014/main" xmlns="" id="{815B359B-9AE9-40C9-8117-EA8F87A49902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16" name="그림 개체 틀 2">
            <a:extLst>
              <a:ext uri="{FF2B5EF4-FFF2-40B4-BE49-F238E27FC236}">
                <a16:creationId xmlns:a16="http://schemas.microsoft.com/office/drawing/2014/main" xmlns="" id="{193F75AD-D1C7-48CC-B2B8-A83365574928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782894" y="1785535"/>
            <a:ext cx="2337757" cy="362485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algn="ctr"/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4390267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661123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6">
            <a:extLst>
              <a:ext uri="{FF2B5EF4-FFF2-40B4-BE49-F238E27FC236}">
                <a16:creationId xmlns:a16="http://schemas.microsoft.com/office/drawing/2014/main" xmlns="" id="{E2730462-C992-40FA-8F59-8C11A7C73E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353073" y="3"/>
            <a:ext cx="5472876" cy="6857999"/>
          </a:xfrm>
          <a:custGeom>
            <a:avLst/>
            <a:gdLst>
              <a:gd name="connsiteX0" fmla="*/ 1236560 w 5472876"/>
              <a:gd name="connsiteY0" fmla="*/ 0 h 6857999"/>
              <a:gd name="connsiteX1" fmla="*/ 5472876 w 5472876"/>
              <a:gd name="connsiteY1" fmla="*/ 0 h 6857999"/>
              <a:gd name="connsiteX2" fmla="*/ 4236316 w 5472876"/>
              <a:gd name="connsiteY2" fmla="*/ 6857999 h 6857999"/>
              <a:gd name="connsiteX3" fmla="*/ 0 w 5472876"/>
              <a:gd name="connsiteY3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2876" h="6857999">
                <a:moveTo>
                  <a:pt x="1236560" y="0"/>
                </a:moveTo>
                <a:lnTo>
                  <a:pt x="5472876" y="0"/>
                </a:lnTo>
                <a:lnTo>
                  <a:pt x="4236316" y="6857999"/>
                </a:lnTo>
                <a:lnTo>
                  <a:pt x="0" y="6857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186544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214631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7">
            <a:extLst>
              <a:ext uri="{FF2B5EF4-FFF2-40B4-BE49-F238E27FC236}">
                <a16:creationId xmlns:a16="http://schemas.microsoft.com/office/drawing/2014/main" xmlns="" id="{3289687E-E05D-4695-958C-B1E6D2856857}"/>
              </a:ext>
            </a:extLst>
          </p:cNvPr>
          <p:cNvSpPr/>
          <p:nvPr userDrawn="1"/>
        </p:nvSpPr>
        <p:spPr>
          <a:xfrm>
            <a:off x="6643991" y="0"/>
            <a:ext cx="3698132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3" name="그림 개체 틀 8">
            <a:extLst>
              <a:ext uri="{FF2B5EF4-FFF2-40B4-BE49-F238E27FC236}">
                <a16:creationId xmlns:a16="http://schemas.microsoft.com/office/drawing/2014/main" xmlns="" id="{2913FE9C-62F2-4E2F-974F-EF6F5174BAA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93478" y="1777430"/>
            <a:ext cx="10805047" cy="2763751"/>
          </a:xfrm>
          <a:prstGeom prst="rect">
            <a:avLst/>
          </a:pr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377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82313273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168892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val 1">
            <a:extLst>
              <a:ext uri="{FF2B5EF4-FFF2-40B4-BE49-F238E27FC236}">
                <a16:creationId xmlns:a16="http://schemas.microsoft.com/office/drawing/2014/main" xmlns="" id="{C10619B1-32EF-432D-BF49-D70BA36A062D}"/>
              </a:ext>
            </a:extLst>
          </p:cNvPr>
          <p:cNvSpPr/>
          <p:nvPr userDrawn="1"/>
        </p:nvSpPr>
        <p:spPr>
          <a:xfrm>
            <a:off x="6908167" y="5662484"/>
            <a:ext cx="4431324" cy="448875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/>
          </a:p>
        </p:txBody>
      </p:sp>
      <p:grpSp>
        <p:nvGrpSpPr>
          <p:cNvPr id="3" name="Graphic 14">
            <a:extLst>
              <a:ext uri="{FF2B5EF4-FFF2-40B4-BE49-F238E27FC236}">
                <a16:creationId xmlns:a16="http://schemas.microsoft.com/office/drawing/2014/main" xmlns="" id="{E6F96327-3565-4938-B1B3-64B119777404}"/>
              </a:ext>
            </a:extLst>
          </p:cNvPr>
          <p:cNvGrpSpPr/>
          <p:nvPr userDrawn="1"/>
        </p:nvGrpSpPr>
        <p:grpSpPr>
          <a:xfrm>
            <a:off x="7079705" y="2354199"/>
            <a:ext cx="4354943" cy="3514972"/>
            <a:chOff x="2444748" y="555045"/>
            <a:chExt cx="7282048" cy="5727454"/>
          </a:xfrm>
        </p:grpSpPr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D55B32D0-8C79-43CF-8BE1-13BA4C9369FF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2B0CA91C-AD7F-487D-8944-F24FED164420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40FFDC03-ECE6-46C8-BA8F-DF14D693813E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B152B523-66A4-4D48-B49C-2A400D04AD8A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376FC0A1-B92F-4F4E-8553-711B14252DDD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0F0EAF28-973E-4432-92CD-FFB3A75D233F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6032A55B-8151-47F6-9AE4-10DAF48F4EC1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D8C3A2E4-E9EC-4D76-8B73-42DFFE2DA611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400" dirty="0"/>
            </a:p>
          </p:txBody>
        </p:sp>
      </p:grpSp>
      <p:sp>
        <p:nvSpPr>
          <p:cNvPr id="12" name="그림 개체 틀 2">
            <a:extLst>
              <a:ext uri="{FF2B5EF4-FFF2-40B4-BE49-F238E27FC236}">
                <a16:creationId xmlns:a16="http://schemas.microsoft.com/office/drawing/2014/main" xmlns="" id="{21160164-5E9C-45C5-B6B2-DBE2E7A0F80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00473" y="2541395"/>
            <a:ext cx="4108512" cy="237230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xmlns="" id="{5AE4AE20-5B6C-4851-940C-815EB813E2A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9076099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353066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76940014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8479ED53-5E72-4796-A272-5A52C5AFC12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267389" y="2672859"/>
            <a:ext cx="8924611" cy="29246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" name="Frame 4">
            <a:extLst>
              <a:ext uri="{FF2B5EF4-FFF2-40B4-BE49-F238E27FC236}">
                <a16:creationId xmlns:a16="http://schemas.microsoft.com/office/drawing/2014/main" xmlns="" id="{F664D771-7999-4907-B49D-2A7174ED181E}"/>
              </a:ext>
            </a:extLst>
          </p:cNvPr>
          <p:cNvSpPr/>
          <p:nvPr userDrawn="1"/>
        </p:nvSpPr>
        <p:spPr>
          <a:xfrm>
            <a:off x="1065126" y="615463"/>
            <a:ext cx="10061751" cy="5627077"/>
          </a:xfrm>
          <a:prstGeom prst="frame">
            <a:avLst>
              <a:gd name="adj1" fmla="val 125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>
              <a:solidFill>
                <a:schemeClr val="tx1"/>
              </a:solidFill>
            </a:endParaRPr>
          </a:p>
        </p:txBody>
      </p:sp>
      <p:sp>
        <p:nvSpPr>
          <p:cNvPr id="4" name="Rectangle 6">
            <a:extLst>
              <a:ext uri="{FF2B5EF4-FFF2-40B4-BE49-F238E27FC236}">
                <a16:creationId xmlns:a16="http://schemas.microsoft.com/office/drawing/2014/main" xmlns="" id="{5A3315B1-4C3C-4388-B1F0-F11B26C6E308}"/>
              </a:ext>
            </a:extLst>
          </p:cNvPr>
          <p:cNvSpPr/>
          <p:nvPr userDrawn="1"/>
        </p:nvSpPr>
        <p:spPr>
          <a:xfrm>
            <a:off x="1" y="2672859"/>
            <a:ext cx="3064747" cy="292463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265531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98590867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82725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3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387356994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3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3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4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177631857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4E2FFAA-25BE-47A2-A60E-349BE354A81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993DAA34-980C-44A0-9965-D1AF72E12A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964162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5943E93-BC38-4864-A0B9-1D0652470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804DEF6-B94F-4858-A2BA-F37F3A9A60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3400" y="1825624"/>
            <a:ext cx="111252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xmlns="" id="{C7C10C37-1B34-9C47-BFDA-E7BCBCAF563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7C666FA-622C-5543-89BA-BF7C87197421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2AE4779-5D10-CB40-8216-502FC71BE377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xmlns="" id="{EC7C95B8-01FC-ED48-BB2E-207E6A148C9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35308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EE63D7A-540E-425A-BEF5-69BB8D40BC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F3CBEA5-6625-4A00-B51E-8641A4AE23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980909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DDD00FA-CA57-4FCA-BFA6-C374C16C9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FE40965A-09CA-4AA8-9C52-A5770F42345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34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E9E6E0D-8C89-4C4D-B2ED-BC0A4867F9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4"/>
            <a:ext cx="54864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xmlns="" id="{EB7246B7-6775-764E-A912-1312BEFC283F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8460D470-9B3D-CB43-814A-E7FA0C6373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F488FB18-0850-704E-B163-405F8576E968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27B7FF1D-0624-CE4A-A4CD-F335145A03B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13783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E1BB064-2B6B-4DB3-B5F2-73FB6436F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365125"/>
            <a:ext cx="11128376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20364BD-656F-49D4-978C-1EF0460DC83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681163"/>
            <a:ext cx="5464175" cy="83704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2CC1E74-B5DE-489B-8062-6F648F39AF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2505074"/>
            <a:ext cx="5464175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ACD74AC3-B164-43D5-8EE3-2B3FACE1F0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8640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5D59746C-CBAC-4D9D-AFCA-8ED31A8889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4"/>
            <a:ext cx="5486400" cy="374332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xmlns="" id="{CC35B9EB-9302-AA4F-9BF8-2737F857CCA0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1939A9EA-2ABF-C74F-806B-13D76E1FB85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xmlns="" id="{84FCB34C-4B8E-D84B-AE23-17CC99BFE0E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xmlns="" id="{BA6C1887-7FEC-DD49-9807-C753285B8B6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6337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369153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7" name="Round Same Side Corner Rectangle 6">
            <a:extLst>
              <a:ext uri="{FF2B5EF4-FFF2-40B4-BE49-F238E27FC236}">
                <a16:creationId xmlns:a16="http://schemas.microsoft.com/office/drawing/2014/main" xmlns="" id="{B4ADEBAC-E497-CB48-8513-F33DB82A8973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0D201E58-B497-624D-AB7C-62DCAC1049C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320A711D-6C98-6C43-8314-B5B48812555D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xmlns="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559546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 Same Side Corner Rectangle 7">
            <a:extLst>
              <a:ext uri="{FF2B5EF4-FFF2-40B4-BE49-F238E27FC236}">
                <a16:creationId xmlns:a16="http://schemas.microsoft.com/office/drawing/2014/main" xmlns="" id="{EABA0E42-432A-314C-B839-158E73B7F9F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5948A03-5308-0D43-8DC0-1712C4C0AA6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36893DEC-253F-CD42-B9C4-2F3437D2C321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55199B63-AA1B-C347-8FDF-19BC284F899D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706573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7B33DCC-E58D-4E90-BD32-93612EB10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FB7CF97-5037-48C8-8243-48B5F78702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6953ED2-55B1-4F90-9569-25377B50E6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xmlns="" id="{CBD9C243-2244-414C-979E-C2B50D4A5B82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5EB76271-C58C-894A-96DA-3770479E3AFF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B3E2A1FF-741B-A247-B472-AE6F07156994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46C7A151-F4D1-864E-B175-79AF4C087CE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448728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03295E-5F2E-469B-B4C3-767643F280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3A84A6C5-DA12-455A-81DD-2B5C41D0E99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ID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5A59A1D-8CC0-43CE-9EB7-F5DE71D0A3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ound Same Side Corner Rectangle 10">
            <a:extLst>
              <a:ext uri="{FF2B5EF4-FFF2-40B4-BE49-F238E27FC236}">
                <a16:creationId xmlns:a16="http://schemas.microsoft.com/office/drawing/2014/main" xmlns="" id="{5F2A2DD5-4CB6-FE40-9B7E-3B222A91D018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0F64F79-87B9-7A46-AE76-1906CB926CAC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745CEAFE-18A1-3E4F-8F70-07DFA2AC6F0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4088C8A6-6F71-FE44-9B1E-1DDFE9D822D8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638832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6C3B649-33B5-49E0-AF95-5C2F743605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DB1F3234-B853-4DD4-ACD3-949D5F2843A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1825624"/>
            <a:ext cx="11125200" cy="44227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xmlns="" id="{304C0EF7-46FB-6E46-81BE-5358BF7223D1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DA7A9DC3-D600-E246-B69A-326EB34F72F0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7B1478BB-1418-3B41-87CE-A4F674376C62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067D99EF-F1C8-EC4C-9C91-3950C3AA392A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026833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9874D309-A159-49EF-AA30-9AD12AF5DB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4"/>
            <a:ext cx="2933700" cy="58832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C069772-6562-4B91-92CF-F6615BFA12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3400" y="365124"/>
            <a:ext cx="8039100" cy="58832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10" name="Round Same Side Corner Rectangle 9">
            <a:extLst>
              <a:ext uri="{FF2B5EF4-FFF2-40B4-BE49-F238E27FC236}">
                <a16:creationId xmlns:a16="http://schemas.microsoft.com/office/drawing/2014/main" xmlns="" id="{19FD2F09-3B88-314A-B3CC-FEEDDCF53056}"/>
              </a:ext>
            </a:extLst>
          </p:cNvPr>
          <p:cNvSpPr/>
          <p:nvPr userDrawn="1"/>
        </p:nvSpPr>
        <p:spPr>
          <a:xfrm>
            <a:off x="11264900" y="6451600"/>
            <a:ext cx="393700" cy="406399"/>
          </a:xfrm>
          <a:prstGeom prst="round2SameRect">
            <a:avLst>
              <a:gd name="adj1" fmla="val 0"/>
              <a:gd name="adj2" fmla="val 0"/>
            </a:avLst>
          </a:prstGeom>
          <a:gradFill>
            <a:gsLst>
              <a:gs pos="0">
                <a:schemeClr val="tx1">
                  <a:lumMod val="75000"/>
                  <a:lumOff val="25000"/>
                  <a:alpha val="55000"/>
                </a:schemeClr>
              </a:gs>
              <a:gs pos="100000">
                <a:schemeClr val="tx1">
                  <a:lumMod val="95000"/>
                  <a:lumOff val="5000"/>
                </a:schemeClr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ID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0FD0AAF1-F4D5-E44C-8BE3-766407CC3633}"/>
              </a:ext>
            </a:extLst>
          </p:cNvPr>
          <p:cNvSpPr txBox="1"/>
          <p:nvPr userDrawn="1"/>
        </p:nvSpPr>
        <p:spPr>
          <a:xfrm>
            <a:off x="11295856" y="6571376"/>
            <a:ext cx="331788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fld id="{40876BFF-1584-4FA6-A406-00684317F9C8}" type="slidenum">
              <a:rPr lang="en-US" sz="1000" b="1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‹#›</a:t>
            </a:fld>
            <a:endParaRPr lang="en-US" sz="1000" b="1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128BF7B9-5D64-1843-8EE0-CBC45D50B48E}"/>
              </a:ext>
            </a:extLst>
          </p:cNvPr>
          <p:cNvSpPr txBox="1"/>
          <p:nvPr userDrawn="1"/>
        </p:nvSpPr>
        <p:spPr>
          <a:xfrm>
            <a:off x="9824682" y="6586765"/>
            <a:ext cx="1241788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r>
              <a:rPr lang="en-US" sz="800" b="0" dirty="0">
                <a:solidFill>
                  <a:schemeClr val="bg1">
                    <a:lumMod val="65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-Commerce Marketing Plan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xmlns="" id="{ED8CB0C3-E679-CF46-A2DF-4862E9A615A6}"/>
              </a:ext>
            </a:extLst>
          </p:cNvPr>
          <p:cNvCxnSpPr>
            <a:cxnSpLocks/>
          </p:cNvCxnSpPr>
          <p:nvPr userDrawn="1"/>
        </p:nvCxnSpPr>
        <p:spPr>
          <a:xfrm flipH="1">
            <a:off x="2" y="6648320"/>
            <a:ext cx="962625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5966515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C61C263-53FB-A8F4-1D3C-F30FEC481B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38777BF0-3DDF-15C0-1371-58086FC749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C6BB6E5-06BF-17AF-A63E-BBB367C541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D29E866-6AFC-7899-C02C-234F2AD4DA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C2F00B5-CD2B-054F-FB51-6AFCF24E5D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90235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6C9DCE1-6647-5441-1B9D-5F406793A1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EDF1786-4368-3DD7-E9F3-BE52033122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2C11388-BE88-7D0F-0BE4-80FD368A5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984C7E0-5518-4DF3-6ABD-73F95B3020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65F7870-195E-D448-CE2C-0D299E0C67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94063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AD0EBA-CFEF-5B2C-F06C-FBD706E06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A4C55AA-CF29-9C65-E68B-4C8A73A54C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F988B75-BB16-1B61-E1D9-D7F6124106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E4209B3-FAFF-05F6-00A4-99D02C4352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5FF6A80-F5E3-24CC-5BB6-F8174CAAF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1339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5903686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D8D57BB-7EBC-0DC4-55DD-AA1D334BE3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B76C2ED1-0351-F680-7550-44B492903F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57F9EC37-4B6F-45A7-4731-09510C7CBC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39DAFF73-76E0-8495-280C-046218F52B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C83D4A18-F16E-8360-D747-523A08210A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37522EE-E184-DAFF-9A62-2B1636B74B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09688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51AEAF-9E79-B448-BE87-17AC5A914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DF120E7-CB28-DFC1-1C28-F4D26B857F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7CF57C73-6FFC-257E-9703-DE9001E743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E4CA380A-B470-7A20-F564-5E0B7594083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DFD5A383-8943-F12F-3B73-804808A2E3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DDF36488-E7A4-3292-6640-2AAF9766E7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2D85E8EC-6597-3F3A-364D-690578AFA7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23FD070F-FF31-BB7E-DBF1-56773E5B2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804371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D7147E0-7AC3-C580-564A-4F4181DE63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DA160C4-732D-2F21-024C-8E842EDDB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340590C-4097-917F-C673-05E38C3262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F2A69D0-ED0C-CEBF-EB8B-1EC54290E3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586682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C81EFD5-BF51-975C-1EA3-92E1EF51BC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6B3DD3C-7334-D763-0F72-88AEA8457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A9DCDFC-7960-C835-86C0-18B2D467B2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21454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4E189AC-4AE6-19C5-7415-48C58B371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DE81F46E-AFBB-3112-8880-986421FFA5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9268B97D-8914-5443-E48C-ABC786089A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414F685B-0763-E0AF-D609-F3E358C3D9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983F7133-6ADC-62D2-AA70-2766A5E239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5199198F-8A95-E598-4168-54F27B2AD5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85118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3AB07A-B6D9-1E03-0EDB-744C233BB5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41444461-0CAB-FAA7-0AA0-DF4EFB5028A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AFB04D7-DC40-B6FF-2EF3-57FA61BA91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CE10C0B4-41C3-11D8-1062-32B8D857A3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38921C6-A6E7-6430-169D-E92065526F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858ACDC-4A1B-C810-6520-34C41CCB7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45052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01FD974-C163-DA65-19DF-1D2AD94AF5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9E5ECC9D-5E49-39A7-5043-4BA94582C2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AC84CF5-1A2C-CFC8-85DD-07FF9FA3C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C8C5375-1050-5A29-2DF4-ED8CD30E7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A08D7D0-194F-189D-BD70-5527033A0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150070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3334D73E-C1D4-BCB8-1A5C-C2CCF416297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E182BE21-86A7-5DC1-B283-19819BE3E94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2BEDF99-780A-4377-84F3-418C57E6CD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D2FCD24-C604-10D7-E6F7-757BB127F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27FDFDE-9C4A-AAC5-FEF2-93696611D4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8468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8394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xmlns="" id="{75458041-BCC9-4D92-9490-8AF60C00983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5524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9" name="그림 개체 틀 2">
            <a:extLst>
              <a:ext uri="{FF2B5EF4-FFF2-40B4-BE49-F238E27FC236}">
                <a16:creationId xmlns:a16="http://schemas.microsoft.com/office/drawing/2014/main" xmlns="" id="{E26C6D06-6A68-4FCA-8E86-84C6A4BCE96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3313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4" name="그림 개체 틀 2">
            <a:extLst>
              <a:ext uri="{FF2B5EF4-FFF2-40B4-BE49-F238E27FC236}">
                <a16:creationId xmlns:a16="http://schemas.microsoft.com/office/drawing/2014/main" xmlns="" id="{7EA72833-AD93-4833-9A2D-CEDAD0BA74B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01103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3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5" name="그림 개체 틀 2">
            <a:extLst>
              <a:ext uri="{FF2B5EF4-FFF2-40B4-BE49-F238E27FC236}">
                <a16:creationId xmlns:a16="http://schemas.microsoft.com/office/drawing/2014/main" xmlns="" id="{E974C75D-D81B-497C-9C4E-F1BB2C01057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16308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4078322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그림 개체 틀 14">
            <a:extLst>
              <a:ext uri="{FF2B5EF4-FFF2-40B4-BE49-F238E27FC236}">
                <a16:creationId xmlns:a16="http://schemas.microsoft.com/office/drawing/2014/main" xmlns="" id="{A769A459-AF04-45A7-80CE-4E8DC5AC49C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4943" y="448887"/>
            <a:ext cx="2825140" cy="2825140"/>
          </a:xfrm>
          <a:custGeom>
            <a:avLst/>
            <a:gdLst>
              <a:gd name="connsiteX0" fmla="*/ 1412570 w 2825140"/>
              <a:gd name="connsiteY0" fmla="*/ 0 h 2825140"/>
              <a:gd name="connsiteX1" fmla="*/ 2825140 w 2825140"/>
              <a:gd name="connsiteY1" fmla="*/ 1412570 h 2825140"/>
              <a:gd name="connsiteX2" fmla="*/ 1412570 w 2825140"/>
              <a:gd name="connsiteY2" fmla="*/ 2825140 h 2825140"/>
              <a:gd name="connsiteX3" fmla="*/ 0 w 2825140"/>
              <a:gd name="connsiteY3" fmla="*/ 1412570 h 2825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5140" h="2825140">
                <a:moveTo>
                  <a:pt x="1412570" y="0"/>
                </a:moveTo>
                <a:lnTo>
                  <a:pt x="2825140" y="1412570"/>
                </a:lnTo>
                <a:lnTo>
                  <a:pt x="1412570" y="2825140"/>
                </a:lnTo>
                <a:lnTo>
                  <a:pt x="0" y="14125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" name="그림 개체 틀 15">
            <a:extLst>
              <a:ext uri="{FF2B5EF4-FFF2-40B4-BE49-F238E27FC236}">
                <a16:creationId xmlns:a16="http://schemas.microsoft.com/office/drawing/2014/main" xmlns="" id="{DFE4068D-B3EC-469A-9F6F-A76002F6DBF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653743" y="2009396"/>
            <a:ext cx="2825140" cy="2825140"/>
          </a:xfrm>
          <a:custGeom>
            <a:avLst/>
            <a:gdLst>
              <a:gd name="connsiteX0" fmla="*/ 1412571 w 2825140"/>
              <a:gd name="connsiteY0" fmla="*/ 0 h 2825140"/>
              <a:gd name="connsiteX1" fmla="*/ 2825140 w 2825140"/>
              <a:gd name="connsiteY1" fmla="*/ 1412570 h 2825140"/>
              <a:gd name="connsiteX2" fmla="*/ 1412571 w 2825140"/>
              <a:gd name="connsiteY2" fmla="*/ 2825140 h 2825140"/>
              <a:gd name="connsiteX3" fmla="*/ 0 w 2825140"/>
              <a:gd name="connsiteY3" fmla="*/ 1412570 h 2825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5140" h="2825140">
                <a:moveTo>
                  <a:pt x="1412571" y="0"/>
                </a:moveTo>
                <a:lnTo>
                  <a:pt x="2825140" y="1412570"/>
                </a:lnTo>
                <a:lnTo>
                  <a:pt x="1412571" y="2825140"/>
                </a:lnTo>
                <a:lnTo>
                  <a:pt x="0" y="14125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그림 개체 틀 16">
            <a:extLst>
              <a:ext uri="{FF2B5EF4-FFF2-40B4-BE49-F238E27FC236}">
                <a16:creationId xmlns:a16="http://schemas.microsoft.com/office/drawing/2014/main" xmlns="" id="{5C5441D4-AB74-4B7F-B4AC-DD976BF7783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232543" y="448886"/>
            <a:ext cx="2825140" cy="2825140"/>
          </a:xfrm>
          <a:custGeom>
            <a:avLst/>
            <a:gdLst>
              <a:gd name="connsiteX0" fmla="*/ 1412570 w 2825140"/>
              <a:gd name="connsiteY0" fmla="*/ 0 h 2825140"/>
              <a:gd name="connsiteX1" fmla="*/ 2825140 w 2825140"/>
              <a:gd name="connsiteY1" fmla="*/ 1412570 h 2825140"/>
              <a:gd name="connsiteX2" fmla="*/ 1412570 w 2825140"/>
              <a:gd name="connsiteY2" fmla="*/ 2825140 h 2825140"/>
              <a:gd name="connsiteX3" fmla="*/ 0 w 2825140"/>
              <a:gd name="connsiteY3" fmla="*/ 1412570 h 2825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5140" h="2825140">
                <a:moveTo>
                  <a:pt x="1412570" y="0"/>
                </a:moveTo>
                <a:lnTo>
                  <a:pt x="2825140" y="1412570"/>
                </a:lnTo>
                <a:lnTo>
                  <a:pt x="1412570" y="2825140"/>
                </a:lnTo>
                <a:lnTo>
                  <a:pt x="0" y="14125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그림 개체 틀 17">
            <a:extLst>
              <a:ext uri="{FF2B5EF4-FFF2-40B4-BE49-F238E27FC236}">
                <a16:creationId xmlns:a16="http://schemas.microsoft.com/office/drawing/2014/main" xmlns="" id="{9EB123B0-D633-4FA6-9EA7-8A395458C60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206299" y="3569906"/>
            <a:ext cx="2825140" cy="2825140"/>
          </a:xfrm>
          <a:custGeom>
            <a:avLst/>
            <a:gdLst>
              <a:gd name="connsiteX0" fmla="*/ 1412570 w 2825140"/>
              <a:gd name="connsiteY0" fmla="*/ 0 h 2825140"/>
              <a:gd name="connsiteX1" fmla="*/ 2825140 w 2825140"/>
              <a:gd name="connsiteY1" fmla="*/ 1412570 h 2825140"/>
              <a:gd name="connsiteX2" fmla="*/ 1412570 w 2825140"/>
              <a:gd name="connsiteY2" fmla="*/ 2825140 h 2825140"/>
              <a:gd name="connsiteX3" fmla="*/ 0 w 2825140"/>
              <a:gd name="connsiteY3" fmla="*/ 1412570 h 2825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25140" h="2825140">
                <a:moveTo>
                  <a:pt x="1412570" y="0"/>
                </a:moveTo>
                <a:lnTo>
                  <a:pt x="2825140" y="1412570"/>
                </a:lnTo>
                <a:lnTo>
                  <a:pt x="1412570" y="2825140"/>
                </a:lnTo>
                <a:lnTo>
                  <a:pt x="0" y="14125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xmlns="" id="{7DE9F876-6862-4E0C-A11E-9C7D17FE104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770034" y="14068"/>
            <a:ext cx="3421967" cy="6843932"/>
          </a:xfrm>
          <a:custGeom>
            <a:avLst/>
            <a:gdLst>
              <a:gd name="connsiteX0" fmla="*/ 3421966 w 3421966"/>
              <a:gd name="connsiteY0" fmla="*/ 0 h 6843932"/>
              <a:gd name="connsiteX1" fmla="*/ 3421966 w 3421966"/>
              <a:gd name="connsiteY1" fmla="*/ 6843932 h 6843932"/>
              <a:gd name="connsiteX2" fmla="*/ 0 w 3421966"/>
              <a:gd name="connsiteY2" fmla="*/ 3421966 h 68439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21966" h="6843932">
                <a:moveTo>
                  <a:pt x="3421966" y="0"/>
                </a:moveTo>
                <a:lnTo>
                  <a:pt x="3421966" y="6843932"/>
                </a:lnTo>
                <a:lnTo>
                  <a:pt x="0" y="342196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458415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63253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9112FC24-B0BB-43AE-AB6F-2F8A6318C976}"/>
              </a:ext>
            </a:extLst>
          </p:cNvPr>
          <p:cNvGrpSpPr/>
          <p:nvPr userDrawn="1"/>
        </p:nvGrpSpPr>
        <p:grpSpPr>
          <a:xfrm>
            <a:off x="0" y="477136"/>
            <a:ext cx="11704320" cy="5935130"/>
            <a:chOff x="-161213" y="477136"/>
            <a:chExt cx="11704320" cy="5935130"/>
          </a:xfrm>
        </p:grpSpPr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xmlns="" id="{202B0099-32CD-4A9E-A010-EB75F1B7ADBC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477136"/>
              <a:ext cx="11704320" cy="0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xmlns="" id="{66FFECB2-D63A-4DED-B565-1B5EC1C6DBCE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1543107" y="477136"/>
              <a:ext cx="0" cy="5935130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xmlns="" id="{8423856D-6F4B-428C-8039-92BC2469A811}"/>
                </a:ext>
              </a:extLst>
            </p:cNvPr>
            <p:cNvCxnSpPr>
              <a:cxnSpLocks/>
            </p:cNvCxnSpPr>
            <p:nvPr userDrawn="1"/>
          </p:nvCxnSpPr>
          <p:spPr>
            <a:xfrm flipH="1">
              <a:off x="-161213" y="6392850"/>
              <a:ext cx="11704320" cy="13272"/>
            </a:xfrm>
            <a:prstGeom prst="line">
              <a:avLst/>
            </a:prstGeom>
            <a:ln w="4445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xmlns="" id="{EA64BFEB-701F-4523-9B1A-D0CE644C530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23315" cy="6858000"/>
          </a:xfrm>
          <a:custGeom>
            <a:avLst/>
            <a:gdLst>
              <a:gd name="connsiteX0" fmla="*/ 0 w 6923314"/>
              <a:gd name="connsiteY0" fmla="*/ 0 h 6858000"/>
              <a:gd name="connsiteX1" fmla="*/ 5208814 w 6923314"/>
              <a:gd name="connsiteY1" fmla="*/ 0 h 6858000"/>
              <a:gd name="connsiteX2" fmla="*/ 6923314 w 6923314"/>
              <a:gd name="connsiteY2" fmla="*/ 6858000 h 6858000"/>
              <a:gd name="connsiteX3" fmla="*/ 1305197 w 6923314"/>
              <a:gd name="connsiteY3" fmla="*/ 6858000 h 6858000"/>
              <a:gd name="connsiteX4" fmla="*/ 0 w 6923314"/>
              <a:gd name="connsiteY4" fmla="*/ 16372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3314" h="6858000">
                <a:moveTo>
                  <a:pt x="0" y="0"/>
                </a:moveTo>
                <a:lnTo>
                  <a:pt x="5208814" y="0"/>
                </a:lnTo>
                <a:lnTo>
                  <a:pt x="6923314" y="6858000"/>
                </a:lnTo>
                <a:lnTo>
                  <a:pt x="1305197" y="6858000"/>
                </a:lnTo>
                <a:lnTo>
                  <a:pt x="0" y="163721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wrap="square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2055292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3507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BDDBCD3-13D8-4B61-A324-65F1C4F838CB}"/>
              </a:ext>
            </a:extLst>
          </p:cNvPr>
          <p:cNvSpPr/>
          <p:nvPr userDrawn="1"/>
        </p:nvSpPr>
        <p:spPr>
          <a:xfrm>
            <a:off x="3397776" y="2717708"/>
            <a:ext cx="8794227" cy="240487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xmlns="" id="{27C1F53F-D199-4227-A23E-2B5F143EB982}"/>
              </a:ext>
            </a:extLst>
          </p:cNvPr>
          <p:cNvGrpSpPr/>
          <p:nvPr userDrawn="1"/>
        </p:nvGrpSpPr>
        <p:grpSpPr>
          <a:xfrm>
            <a:off x="733479" y="1571015"/>
            <a:ext cx="2664296" cy="4683693"/>
            <a:chOff x="445712" y="1449040"/>
            <a:chExt cx="2113018" cy="3924176"/>
          </a:xfrm>
        </p:grpSpPr>
        <p:sp>
          <p:nvSpPr>
            <p:cNvPr id="4" name="Rounded Rectangle 4">
              <a:extLst>
                <a:ext uri="{FF2B5EF4-FFF2-40B4-BE49-F238E27FC236}">
                  <a16:creationId xmlns:a16="http://schemas.microsoft.com/office/drawing/2014/main" xmlns="" id="{4B09402C-7E86-41C9-8E37-9EF71EDF1056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xmlns="" id="{41DF11FE-4210-4E1A-AAC1-AD2FF969D36A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xmlns="" id="{0E578CC1-F58F-4C71-AB27-A73396D54EA3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7" name="Oval 7">
                <a:extLst>
                  <a:ext uri="{FF2B5EF4-FFF2-40B4-BE49-F238E27FC236}">
                    <a16:creationId xmlns:a16="http://schemas.microsoft.com/office/drawing/2014/main" xmlns="" id="{FF38739C-F2ED-4F4B-9A89-B33A3B4C6A37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8" name="Rounded Rectangle 8">
                <a:extLst>
                  <a:ext uri="{FF2B5EF4-FFF2-40B4-BE49-F238E27FC236}">
                    <a16:creationId xmlns:a16="http://schemas.microsoft.com/office/drawing/2014/main" xmlns="" id="{42258DA3-8567-4D16-9190-D371531398A8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ko-KR" alt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</p:grp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xmlns="" id="{4BFDD25E-3936-4728-A24A-3CD8211A0ED0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21397" y="1982585"/>
            <a:ext cx="2288460" cy="37530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23ED7D35-2C36-4F32-8052-655C68EBBC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4651323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1474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C70177A7-4E03-44B8-A2CB-D0A1D472671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8973" y="0"/>
            <a:ext cx="5129348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noFill/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537491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004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52580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3200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14EA604A-1015-4952-8EE1-CCE52EC0E000}"/>
              </a:ext>
            </a:extLst>
          </p:cNvPr>
          <p:cNvGrpSpPr/>
          <p:nvPr userDrawn="1"/>
        </p:nvGrpSpPr>
        <p:grpSpPr>
          <a:xfrm>
            <a:off x="3095066" y="1780191"/>
            <a:ext cx="6001871" cy="3297621"/>
            <a:chOff x="-548507" y="477868"/>
            <a:chExt cx="11570449" cy="6357177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39EEB588-97F3-4BF3-B3B2-294329E14315}"/>
                </a:ext>
              </a:extLst>
            </p:cNvPr>
            <p:cNvSpPr/>
            <p:nvPr/>
          </p:nvSpPr>
          <p:spPr>
            <a:xfrm>
              <a:off x="-482765" y="6440599"/>
              <a:ext cx="11438966" cy="394446"/>
            </a:xfrm>
            <a:custGeom>
              <a:avLst/>
              <a:gdLst>
                <a:gd name="connsiteX0" fmla="*/ 1605439 w 1657350"/>
                <a:gd name="connsiteY0" fmla="*/ 54769 h 57150"/>
                <a:gd name="connsiteX1" fmla="*/ 1652111 w 1657350"/>
                <a:gd name="connsiteY1" fmla="*/ 22384 h 57150"/>
                <a:gd name="connsiteX2" fmla="*/ 1652111 w 1657350"/>
                <a:gd name="connsiteY2" fmla="*/ 22384 h 57150"/>
                <a:gd name="connsiteX3" fmla="*/ 1636871 w 1657350"/>
                <a:gd name="connsiteY3" fmla="*/ 7144 h 57150"/>
                <a:gd name="connsiteX4" fmla="*/ 44291 w 1657350"/>
                <a:gd name="connsiteY4" fmla="*/ 12859 h 57150"/>
                <a:gd name="connsiteX5" fmla="*/ 23336 w 1657350"/>
                <a:gd name="connsiteY5" fmla="*/ 12859 h 57150"/>
                <a:gd name="connsiteX6" fmla="*/ 7144 w 1657350"/>
                <a:gd name="connsiteY6" fmla="*/ 26194 h 57150"/>
                <a:gd name="connsiteX7" fmla="*/ 7144 w 1657350"/>
                <a:gd name="connsiteY7" fmla="*/ 26194 h 57150"/>
                <a:gd name="connsiteX8" fmla="*/ 50959 w 1657350"/>
                <a:gd name="connsiteY8" fmla="*/ 53816 h 57150"/>
                <a:gd name="connsiteX9" fmla="*/ 51911 w 1657350"/>
                <a:gd name="connsiteY9" fmla="*/ 54769 h 57150"/>
                <a:gd name="connsiteX10" fmla="*/ 51911 w 1657350"/>
                <a:gd name="connsiteY10" fmla="*/ 54769 h 57150"/>
                <a:gd name="connsiteX11" fmla="*/ 56674 w 1657350"/>
                <a:gd name="connsiteY11" fmla="*/ 54769 h 571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657350" h="57150">
                  <a:moveTo>
                    <a:pt x="1605439" y="54769"/>
                  </a:moveTo>
                  <a:cubicBezTo>
                    <a:pt x="1605439" y="54769"/>
                    <a:pt x="1638776" y="50959"/>
                    <a:pt x="1652111" y="22384"/>
                  </a:cubicBezTo>
                  <a:lnTo>
                    <a:pt x="1652111" y="22384"/>
                  </a:lnTo>
                  <a:cubicBezTo>
                    <a:pt x="1652111" y="13811"/>
                    <a:pt x="1645444" y="7144"/>
                    <a:pt x="1636871" y="7144"/>
                  </a:cubicBezTo>
                  <a:lnTo>
                    <a:pt x="44291" y="12859"/>
                  </a:lnTo>
                  <a:lnTo>
                    <a:pt x="23336" y="12859"/>
                  </a:lnTo>
                  <a:cubicBezTo>
                    <a:pt x="14764" y="12859"/>
                    <a:pt x="7144" y="18574"/>
                    <a:pt x="7144" y="26194"/>
                  </a:cubicBezTo>
                  <a:lnTo>
                    <a:pt x="7144" y="26194"/>
                  </a:lnTo>
                  <a:cubicBezTo>
                    <a:pt x="17621" y="45244"/>
                    <a:pt x="40481" y="51911"/>
                    <a:pt x="50959" y="53816"/>
                  </a:cubicBezTo>
                  <a:lnTo>
                    <a:pt x="51911" y="54769"/>
                  </a:lnTo>
                  <a:cubicBezTo>
                    <a:pt x="51911" y="54769"/>
                    <a:pt x="51911" y="54769"/>
                    <a:pt x="51911" y="54769"/>
                  </a:cubicBezTo>
                  <a:lnTo>
                    <a:pt x="56674" y="54769"/>
                  </a:lnTo>
                </a:path>
              </a:pathLst>
            </a:custGeom>
            <a:solidFill>
              <a:srgbClr val="5F676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79AC13C8-EB64-4309-9F83-DE884AB194A4}"/>
                </a:ext>
              </a:extLst>
            </p:cNvPr>
            <p:cNvSpPr/>
            <p:nvPr/>
          </p:nvSpPr>
          <p:spPr>
            <a:xfrm>
              <a:off x="700575" y="477868"/>
              <a:ext cx="9072285" cy="5916709"/>
            </a:xfrm>
            <a:custGeom>
              <a:avLst/>
              <a:gdLst>
                <a:gd name="connsiteX0" fmla="*/ 1311116 w 1314450"/>
                <a:gd name="connsiteY0" fmla="*/ 813911 h 857250"/>
                <a:gd name="connsiteX1" fmla="*/ 1281589 w 1314450"/>
                <a:gd name="connsiteY1" fmla="*/ 852964 h 857250"/>
                <a:gd name="connsiteX2" fmla="*/ 36671 w 1314450"/>
                <a:gd name="connsiteY2" fmla="*/ 852964 h 857250"/>
                <a:gd name="connsiteX3" fmla="*/ 7144 w 1314450"/>
                <a:gd name="connsiteY3" fmla="*/ 813911 h 857250"/>
                <a:gd name="connsiteX4" fmla="*/ 7144 w 1314450"/>
                <a:gd name="connsiteY4" fmla="*/ 46196 h 857250"/>
                <a:gd name="connsiteX5" fmla="*/ 36671 w 1314450"/>
                <a:gd name="connsiteY5" fmla="*/ 7144 h 857250"/>
                <a:gd name="connsiteX6" fmla="*/ 1281589 w 1314450"/>
                <a:gd name="connsiteY6" fmla="*/ 7144 h 857250"/>
                <a:gd name="connsiteX7" fmla="*/ 1311116 w 1314450"/>
                <a:gd name="connsiteY7" fmla="*/ 46196 h 857250"/>
                <a:gd name="connsiteX8" fmla="*/ 1311116 w 1314450"/>
                <a:gd name="connsiteY8" fmla="*/ 813911 h 857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14450" h="857250">
                  <a:moveTo>
                    <a:pt x="1311116" y="813911"/>
                  </a:moveTo>
                  <a:cubicBezTo>
                    <a:pt x="1311116" y="834866"/>
                    <a:pt x="1297781" y="852964"/>
                    <a:pt x="1281589" y="852964"/>
                  </a:cubicBezTo>
                  <a:lnTo>
                    <a:pt x="36671" y="852964"/>
                  </a:lnTo>
                  <a:cubicBezTo>
                    <a:pt x="20479" y="852964"/>
                    <a:pt x="7144" y="835819"/>
                    <a:pt x="7144" y="813911"/>
                  </a:cubicBezTo>
                  <a:lnTo>
                    <a:pt x="7144" y="46196"/>
                  </a:lnTo>
                  <a:cubicBezTo>
                    <a:pt x="7144" y="25241"/>
                    <a:pt x="20479" y="7144"/>
                    <a:pt x="36671" y="7144"/>
                  </a:cubicBezTo>
                  <a:lnTo>
                    <a:pt x="1281589" y="7144"/>
                  </a:lnTo>
                  <a:cubicBezTo>
                    <a:pt x="1297781" y="7144"/>
                    <a:pt x="1311116" y="24289"/>
                    <a:pt x="1311116" y="46196"/>
                  </a:cubicBezTo>
                  <a:lnTo>
                    <a:pt x="1311116" y="813911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90A07D5B-242A-465B-B3D3-285BCC724958}"/>
                </a:ext>
              </a:extLst>
            </p:cNvPr>
            <p:cNvSpPr/>
            <p:nvPr/>
          </p:nvSpPr>
          <p:spPr>
            <a:xfrm>
              <a:off x="1088451" y="839448"/>
              <a:ext cx="8283390" cy="5062073"/>
            </a:xfrm>
            <a:custGeom>
              <a:avLst/>
              <a:gdLst>
                <a:gd name="connsiteX0" fmla="*/ 7144 w 1200150"/>
                <a:gd name="connsiteY0" fmla="*/ 7144 h 733425"/>
                <a:gd name="connsiteX1" fmla="*/ 1196816 w 1200150"/>
                <a:gd name="connsiteY1" fmla="*/ 7144 h 733425"/>
                <a:gd name="connsiteX2" fmla="*/ 1196816 w 1200150"/>
                <a:gd name="connsiteY2" fmla="*/ 730091 h 733425"/>
                <a:gd name="connsiteX3" fmla="*/ 7144 w 1200150"/>
                <a:gd name="connsiteY3" fmla="*/ 730091 h 733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0150" h="733425">
                  <a:moveTo>
                    <a:pt x="7144" y="7144"/>
                  </a:moveTo>
                  <a:lnTo>
                    <a:pt x="1196816" y="7144"/>
                  </a:lnTo>
                  <a:lnTo>
                    <a:pt x="1196816" y="730091"/>
                  </a:lnTo>
                  <a:lnTo>
                    <a:pt x="7144" y="730091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CF5AF579-3200-4645-9B4A-C34A0B00A828}"/>
                </a:ext>
              </a:extLst>
            </p:cNvPr>
            <p:cNvSpPr/>
            <p:nvPr/>
          </p:nvSpPr>
          <p:spPr>
            <a:xfrm>
              <a:off x="-548507" y="6164484"/>
              <a:ext cx="11570449" cy="460187"/>
            </a:xfrm>
            <a:custGeom>
              <a:avLst/>
              <a:gdLst>
                <a:gd name="connsiteX0" fmla="*/ 50006 w 1676400"/>
                <a:gd name="connsiteY0" fmla="*/ 7144 h 66675"/>
                <a:gd name="connsiteX1" fmla="*/ 1630204 w 1676400"/>
                <a:gd name="connsiteY1" fmla="*/ 7144 h 66675"/>
                <a:gd name="connsiteX2" fmla="*/ 1672114 w 1676400"/>
                <a:gd name="connsiteY2" fmla="*/ 49054 h 66675"/>
                <a:gd name="connsiteX3" fmla="*/ 1672114 w 1676400"/>
                <a:gd name="connsiteY3" fmla="*/ 57626 h 66675"/>
                <a:gd name="connsiteX4" fmla="*/ 1656874 w 1676400"/>
                <a:gd name="connsiteY4" fmla="*/ 62389 h 66675"/>
                <a:gd name="connsiteX5" fmla="*/ 1654016 w 1676400"/>
                <a:gd name="connsiteY5" fmla="*/ 62389 h 66675"/>
                <a:gd name="connsiteX6" fmla="*/ 29051 w 1676400"/>
                <a:gd name="connsiteY6" fmla="*/ 62389 h 66675"/>
                <a:gd name="connsiteX7" fmla="*/ 21431 w 1676400"/>
                <a:gd name="connsiteY7" fmla="*/ 63341 h 66675"/>
                <a:gd name="connsiteX8" fmla="*/ 7144 w 1676400"/>
                <a:gd name="connsiteY8" fmla="*/ 55721 h 66675"/>
                <a:gd name="connsiteX9" fmla="*/ 7144 w 1676400"/>
                <a:gd name="connsiteY9" fmla="*/ 48101 h 66675"/>
                <a:gd name="connsiteX10" fmla="*/ 50006 w 1676400"/>
                <a:gd name="connsiteY10" fmla="*/ 7144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676400" h="66675">
                  <a:moveTo>
                    <a:pt x="50006" y="7144"/>
                  </a:moveTo>
                  <a:lnTo>
                    <a:pt x="1630204" y="7144"/>
                  </a:lnTo>
                  <a:cubicBezTo>
                    <a:pt x="1653064" y="7144"/>
                    <a:pt x="1672114" y="26194"/>
                    <a:pt x="1672114" y="49054"/>
                  </a:cubicBezTo>
                  <a:lnTo>
                    <a:pt x="1672114" y="57626"/>
                  </a:lnTo>
                  <a:cubicBezTo>
                    <a:pt x="1672114" y="57626"/>
                    <a:pt x="1674019" y="64294"/>
                    <a:pt x="1656874" y="62389"/>
                  </a:cubicBezTo>
                  <a:cubicBezTo>
                    <a:pt x="1655921" y="62389"/>
                    <a:pt x="1654969" y="62389"/>
                    <a:pt x="1654016" y="62389"/>
                  </a:cubicBezTo>
                  <a:lnTo>
                    <a:pt x="29051" y="62389"/>
                  </a:lnTo>
                  <a:cubicBezTo>
                    <a:pt x="26194" y="62389"/>
                    <a:pt x="24289" y="62389"/>
                    <a:pt x="21431" y="63341"/>
                  </a:cubicBezTo>
                  <a:cubicBezTo>
                    <a:pt x="16669" y="64294"/>
                    <a:pt x="8096" y="64294"/>
                    <a:pt x="7144" y="55721"/>
                  </a:cubicBezTo>
                  <a:lnTo>
                    <a:pt x="7144" y="48101"/>
                  </a:lnTo>
                  <a:cubicBezTo>
                    <a:pt x="8096" y="25241"/>
                    <a:pt x="26194" y="7144"/>
                    <a:pt x="50006" y="7144"/>
                  </a:cubicBezTo>
                  <a:close/>
                </a:path>
              </a:pathLst>
            </a:custGeom>
            <a:solidFill>
              <a:srgbClr val="CCCCC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4BBA6078-E1D1-4C14-AE2A-562D30932050}"/>
                </a:ext>
              </a:extLst>
            </p:cNvPr>
            <p:cNvSpPr/>
            <p:nvPr/>
          </p:nvSpPr>
          <p:spPr>
            <a:xfrm>
              <a:off x="4438629" y="6215033"/>
              <a:ext cx="1618413" cy="184076"/>
            </a:xfrm>
            <a:custGeom>
              <a:avLst/>
              <a:gdLst>
                <a:gd name="connsiteX0" fmla="*/ 1478513 w 1618413"/>
                <a:gd name="connsiteY0" fmla="*/ 177499 h 184076"/>
                <a:gd name="connsiteX1" fmla="*/ 1485084 w 1618413"/>
                <a:gd name="connsiteY1" fmla="*/ 177499 h 184076"/>
                <a:gd name="connsiteX2" fmla="*/ 1502686 w 1618413"/>
                <a:gd name="connsiteY2" fmla="*/ 178122 h 184076"/>
                <a:gd name="connsiteX3" fmla="*/ 1499879 w 1618413"/>
                <a:gd name="connsiteY3" fmla="*/ 178526 h 184076"/>
                <a:gd name="connsiteX4" fmla="*/ 1478513 w 1618413"/>
                <a:gd name="connsiteY4" fmla="*/ 177499 h 184076"/>
                <a:gd name="connsiteX5" fmla="*/ 84799 w 1618413"/>
                <a:gd name="connsiteY5" fmla="*/ 170928 h 184076"/>
                <a:gd name="connsiteX6" fmla="*/ 117666 w 1618413"/>
                <a:gd name="connsiteY6" fmla="*/ 177499 h 184076"/>
                <a:gd name="connsiteX7" fmla="*/ 104518 w 1618413"/>
                <a:gd name="connsiteY7" fmla="*/ 177499 h 184076"/>
                <a:gd name="connsiteX8" fmla="*/ 84799 w 1618413"/>
                <a:gd name="connsiteY8" fmla="*/ 170928 h 184076"/>
                <a:gd name="connsiteX9" fmla="*/ 1603418 w 1618413"/>
                <a:gd name="connsiteY9" fmla="*/ 0 h 184076"/>
                <a:gd name="connsiteX10" fmla="*/ 1616567 w 1618413"/>
                <a:gd name="connsiteY10" fmla="*/ 0 h 184076"/>
                <a:gd name="connsiteX11" fmla="*/ 1511177 w 1618413"/>
                <a:gd name="connsiteY11" fmla="*/ 178423 h 184076"/>
                <a:gd name="connsiteX12" fmla="*/ 1502686 w 1618413"/>
                <a:gd name="connsiteY12" fmla="*/ 178122 h 184076"/>
                <a:gd name="connsiteX13" fmla="*/ 1521501 w 1618413"/>
                <a:gd name="connsiteY13" fmla="*/ 175419 h 184076"/>
                <a:gd name="connsiteX14" fmla="*/ 1603418 w 1618413"/>
                <a:gd name="connsiteY14" fmla="*/ 6571 h 184076"/>
                <a:gd name="connsiteX15" fmla="*/ 5911 w 1618413"/>
                <a:gd name="connsiteY15" fmla="*/ 0 h 184076"/>
                <a:gd name="connsiteX16" fmla="*/ 19060 w 1618413"/>
                <a:gd name="connsiteY16" fmla="*/ 6571 h 184076"/>
                <a:gd name="connsiteX17" fmla="*/ 91379 w 1618413"/>
                <a:gd name="connsiteY17" fmla="*/ 184076 h 184076"/>
                <a:gd name="connsiteX18" fmla="*/ 5911 w 1618413"/>
                <a:gd name="connsiteY18" fmla="*/ 0 h 184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18413" h="184076">
                  <a:moveTo>
                    <a:pt x="1478513" y="177499"/>
                  </a:moveTo>
                  <a:lnTo>
                    <a:pt x="1485084" y="177499"/>
                  </a:lnTo>
                  <a:lnTo>
                    <a:pt x="1502686" y="178122"/>
                  </a:lnTo>
                  <a:lnTo>
                    <a:pt x="1499879" y="178526"/>
                  </a:lnTo>
                  <a:cubicBezTo>
                    <a:pt x="1487142" y="179142"/>
                    <a:pt x="1478513" y="177499"/>
                    <a:pt x="1478513" y="177499"/>
                  </a:cubicBezTo>
                  <a:close/>
                  <a:moveTo>
                    <a:pt x="84799" y="170928"/>
                  </a:moveTo>
                  <a:cubicBezTo>
                    <a:pt x="97947" y="177499"/>
                    <a:pt x="104518" y="177499"/>
                    <a:pt x="117666" y="177499"/>
                  </a:cubicBezTo>
                  <a:lnTo>
                    <a:pt x="104518" y="177499"/>
                  </a:lnTo>
                  <a:cubicBezTo>
                    <a:pt x="97947" y="177499"/>
                    <a:pt x="91370" y="177499"/>
                    <a:pt x="84799" y="170928"/>
                  </a:cubicBezTo>
                  <a:close/>
                  <a:moveTo>
                    <a:pt x="1603418" y="0"/>
                  </a:moveTo>
                  <a:lnTo>
                    <a:pt x="1616567" y="0"/>
                  </a:lnTo>
                  <a:cubicBezTo>
                    <a:pt x="1631361" y="152847"/>
                    <a:pt x="1553705" y="176266"/>
                    <a:pt x="1511177" y="178423"/>
                  </a:cubicBezTo>
                  <a:lnTo>
                    <a:pt x="1502686" y="178122"/>
                  </a:lnTo>
                  <a:lnTo>
                    <a:pt x="1521501" y="175419"/>
                  </a:lnTo>
                  <a:cubicBezTo>
                    <a:pt x="1560791" y="165788"/>
                    <a:pt x="1611636" y="129836"/>
                    <a:pt x="1603418" y="6571"/>
                  </a:cubicBezTo>
                  <a:close/>
                  <a:moveTo>
                    <a:pt x="5911" y="0"/>
                  </a:moveTo>
                  <a:lnTo>
                    <a:pt x="19060" y="6571"/>
                  </a:lnTo>
                  <a:cubicBezTo>
                    <a:pt x="19060" y="6571"/>
                    <a:pt x="-20385" y="144631"/>
                    <a:pt x="91379" y="184076"/>
                  </a:cubicBezTo>
                  <a:cubicBezTo>
                    <a:pt x="-33534" y="151202"/>
                    <a:pt x="5911" y="0"/>
                    <a:pt x="5911" y="0"/>
                  </a:cubicBezTo>
                  <a:close/>
                </a:path>
              </a:pathLst>
            </a:custGeom>
            <a:solidFill>
              <a:srgbClr val="4D4D4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xmlns="" id="{40F2DB06-6191-4D99-A246-B0F044EEB6D4}"/>
                </a:ext>
              </a:extLst>
            </p:cNvPr>
            <p:cNvGrpSpPr/>
            <p:nvPr/>
          </p:nvGrpSpPr>
          <p:grpSpPr>
            <a:xfrm>
              <a:off x="1606" y="6382978"/>
              <a:ext cx="413937" cy="115242"/>
              <a:chOff x="5955" y="6353672"/>
              <a:chExt cx="413937" cy="115242"/>
            </a:xfrm>
          </p:grpSpPr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xmlns="" id="{E0B2AB32-6E87-4708-AD26-26A3474DFD68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xmlns="" id="{44A0B59C-D502-416F-87A9-4FFE2F84014E}"/>
                  </a:ext>
                </a:extLst>
              </p:cNvPr>
              <p:cNvSpPr/>
              <p:nvPr/>
            </p:nvSpPr>
            <p:spPr>
              <a:xfrm>
                <a:off x="99417" y="6382279"/>
                <a:ext cx="227012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xmlns="" id="{CEDAEF2E-9E44-473D-B13F-ABD8FD196480}"/>
                </a:ext>
              </a:extLst>
            </p:cNvPr>
            <p:cNvGrpSpPr/>
            <p:nvPr/>
          </p:nvGrpSpPr>
          <p:grpSpPr>
            <a:xfrm>
              <a:off x="9855291" y="6381600"/>
              <a:ext cx="885989" cy="115242"/>
              <a:chOff x="5955" y="6353672"/>
              <a:chExt cx="413937" cy="115242"/>
            </a:xfrm>
          </p:grpSpPr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xmlns="" id="{77A63B6A-A2C7-42FA-A975-B2C3DBEA0A1D}"/>
                  </a:ext>
                </a:extLst>
              </p:cNvPr>
              <p:cNvSpPr/>
              <p:nvPr/>
            </p:nvSpPr>
            <p:spPr>
              <a:xfrm>
                <a:off x="5955" y="6353672"/>
                <a:ext cx="413937" cy="115242"/>
              </a:xfrm>
              <a:prstGeom prst="roundRect">
                <a:avLst>
                  <a:gd name="adj" fmla="val 28154"/>
                </a:avLst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xmlns="" id="{425CD56A-8303-4E00-957E-0BF842A3B05F}"/>
                  </a:ext>
                </a:extLst>
              </p:cNvPr>
              <p:cNvSpPr/>
              <p:nvPr/>
            </p:nvSpPr>
            <p:spPr>
              <a:xfrm>
                <a:off x="84761" y="6382279"/>
                <a:ext cx="256326" cy="55272"/>
              </a:xfrm>
              <a:prstGeom prst="roundRect">
                <a:avLst>
                  <a:gd name="adj" fmla="val 28154"/>
                </a:avLst>
              </a:pr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cs typeface="+mn-cs"/>
                </a:endParaRPr>
              </a:p>
            </p:txBody>
          </p:sp>
        </p:grp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442D482D-A042-4240-A15D-1E65B56B30D2}"/>
                </a:ext>
              </a:extLst>
            </p:cNvPr>
            <p:cNvSpPr/>
            <p:nvPr/>
          </p:nvSpPr>
          <p:spPr>
            <a:xfrm>
              <a:off x="3892805" y="496953"/>
              <a:ext cx="5479036" cy="5431217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xmlns="" id="{736F31BD-D2C3-4C53-B8E6-33C74563614F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909755" y="1947860"/>
            <a:ext cx="4372493" cy="266943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600">
                <a:latin typeface="Arial" pitchFamily="34" charset="0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xmlns="" id="{9D8BBD3D-237B-4299-A310-B537C2DF7C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1769561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1861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28731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4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348608120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2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5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4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51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8" y="1276654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351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You can Resize without losing quality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Line Color</a:t>
            </a:r>
            <a:endParaRPr kumimoji="0" lang="ko-KR" altLang="en-US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40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www.allppt.com</a:t>
            </a:r>
            <a:endParaRPr kumimoji="0" lang="ko-KR" altLang="en-US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RE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1508099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6"/>
          <p:cNvSpPr/>
          <p:nvPr/>
        </p:nvSpPr>
        <p:spPr>
          <a:xfrm rot="10800000" flipH="1">
            <a:off x="9009537" y="0"/>
            <a:ext cx="3534508" cy="3026501"/>
          </a:xfrm>
          <a:custGeom>
            <a:avLst/>
            <a:gdLst/>
            <a:ahLst/>
            <a:cxnLst/>
            <a:rect l="l" t="t" r="r" b="b"/>
            <a:pathLst>
              <a:path w="157861" h="135172" extrusionOk="0">
                <a:moveTo>
                  <a:pt x="144416" y="32024"/>
                </a:moveTo>
                <a:cubicBezTo>
                  <a:pt x="149529" y="48436"/>
                  <a:pt x="157860" y="81258"/>
                  <a:pt x="121477" y="72699"/>
                </a:cubicBezTo>
                <a:lnTo>
                  <a:pt x="121477" y="72699"/>
                </a:lnTo>
                <a:cubicBezTo>
                  <a:pt x="84386" y="63980"/>
                  <a:pt x="66856" y="57292"/>
                  <a:pt x="69001" y="77287"/>
                </a:cubicBezTo>
                <a:lnTo>
                  <a:pt x="69001" y="77287"/>
                </a:lnTo>
                <a:cubicBezTo>
                  <a:pt x="71010" y="95958"/>
                  <a:pt x="57155" y="92580"/>
                  <a:pt x="46518" y="89795"/>
                </a:cubicBezTo>
                <a:lnTo>
                  <a:pt x="46518" y="89795"/>
                </a:lnTo>
                <a:cubicBezTo>
                  <a:pt x="38050" y="87581"/>
                  <a:pt x="23419" y="86531"/>
                  <a:pt x="20018" y="94451"/>
                </a:cubicBezTo>
                <a:lnTo>
                  <a:pt x="20018" y="94451"/>
                </a:lnTo>
                <a:cubicBezTo>
                  <a:pt x="18671" y="97533"/>
                  <a:pt x="19813" y="102052"/>
                  <a:pt x="25063" y="108489"/>
                </a:cubicBezTo>
                <a:lnTo>
                  <a:pt x="25063" y="108489"/>
                </a:lnTo>
                <a:cubicBezTo>
                  <a:pt x="39716" y="126452"/>
                  <a:pt x="13125" y="135172"/>
                  <a:pt x="0" y="135172"/>
                </a:cubicBezTo>
                <a:lnTo>
                  <a:pt x="0" y="135172"/>
                </a:lnTo>
                <a:lnTo>
                  <a:pt x="155989" y="135172"/>
                </a:lnTo>
                <a:lnTo>
                  <a:pt x="155989" y="0"/>
                </a:lnTo>
                <a:cubicBezTo>
                  <a:pt x="155989" y="0"/>
                  <a:pt x="137568" y="10021"/>
                  <a:pt x="144416" y="32024"/>
                </a:cubicBezTo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0" name="Google Shape;30;p6"/>
          <p:cNvSpPr/>
          <p:nvPr/>
        </p:nvSpPr>
        <p:spPr>
          <a:xfrm flipH="1">
            <a:off x="-109033" y="1"/>
            <a:ext cx="8009341" cy="6858177"/>
          </a:xfrm>
          <a:custGeom>
            <a:avLst/>
            <a:gdLst/>
            <a:ahLst/>
            <a:cxnLst/>
            <a:rect l="l" t="t" r="r" b="b"/>
            <a:pathLst>
              <a:path w="157861" h="135172" extrusionOk="0">
                <a:moveTo>
                  <a:pt x="144416" y="32024"/>
                </a:moveTo>
                <a:cubicBezTo>
                  <a:pt x="149529" y="48436"/>
                  <a:pt x="157860" y="81258"/>
                  <a:pt x="121477" y="72699"/>
                </a:cubicBezTo>
                <a:lnTo>
                  <a:pt x="121477" y="72699"/>
                </a:lnTo>
                <a:cubicBezTo>
                  <a:pt x="84386" y="63980"/>
                  <a:pt x="66856" y="57292"/>
                  <a:pt x="69001" y="77287"/>
                </a:cubicBezTo>
                <a:lnTo>
                  <a:pt x="69001" y="77287"/>
                </a:lnTo>
                <a:cubicBezTo>
                  <a:pt x="71010" y="95958"/>
                  <a:pt x="57155" y="92580"/>
                  <a:pt x="46518" y="89795"/>
                </a:cubicBezTo>
                <a:lnTo>
                  <a:pt x="46518" y="89795"/>
                </a:lnTo>
                <a:cubicBezTo>
                  <a:pt x="38050" y="87581"/>
                  <a:pt x="23419" y="86531"/>
                  <a:pt x="20018" y="94451"/>
                </a:cubicBezTo>
                <a:lnTo>
                  <a:pt x="20018" y="94451"/>
                </a:lnTo>
                <a:cubicBezTo>
                  <a:pt x="18671" y="97533"/>
                  <a:pt x="19813" y="102052"/>
                  <a:pt x="25063" y="108489"/>
                </a:cubicBezTo>
                <a:lnTo>
                  <a:pt x="25063" y="108489"/>
                </a:lnTo>
                <a:cubicBezTo>
                  <a:pt x="39716" y="126452"/>
                  <a:pt x="13125" y="135172"/>
                  <a:pt x="0" y="135172"/>
                </a:cubicBezTo>
                <a:lnTo>
                  <a:pt x="0" y="135172"/>
                </a:lnTo>
                <a:lnTo>
                  <a:pt x="155989" y="135172"/>
                </a:lnTo>
                <a:lnTo>
                  <a:pt x="155989" y="0"/>
                </a:lnTo>
                <a:cubicBezTo>
                  <a:pt x="155989" y="0"/>
                  <a:pt x="137568" y="10021"/>
                  <a:pt x="144416" y="32024"/>
                </a:cubicBezTo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31" name="Google Shape;31;p6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955708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69939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2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9" name="Google Shape;219;p17"/>
          <p:cNvPicPr preferRelativeResize="0"/>
          <p:nvPr/>
        </p:nvPicPr>
        <p:blipFill>
          <a:blip r:embed="rId2">
            <a:alphaModFix amt="42000"/>
          </a:blip>
          <a:stretch>
            <a:fillRect/>
          </a:stretch>
        </p:blipFill>
        <p:spPr>
          <a:xfrm>
            <a:off x="0" y="0"/>
            <a:ext cx="12192000" cy="6857989"/>
          </a:xfrm>
          <a:prstGeom prst="rect">
            <a:avLst/>
          </a:prstGeom>
          <a:noFill/>
          <a:ln>
            <a:noFill/>
          </a:ln>
        </p:spPr>
      </p:pic>
      <p:sp>
        <p:nvSpPr>
          <p:cNvPr id="220" name="Google Shape;220;p17"/>
          <p:cNvSpPr txBox="1">
            <a:spLocks noGrp="1"/>
          </p:cNvSpPr>
          <p:nvPr>
            <p:ph type="subTitle" idx="1"/>
          </p:nvPr>
        </p:nvSpPr>
        <p:spPr>
          <a:xfrm flipH="1">
            <a:off x="2954733" y="1874933"/>
            <a:ext cx="6285200" cy="146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700"/>
              <a:buNone/>
              <a:defRPr sz="26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  <p:sp>
        <p:nvSpPr>
          <p:cNvPr id="221" name="Google Shape;221;p17"/>
          <p:cNvSpPr txBox="1">
            <a:spLocks noGrp="1"/>
          </p:cNvSpPr>
          <p:nvPr>
            <p:ph type="ctrTitle"/>
          </p:nvPr>
        </p:nvSpPr>
        <p:spPr>
          <a:xfrm flipH="1">
            <a:off x="4073933" y="3395333"/>
            <a:ext cx="4046800" cy="59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2667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2000"/>
              <a:buNone/>
              <a:defRPr sz="16000"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grpSp>
        <p:nvGrpSpPr>
          <p:cNvPr id="222" name="Google Shape;222;p17"/>
          <p:cNvGrpSpPr/>
          <p:nvPr/>
        </p:nvGrpSpPr>
        <p:grpSpPr>
          <a:xfrm>
            <a:off x="168264" y="717339"/>
            <a:ext cx="2725545" cy="4433196"/>
            <a:chOff x="526860" y="192691"/>
            <a:chExt cx="2068777" cy="3107670"/>
          </a:xfrm>
        </p:grpSpPr>
        <p:sp>
          <p:nvSpPr>
            <p:cNvPr id="223" name="Google Shape;223;p17"/>
            <p:cNvSpPr/>
            <p:nvPr/>
          </p:nvSpPr>
          <p:spPr>
            <a:xfrm>
              <a:off x="559981" y="226603"/>
              <a:ext cx="2024567" cy="3020998"/>
            </a:xfrm>
            <a:custGeom>
              <a:avLst/>
              <a:gdLst/>
              <a:ahLst/>
              <a:cxnLst/>
              <a:rect l="l" t="t" r="r" b="b"/>
              <a:pathLst>
                <a:path w="26835" h="46950" extrusionOk="0">
                  <a:moveTo>
                    <a:pt x="1" y="0"/>
                  </a:moveTo>
                  <a:lnTo>
                    <a:pt x="1" y="46949"/>
                  </a:lnTo>
                  <a:lnTo>
                    <a:pt x="26835" y="46949"/>
                  </a:lnTo>
                  <a:lnTo>
                    <a:pt x="26835" y="0"/>
                  </a:lnTo>
                  <a:close/>
                </a:path>
              </a:pathLst>
            </a:custGeom>
            <a:solidFill>
              <a:srgbClr val="FFFFFF">
                <a:alpha val="622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4" name="Google Shape;224;p17"/>
            <p:cNvSpPr/>
            <p:nvPr/>
          </p:nvSpPr>
          <p:spPr>
            <a:xfrm>
              <a:off x="526860" y="192691"/>
              <a:ext cx="2068777" cy="3107670"/>
            </a:xfrm>
            <a:custGeom>
              <a:avLst/>
              <a:gdLst/>
              <a:ahLst/>
              <a:cxnLst/>
              <a:rect l="l" t="t" r="r" b="b"/>
              <a:pathLst>
                <a:path w="27421" h="48297" extrusionOk="0">
                  <a:moveTo>
                    <a:pt x="13381" y="11800"/>
                  </a:moveTo>
                  <a:lnTo>
                    <a:pt x="13381" y="24009"/>
                  </a:lnTo>
                  <a:lnTo>
                    <a:pt x="6369" y="24009"/>
                  </a:lnTo>
                  <a:lnTo>
                    <a:pt x="6369" y="11800"/>
                  </a:lnTo>
                  <a:close/>
                  <a:moveTo>
                    <a:pt x="20891" y="11829"/>
                  </a:moveTo>
                  <a:lnTo>
                    <a:pt x="20891" y="24009"/>
                  </a:lnTo>
                  <a:lnTo>
                    <a:pt x="14245" y="24009"/>
                  </a:lnTo>
                  <a:lnTo>
                    <a:pt x="14245" y="11829"/>
                  </a:lnTo>
                  <a:close/>
                  <a:moveTo>
                    <a:pt x="13381" y="24858"/>
                  </a:moveTo>
                  <a:lnTo>
                    <a:pt x="13381" y="36643"/>
                  </a:lnTo>
                  <a:lnTo>
                    <a:pt x="6369" y="36643"/>
                  </a:lnTo>
                  <a:lnTo>
                    <a:pt x="6369" y="24858"/>
                  </a:lnTo>
                  <a:close/>
                  <a:moveTo>
                    <a:pt x="20891" y="24858"/>
                  </a:moveTo>
                  <a:lnTo>
                    <a:pt x="20891" y="36643"/>
                  </a:lnTo>
                  <a:lnTo>
                    <a:pt x="14245" y="36643"/>
                  </a:lnTo>
                  <a:lnTo>
                    <a:pt x="14245" y="24858"/>
                  </a:lnTo>
                  <a:close/>
                  <a:moveTo>
                    <a:pt x="13381" y="0"/>
                  </a:moveTo>
                  <a:lnTo>
                    <a:pt x="13381" y="11580"/>
                  </a:lnTo>
                  <a:lnTo>
                    <a:pt x="6369" y="11580"/>
                  </a:lnTo>
                  <a:lnTo>
                    <a:pt x="6369" y="776"/>
                  </a:lnTo>
                  <a:lnTo>
                    <a:pt x="6134" y="776"/>
                  </a:lnTo>
                  <a:lnTo>
                    <a:pt x="6134" y="11580"/>
                  </a:lnTo>
                  <a:lnTo>
                    <a:pt x="0" y="11580"/>
                  </a:lnTo>
                  <a:lnTo>
                    <a:pt x="0" y="11800"/>
                  </a:lnTo>
                  <a:lnTo>
                    <a:pt x="6134" y="11800"/>
                  </a:lnTo>
                  <a:lnTo>
                    <a:pt x="6134" y="24009"/>
                  </a:lnTo>
                  <a:lnTo>
                    <a:pt x="0" y="24009"/>
                  </a:lnTo>
                  <a:lnTo>
                    <a:pt x="0" y="24873"/>
                  </a:lnTo>
                  <a:lnTo>
                    <a:pt x="6134" y="24873"/>
                  </a:lnTo>
                  <a:lnTo>
                    <a:pt x="6134" y="36643"/>
                  </a:lnTo>
                  <a:lnTo>
                    <a:pt x="0" y="36643"/>
                  </a:lnTo>
                  <a:lnTo>
                    <a:pt x="0" y="36863"/>
                  </a:lnTo>
                  <a:lnTo>
                    <a:pt x="6134" y="36863"/>
                  </a:lnTo>
                  <a:lnTo>
                    <a:pt x="6134" y="48296"/>
                  </a:lnTo>
                  <a:lnTo>
                    <a:pt x="6369" y="48296"/>
                  </a:lnTo>
                  <a:lnTo>
                    <a:pt x="6369" y="36863"/>
                  </a:lnTo>
                  <a:lnTo>
                    <a:pt x="13381" y="36863"/>
                  </a:lnTo>
                  <a:lnTo>
                    <a:pt x="13381" y="47520"/>
                  </a:lnTo>
                  <a:lnTo>
                    <a:pt x="14245" y="47520"/>
                  </a:lnTo>
                  <a:lnTo>
                    <a:pt x="14245" y="36863"/>
                  </a:lnTo>
                  <a:lnTo>
                    <a:pt x="20891" y="36863"/>
                  </a:lnTo>
                  <a:lnTo>
                    <a:pt x="20891" y="48296"/>
                  </a:lnTo>
                  <a:lnTo>
                    <a:pt x="21125" y="48296"/>
                  </a:lnTo>
                  <a:lnTo>
                    <a:pt x="21125" y="36863"/>
                  </a:lnTo>
                  <a:lnTo>
                    <a:pt x="27420" y="36863"/>
                  </a:lnTo>
                  <a:lnTo>
                    <a:pt x="27420" y="36643"/>
                  </a:lnTo>
                  <a:lnTo>
                    <a:pt x="21125" y="36643"/>
                  </a:lnTo>
                  <a:lnTo>
                    <a:pt x="21125" y="24858"/>
                  </a:lnTo>
                  <a:lnTo>
                    <a:pt x="27420" y="24858"/>
                  </a:lnTo>
                  <a:lnTo>
                    <a:pt x="27420" y="24009"/>
                  </a:lnTo>
                  <a:lnTo>
                    <a:pt x="21125" y="24009"/>
                  </a:lnTo>
                  <a:lnTo>
                    <a:pt x="21125" y="11829"/>
                  </a:lnTo>
                  <a:lnTo>
                    <a:pt x="27420" y="11829"/>
                  </a:lnTo>
                  <a:lnTo>
                    <a:pt x="27420" y="11800"/>
                  </a:lnTo>
                  <a:lnTo>
                    <a:pt x="27420" y="11580"/>
                  </a:lnTo>
                  <a:lnTo>
                    <a:pt x="21125" y="11580"/>
                  </a:lnTo>
                  <a:lnTo>
                    <a:pt x="21125" y="776"/>
                  </a:lnTo>
                  <a:lnTo>
                    <a:pt x="20891" y="776"/>
                  </a:lnTo>
                  <a:lnTo>
                    <a:pt x="20891" y="11580"/>
                  </a:lnTo>
                  <a:lnTo>
                    <a:pt x="14245" y="11580"/>
                  </a:lnTo>
                  <a:lnTo>
                    <a:pt x="1424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grpSp>
        <p:nvGrpSpPr>
          <p:cNvPr id="225" name="Google Shape;225;p17"/>
          <p:cNvGrpSpPr/>
          <p:nvPr/>
        </p:nvGrpSpPr>
        <p:grpSpPr>
          <a:xfrm>
            <a:off x="9239930" y="717339"/>
            <a:ext cx="2725545" cy="4433196"/>
            <a:chOff x="526860" y="192691"/>
            <a:chExt cx="2068777" cy="3107670"/>
          </a:xfrm>
        </p:grpSpPr>
        <p:sp>
          <p:nvSpPr>
            <p:cNvPr id="226" name="Google Shape;226;p17"/>
            <p:cNvSpPr/>
            <p:nvPr/>
          </p:nvSpPr>
          <p:spPr>
            <a:xfrm>
              <a:off x="559981" y="226603"/>
              <a:ext cx="2024567" cy="3020998"/>
            </a:xfrm>
            <a:custGeom>
              <a:avLst/>
              <a:gdLst/>
              <a:ahLst/>
              <a:cxnLst/>
              <a:rect l="l" t="t" r="r" b="b"/>
              <a:pathLst>
                <a:path w="26835" h="46950" extrusionOk="0">
                  <a:moveTo>
                    <a:pt x="1" y="0"/>
                  </a:moveTo>
                  <a:lnTo>
                    <a:pt x="1" y="46949"/>
                  </a:lnTo>
                  <a:lnTo>
                    <a:pt x="26835" y="46949"/>
                  </a:lnTo>
                  <a:lnTo>
                    <a:pt x="26835" y="0"/>
                  </a:lnTo>
                  <a:close/>
                </a:path>
              </a:pathLst>
            </a:custGeom>
            <a:solidFill>
              <a:srgbClr val="FFFFFF">
                <a:alpha val="62240"/>
              </a:srgb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  <p:sp>
          <p:nvSpPr>
            <p:cNvPr id="227" name="Google Shape;227;p17"/>
            <p:cNvSpPr/>
            <p:nvPr/>
          </p:nvSpPr>
          <p:spPr>
            <a:xfrm>
              <a:off x="526860" y="192691"/>
              <a:ext cx="2068777" cy="3107670"/>
            </a:xfrm>
            <a:custGeom>
              <a:avLst/>
              <a:gdLst/>
              <a:ahLst/>
              <a:cxnLst/>
              <a:rect l="l" t="t" r="r" b="b"/>
              <a:pathLst>
                <a:path w="27421" h="48297" extrusionOk="0">
                  <a:moveTo>
                    <a:pt x="13381" y="11800"/>
                  </a:moveTo>
                  <a:lnTo>
                    <a:pt x="13381" y="24009"/>
                  </a:lnTo>
                  <a:lnTo>
                    <a:pt x="6369" y="24009"/>
                  </a:lnTo>
                  <a:lnTo>
                    <a:pt x="6369" y="11800"/>
                  </a:lnTo>
                  <a:close/>
                  <a:moveTo>
                    <a:pt x="20891" y="11829"/>
                  </a:moveTo>
                  <a:lnTo>
                    <a:pt x="20891" y="24009"/>
                  </a:lnTo>
                  <a:lnTo>
                    <a:pt x="14245" y="24009"/>
                  </a:lnTo>
                  <a:lnTo>
                    <a:pt x="14245" y="11829"/>
                  </a:lnTo>
                  <a:close/>
                  <a:moveTo>
                    <a:pt x="13381" y="24858"/>
                  </a:moveTo>
                  <a:lnTo>
                    <a:pt x="13381" y="36643"/>
                  </a:lnTo>
                  <a:lnTo>
                    <a:pt x="6369" y="36643"/>
                  </a:lnTo>
                  <a:lnTo>
                    <a:pt x="6369" y="24858"/>
                  </a:lnTo>
                  <a:close/>
                  <a:moveTo>
                    <a:pt x="20891" y="24858"/>
                  </a:moveTo>
                  <a:lnTo>
                    <a:pt x="20891" y="36643"/>
                  </a:lnTo>
                  <a:lnTo>
                    <a:pt x="14245" y="36643"/>
                  </a:lnTo>
                  <a:lnTo>
                    <a:pt x="14245" y="24858"/>
                  </a:lnTo>
                  <a:close/>
                  <a:moveTo>
                    <a:pt x="13381" y="0"/>
                  </a:moveTo>
                  <a:lnTo>
                    <a:pt x="13381" y="11580"/>
                  </a:lnTo>
                  <a:lnTo>
                    <a:pt x="6369" y="11580"/>
                  </a:lnTo>
                  <a:lnTo>
                    <a:pt x="6369" y="776"/>
                  </a:lnTo>
                  <a:lnTo>
                    <a:pt x="6134" y="776"/>
                  </a:lnTo>
                  <a:lnTo>
                    <a:pt x="6134" y="11580"/>
                  </a:lnTo>
                  <a:lnTo>
                    <a:pt x="0" y="11580"/>
                  </a:lnTo>
                  <a:lnTo>
                    <a:pt x="0" y="11800"/>
                  </a:lnTo>
                  <a:lnTo>
                    <a:pt x="6134" y="11800"/>
                  </a:lnTo>
                  <a:lnTo>
                    <a:pt x="6134" y="24009"/>
                  </a:lnTo>
                  <a:lnTo>
                    <a:pt x="0" y="24009"/>
                  </a:lnTo>
                  <a:lnTo>
                    <a:pt x="0" y="24873"/>
                  </a:lnTo>
                  <a:lnTo>
                    <a:pt x="6134" y="24873"/>
                  </a:lnTo>
                  <a:lnTo>
                    <a:pt x="6134" y="36643"/>
                  </a:lnTo>
                  <a:lnTo>
                    <a:pt x="0" y="36643"/>
                  </a:lnTo>
                  <a:lnTo>
                    <a:pt x="0" y="36863"/>
                  </a:lnTo>
                  <a:lnTo>
                    <a:pt x="6134" y="36863"/>
                  </a:lnTo>
                  <a:lnTo>
                    <a:pt x="6134" y="48296"/>
                  </a:lnTo>
                  <a:lnTo>
                    <a:pt x="6369" y="48296"/>
                  </a:lnTo>
                  <a:lnTo>
                    <a:pt x="6369" y="36863"/>
                  </a:lnTo>
                  <a:lnTo>
                    <a:pt x="13381" y="36863"/>
                  </a:lnTo>
                  <a:lnTo>
                    <a:pt x="13381" y="47520"/>
                  </a:lnTo>
                  <a:lnTo>
                    <a:pt x="14245" y="47520"/>
                  </a:lnTo>
                  <a:lnTo>
                    <a:pt x="14245" y="36863"/>
                  </a:lnTo>
                  <a:lnTo>
                    <a:pt x="20891" y="36863"/>
                  </a:lnTo>
                  <a:lnTo>
                    <a:pt x="20891" y="48296"/>
                  </a:lnTo>
                  <a:lnTo>
                    <a:pt x="21125" y="48296"/>
                  </a:lnTo>
                  <a:lnTo>
                    <a:pt x="21125" y="36863"/>
                  </a:lnTo>
                  <a:lnTo>
                    <a:pt x="27420" y="36863"/>
                  </a:lnTo>
                  <a:lnTo>
                    <a:pt x="27420" y="36643"/>
                  </a:lnTo>
                  <a:lnTo>
                    <a:pt x="21125" y="36643"/>
                  </a:lnTo>
                  <a:lnTo>
                    <a:pt x="21125" y="24858"/>
                  </a:lnTo>
                  <a:lnTo>
                    <a:pt x="27420" y="24858"/>
                  </a:lnTo>
                  <a:lnTo>
                    <a:pt x="27420" y="24009"/>
                  </a:lnTo>
                  <a:lnTo>
                    <a:pt x="21125" y="24009"/>
                  </a:lnTo>
                  <a:lnTo>
                    <a:pt x="21125" y="11829"/>
                  </a:lnTo>
                  <a:lnTo>
                    <a:pt x="27420" y="11829"/>
                  </a:lnTo>
                  <a:lnTo>
                    <a:pt x="27420" y="11800"/>
                  </a:lnTo>
                  <a:lnTo>
                    <a:pt x="27420" y="11580"/>
                  </a:lnTo>
                  <a:lnTo>
                    <a:pt x="21125" y="11580"/>
                  </a:lnTo>
                  <a:lnTo>
                    <a:pt x="21125" y="776"/>
                  </a:lnTo>
                  <a:lnTo>
                    <a:pt x="20891" y="776"/>
                  </a:lnTo>
                  <a:lnTo>
                    <a:pt x="20891" y="11580"/>
                  </a:lnTo>
                  <a:lnTo>
                    <a:pt x="14245" y="11580"/>
                  </a:lnTo>
                  <a:lnTo>
                    <a:pt x="14245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/>
            </a:p>
          </p:txBody>
        </p:sp>
      </p:grpSp>
      <p:sp>
        <p:nvSpPr>
          <p:cNvPr id="228" name="Google Shape;228;p17"/>
          <p:cNvSpPr/>
          <p:nvPr/>
        </p:nvSpPr>
        <p:spPr>
          <a:xfrm>
            <a:off x="-69798" y="324868"/>
            <a:ext cx="12334233" cy="6633333"/>
          </a:xfrm>
          <a:custGeom>
            <a:avLst/>
            <a:gdLst/>
            <a:ahLst/>
            <a:cxnLst/>
            <a:rect l="l" t="t" r="r" b="b"/>
            <a:pathLst>
              <a:path w="370027" h="199000" extrusionOk="0">
                <a:moveTo>
                  <a:pt x="327362" y="0"/>
                </a:moveTo>
                <a:lnTo>
                  <a:pt x="0" y="40245"/>
                </a:lnTo>
                <a:lnTo>
                  <a:pt x="1017" y="198936"/>
                </a:lnTo>
                <a:lnTo>
                  <a:pt x="346121" y="199000"/>
                </a:lnTo>
                <a:lnTo>
                  <a:pt x="370027" y="199000"/>
                </a:lnTo>
                <a:lnTo>
                  <a:pt x="340364" y="8996"/>
                </a:lnTo>
                <a:close/>
              </a:path>
            </a:pathLst>
          </a:custGeom>
          <a:gradFill>
            <a:gsLst>
              <a:gs pos="0">
                <a:schemeClr val="dk2"/>
              </a:gs>
              <a:gs pos="100000">
                <a:srgbClr val="EBE0DD">
                  <a:alpha val="0"/>
                </a:srgbClr>
              </a:gs>
            </a:gsLst>
            <a:lin ang="5400012" scaled="0"/>
          </a:gradFill>
          <a:ln>
            <a:noFill/>
          </a:ln>
        </p:spPr>
      </p:sp>
      <p:sp>
        <p:nvSpPr>
          <p:cNvPr id="229" name="Google Shape;229;p17"/>
          <p:cNvSpPr/>
          <p:nvPr/>
        </p:nvSpPr>
        <p:spPr>
          <a:xfrm flipH="1">
            <a:off x="11230471" y="-84666"/>
            <a:ext cx="1767" cy="369084"/>
          </a:xfrm>
          <a:custGeom>
            <a:avLst/>
            <a:gdLst/>
            <a:ahLst/>
            <a:cxnLst/>
            <a:rect l="l" t="t" r="r" b="b"/>
            <a:pathLst>
              <a:path w="30" h="6267" extrusionOk="0">
                <a:moveTo>
                  <a:pt x="15" y="0"/>
                </a:moveTo>
                <a:cubicBezTo>
                  <a:pt x="0" y="0"/>
                  <a:pt x="0" y="1391"/>
                  <a:pt x="0" y="3133"/>
                </a:cubicBezTo>
                <a:cubicBezTo>
                  <a:pt x="0" y="4875"/>
                  <a:pt x="0" y="6266"/>
                  <a:pt x="15" y="6266"/>
                </a:cubicBezTo>
                <a:cubicBezTo>
                  <a:pt x="29" y="6266"/>
                  <a:pt x="29" y="4846"/>
                  <a:pt x="29" y="3133"/>
                </a:cubicBezTo>
                <a:cubicBezTo>
                  <a:pt x="29" y="1391"/>
                  <a:pt x="29" y="0"/>
                  <a:pt x="15" y="0"/>
                </a:cubicBezTo>
                <a:close/>
              </a:path>
            </a:pathLst>
          </a:custGeom>
          <a:solidFill>
            <a:schemeClr val="accent4"/>
          </a:solidFill>
          <a:ln w="9525" cap="flat" cmpd="sng">
            <a:solidFill>
              <a:schemeClr val="accent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30" name="Google Shape;230;p17"/>
          <p:cNvSpPr/>
          <p:nvPr/>
        </p:nvSpPr>
        <p:spPr>
          <a:xfrm rot="2003650" flipH="1">
            <a:off x="10857248" y="221130"/>
            <a:ext cx="550157" cy="301023"/>
          </a:xfrm>
          <a:custGeom>
            <a:avLst/>
            <a:gdLst/>
            <a:ahLst/>
            <a:cxnLst/>
            <a:rect l="l" t="t" r="r" b="b"/>
            <a:pathLst>
              <a:path w="9341" h="5111" extrusionOk="0">
                <a:moveTo>
                  <a:pt x="3631" y="1"/>
                </a:moveTo>
                <a:lnTo>
                  <a:pt x="3631" y="1172"/>
                </a:lnTo>
                <a:lnTo>
                  <a:pt x="0" y="5110"/>
                </a:lnTo>
                <a:lnTo>
                  <a:pt x="9340" y="4686"/>
                </a:lnTo>
                <a:lnTo>
                  <a:pt x="4670" y="1172"/>
                </a:lnTo>
                <a:lnTo>
                  <a:pt x="4670" y="1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1425705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0C347B-AB7B-426F-93AA-EC6FBBBA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3ED931D-7A99-4E43-865B-4176EBD10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7FF467C-75D8-4B26-A530-F4CBDF83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80B0A-B9CC-43C8-AB48-060BB0E9F7BF}" type="datetimeFigureOut">
              <a:rPr lang="en-ID" smtClean="0"/>
              <a:t>10/1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DADD590-6329-4800-AEC8-F336A7A71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AFF455E-8305-4DF5-8A22-FB40B1BA5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5917742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29523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xmlns="" id="{75458041-BCC9-4D92-9490-8AF60C00983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5524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1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9" name="그림 개체 틀 2">
            <a:extLst>
              <a:ext uri="{FF2B5EF4-FFF2-40B4-BE49-F238E27FC236}">
                <a16:creationId xmlns:a16="http://schemas.microsoft.com/office/drawing/2014/main" xmlns="" id="{E26C6D06-6A68-4FCA-8E86-84C6A4BCE960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3313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2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4" name="그림 개체 틀 2">
            <a:extLst>
              <a:ext uri="{FF2B5EF4-FFF2-40B4-BE49-F238E27FC236}">
                <a16:creationId xmlns:a16="http://schemas.microsoft.com/office/drawing/2014/main" xmlns="" id="{7EA72833-AD93-4833-9A2D-CEDAD0BA74BD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6301103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3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15" name="그림 개체 틀 2">
            <a:extLst>
              <a:ext uri="{FF2B5EF4-FFF2-40B4-BE49-F238E27FC236}">
                <a16:creationId xmlns:a16="http://schemas.microsoft.com/office/drawing/2014/main" xmlns="" id="{E974C75D-D81B-497C-9C4E-F1BB2C01057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016308" y="1837041"/>
            <a:ext cx="2268000" cy="1986288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solidFill>
              <a:schemeClr val="accent4"/>
            </a:solidFill>
          </a:ln>
        </p:spPr>
        <p:txBody>
          <a:bodyPr anchor="ctr"/>
          <a:lstStyle>
            <a:lvl1pPr algn="ctr">
              <a:lnSpc>
                <a:spcPct val="100000"/>
              </a:lnSpc>
              <a:defRPr lang="ko-KR" altLang="en-US" sz="1200" dirty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76866419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491552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31578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99019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57604" y="339510"/>
            <a:ext cx="8139123" cy="724247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18FCB7EA-8D92-4D0E-9CA0-85144BF38C6B}"/>
              </a:ext>
            </a:extLst>
          </p:cNvPr>
          <p:cNvSpPr/>
          <p:nvPr userDrawn="1"/>
        </p:nvSpPr>
        <p:spPr>
          <a:xfrm>
            <a:off x="0" y="0"/>
            <a:ext cx="3305175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D802EA39-5DED-448F-8820-B1ABE5CA1E71}"/>
              </a:ext>
            </a:extLst>
          </p:cNvPr>
          <p:cNvSpPr>
            <a:spLocks noGrp="1"/>
          </p:cNvSpPr>
          <p:nvPr>
            <p:ph type="pic" idx="11" hasCustomPrompt="1"/>
          </p:nvPr>
        </p:nvSpPr>
        <p:spPr>
          <a:xfrm>
            <a:off x="716587" y="1337925"/>
            <a:ext cx="1872000" cy="187200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xmlns="" id="{2F7CE143-A17C-48DA-B38E-D420E73F1F4A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3870959" y="14131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xmlns="" id="{1FE75AB2-0C94-497E-AD67-9C328DBA4955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770685" y="14131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xmlns="" id="{F8C33CBB-29FC-42FB-B7CF-AC46C7F9D535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9670412" y="14131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05352C5B-FBD3-435D-9512-C93A0A1359B7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3870959" y="40039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xmlns="" id="{2D54D713-E45D-430A-9800-572AB275CE05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6770685" y="40039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xmlns="" id="{7278150E-0CF8-4DE5-B9B3-5454DEEA0C24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9670412" y="4003981"/>
            <a:ext cx="1645288" cy="1645288"/>
          </a:xfrm>
          <a:prstGeom prst="ellipse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1003944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2">
            <a:extLst>
              <a:ext uri="{FF2B5EF4-FFF2-40B4-BE49-F238E27FC236}">
                <a16:creationId xmlns:a16="http://schemas.microsoft.com/office/drawing/2014/main" xmlns="" id="{C79AF168-5D44-4851-A705-AE9B9E7AE43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39508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8095672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12714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xmlns="" id="{42F82AFC-ADCE-4ECF-AE6F-6E947248187A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2397589" y="548640"/>
            <a:ext cx="3696000" cy="32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F38A22A7-70F6-42FD-9BCC-09C9D39F335C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6096917" y="548640"/>
            <a:ext cx="5136000" cy="324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 baseline="0"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Rectangle 7">
            <a:extLst>
              <a:ext uri="{FF2B5EF4-FFF2-40B4-BE49-F238E27FC236}">
                <a16:creationId xmlns:a16="http://schemas.microsoft.com/office/drawing/2014/main" xmlns="" id="{E765755F-B397-4AEB-84EE-3DED490ADC3F}"/>
              </a:ext>
            </a:extLst>
          </p:cNvPr>
          <p:cNvSpPr/>
          <p:nvPr userDrawn="1"/>
        </p:nvSpPr>
        <p:spPr>
          <a:xfrm>
            <a:off x="0" y="548640"/>
            <a:ext cx="2397589" cy="32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5" name="Rectangle 8">
            <a:extLst>
              <a:ext uri="{FF2B5EF4-FFF2-40B4-BE49-F238E27FC236}">
                <a16:creationId xmlns:a16="http://schemas.microsoft.com/office/drawing/2014/main" xmlns="" id="{B1AB36E9-B3FF-425B-9F6D-439DCABAC3CF}"/>
              </a:ext>
            </a:extLst>
          </p:cNvPr>
          <p:cNvSpPr/>
          <p:nvPr userDrawn="1"/>
        </p:nvSpPr>
        <p:spPr>
          <a:xfrm>
            <a:off x="11226800" y="548640"/>
            <a:ext cx="965200" cy="32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</p:spTree>
    <p:extLst>
      <p:ext uri="{BB962C8B-B14F-4D97-AF65-F5344CB8AC3E}">
        <p14:creationId xmlns:p14="http://schemas.microsoft.com/office/powerpoint/2010/main" val="316933291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86347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025C5074-FC4B-4CFE-AB3D-BFA87C0856B8}"/>
              </a:ext>
            </a:extLst>
          </p:cNvPr>
          <p:cNvSpPr/>
          <p:nvPr userDrawn="1"/>
        </p:nvSpPr>
        <p:spPr>
          <a:xfrm>
            <a:off x="0" y="1912640"/>
            <a:ext cx="12192000" cy="288032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46A8B293-31D9-4EF8-8B7E-C8F47D3C3A4F}"/>
              </a:ext>
            </a:extLst>
          </p:cNvPr>
          <p:cNvSpPr/>
          <p:nvPr userDrawn="1"/>
        </p:nvSpPr>
        <p:spPr>
          <a:xfrm>
            <a:off x="6925208" y="4958814"/>
            <a:ext cx="4431324" cy="448874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  <a:effectLst>
            <a:softEdge rad="203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/>
          </a:p>
        </p:txBody>
      </p:sp>
      <p:grpSp>
        <p:nvGrpSpPr>
          <p:cNvPr id="4" name="Graphic 14">
            <a:extLst>
              <a:ext uri="{FF2B5EF4-FFF2-40B4-BE49-F238E27FC236}">
                <a16:creationId xmlns:a16="http://schemas.microsoft.com/office/drawing/2014/main" xmlns="" id="{2CD99903-D9BC-4CB3-9028-9222C6021218}"/>
              </a:ext>
            </a:extLst>
          </p:cNvPr>
          <p:cNvGrpSpPr/>
          <p:nvPr userDrawn="1"/>
        </p:nvGrpSpPr>
        <p:grpSpPr>
          <a:xfrm>
            <a:off x="6859252" y="1509182"/>
            <a:ext cx="4568370" cy="3687236"/>
            <a:chOff x="2444748" y="555045"/>
            <a:chExt cx="7282048" cy="5727454"/>
          </a:xfrm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C0706ACC-C7BD-466E-AAD0-98EB88D3EA20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C2690B80-C7FD-4314-B3C6-FDC4A3F1E772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8B7A8EFE-AF85-45E9-826E-C5BA03A1F35A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362826B7-0248-4538-ACD4-5E9EA6C48810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0E8C849A-2C0E-4C57-9741-3E2EC0D0C892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57760D15-C97F-425A-A4BC-A5F09A0D2FFB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788D6D70-B4DD-4089-93CE-CCF9720EABDC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848B7897-FAD7-46BF-A4CB-B0F6EAA45B4C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 dirty="0"/>
            </a:p>
          </p:txBody>
        </p:sp>
      </p:grp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xmlns="" id="{DB1E405F-3A4A-48C5-9340-F20F2A97569A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7004814" y="1641790"/>
            <a:ext cx="4255842" cy="25889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xmlns="" id="{96EDD60F-8AE0-4306-89FE-865AD35D136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188119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867328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204451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xmlns="" id="{8EEBE92B-4C43-4360-A334-1907DAE0919E}"/>
              </a:ext>
            </a:extLst>
          </p:cNvPr>
          <p:cNvSpPr>
            <a:spLocks noGrp="1"/>
          </p:cNvSpPr>
          <p:nvPr>
            <p:ph type="pic" idx="10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Place 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9231266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73919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12192C64-74BE-4458-A1A9-778DF09ED51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813187D0-1EB0-49E5-8698-909F94888AE1}"/>
              </a:ext>
            </a:extLst>
          </p:cNvPr>
          <p:cNvSpPr/>
          <p:nvPr userDrawn="1"/>
        </p:nvSpPr>
        <p:spPr>
          <a:xfrm>
            <a:off x="3397776" y="2717708"/>
            <a:ext cx="8794226" cy="240487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1E3D1A7-252E-468D-BC21-CAD709ABC6A1}"/>
              </a:ext>
            </a:extLst>
          </p:cNvPr>
          <p:cNvGrpSpPr/>
          <p:nvPr userDrawn="1"/>
        </p:nvGrpSpPr>
        <p:grpSpPr>
          <a:xfrm>
            <a:off x="733478" y="1571014"/>
            <a:ext cx="2664296" cy="4683693"/>
            <a:chOff x="445712" y="1449040"/>
            <a:chExt cx="2113018" cy="3924176"/>
          </a:xfrm>
        </p:grpSpPr>
        <p:sp>
          <p:nvSpPr>
            <p:cNvPr id="5" name="Rounded Rectangle 4">
              <a:extLst>
                <a:ext uri="{FF2B5EF4-FFF2-40B4-BE49-F238E27FC236}">
                  <a16:creationId xmlns:a16="http://schemas.microsoft.com/office/drawing/2014/main" xmlns="" id="{E0A6BA71-72E8-4693-8209-A8CED045734E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7AAAFD03-8287-4A0B-9C6E-491529AE2A39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3A2A64B0-CBFC-43E7-B30E-EF38CB49BE66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xmlns="" id="{00A16E07-F637-4BC4-8D2D-EB2BA688F93A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9" name="Rounded Rectangle 8">
                <a:extLst>
                  <a:ext uri="{FF2B5EF4-FFF2-40B4-BE49-F238E27FC236}">
                    <a16:creationId xmlns:a16="http://schemas.microsoft.com/office/drawing/2014/main" xmlns="" id="{145304A0-633D-483E-B5D4-E88C5103AD1C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xmlns="" id="{AD62BF6F-C173-49AC-B1A7-881D95D2A874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21396" y="1982584"/>
            <a:ext cx="2288460" cy="37530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46" indent="0">
              <a:buNone/>
              <a:defRPr sz="2800"/>
            </a:lvl2pPr>
            <a:lvl3pPr marL="914492" indent="0">
              <a:buNone/>
              <a:defRPr sz="2400"/>
            </a:lvl3pPr>
            <a:lvl4pPr marL="1371738" indent="0">
              <a:buNone/>
              <a:defRPr sz="2000"/>
            </a:lvl4pPr>
            <a:lvl5pPr marL="1828983" indent="0">
              <a:buNone/>
              <a:defRPr sz="2000"/>
            </a:lvl5pPr>
            <a:lvl6pPr marL="2286228" indent="0">
              <a:buNone/>
              <a:defRPr sz="2000"/>
            </a:lvl6pPr>
            <a:lvl7pPr marL="2743475" indent="0">
              <a:buNone/>
              <a:defRPr sz="2000"/>
            </a:lvl7pPr>
            <a:lvl8pPr marL="3200720" indent="0">
              <a:buNone/>
              <a:defRPr sz="2000"/>
            </a:lvl8pPr>
            <a:lvl9pPr marL="3657966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26745874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51057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35">
            <a:extLst>
              <a:ext uri="{FF2B5EF4-FFF2-40B4-BE49-F238E27FC236}">
                <a16:creationId xmlns:a16="http://schemas.microsoft.com/office/drawing/2014/main" xmlns="" id="{142C5724-77FA-40DA-AA3D-C4803879E32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119740"/>
            <a:ext cx="5135893" cy="37494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88000" tIns="612000" anchor="ctr"/>
          <a:lstStyle>
            <a:lvl1pPr marL="0" indent="0" algn="ctr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3" name="Rectangle 36">
            <a:extLst>
              <a:ext uri="{FF2B5EF4-FFF2-40B4-BE49-F238E27FC236}">
                <a16:creationId xmlns:a16="http://schemas.microsoft.com/office/drawing/2014/main" xmlns="" id="{566854F9-C82B-42C0-9864-814364F78D49}"/>
              </a:ext>
            </a:extLst>
          </p:cNvPr>
          <p:cNvSpPr/>
          <p:nvPr userDrawn="1"/>
        </p:nvSpPr>
        <p:spPr>
          <a:xfrm rot="10800000">
            <a:off x="5135893" y="1119740"/>
            <a:ext cx="4022165" cy="5305775"/>
          </a:xfrm>
          <a:prstGeom prst="round2SameRect">
            <a:avLst>
              <a:gd name="adj1" fmla="val 840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sp>
        <p:nvSpPr>
          <p:cNvPr id="4" name="Picture Placeholder 35">
            <a:extLst>
              <a:ext uri="{FF2B5EF4-FFF2-40B4-BE49-F238E27FC236}">
                <a16:creationId xmlns:a16="http://schemas.microsoft.com/office/drawing/2014/main" xmlns="" id="{FF27A6A8-5D29-45CB-A1C8-DC0DB5928EA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158060" y="1119740"/>
            <a:ext cx="3050616" cy="374942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288000" tIns="612000" anchor="ctr"/>
          <a:lstStyle>
            <a:lvl1pPr marL="0" marR="0" indent="0" algn="ctr" defTabSz="91444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marL="0" marR="0" lvl="0" indent="0" algn="ctr" defTabSz="914446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제목 1">
            <a:extLst>
              <a:ext uri="{FF2B5EF4-FFF2-40B4-BE49-F238E27FC236}">
                <a16:creationId xmlns:a16="http://schemas.microsoft.com/office/drawing/2014/main" xmlns="" id="{268330C9-9399-4829-94E1-871D4C2C6A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3503" y="209182"/>
            <a:ext cx="12192000" cy="7013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5400" b="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BASIC LAYOUT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0927197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54756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087596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2483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27053084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1" y="1131592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6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5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5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413982765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bg>
      <p:bgPr>
        <a:solidFill>
          <a:schemeClr val="lt1"/>
        </a:solidFill>
        <a:effectLst/>
      </p:bgPr>
    </p:bg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Google Shape;9;p2"/>
          <p:cNvSpPr/>
          <p:nvPr/>
        </p:nvSpPr>
        <p:spPr>
          <a:xfrm flipH="1">
            <a:off x="-857988" y="324736"/>
            <a:ext cx="8758655" cy="6533313"/>
          </a:xfrm>
          <a:custGeom>
            <a:avLst/>
            <a:gdLst/>
            <a:ahLst/>
            <a:cxnLst/>
            <a:rect l="l" t="t" r="r" b="b"/>
            <a:pathLst>
              <a:path w="157861" h="135172" extrusionOk="0">
                <a:moveTo>
                  <a:pt x="144416" y="32024"/>
                </a:moveTo>
                <a:cubicBezTo>
                  <a:pt x="149529" y="48436"/>
                  <a:pt x="157860" y="81258"/>
                  <a:pt x="121477" y="72699"/>
                </a:cubicBezTo>
                <a:lnTo>
                  <a:pt x="121477" y="72699"/>
                </a:lnTo>
                <a:cubicBezTo>
                  <a:pt x="84386" y="63980"/>
                  <a:pt x="66856" y="57292"/>
                  <a:pt x="69001" y="77287"/>
                </a:cubicBezTo>
                <a:lnTo>
                  <a:pt x="69001" y="77287"/>
                </a:lnTo>
                <a:cubicBezTo>
                  <a:pt x="71010" y="95958"/>
                  <a:pt x="57155" y="92580"/>
                  <a:pt x="46518" y="89795"/>
                </a:cubicBezTo>
                <a:lnTo>
                  <a:pt x="46518" y="89795"/>
                </a:lnTo>
                <a:cubicBezTo>
                  <a:pt x="38050" y="87581"/>
                  <a:pt x="23419" y="86531"/>
                  <a:pt x="20018" y="94451"/>
                </a:cubicBezTo>
                <a:lnTo>
                  <a:pt x="20018" y="94451"/>
                </a:lnTo>
                <a:cubicBezTo>
                  <a:pt x="18671" y="97533"/>
                  <a:pt x="19813" y="102052"/>
                  <a:pt x="25063" y="108489"/>
                </a:cubicBezTo>
                <a:lnTo>
                  <a:pt x="25063" y="108489"/>
                </a:lnTo>
                <a:cubicBezTo>
                  <a:pt x="39716" y="126452"/>
                  <a:pt x="13125" y="135172"/>
                  <a:pt x="0" y="135172"/>
                </a:cubicBezTo>
                <a:lnTo>
                  <a:pt x="0" y="135172"/>
                </a:lnTo>
                <a:lnTo>
                  <a:pt x="155989" y="135172"/>
                </a:lnTo>
                <a:lnTo>
                  <a:pt x="155989" y="0"/>
                </a:lnTo>
                <a:cubicBezTo>
                  <a:pt x="155989" y="0"/>
                  <a:pt x="137568" y="10021"/>
                  <a:pt x="144416" y="32024"/>
                </a:cubicBezTo>
              </a:path>
            </a:pathLst>
          </a:cu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defTabSz="914378"/>
            <a:endParaRPr sz="2400">
              <a:solidFill>
                <a:prstClr val="black"/>
              </a:solidFill>
            </a:endParaRPr>
          </a:p>
        </p:txBody>
      </p:sp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774667" y="1118651"/>
            <a:ext cx="5805200" cy="220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5200"/>
              <a:buNone/>
              <a:defRPr sz="6668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4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960000" y="4773351"/>
            <a:ext cx="3812800" cy="1237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334"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4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215305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9266748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10/15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3501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A0C347B-AB7B-426F-93AA-EC6FBBBA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3ED931D-7A99-4E43-865B-4176EBD102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D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7FF467C-75D8-4B26-A530-F4CBDF836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780B0A-B9CC-43C8-AB48-060BB0E9F7BF}" type="datetimeFigureOut">
              <a:rPr lang="en-ID" smtClean="0"/>
              <a:t>10/15/2024</a:t>
            </a:fld>
            <a:endParaRPr lang="en-ID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DADD590-6329-4800-AEC8-F336A7A719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AFF455E-8305-4DF5-8A22-FB40B1BA59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‹#›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137940763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6802539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368258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822843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xmlns="" id="{0EADFCC0-7904-4119-8B0E-9A583C35A4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03133" y="2473708"/>
            <a:ext cx="1728000" cy="219862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6" name="그림 개체 틀 2">
            <a:extLst>
              <a:ext uri="{FF2B5EF4-FFF2-40B4-BE49-F238E27FC236}">
                <a16:creationId xmlns:a16="http://schemas.microsoft.com/office/drawing/2014/main" xmlns="" id="{16D7053E-3D24-4B22-814E-887F58706290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4358709" y="2473708"/>
            <a:ext cx="1728000" cy="219862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8" name="그림 개체 틀 2">
            <a:extLst>
              <a:ext uri="{FF2B5EF4-FFF2-40B4-BE49-F238E27FC236}">
                <a16:creationId xmlns:a16="http://schemas.microsoft.com/office/drawing/2014/main" xmlns="" id="{3451B118-15F6-4FE7-8ECE-FF5BB171072D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7814285" y="2473708"/>
            <a:ext cx="1728000" cy="2198621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7432343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직사각형 6">
            <a:extLst>
              <a:ext uri="{FF2B5EF4-FFF2-40B4-BE49-F238E27FC236}">
                <a16:creationId xmlns:a16="http://schemas.microsoft.com/office/drawing/2014/main" xmlns="" id="{63965083-1445-437C-A344-357B49C20F76}"/>
              </a:ext>
            </a:extLst>
          </p:cNvPr>
          <p:cNvSpPr/>
          <p:nvPr userDrawn="1"/>
        </p:nvSpPr>
        <p:spPr>
          <a:xfrm>
            <a:off x="0" y="863125"/>
            <a:ext cx="6546079" cy="5131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" name="그림 개체 틀 2">
            <a:extLst>
              <a:ext uri="{FF2B5EF4-FFF2-40B4-BE49-F238E27FC236}">
                <a16:creationId xmlns:a16="http://schemas.microsoft.com/office/drawing/2014/main" xmlns="" id="{53C8682F-058D-4816-B976-4E6F2B1E9C6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6096000" y="2959216"/>
            <a:ext cx="6096000" cy="270000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43630839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063051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13">
            <a:extLst>
              <a:ext uri="{FF2B5EF4-FFF2-40B4-BE49-F238E27FC236}">
                <a16:creationId xmlns:a16="http://schemas.microsoft.com/office/drawing/2014/main" xmlns="" id="{EB2F064B-2120-4A2F-92A3-900AC8FF5119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5661437" y="0"/>
            <a:ext cx="6530564" cy="6858000"/>
          </a:xfrm>
          <a:custGeom>
            <a:avLst/>
            <a:gdLst>
              <a:gd name="connsiteX0" fmla="*/ 4044771 w 6530564"/>
              <a:gd name="connsiteY0" fmla="*/ 6093451 h 6858000"/>
              <a:gd name="connsiteX1" fmla="*/ 4045742 w 6530564"/>
              <a:gd name="connsiteY1" fmla="*/ 6095312 h 6858000"/>
              <a:gd name="connsiteX2" fmla="*/ 4035428 w 6530564"/>
              <a:gd name="connsiteY2" fmla="*/ 6095447 h 6858000"/>
              <a:gd name="connsiteX3" fmla="*/ 4044771 w 6530564"/>
              <a:gd name="connsiteY3" fmla="*/ 6093451 h 6858000"/>
              <a:gd name="connsiteX4" fmla="*/ 4313376 w 6530564"/>
              <a:gd name="connsiteY4" fmla="*/ 6001876 h 6858000"/>
              <a:gd name="connsiteX5" fmla="*/ 4333057 w 6530564"/>
              <a:gd name="connsiteY5" fmla="*/ 6002555 h 6858000"/>
              <a:gd name="connsiteX6" fmla="*/ 4334056 w 6530564"/>
              <a:gd name="connsiteY6" fmla="*/ 6007226 h 6858000"/>
              <a:gd name="connsiteX7" fmla="*/ 4335053 w 6530564"/>
              <a:gd name="connsiteY7" fmla="*/ 6011898 h 6858000"/>
              <a:gd name="connsiteX8" fmla="*/ 4253651 w 6530564"/>
              <a:gd name="connsiteY8" fmla="*/ 6019520 h 6858000"/>
              <a:gd name="connsiteX9" fmla="*/ 4308706 w 6530564"/>
              <a:gd name="connsiteY9" fmla="*/ 6002875 h 6858000"/>
              <a:gd name="connsiteX10" fmla="*/ 4371425 w 6530564"/>
              <a:gd name="connsiteY10" fmla="*/ 5999243 h 6858000"/>
              <a:gd name="connsiteX11" fmla="*/ 4381959 w 6530564"/>
              <a:gd name="connsiteY11" fmla="*/ 5999606 h 6858000"/>
              <a:gd name="connsiteX12" fmla="*/ 4343399 w 6530564"/>
              <a:gd name="connsiteY12" fmla="*/ 6005230 h 6858000"/>
              <a:gd name="connsiteX13" fmla="*/ 4348069 w 6530564"/>
              <a:gd name="connsiteY13" fmla="*/ 6004231 h 6858000"/>
              <a:gd name="connsiteX14" fmla="*/ 4352740 w 6530564"/>
              <a:gd name="connsiteY14" fmla="*/ 6003234 h 6858000"/>
              <a:gd name="connsiteX15" fmla="*/ 4371425 w 6530564"/>
              <a:gd name="connsiteY15" fmla="*/ 5999243 h 6858000"/>
              <a:gd name="connsiteX16" fmla="*/ 5313770 w 6530564"/>
              <a:gd name="connsiteY16" fmla="*/ 5992063 h 6858000"/>
              <a:gd name="connsiteX17" fmla="*/ 5303509 w 6530564"/>
              <a:gd name="connsiteY17" fmla="*/ 5995476 h 6858000"/>
              <a:gd name="connsiteX18" fmla="*/ 5304507 w 6530564"/>
              <a:gd name="connsiteY18" fmla="*/ 6000145 h 6858000"/>
              <a:gd name="connsiteX19" fmla="*/ 5254793 w 6530564"/>
              <a:gd name="connsiteY19" fmla="*/ 6024769 h 6858000"/>
              <a:gd name="connsiteX20" fmla="*/ 5317025 w 6530564"/>
              <a:gd name="connsiteY20" fmla="*/ 5995549 h 6858000"/>
              <a:gd name="connsiteX21" fmla="*/ 4434660 w 6530564"/>
              <a:gd name="connsiteY21" fmla="*/ 5991919 h 6858000"/>
              <a:gd name="connsiteX22" fmla="*/ 4395777 w 6530564"/>
              <a:gd name="connsiteY22" fmla="*/ 5998924 h 6858000"/>
              <a:gd name="connsiteX23" fmla="*/ 4391107 w 6530564"/>
              <a:gd name="connsiteY23" fmla="*/ 5999922 h 6858000"/>
              <a:gd name="connsiteX24" fmla="*/ 4381959 w 6530564"/>
              <a:gd name="connsiteY24" fmla="*/ 5999606 h 6858000"/>
              <a:gd name="connsiteX25" fmla="*/ 5563150 w 6530564"/>
              <a:gd name="connsiteY25" fmla="*/ 5743821 h 6858000"/>
              <a:gd name="connsiteX26" fmla="*/ 5562539 w 6530564"/>
              <a:gd name="connsiteY26" fmla="*/ 5744767 h 6858000"/>
              <a:gd name="connsiteX27" fmla="*/ 5557868 w 6530564"/>
              <a:gd name="connsiteY27" fmla="*/ 5745764 h 6858000"/>
              <a:gd name="connsiteX28" fmla="*/ 2418715 w 6530564"/>
              <a:gd name="connsiteY28" fmla="*/ 5683798 h 6858000"/>
              <a:gd name="connsiteX29" fmla="*/ 2423109 w 6530564"/>
              <a:gd name="connsiteY29" fmla="*/ 5687744 h 6858000"/>
              <a:gd name="connsiteX30" fmla="*/ 2419712 w 6530564"/>
              <a:gd name="connsiteY30" fmla="*/ 5688470 h 6858000"/>
              <a:gd name="connsiteX31" fmla="*/ 2418715 w 6530564"/>
              <a:gd name="connsiteY31" fmla="*/ 5683798 h 6858000"/>
              <a:gd name="connsiteX32" fmla="*/ 5855983 w 6530564"/>
              <a:gd name="connsiteY32" fmla="*/ 5403674 h 6858000"/>
              <a:gd name="connsiteX33" fmla="*/ 5851753 w 6530564"/>
              <a:gd name="connsiteY33" fmla="*/ 5406742 h 6858000"/>
              <a:gd name="connsiteX34" fmla="*/ 5851313 w 6530564"/>
              <a:gd name="connsiteY34" fmla="*/ 5404671 h 6858000"/>
              <a:gd name="connsiteX35" fmla="*/ 5855983 w 6530564"/>
              <a:gd name="connsiteY35" fmla="*/ 5403674 h 6858000"/>
              <a:gd name="connsiteX36" fmla="*/ 4512474 w 6530564"/>
              <a:gd name="connsiteY36" fmla="*/ 5165146 h 6858000"/>
              <a:gd name="connsiteX37" fmla="*/ 4513179 w 6530564"/>
              <a:gd name="connsiteY37" fmla="*/ 5165335 h 6858000"/>
              <a:gd name="connsiteX38" fmla="*/ 4508315 w 6530564"/>
              <a:gd name="connsiteY38" fmla="*/ 5167547 h 6858000"/>
              <a:gd name="connsiteX39" fmla="*/ 4512474 w 6530564"/>
              <a:gd name="connsiteY39" fmla="*/ 5165146 h 6858000"/>
              <a:gd name="connsiteX40" fmla="*/ 4373541 w 6530564"/>
              <a:gd name="connsiteY40" fmla="*/ 5128612 h 6858000"/>
              <a:gd name="connsiteX41" fmla="*/ 4362165 w 6530564"/>
              <a:gd name="connsiteY41" fmla="*/ 5131201 h 6858000"/>
              <a:gd name="connsiteX42" fmla="*/ 4370545 w 6530564"/>
              <a:gd name="connsiteY42" fmla="*/ 5130631 h 6858000"/>
              <a:gd name="connsiteX43" fmla="*/ 3626785 w 6530564"/>
              <a:gd name="connsiteY43" fmla="*/ 5124711 h 6858000"/>
              <a:gd name="connsiteX44" fmla="*/ 3639907 w 6530564"/>
              <a:gd name="connsiteY44" fmla="*/ 5128227 h 6858000"/>
              <a:gd name="connsiteX45" fmla="*/ 3629186 w 6530564"/>
              <a:gd name="connsiteY45" fmla="*/ 5128871 h 6858000"/>
              <a:gd name="connsiteX46" fmla="*/ 3625905 w 6530564"/>
              <a:gd name="connsiteY46" fmla="*/ 5127992 h 6858000"/>
              <a:gd name="connsiteX47" fmla="*/ 3622627 w 6530564"/>
              <a:gd name="connsiteY47" fmla="*/ 5127114 h 6858000"/>
              <a:gd name="connsiteX48" fmla="*/ 3619346 w 6530564"/>
              <a:gd name="connsiteY48" fmla="*/ 5126234 h 6858000"/>
              <a:gd name="connsiteX49" fmla="*/ 3626785 w 6530564"/>
              <a:gd name="connsiteY49" fmla="*/ 5124711 h 6858000"/>
              <a:gd name="connsiteX50" fmla="*/ 3360612 w 6530564"/>
              <a:gd name="connsiteY50" fmla="*/ 5081517 h 6858000"/>
              <a:gd name="connsiteX51" fmla="*/ 3363892 w 6530564"/>
              <a:gd name="connsiteY51" fmla="*/ 5082396 h 6858000"/>
              <a:gd name="connsiteX52" fmla="*/ 3359734 w 6530564"/>
              <a:gd name="connsiteY52" fmla="*/ 5084797 h 6858000"/>
              <a:gd name="connsiteX53" fmla="*/ 3360612 w 6530564"/>
              <a:gd name="connsiteY53" fmla="*/ 5081517 h 6858000"/>
              <a:gd name="connsiteX54" fmla="*/ 3200777 w 6530564"/>
              <a:gd name="connsiteY54" fmla="*/ 5049024 h 6858000"/>
              <a:gd name="connsiteX55" fmla="*/ 3203804 w 6530564"/>
              <a:gd name="connsiteY55" fmla="*/ 5050048 h 6858000"/>
              <a:gd name="connsiteX56" fmla="*/ 3200523 w 6530564"/>
              <a:gd name="connsiteY56" fmla="*/ 5049169 h 6858000"/>
              <a:gd name="connsiteX57" fmla="*/ 3219693 w 6530564"/>
              <a:gd name="connsiteY57" fmla="*/ 5047769 h 6858000"/>
              <a:gd name="connsiteX58" fmla="*/ 3228523 w 6530564"/>
              <a:gd name="connsiteY58" fmla="*/ 5049640 h 6858000"/>
              <a:gd name="connsiteX59" fmla="*/ 3230924 w 6530564"/>
              <a:gd name="connsiteY59" fmla="*/ 5053799 h 6858000"/>
              <a:gd name="connsiteX60" fmla="*/ 3234205 w 6530564"/>
              <a:gd name="connsiteY60" fmla="*/ 5054678 h 6858000"/>
              <a:gd name="connsiteX61" fmla="*/ 3236606 w 6530564"/>
              <a:gd name="connsiteY61" fmla="*/ 5058838 h 6858000"/>
              <a:gd name="connsiteX62" fmla="*/ 3239886 w 6530564"/>
              <a:gd name="connsiteY62" fmla="*/ 5059716 h 6858000"/>
              <a:gd name="connsiteX63" fmla="*/ 3240766 w 6530564"/>
              <a:gd name="connsiteY63" fmla="*/ 5056436 h 6858000"/>
              <a:gd name="connsiteX64" fmla="*/ 3267886 w 6530564"/>
              <a:gd name="connsiteY64" fmla="*/ 5060188 h 6858000"/>
              <a:gd name="connsiteX65" fmla="*/ 3267006 w 6530564"/>
              <a:gd name="connsiteY65" fmla="*/ 5063467 h 6858000"/>
              <a:gd name="connsiteX66" fmla="*/ 3273569 w 6530564"/>
              <a:gd name="connsiteY66" fmla="*/ 5065226 h 6858000"/>
              <a:gd name="connsiteX67" fmla="*/ 3276848 w 6530564"/>
              <a:gd name="connsiteY67" fmla="*/ 5066104 h 6858000"/>
              <a:gd name="connsiteX68" fmla="*/ 3308771 w 6530564"/>
              <a:gd name="connsiteY68" fmla="*/ 5078174 h 6858000"/>
              <a:gd name="connsiteX69" fmla="*/ 3309651 w 6530564"/>
              <a:gd name="connsiteY69" fmla="*/ 5074894 h 6858000"/>
              <a:gd name="connsiteX70" fmla="*/ 3312052 w 6530564"/>
              <a:gd name="connsiteY70" fmla="*/ 5079053 h 6858000"/>
              <a:gd name="connsiteX71" fmla="*/ 3316211 w 6530564"/>
              <a:gd name="connsiteY71" fmla="*/ 5076651 h 6858000"/>
              <a:gd name="connsiteX72" fmla="*/ 3335893 w 6530564"/>
              <a:gd name="connsiteY72" fmla="*/ 5081925 h 6858000"/>
              <a:gd name="connsiteX73" fmla="*/ 3346612 w 6530564"/>
              <a:gd name="connsiteY73" fmla="*/ 5081283 h 6858000"/>
              <a:gd name="connsiteX74" fmla="*/ 3349015 w 6530564"/>
              <a:gd name="connsiteY74" fmla="*/ 5085441 h 6858000"/>
              <a:gd name="connsiteX75" fmla="*/ 3354053 w 6530564"/>
              <a:gd name="connsiteY75" fmla="*/ 5079760 h 6858000"/>
              <a:gd name="connsiteX76" fmla="*/ 3353173 w 6530564"/>
              <a:gd name="connsiteY76" fmla="*/ 5083040 h 6858000"/>
              <a:gd name="connsiteX77" fmla="*/ 3356453 w 6530564"/>
              <a:gd name="connsiteY77" fmla="*/ 5083919 h 6858000"/>
              <a:gd name="connsiteX78" fmla="*/ 3359734 w 6530564"/>
              <a:gd name="connsiteY78" fmla="*/ 5084797 h 6858000"/>
              <a:gd name="connsiteX79" fmla="*/ 3363013 w 6530564"/>
              <a:gd name="connsiteY79" fmla="*/ 5085677 h 6858000"/>
              <a:gd name="connsiteX80" fmla="*/ 3366295 w 6530564"/>
              <a:gd name="connsiteY80" fmla="*/ 5086556 h 6858000"/>
              <a:gd name="connsiteX81" fmla="*/ 3371975 w 6530564"/>
              <a:gd name="connsiteY81" fmla="*/ 5091594 h 6858000"/>
              <a:gd name="connsiteX82" fmla="*/ 3379415 w 6530564"/>
              <a:gd name="connsiteY82" fmla="*/ 5090071 h 6858000"/>
              <a:gd name="connsiteX83" fmla="*/ 3398218 w 6530564"/>
              <a:gd name="connsiteY83" fmla="*/ 5098625 h 6858000"/>
              <a:gd name="connsiteX84" fmla="*/ 3338294 w 6530564"/>
              <a:gd name="connsiteY84" fmla="*/ 5086085 h 6858000"/>
              <a:gd name="connsiteX85" fmla="*/ 3309415 w 6530564"/>
              <a:gd name="connsiteY85" fmla="*/ 5088893 h 6858000"/>
              <a:gd name="connsiteX86" fmla="*/ 3275734 w 6530564"/>
              <a:gd name="connsiteY86" fmla="*/ 5083385 h 6858000"/>
              <a:gd name="connsiteX87" fmla="*/ 3221727 w 6530564"/>
              <a:gd name="connsiteY87" fmla="*/ 5061883 h 6858000"/>
              <a:gd name="connsiteX88" fmla="*/ 3225887 w 6530564"/>
              <a:gd name="connsiteY88" fmla="*/ 5059480 h 6858000"/>
              <a:gd name="connsiteX89" fmla="*/ 3222606 w 6530564"/>
              <a:gd name="connsiteY89" fmla="*/ 5058602 h 6858000"/>
              <a:gd name="connsiteX90" fmla="*/ 3210364 w 6530564"/>
              <a:gd name="connsiteY90" fmla="*/ 5051805 h 6858000"/>
              <a:gd name="connsiteX91" fmla="*/ 3207083 w 6530564"/>
              <a:gd name="connsiteY91" fmla="*/ 5050927 h 6858000"/>
              <a:gd name="connsiteX92" fmla="*/ 3207921 w 6530564"/>
              <a:gd name="connsiteY92" fmla="*/ 5047800 h 6858000"/>
              <a:gd name="connsiteX93" fmla="*/ 3213235 w 6530564"/>
              <a:gd name="connsiteY93" fmla="*/ 5049498 h 6858000"/>
              <a:gd name="connsiteX94" fmla="*/ 3219693 w 6530564"/>
              <a:gd name="connsiteY94" fmla="*/ 5047769 h 6858000"/>
              <a:gd name="connsiteX95" fmla="*/ 3204682 w 6530564"/>
              <a:gd name="connsiteY95" fmla="*/ 5046768 h 6858000"/>
              <a:gd name="connsiteX96" fmla="*/ 3207964 w 6530564"/>
              <a:gd name="connsiteY96" fmla="*/ 5047647 h 6858000"/>
              <a:gd name="connsiteX97" fmla="*/ 3207921 w 6530564"/>
              <a:gd name="connsiteY97" fmla="*/ 5047800 h 6858000"/>
              <a:gd name="connsiteX98" fmla="*/ 1727225 w 6530564"/>
              <a:gd name="connsiteY98" fmla="*/ 5030520 h 6858000"/>
              <a:gd name="connsiteX99" fmla="*/ 1725536 w 6530564"/>
              <a:gd name="connsiteY99" fmla="*/ 5030881 h 6858000"/>
              <a:gd name="connsiteX100" fmla="*/ 1727974 w 6530564"/>
              <a:gd name="connsiteY100" fmla="*/ 5034027 h 6858000"/>
              <a:gd name="connsiteX101" fmla="*/ 4899046 w 6530564"/>
              <a:gd name="connsiteY101" fmla="*/ 4955822 h 6858000"/>
              <a:gd name="connsiteX102" fmla="*/ 4902327 w 6530564"/>
              <a:gd name="connsiteY102" fmla="*/ 4956701 h 6858000"/>
              <a:gd name="connsiteX103" fmla="*/ 4898167 w 6530564"/>
              <a:gd name="connsiteY103" fmla="*/ 4959102 h 6858000"/>
              <a:gd name="connsiteX104" fmla="*/ 4899046 w 6530564"/>
              <a:gd name="connsiteY104" fmla="*/ 4955822 h 6858000"/>
              <a:gd name="connsiteX105" fmla="*/ 4909765 w 6530564"/>
              <a:gd name="connsiteY105" fmla="*/ 4955178 h 6858000"/>
              <a:gd name="connsiteX106" fmla="*/ 4908886 w 6530564"/>
              <a:gd name="connsiteY106" fmla="*/ 4958459 h 6858000"/>
              <a:gd name="connsiteX107" fmla="*/ 4904727 w 6530564"/>
              <a:gd name="connsiteY107" fmla="*/ 4960860 h 6858000"/>
              <a:gd name="connsiteX108" fmla="*/ 4886804 w 6530564"/>
              <a:gd name="connsiteY108" fmla="*/ 4949025 h 6858000"/>
              <a:gd name="connsiteX109" fmla="*/ 4885925 w 6530564"/>
              <a:gd name="connsiteY109" fmla="*/ 4952305 h 6858000"/>
              <a:gd name="connsiteX110" fmla="*/ 4882645 w 6530564"/>
              <a:gd name="connsiteY110" fmla="*/ 4951427 h 6858000"/>
              <a:gd name="connsiteX111" fmla="*/ 4886804 w 6530564"/>
              <a:gd name="connsiteY111" fmla="*/ 4949025 h 6858000"/>
              <a:gd name="connsiteX112" fmla="*/ 1904088 w 6530564"/>
              <a:gd name="connsiteY112" fmla="*/ 4943893 h 6858000"/>
              <a:gd name="connsiteX113" fmla="*/ 1909757 w 6530564"/>
              <a:gd name="connsiteY113" fmla="*/ 4947566 h 6858000"/>
              <a:gd name="connsiteX114" fmla="*/ 1905087 w 6530564"/>
              <a:gd name="connsiteY114" fmla="*/ 4948563 h 6858000"/>
              <a:gd name="connsiteX115" fmla="*/ 4977467 w 6530564"/>
              <a:gd name="connsiteY115" fmla="*/ 4879455 h 6858000"/>
              <a:gd name="connsiteX116" fmla="*/ 4858971 w 6530564"/>
              <a:gd name="connsiteY116" fmla="*/ 4948076 h 6858000"/>
              <a:gd name="connsiteX117" fmla="*/ 4660094 w 6530564"/>
              <a:gd name="connsiteY117" fmla="*/ 5042804 h 6858000"/>
              <a:gd name="connsiteX118" fmla="*/ 4444457 w 6530564"/>
              <a:gd name="connsiteY118" fmla="*/ 5112467 h 6858000"/>
              <a:gd name="connsiteX119" fmla="*/ 4389558 w 6530564"/>
              <a:gd name="connsiteY119" fmla="*/ 5124965 h 6858000"/>
              <a:gd name="connsiteX120" fmla="*/ 4383717 w 6530564"/>
              <a:gd name="connsiteY120" fmla="*/ 5128009 h 6858000"/>
              <a:gd name="connsiteX121" fmla="*/ 4343187 w 6530564"/>
              <a:gd name="connsiteY121" fmla="*/ 5140882 h 6858000"/>
              <a:gd name="connsiteX122" fmla="*/ 4339907 w 6530564"/>
              <a:gd name="connsiteY122" fmla="*/ 5140002 h 6858000"/>
              <a:gd name="connsiteX123" fmla="*/ 4336627 w 6530564"/>
              <a:gd name="connsiteY123" fmla="*/ 5139123 h 6858000"/>
              <a:gd name="connsiteX124" fmla="*/ 4335748 w 6530564"/>
              <a:gd name="connsiteY124" fmla="*/ 5142403 h 6858000"/>
              <a:gd name="connsiteX125" fmla="*/ 4317590 w 6530564"/>
              <a:gd name="connsiteY125" fmla="*/ 5144570 h 6858000"/>
              <a:gd name="connsiteX126" fmla="*/ 4314308 w 6530564"/>
              <a:gd name="connsiteY126" fmla="*/ 5143691 h 6858000"/>
              <a:gd name="connsiteX127" fmla="*/ 4310149 w 6530564"/>
              <a:gd name="connsiteY127" fmla="*/ 5146092 h 6858000"/>
              <a:gd name="connsiteX128" fmla="*/ 4313430 w 6530564"/>
              <a:gd name="connsiteY128" fmla="*/ 5146971 h 6858000"/>
              <a:gd name="connsiteX129" fmla="*/ 4271193 w 6530564"/>
              <a:gd name="connsiteY129" fmla="*/ 5160265 h 6858000"/>
              <a:gd name="connsiteX130" fmla="*/ 4272073 w 6530564"/>
              <a:gd name="connsiteY130" fmla="*/ 5156984 h 6858000"/>
              <a:gd name="connsiteX131" fmla="*/ 4268793 w 6530564"/>
              <a:gd name="connsiteY131" fmla="*/ 5156105 h 6858000"/>
              <a:gd name="connsiteX132" fmla="*/ 4264633 w 6530564"/>
              <a:gd name="connsiteY132" fmla="*/ 5158507 h 6858000"/>
              <a:gd name="connsiteX133" fmla="*/ 4263755 w 6530564"/>
              <a:gd name="connsiteY133" fmla="*/ 5161788 h 6858000"/>
              <a:gd name="connsiteX134" fmla="*/ 4260474 w 6530564"/>
              <a:gd name="connsiteY134" fmla="*/ 5160908 h 6858000"/>
              <a:gd name="connsiteX135" fmla="*/ 4239034 w 6530564"/>
              <a:gd name="connsiteY135" fmla="*/ 5162195 h 6858000"/>
              <a:gd name="connsiteX136" fmla="*/ 4233996 w 6530564"/>
              <a:gd name="connsiteY136" fmla="*/ 5167877 h 6858000"/>
              <a:gd name="connsiteX137" fmla="*/ 4226557 w 6530564"/>
              <a:gd name="connsiteY137" fmla="*/ 5169398 h 6858000"/>
              <a:gd name="connsiteX138" fmla="*/ 4224157 w 6530564"/>
              <a:gd name="connsiteY138" fmla="*/ 5165240 h 6858000"/>
              <a:gd name="connsiteX139" fmla="*/ 4219997 w 6530564"/>
              <a:gd name="connsiteY139" fmla="*/ 5167641 h 6858000"/>
              <a:gd name="connsiteX140" fmla="*/ 4215837 w 6530564"/>
              <a:gd name="connsiteY140" fmla="*/ 5170042 h 6858000"/>
              <a:gd name="connsiteX141" fmla="*/ 4181921 w 6530564"/>
              <a:gd name="connsiteY141" fmla="*/ 5178534 h 6858000"/>
              <a:gd name="connsiteX142" fmla="*/ 4195921 w 6530564"/>
              <a:gd name="connsiteY142" fmla="*/ 5178768 h 6858000"/>
              <a:gd name="connsiteX143" fmla="*/ 4211678 w 6530564"/>
              <a:gd name="connsiteY143" fmla="*/ 5172443 h 6858000"/>
              <a:gd name="connsiteX144" fmla="*/ 4214959 w 6530564"/>
              <a:gd name="connsiteY144" fmla="*/ 5173322 h 6858000"/>
              <a:gd name="connsiteX145" fmla="*/ 4218239 w 6530564"/>
              <a:gd name="connsiteY145" fmla="*/ 5174202 h 6858000"/>
              <a:gd name="connsiteX146" fmla="*/ 4225678 w 6530564"/>
              <a:gd name="connsiteY146" fmla="*/ 5172679 h 6858000"/>
              <a:gd name="connsiteX147" fmla="*/ 4256315 w 6530564"/>
              <a:gd name="connsiteY147" fmla="*/ 5163309 h 6858000"/>
              <a:gd name="connsiteX148" fmla="*/ 4262875 w 6530564"/>
              <a:gd name="connsiteY148" fmla="*/ 5165067 h 6858000"/>
              <a:gd name="connsiteX149" fmla="*/ 4266157 w 6530564"/>
              <a:gd name="connsiteY149" fmla="*/ 5165946 h 6858000"/>
              <a:gd name="connsiteX150" fmla="*/ 4272717 w 6530564"/>
              <a:gd name="connsiteY150" fmla="*/ 5167703 h 6858000"/>
              <a:gd name="connsiteX151" fmla="*/ 4273595 w 6530564"/>
              <a:gd name="connsiteY151" fmla="*/ 5164424 h 6858000"/>
              <a:gd name="connsiteX152" fmla="*/ 4274474 w 6530564"/>
              <a:gd name="connsiteY152" fmla="*/ 5161144 h 6858000"/>
              <a:gd name="connsiteX153" fmla="*/ 4290233 w 6530564"/>
              <a:gd name="connsiteY153" fmla="*/ 5154819 h 6858000"/>
              <a:gd name="connsiteX154" fmla="*/ 4312551 w 6530564"/>
              <a:gd name="connsiteY154" fmla="*/ 5150251 h 6858000"/>
              <a:gd name="connsiteX155" fmla="*/ 4315831 w 6530564"/>
              <a:gd name="connsiteY155" fmla="*/ 5151131 h 6858000"/>
              <a:gd name="connsiteX156" fmla="*/ 4319110 w 6530564"/>
              <a:gd name="connsiteY156" fmla="*/ 5152009 h 6858000"/>
              <a:gd name="connsiteX157" fmla="*/ 4334869 w 6530564"/>
              <a:gd name="connsiteY157" fmla="*/ 5145684 h 6858000"/>
              <a:gd name="connsiteX158" fmla="*/ 4330709 w 6530564"/>
              <a:gd name="connsiteY158" fmla="*/ 5148085 h 6858000"/>
              <a:gd name="connsiteX159" fmla="*/ 4333989 w 6530564"/>
              <a:gd name="connsiteY159" fmla="*/ 5148964 h 6858000"/>
              <a:gd name="connsiteX160" fmla="*/ 4338149 w 6530564"/>
              <a:gd name="connsiteY160" fmla="*/ 5146563 h 6858000"/>
              <a:gd name="connsiteX161" fmla="*/ 4342309 w 6530564"/>
              <a:gd name="connsiteY161" fmla="*/ 5144162 h 6858000"/>
              <a:gd name="connsiteX162" fmla="*/ 4353029 w 6530564"/>
              <a:gd name="connsiteY162" fmla="*/ 5143519 h 6858000"/>
              <a:gd name="connsiteX163" fmla="*/ 4361347 w 6530564"/>
              <a:gd name="connsiteY163" fmla="*/ 5138715 h 6858000"/>
              <a:gd name="connsiteX164" fmla="*/ 4356309 w 6530564"/>
              <a:gd name="connsiteY164" fmla="*/ 5144397 h 6858000"/>
              <a:gd name="connsiteX165" fmla="*/ 4368785 w 6530564"/>
              <a:gd name="connsiteY165" fmla="*/ 5137194 h 6858000"/>
              <a:gd name="connsiteX166" fmla="*/ 4387825 w 6530564"/>
              <a:gd name="connsiteY166" fmla="*/ 5131747 h 6858000"/>
              <a:gd name="connsiteX167" fmla="*/ 4385187 w 6530564"/>
              <a:gd name="connsiteY167" fmla="*/ 5141588 h 6858000"/>
              <a:gd name="connsiteX168" fmla="*/ 4401825 w 6530564"/>
              <a:gd name="connsiteY168" fmla="*/ 5131982 h 6858000"/>
              <a:gd name="connsiteX169" fmla="*/ 4400945 w 6530564"/>
              <a:gd name="connsiteY169" fmla="*/ 5135263 h 6858000"/>
              <a:gd name="connsiteX170" fmla="*/ 4404225 w 6530564"/>
              <a:gd name="connsiteY170" fmla="*/ 5136142 h 6858000"/>
              <a:gd name="connsiteX171" fmla="*/ 4408385 w 6530564"/>
              <a:gd name="connsiteY171" fmla="*/ 5133740 h 6858000"/>
              <a:gd name="connsiteX172" fmla="*/ 4420862 w 6530564"/>
              <a:gd name="connsiteY172" fmla="*/ 5126537 h 6858000"/>
              <a:gd name="connsiteX173" fmla="*/ 4428303 w 6530564"/>
              <a:gd name="connsiteY173" fmla="*/ 5125014 h 6858000"/>
              <a:gd name="connsiteX174" fmla="*/ 4432461 w 6530564"/>
              <a:gd name="connsiteY174" fmla="*/ 5122611 h 6858000"/>
              <a:gd name="connsiteX175" fmla="*/ 4429181 w 6530564"/>
              <a:gd name="connsiteY175" fmla="*/ 5121733 h 6858000"/>
              <a:gd name="connsiteX176" fmla="*/ 4425901 w 6530564"/>
              <a:gd name="connsiteY176" fmla="*/ 5120854 h 6858000"/>
              <a:gd name="connsiteX177" fmla="*/ 4456537 w 6530564"/>
              <a:gd name="connsiteY177" fmla="*/ 5111486 h 6858000"/>
              <a:gd name="connsiteX178" fmla="*/ 4450621 w 6530564"/>
              <a:gd name="connsiteY178" fmla="*/ 5120446 h 6858000"/>
              <a:gd name="connsiteX179" fmla="*/ 4475575 w 6530564"/>
              <a:gd name="connsiteY179" fmla="*/ 5106039 h 6858000"/>
              <a:gd name="connsiteX180" fmla="*/ 4506211 w 6530564"/>
              <a:gd name="connsiteY180" fmla="*/ 5096669 h 6858000"/>
              <a:gd name="connsiteX181" fmla="*/ 4502053 w 6530564"/>
              <a:gd name="connsiteY181" fmla="*/ 5099070 h 6858000"/>
              <a:gd name="connsiteX182" fmla="*/ 4501174 w 6530564"/>
              <a:gd name="connsiteY182" fmla="*/ 5102350 h 6858000"/>
              <a:gd name="connsiteX183" fmla="*/ 4500295 w 6530564"/>
              <a:gd name="connsiteY183" fmla="*/ 5105631 h 6858000"/>
              <a:gd name="connsiteX184" fmla="*/ 4507735 w 6530564"/>
              <a:gd name="connsiteY184" fmla="*/ 5104109 h 6858000"/>
              <a:gd name="connsiteX185" fmla="*/ 4506857 w 6530564"/>
              <a:gd name="connsiteY185" fmla="*/ 5107388 h 6858000"/>
              <a:gd name="connsiteX186" fmla="*/ 4502697 w 6530564"/>
              <a:gd name="connsiteY186" fmla="*/ 5109791 h 6858000"/>
              <a:gd name="connsiteX187" fmla="*/ 4499417 w 6530564"/>
              <a:gd name="connsiteY187" fmla="*/ 5108911 h 6858000"/>
              <a:gd name="connsiteX188" fmla="*/ 4495258 w 6530564"/>
              <a:gd name="connsiteY188" fmla="*/ 5111312 h 6858000"/>
              <a:gd name="connsiteX189" fmla="*/ 4491098 w 6530564"/>
              <a:gd name="connsiteY189" fmla="*/ 5113713 h 6858000"/>
              <a:gd name="connsiteX190" fmla="*/ 4368551 w 6530564"/>
              <a:gd name="connsiteY190" fmla="*/ 5151193 h 6858000"/>
              <a:gd name="connsiteX191" fmla="*/ 4365269 w 6530564"/>
              <a:gd name="connsiteY191" fmla="*/ 5150314 h 6858000"/>
              <a:gd name="connsiteX192" fmla="*/ 4361112 w 6530564"/>
              <a:gd name="connsiteY192" fmla="*/ 5152715 h 6858000"/>
              <a:gd name="connsiteX193" fmla="*/ 4337913 w 6530564"/>
              <a:gd name="connsiteY193" fmla="*/ 5160563 h 6858000"/>
              <a:gd name="connsiteX194" fmla="*/ 4327194 w 6530564"/>
              <a:gd name="connsiteY194" fmla="*/ 5161207 h 6858000"/>
              <a:gd name="connsiteX195" fmla="*/ 4323035 w 6530564"/>
              <a:gd name="connsiteY195" fmla="*/ 5163608 h 6858000"/>
              <a:gd name="connsiteX196" fmla="*/ 4295678 w 6530564"/>
              <a:gd name="connsiteY196" fmla="*/ 5173857 h 6858000"/>
              <a:gd name="connsiteX197" fmla="*/ 4291519 w 6530564"/>
              <a:gd name="connsiteY197" fmla="*/ 5176258 h 6858000"/>
              <a:gd name="connsiteX198" fmla="*/ 4281679 w 6530564"/>
              <a:gd name="connsiteY198" fmla="*/ 5173621 h 6858000"/>
              <a:gd name="connsiteX199" fmla="*/ 4254323 w 6530564"/>
              <a:gd name="connsiteY199" fmla="*/ 5183870 h 6858000"/>
              <a:gd name="connsiteX200" fmla="*/ 4250163 w 6530564"/>
              <a:gd name="connsiteY200" fmla="*/ 5186271 h 6858000"/>
              <a:gd name="connsiteX201" fmla="*/ 4246882 w 6530564"/>
              <a:gd name="connsiteY201" fmla="*/ 5185391 h 6858000"/>
              <a:gd name="connsiteX202" fmla="*/ 4143607 w 6530564"/>
              <a:gd name="connsiteY202" fmla="*/ 5203426 h 6858000"/>
              <a:gd name="connsiteX203" fmla="*/ 4132010 w 6530564"/>
              <a:gd name="connsiteY203" fmla="*/ 5207349 h 6858000"/>
              <a:gd name="connsiteX204" fmla="*/ 4122169 w 6530564"/>
              <a:gd name="connsiteY204" fmla="*/ 5204713 h 6858000"/>
              <a:gd name="connsiteX205" fmla="*/ 4120410 w 6530564"/>
              <a:gd name="connsiteY205" fmla="*/ 5211273 h 6858000"/>
              <a:gd name="connsiteX206" fmla="*/ 4112971 w 6530564"/>
              <a:gd name="connsiteY206" fmla="*/ 5212796 h 6858000"/>
              <a:gd name="connsiteX207" fmla="*/ 4062652 w 6530564"/>
              <a:gd name="connsiteY207" fmla="*/ 5216892 h 6858000"/>
              <a:gd name="connsiteX208" fmla="*/ 4059373 w 6530564"/>
              <a:gd name="connsiteY208" fmla="*/ 5216012 h 6858000"/>
              <a:gd name="connsiteX209" fmla="*/ 4052812 w 6530564"/>
              <a:gd name="connsiteY209" fmla="*/ 5214255 h 6858000"/>
              <a:gd name="connsiteX210" fmla="*/ 4051933 w 6530564"/>
              <a:gd name="connsiteY210" fmla="*/ 5217535 h 6858000"/>
              <a:gd name="connsiteX211" fmla="*/ 3996577 w 6530564"/>
              <a:gd name="connsiteY211" fmla="*/ 5227313 h 6858000"/>
              <a:gd name="connsiteX212" fmla="*/ 3923940 w 6530564"/>
              <a:gd name="connsiteY212" fmla="*/ 5235976 h 6858000"/>
              <a:gd name="connsiteX213" fmla="*/ 3884340 w 6530564"/>
              <a:gd name="connsiteY213" fmla="*/ 5239430 h 6858000"/>
              <a:gd name="connsiteX214" fmla="*/ 3881060 w 6530564"/>
              <a:gd name="connsiteY214" fmla="*/ 5238550 h 6858000"/>
              <a:gd name="connsiteX215" fmla="*/ 3877781 w 6530564"/>
              <a:gd name="connsiteY215" fmla="*/ 5237671 h 6858000"/>
              <a:gd name="connsiteX216" fmla="*/ 3874499 w 6530564"/>
              <a:gd name="connsiteY216" fmla="*/ 5236793 h 6858000"/>
              <a:gd name="connsiteX217" fmla="*/ 3873621 w 6530564"/>
              <a:gd name="connsiteY217" fmla="*/ 5240072 h 6858000"/>
              <a:gd name="connsiteX218" fmla="*/ 3868581 w 6530564"/>
              <a:gd name="connsiteY218" fmla="*/ 5245755 h 6858000"/>
              <a:gd name="connsiteX219" fmla="*/ 3843864 w 6530564"/>
              <a:gd name="connsiteY219" fmla="*/ 5246161 h 6858000"/>
              <a:gd name="connsiteX220" fmla="*/ 3835544 w 6530564"/>
              <a:gd name="connsiteY220" fmla="*/ 5250965 h 6858000"/>
              <a:gd name="connsiteX221" fmla="*/ 3879302 w 6530564"/>
              <a:gd name="connsiteY221" fmla="*/ 5245111 h 6858000"/>
              <a:gd name="connsiteX222" fmla="*/ 3885863 w 6530564"/>
              <a:gd name="connsiteY222" fmla="*/ 5246869 h 6858000"/>
              <a:gd name="connsiteX223" fmla="*/ 3890023 w 6530564"/>
              <a:gd name="connsiteY223" fmla="*/ 5244468 h 6858000"/>
              <a:gd name="connsiteX224" fmla="*/ 3946901 w 6530564"/>
              <a:gd name="connsiteY224" fmla="*/ 5242128 h 6858000"/>
              <a:gd name="connsiteX225" fmla="*/ 4080577 w 6530564"/>
              <a:gd name="connsiteY225" fmla="*/ 5228726 h 6858000"/>
              <a:gd name="connsiteX226" fmla="*/ 4208569 w 6530564"/>
              <a:gd name="connsiteY226" fmla="*/ 5210285 h 6858000"/>
              <a:gd name="connsiteX227" fmla="*/ 4227607 w 6530564"/>
              <a:gd name="connsiteY227" fmla="*/ 5204840 h 6858000"/>
              <a:gd name="connsiteX228" fmla="*/ 4320161 w 6530564"/>
              <a:gd name="connsiteY228" fmla="*/ 5187449 h 6858000"/>
              <a:gd name="connsiteX229" fmla="*/ 4350799 w 6530564"/>
              <a:gd name="connsiteY229" fmla="*/ 5178079 h 6858000"/>
              <a:gd name="connsiteX230" fmla="*/ 4416232 w 6530564"/>
              <a:gd name="connsiteY230" fmla="*/ 5156937 h 6858000"/>
              <a:gd name="connsiteX231" fmla="*/ 4528059 w 6530564"/>
              <a:gd name="connsiteY231" fmla="*/ 5120102 h 6858000"/>
              <a:gd name="connsiteX232" fmla="*/ 4548856 w 6530564"/>
              <a:gd name="connsiteY232" fmla="*/ 5108094 h 6858000"/>
              <a:gd name="connsiteX233" fmla="*/ 4582773 w 6530564"/>
              <a:gd name="connsiteY233" fmla="*/ 5099604 h 6858000"/>
              <a:gd name="connsiteX234" fmla="*/ 4587811 w 6530564"/>
              <a:gd name="connsiteY234" fmla="*/ 5093923 h 6858000"/>
              <a:gd name="connsiteX235" fmla="*/ 4642524 w 6530564"/>
              <a:gd name="connsiteY235" fmla="*/ 5073425 h 6858000"/>
              <a:gd name="connsiteX236" fmla="*/ 4652601 w 6530564"/>
              <a:gd name="connsiteY236" fmla="*/ 5062062 h 6858000"/>
              <a:gd name="connsiteX237" fmla="*/ 4667481 w 6530564"/>
              <a:gd name="connsiteY237" fmla="*/ 5059017 h 6858000"/>
              <a:gd name="connsiteX238" fmla="*/ 4798817 w 6530564"/>
              <a:gd name="connsiteY238" fmla="*/ 4988734 h 6858000"/>
              <a:gd name="connsiteX239" fmla="*/ 4856167 w 6530564"/>
              <a:gd name="connsiteY239" fmla="*/ 4958396 h 6858000"/>
              <a:gd name="connsiteX240" fmla="*/ 4882880 w 6530564"/>
              <a:gd name="connsiteY240" fmla="*/ 4937426 h 6858000"/>
              <a:gd name="connsiteX241" fmla="*/ 4894479 w 6530564"/>
              <a:gd name="connsiteY241" fmla="*/ 4933504 h 6858000"/>
              <a:gd name="connsiteX242" fmla="*/ 4907835 w 6530564"/>
              <a:gd name="connsiteY242" fmla="*/ 4923019 h 6858000"/>
              <a:gd name="connsiteX243" fmla="*/ 4911115 w 6530564"/>
              <a:gd name="connsiteY243" fmla="*/ 4923898 h 6858000"/>
              <a:gd name="connsiteX244" fmla="*/ 4896879 w 6530564"/>
              <a:gd name="connsiteY244" fmla="*/ 4937664 h 6858000"/>
              <a:gd name="connsiteX245" fmla="*/ 4893599 w 6530564"/>
              <a:gd name="connsiteY245" fmla="*/ 4936784 h 6858000"/>
              <a:gd name="connsiteX246" fmla="*/ 4888561 w 6530564"/>
              <a:gd name="connsiteY246" fmla="*/ 4942464 h 6858000"/>
              <a:gd name="connsiteX247" fmla="*/ 4887682 w 6530564"/>
              <a:gd name="connsiteY247" fmla="*/ 4945746 h 6858000"/>
              <a:gd name="connsiteX248" fmla="*/ 4883523 w 6530564"/>
              <a:gd name="connsiteY248" fmla="*/ 4948147 h 6858000"/>
              <a:gd name="connsiteX249" fmla="*/ 4882645 w 6530564"/>
              <a:gd name="connsiteY249" fmla="*/ 4951427 h 6858000"/>
              <a:gd name="connsiteX250" fmla="*/ 4860969 w 6530564"/>
              <a:gd name="connsiteY250" fmla="*/ 4966714 h 6858000"/>
              <a:gd name="connsiteX251" fmla="*/ 4856811 w 6530564"/>
              <a:gd name="connsiteY251" fmla="*/ 4969115 h 6858000"/>
              <a:gd name="connsiteX252" fmla="*/ 4855931 w 6530564"/>
              <a:gd name="connsiteY252" fmla="*/ 4972396 h 6858000"/>
              <a:gd name="connsiteX253" fmla="*/ 4852651 w 6530564"/>
              <a:gd name="connsiteY253" fmla="*/ 4971516 h 6858000"/>
              <a:gd name="connsiteX254" fmla="*/ 4850250 w 6530564"/>
              <a:gd name="connsiteY254" fmla="*/ 4967358 h 6858000"/>
              <a:gd name="connsiteX255" fmla="*/ 4842575 w 6530564"/>
              <a:gd name="connsiteY255" fmla="*/ 4982879 h 6858000"/>
              <a:gd name="connsiteX256" fmla="*/ 4810180 w 6530564"/>
              <a:gd name="connsiteY256" fmla="*/ 4998810 h 6858000"/>
              <a:gd name="connsiteX257" fmla="*/ 4811059 w 6530564"/>
              <a:gd name="connsiteY257" fmla="*/ 4995529 h 6858000"/>
              <a:gd name="connsiteX258" fmla="*/ 4806900 w 6530564"/>
              <a:gd name="connsiteY258" fmla="*/ 4997932 h 6858000"/>
              <a:gd name="connsiteX259" fmla="*/ 4812817 w 6530564"/>
              <a:gd name="connsiteY259" fmla="*/ 4988970 h 6858000"/>
              <a:gd name="connsiteX260" fmla="*/ 4798581 w 6530564"/>
              <a:gd name="connsiteY260" fmla="*/ 5002734 h 6858000"/>
              <a:gd name="connsiteX261" fmla="*/ 4791141 w 6530564"/>
              <a:gd name="connsiteY261" fmla="*/ 5004257 h 6858000"/>
              <a:gd name="connsiteX262" fmla="*/ 4786983 w 6530564"/>
              <a:gd name="connsiteY262" fmla="*/ 5006658 h 6858000"/>
              <a:gd name="connsiteX263" fmla="*/ 4789383 w 6530564"/>
              <a:gd name="connsiteY263" fmla="*/ 5010818 h 6858000"/>
              <a:gd name="connsiteX264" fmla="*/ 4764429 w 6530564"/>
              <a:gd name="connsiteY264" fmla="*/ 5025225 h 6858000"/>
              <a:gd name="connsiteX265" fmla="*/ 4760269 w 6530564"/>
              <a:gd name="connsiteY265" fmla="*/ 5027626 h 6858000"/>
              <a:gd name="connsiteX266" fmla="*/ 4759391 w 6530564"/>
              <a:gd name="connsiteY266" fmla="*/ 5030907 h 6858000"/>
              <a:gd name="connsiteX267" fmla="*/ 4680365 w 6530564"/>
              <a:gd name="connsiteY267" fmla="*/ 5076532 h 6858000"/>
              <a:gd name="connsiteX268" fmla="*/ 4669645 w 6530564"/>
              <a:gd name="connsiteY268" fmla="*/ 5077175 h 6858000"/>
              <a:gd name="connsiteX269" fmla="*/ 4664607 w 6530564"/>
              <a:gd name="connsiteY269" fmla="*/ 5082858 h 6858000"/>
              <a:gd name="connsiteX270" fmla="*/ 4596538 w 6530564"/>
              <a:gd name="connsiteY270" fmla="*/ 5113840 h 6858000"/>
              <a:gd name="connsiteX271" fmla="*/ 4525187 w 6530564"/>
              <a:gd name="connsiteY271" fmla="*/ 5143943 h 6858000"/>
              <a:gd name="connsiteX272" fmla="*/ 4514467 w 6530564"/>
              <a:gd name="connsiteY272" fmla="*/ 5144586 h 6858000"/>
              <a:gd name="connsiteX273" fmla="*/ 4516869 w 6530564"/>
              <a:gd name="connsiteY273" fmla="*/ 5148745 h 6858000"/>
              <a:gd name="connsiteX274" fmla="*/ 4474633 w 6530564"/>
              <a:gd name="connsiteY274" fmla="*/ 5162039 h 6858000"/>
              <a:gd name="connsiteX275" fmla="*/ 4447277 w 6530564"/>
              <a:gd name="connsiteY275" fmla="*/ 5172288 h 6858000"/>
              <a:gd name="connsiteX276" fmla="*/ 4400883 w 6530564"/>
              <a:gd name="connsiteY276" fmla="*/ 5187983 h 6858000"/>
              <a:gd name="connsiteX277" fmla="*/ 4339608 w 6530564"/>
              <a:gd name="connsiteY277" fmla="*/ 5206722 h 6858000"/>
              <a:gd name="connsiteX278" fmla="*/ 4333047 w 6530564"/>
              <a:gd name="connsiteY278" fmla="*/ 5204965 h 6858000"/>
              <a:gd name="connsiteX279" fmla="*/ 4265213 w 6530564"/>
              <a:gd name="connsiteY279" fmla="*/ 5221947 h 6858000"/>
              <a:gd name="connsiteX280" fmla="*/ 4256895 w 6530564"/>
              <a:gd name="connsiteY280" fmla="*/ 5226749 h 6858000"/>
              <a:gd name="connsiteX281" fmla="*/ 4223857 w 6530564"/>
              <a:gd name="connsiteY281" fmla="*/ 5231960 h 6858000"/>
              <a:gd name="connsiteX282" fmla="*/ 4203941 w 6530564"/>
              <a:gd name="connsiteY282" fmla="*/ 5240686 h 6858000"/>
              <a:gd name="connsiteX283" fmla="*/ 4124741 w 6530564"/>
              <a:gd name="connsiteY283" fmla="*/ 5247592 h 6858000"/>
              <a:gd name="connsiteX284" fmla="*/ 4019067 w 6530564"/>
              <a:gd name="connsiteY284" fmla="*/ 5261465 h 6858000"/>
              <a:gd name="connsiteX285" fmla="*/ 3989310 w 6530564"/>
              <a:gd name="connsiteY285" fmla="*/ 5267556 h 6858000"/>
              <a:gd name="connsiteX286" fmla="*/ 3993469 w 6530564"/>
              <a:gd name="connsiteY286" fmla="*/ 5265155 h 6858000"/>
              <a:gd name="connsiteX287" fmla="*/ 3953870 w 6530564"/>
              <a:gd name="connsiteY287" fmla="*/ 5268607 h 6858000"/>
              <a:gd name="connsiteX288" fmla="*/ 3944029 w 6530564"/>
              <a:gd name="connsiteY288" fmla="*/ 5265970 h 6858000"/>
              <a:gd name="connsiteX289" fmla="*/ 3830272 w 6530564"/>
              <a:gd name="connsiteY289" fmla="*/ 5270646 h 6858000"/>
              <a:gd name="connsiteX290" fmla="*/ 3831150 w 6530564"/>
              <a:gd name="connsiteY290" fmla="*/ 5267367 h 6858000"/>
              <a:gd name="connsiteX291" fmla="*/ 3827869 w 6530564"/>
              <a:gd name="connsiteY291" fmla="*/ 5266488 h 6858000"/>
              <a:gd name="connsiteX292" fmla="*/ 3823711 w 6530564"/>
              <a:gd name="connsiteY292" fmla="*/ 5268887 h 6858000"/>
              <a:gd name="connsiteX293" fmla="*/ 3784991 w 6530564"/>
              <a:gd name="connsiteY293" fmla="*/ 5269060 h 6858000"/>
              <a:gd name="connsiteX294" fmla="*/ 3781710 w 6530564"/>
              <a:gd name="connsiteY294" fmla="*/ 5268182 h 6858000"/>
              <a:gd name="connsiteX295" fmla="*/ 3778430 w 6530564"/>
              <a:gd name="connsiteY295" fmla="*/ 5267303 h 6858000"/>
              <a:gd name="connsiteX296" fmla="*/ 3777550 w 6530564"/>
              <a:gd name="connsiteY296" fmla="*/ 5270583 h 6858000"/>
              <a:gd name="connsiteX297" fmla="*/ 3780831 w 6530564"/>
              <a:gd name="connsiteY297" fmla="*/ 5271463 h 6858000"/>
              <a:gd name="connsiteX298" fmla="*/ 3766831 w 6530564"/>
              <a:gd name="connsiteY298" fmla="*/ 5271227 h 6858000"/>
              <a:gd name="connsiteX299" fmla="*/ 3765073 w 6530564"/>
              <a:gd name="connsiteY299" fmla="*/ 5277788 h 6858000"/>
              <a:gd name="connsiteX300" fmla="*/ 3775793 w 6530564"/>
              <a:gd name="connsiteY300" fmla="*/ 5277144 h 6858000"/>
              <a:gd name="connsiteX301" fmla="*/ 3774913 w 6530564"/>
              <a:gd name="connsiteY301" fmla="*/ 5280425 h 6858000"/>
              <a:gd name="connsiteX302" fmla="*/ 3804672 w 6530564"/>
              <a:gd name="connsiteY302" fmla="*/ 5274334 h 6858000"/>
              <a:gd name="connsiteX303" fmla="*/ 3811233 w 6530564"/>
              <a:gd name="connsiteY303" fmla="*/ 5276093 h 6858000"/>
              <a:gd name="connsiteX304" fmla="*/ 3814512 w 6530564"/>
              <a:gd name="connsiteY304" fmla="*/ 5276971 h 6858000"/>
              <a:gd name="connsiteX305" fmla="*/ 3817794 w 6530564"/>
              <a:gd name="connsiteY305" fmla="*/ 5277850 h 6858000"/>
              <a:gd name="connsiteX306" fmla="*/ 3818672 w 6530564"/>
              <a:gd name="connsiteY306" fmla="*/ 5274569 h 6858000"/>
              <a:gd name="connsiteX307" fmla="*/ 3825233 w 6530564"/>
              <a:gd name="connsiteY307" fmla="*/ 5276327 h 6858000"/>
              <a:gd name="connsiteX308" fmla="*/ 3820193 w 6530564"/>
              <a:gd name="connsiteY308" fmla="*/ 5282009 h 6858000"/>
              <a:gd name="connsiteX309" fmla="*/ 3830914 w 6530564"/>
              <a:gd name="connsiteY309" fmla="*/ 5281367 h 6858000"/>
              <a:gd name="connsiteX310" fmla="*/ 3834196 w 6530564"/>
              <a:gd name="connsiteY310" fmla="*/ 5282245 h 6858000"/>
              <a:gd name="connsiteX311" fmla="*/ 3837475 w 6530564"/>
              <a:gd name="connsiteY311" fmla="*/ 5283124 h 6858000"/>
              <a:gd name="connsiteX312" fmla="*/ 3840755 w 6530564"/>
              <a:gd name="connsiteY312" fmla="*/ 5284004 h 6858000"/>
              <a:gd name="connsiteX313" fmla="*/ 3854755 w 6530564"/>
              <a:gd name="connsiteY313" fmla="*/ 5284238 h 6858000"/>
              <a:gd name="connsiteX314" fmla="*/ 3858913 w 6530564"/>
              <a:gd name="connsiteY314" fmla="*/ 5281837 h 6858000"/>
              <a:gd name="connsiteX315" fmla="*/ 3862195 w 6530564"/>
              <a:gd name="connsiteY315" fmla="*/ 5282716 h 6858000"/>
              <a:gd name="connsiteX316" fmla="*/ 3858913 w 6530564"/>
              <a:gd name="connsiteY316" fmla="*/ 5281837 h 6858000"/>
              <a:gd name="connsiteX317" fmla="*/ 3894353 w 6530564"/>
              <a:gd name="connsiteY317" fmla="*/ 5280786 h 6858000"/>
              <a:gd name="connsiteX318" fmla="*/ 3900914 w 6530564"/>
              <a:gd name="connsiteY318" fmla="*/ 5282543 h 6858000"/>
              <a:gd name="connsiteX319" fmla="*/ 3901794 w 6530564"/>
              <a:gd name="connsiteY319" fmla="*/ 5279264 h 6858000"/>
              <a:gd name="connsiteX320" fmla="*/ 3933953 w 6530564"/>
              <a:gd name="connsiteY320" fmla="*/ 5277333 h 6858000"/>
              <a:gd name="connsiteX321" fmla="*/ 3934831 w 6530564"/>
              <a:gd name="connsiteY321" fmla="*/ 5274053 h 6858000"/>
              <a:gd name="connsiteX322" fmla="*/ 3938111 w 6530564"/>
              <a:gd name="connsiteY322" fmla="*/ 5274932 h 6858000"/>
              <a:gd name="connsiteX323" fmla="*/ 3937233 w 6530564"/>
              <a:gd name="connsiteY323" fmla="*/ 5278211 h 6858000"/>
              <a:gd name="connsiteX324" fmla="*/ 3940514 w 6530564"/>
              <a:gd name="connsiteY324" fmla="*/ 5279091 h 6858000"/>
              <a:gd name="connsiteX325" fmla="*/ 3944673 w 6530564"/>
              <a:gd name="connsiteY325" fmla="*/ 5276690 h 6858000"/>
              <a:gd name="connsiteX326" fmla="*/ 4044429 w 6530564"/>
              <a:gd name="connsiteY326" fmla="*/ 5271777 h 6858000"/>
              <a:gd name="connsiteX327" fmla="*/ 4072431 w 6530564"/>
              <a:gd name="connsiteY327" fmla="*/ 5272249 h 6858000"/>
              <a:gd name="connsiteX328" fmla="*/ 4091468 w 6530564"/>
              <a:gd name="connsiteY328" fmla="*/ 5266803 h 6858000"/>
              <a:gd name="connsiteX329" fmla="*/ 4121227 w 6530564"/>
              <a:gd name="connsiteY329" fmla="*/ 5260712 h 6858000"/>
              <a:gd name="connsiteX330" fmla="*/ 4336092 w 6530564"/>
              <a:gd name="connsiteY330" fmla="*/ 5219844 h 6858000"/>
              <a:gd name="connsiteX331" fmla="*/ 4341775 w 6530564"/>
              <a:gd name="connsiteY331" fmla="*/ 5224882 h 6858000"/>
              <a:gd name="connsiteX332" fmla="*/ 4338495 w 6530564"/>
              <a:gd name="connsiteY332" fmla="*/ 5224004 h 6858000"/>
              <a:gd name="connsiteX333" fmla="*/ 4337615 w 6530564"/>
              <a:gd name="connsiteY333" fmla="*/ 5227283 h 6858000"/>
              <a:gd name="connsiteX334" fmla="*/ 4345054 w 6530564"/>
              <a:gd name="connsiteY334" fmla="*/ 5225760 h 6858000"/>
              <a:gd name="connsiteX335" fmla="*/ 4354895 w 6530564"/>
              <a:gd name="connsiteY335" fmla="*/ 5228397 h 6858000"/>
              <a:gd name="connsiteX336" fmla="*/ 4368253 w 6530564"/>
              <a:gd name="connsiteY336" fmla="*/ 5217913 h 6858000"/>
              <a:gd name="connsiteX337" fmla="*/ 4371531 w 6530564"/>
              <a:gd name="connsiteY337" fmla="*/ 5218791 h 6858000"/>
              <a:gd name="connsiteX338" fmla="*/ 4375691 w 6530564"/>
              <a:gd name="connsiteY338" fmla="*/ 5216392 h 6858000"/>
              <a:gd name="connsiteX339" fmla="*/ 4378971 w 6530564"/>
              <a:gd name="connsiteY339" fmla="*/ 5217270 h 6858000"/>
              <a:gd name="connsiteX340" fmla="*/ 4379850 w 6530564"/>
              <a:gd name="connsiteY340" fmla="*/ 5213989 h 6858000"/>
              <a:gd name="connsiteX341" fmla="*/ 4387291 w 6530564"/>
              <a:gd name="connsiteY341" fmla="*/ 5212466 h 6858000"/>
              <a:gd name="connsiteX342" fmla="*/ 4405449 w 6530564"/>
              <a:gd name="connsiteY342" fmla="*/ 5210302 h 6858000"/>
              <a:gd name="connsiteX343" fmla="*/ 4404569 w 6530564"/>
              <a:gd name="connsiteY343" fmla="*/ 5213581 h 6858000"/>
              <a:gd name="connsiteX344" fmla="*/ 4400411 w 6530564"/>
              <a:gd name="connsiteY344" fmla="*/ 5215984 h 6858000"/>
              <a:gd name="connsiteX345" fmla="*/ 4407849 w 6530564"/>
              <a:gd name="connsiteY345" fmla="*/ 5214461 h 6858000"/>
              <a:gd name="connsiteX346" fmla="*/ 4412009 w 6530564"/>
              <a:gd name="connsiteY346" fmla="*/ 5212060 h 6858000"/>
              <a:gd name="connsiteX347" fmla="*/ 4427767 w 6530564"/>
              <a:gd name="connsiteY347" fmla="*/ 5205735 h 6858000"/>
              <a:gd name="connsiteX348" fmla="*/ 4431047 w 6530564"/>
              <a:gd name="connsiteY348" fmla="*/ 5206613 h 6858000"/>
              <a:gd name="connsiteX349" fmla="*/ 4438487 w 6530564"/>
              <a:gd name="connsiteY349" fmla="*/ 5205091 h 6858000"/>
              <a:gd name="connsiteX350" fmla="*/ 4439367 w 6530564"/>
              <a:gd name="connsiteY350" fmla="*/ 5201811 h 6858000"/>
              <a:gd name="connsiteX351" fmla="*/ 4436087 w 6530564"/>
              <a:gd name="connsiteY351" fmla="*/ 5200931 h 6858000"/>
              <a:gd name="connsiteX352" fmla="*/ 4446805 w 6530564"/>
              <a:gd name="connsiteY352" fmla="*/ 5200288 h 6858000"/>
              <a:gd name="connsiteX353" fmla="*/ 4448563 w 6530564"/>
              <a:gd name="connsiteY353" fmla="*/ 5193727 h 6858000"/>
              <a:gd name="connsiteX354" fmla="*/ 4455124 w 6530564"/>
              <a:gd name="connsiteY354" fmla="*/ 5195484 h 6858000"/>
              <a:gd name="connsiteX355" fmla="*/ 4459284 w 6530564"/>
              <a:gd name="connsiteY355" fmla="*/ 5193083 h 6858000"/>
              <a:gd name="connsiteX356" fmla="*/ 4462565 w 6530564"/>
              <a:gd name="connsiteY356" fmla="*/ 5193963 h 6858000"/>
              <a:gd name="connsiteX357" fmla="*/ 4463443 w 6530564"/>
              <a:gd name="connsiteY357" fmla="*/ 5190682 h 6858000"/>
              <a:gd name="connsiteX358" fmla="*/ 4460162 w 6530564"/>
              <a:gd name="connsiteY358" fmla="*/ 5189804 h 6858000"/>
              <a:gd name="connsiteX359" fmla="*/ 4503277 w 6530564"/>
              <a:gd name="connsiteY359" fmla="*/ 5173230 h 6858000"/>
              <a:gd name="connsiteX360" fmla="*/ 4510717 w 6530564"/>
              <a:gd name="connsiteY360" fmla="*/ 5171707 h 6858000"/>
              <a:gd name="connsiteX361" fmla="*/ 4515755 w 6530564"/>
              <a:gd name="connsiteY361" fmla="*/ 5166027 h 6858000"/>
              <a:gd name="connsiteX362" fmla="*/ 4513179 w 6530564"/>
              <a:gd name="connsiteY362" fmla="*/ 5165335 h 6858000"/>
              <a:gd name="connsiteX363" fmla="*/ 4525643 w 6530564"/>
              <a:gd name="connsiteY363" fmla="*/ 5159666 h 6858000"/>
              <a:gd name="connsiteX364" fmla="*/ 4571346 w 6530564"/>
              <a:gd name="connsiteY364" fmla="*/ 5142247 h 6858000"/>
              <a:gd name="connsiteX365" fmla="*/ 4585583 w 6530564"/>
              <a:gd name="connsiteY365" fmla="*/ 5128483 h 6858000"/>
              <a:gd name="connsiteX366" fmla="*/ 4595423 w 6530564"/>
              <a:gd name="connsiteY366" fmla="*/ 5131120 h 6858000"/>
              <a:gd name="connsiteX367" fmla="*/ 4619500 w 6530564"/>
              <a:gd name="connsiteY367" fmla="*/ 5119991 h 6858000"/>
              <a:gd name="connsiteX368" fmla="*/ 4629575 w 6530564"/>
              <a:gd name="connsiteY368" fmla="*/ 5108629 h 6858000"/>
              <a:gd name="connsiteX369" fmla="*/ 4648615 w 6530564"/>
              <a:gd name="connsiteY369" fmla="*/ 5103183 h 6858000"/>
              <a:gd name="connsiteX370" fmla="*/ 4647735 w 6530564"/>
              <a:gd name="connsiteY370" fmla="*/ 5106463 h 6858000"/>
              <a:gd name="connsiteX371" fmla="*/ 4642697 w 6530564"/>
              <a:gd name="connsiteY371" fmla="*/ 5112145 h 6858000"/>
              <a:gd name="connsiteX372" fmla="*/ 4650136 w 6530564"/>
              <a:gd name="connsiteY372" fmla="*/ 5110622 h 6858000"/>
              <a:gd name="connsiteX373" fmla="*/ 4654296 w 6530564"/>
              <a:gd name="connsiteY373" fmla="*/ 5108221 h 6858000"/>
              <a:gd name="connsiteX374" fmla="*/ 4645099 w 6530564"/>
              <a:gd name="connsiteY374" fmla="*/ 5116303 h 6858000"/>
              <a:gd name="connsiteX375" fmla="*/ 4661735 w 6530564"/>
              <a:gd name="connsiteY375" fmla="*/ 5106698 h 6858000"/>
              <a:gd name="connsiteX376" fmla="*/ 4665893 w 6530564"/>
              <a:gd name="connsiteY376" fmla="*/ 5104297 h 6858000"/>
              <a:gd name="connsiteX377" fmla="*/ 4675091 w 6530564"/>
              <a:gd name="connsiteY377" fmla="*/ 5096214 h 6858000"/>
              <a:gd name="connsiteX378" fmla="*/ 4667651 w 6530564"/>
              <a:gd name="connsiteY378" fmla="*/ 5097736 h 6858000"/>
              <a:gd name="connsiteX379" fmla="*/ 4664372 w 6530564"/>
              <a:gd name="connsiteY379" fmla="*/ 5096858 h 6858000"/>
              <a:gd name="connsiteX380" fmla="*/ 4676849 w 6530564"/>
              <a:gd name="connsiteY380" fmla="*/ 5089653 h 6858000"/>
              <a:gd name="connsiteX381" fmla="*/ 4662850 w 6530564"/>
              <a:gd name="connsiteY381" fmla="*/ 5089418 h 6858000"/>
              <a:gd name="connsiteX382" fmla="*/ 4689327 w 6530564"/>
              <a:gd name="connsiteY382" fmla="*/ 5082449 h 6858000"/>
              <a:gd name="connsiteX383" fmla="*/ 4685169 w 6530564"/>
              <a:gd name="connsiteY383" fmla="*/ 5084851 h 6858000"/>
              <a:gd name="connsiteX384" fmla="*/ 4683411 w 6530564"/>
              <a:gd name="connsiteY384" fmla="*/ 5091411 h 6858000"/>
              <a:gd name="connsiteX385" fmla="*/ 4691728 w 6530564"/>
              <a:gd name="connsiteY385" fmla="*/ 5086609 h 6858000"/>
              <a:gd name="connsiteX386" fmla="*/ 4695008 w 6530564"/>
              <a:gd name="connsiteY386" fmla="*/ 5087488 h 6858000"/>
              <a:gd name="connsiteX387" fmla="*/ 4698289 w 6530564"/>
              <a:gd name="connsiteY387" fmla="*/ 5088368 h 6858000"/>
              <a:gd name="connsiteX388" fmla="*/ 4697411 w 6530564"/>
              <a:gd name="connsiteY388" fmla="*/ 5091647 h 6858000"/>
              <a:gd name="connsiteX389" fmla="*/ 4702449 w 6530564"/>
              <a:gd name="connsiteY389" fmla="*/ 5085965 h 6858000"/>
              <a:gd name="connsiteX390" fmla="*/ 4706607 w 6530564"/>
              <a:gd name="connsiteY390" fmla="*/ 5083564 h 6858000"/>
              <a:gd name="connsiteX391" fmla="*/ 4721486 w 6530564"/>
              <a:gd name="connsiteY391" fmla="*/ 5080520 h 6858000"/>
              <a:gd name="connsiteX392" fmla="*/ 4717327 w 6530564"/>
              <a:gd name="connsiteY392" fmla="*/ 5082921 h 6858000"/>
              <a:gd name="connsiteX393" fmla="*/ 4712289 w 6530564"/>
              <a:gd name="connsiteY393" fmla="*/ 5088602 h 6858000"/>
              <a:gd name="connsiteX394" fmla="*/ 4723887 w 6530564"/>
              <a:gd name="connsiteY394" fmla="*/ 5084678 h 6858000"/>
              <a:gd name="connsiteX395" fmla="*/ 4728047 w 6530564"/>
              <a:gd name="connsiteY395" fmla="*/ 5082277 h 6858000"/>
              <a:gd name="connsiteX396" fmla="*/ 4732207 w 6530564"/>
              <a:gd name="connsiteY396" fmla="*/ 5079876 h 6858000"/>
              <a:gd name="connsiteX397" fmla="*/ 4733963 w 6530564"/>
              <a:gd name="connsiteY397" fmla="*/ 5073315 h 6858000"/>
              <a:gd name="connsiteX398" fmla="*/ 4726524 w 6530564"/>
              <a:gd name="connsiteY398" fmla="*/ 5074837 h 6858000"/>
              <a:gd name="connsiteX399" fmla="*/ 4725646 w 6530564"/>
              <a:gd name="connsiteY399" fmla="*/ 5078117 h 6858000"/>
              <a:gd name="connsiteX400" fmla="*/ 4721486 w 6530564"/>
              <a:gd name="connsiteY400" fmla="*/ 5080520 h 6858000"/>
              <a:gd name="connsiteX401" fmla="*/ 4707487 w 6530564"/>
              <a:gd name="connsiteY401" fmla="*/ 5080284 h 6858000"/>
              <a:gd name="connsiteX402" fmla="*/ 4711646 w 6530564"/>
              <a:gd name="connsiteY402" fmla="*/ 5077883 h 6858000"/>
              <a:gd name="connsiteX403" fmla="*/ 4708366 w 6530564"/>
              <a:gd name="connsiteY403" fmla="*/ 5077005 h 6858000"/>
              <a:gd name="connsiteX404" fmla="*/ 4705085 w 6530564"/>
              <a:gd name="connsiteY404" fmla="*/ 5076124 h 6858000"/>
              <a:gd name="connsiteX405" fmla="*/ 4704207 w 6530564"/>
              <a:gd name="connsiteY405" fmla="*/ 5079404 h 6858000"/>
              <a:gd name="connsiteX406" fmla="*/ 4700046 w 6530564"/>
              <a:gd name="connsiteY406" fmla="*/ 5081805 h 6858000"/>
              <a:gd name="connsiteX407" fmla="*/ 4700927 w 6530564"/>
              <a:gd name="connsiteY407" fmla="*/ 5078525 h 6858000"/>
              <a:gd name="connsiteX408" fmla="*/ 4696767 w 6530564"/>
              <a:gd name="connsiteY408" fmla="*/ 5080927 h 6858000"/>
              <a:gd name="connsiteX409" fmla="*/ 4693487 w 6530564"/>
              <a:gd name="connsiteY409" fmla="*/ 5080048 h 6858000"/>
              <a:gd name="connsiteX410" fmla="*/ 4722601 w 6530564"/>
              <a:gd name="connsiteY410" fmla="*/ 5063239 h 6858000"/>
              <a:gd name="connsiteX411" fmla="*/ 4721722 w 6530564"/>
              <a:gd name="connsiteY411" fmla="*/ 5066520 h 6858000"/>
              <a:gd name="connsiteX412" fmla="*/ 4720843 w 6530564"/>
              <a:gd name="connsiteY412" fmla="*/ 5069800 h 6858000"/>
              <a:gd name="connsiteX413" fmla="*/ 4725003 w 6530564"/>
              <a:gd name="connsiteY413" fmla="*/ 5067398 h 6858000"/>
              <a:gd name="connsiteX414" fmla="*/ 4725882 w 6530564"/>
              <a:gd name="connsiteY414" fmla="*/ 5064117 h 6858000"/>
              <a:gd name="connsiteX415" fmla="*/ 4730041 w 6530564"/>
              <a:gd name="connsiteY415" fmla="*/ 5061716 h 6858000"/>
              <a:gd name="connsiteX416" fmla="*/ 4744919 w 6530564"/>
              <a:gd name="connsiteY416" fmla="*/ 5058672 h 6858000"/>
              <a:gd name="connsiteX417" fmla="*/ 4748200 w 6530564"/>
              <a:gd name="connsiteY417" fmla="*/ 5059551 h 6858000"/>
              <a:gd name="connsiteX418" fmla="*/ 4752360 w 6530564"/>
              <a:gd name="connsiteY418" fmla="*/ 5057149 h 6858000"/>
              <a:gd name="connsiteX419" fmla="*/ 4753238 w 6530564"/>
              <a:gd name="connsiteY419" fmla="*/ 5053868 h 6858000"/>
              <a:gd name="connsiteX420" fmla="*/ 4749957 w 6530564"/>
              <a:gd name="connsiteY420" fmla="*/ 5052989 h 6858000"/>
              <a:gd name="connsiteX421" fmla="*/ 4769875 w 6530564"/>
              <a:gd name="connsiteY421" fmla="*/ 5044264 h 6858000"/>
              <a:gd name="connsiteX422" fmla="*/ 4774035 w 6530564"/>
              <a:gd name="connsiteY422" fmla="*/ 5041862 h 6858000"/>
              <a:gd name="connsiteX423" fmla="*/ 4774913 w 6530564"/>
              <a:gd name="connsiteY423" fmla="*/ 5038581 h 6858000"/>
              <a:gd name="connsiteX424" fmla="*/ 4771632 w 6530564"/>
              <a:gd name="connsiteY424" fmla="*/ 5037702 h 6858000"/>
              <a:gd name="connsiteX425" fmla="*/ 4781709 w 6530564"/>
              <a:gd name="connsiteY425" fmla="*/ 5026339 h 6858000"/>
              <a:gd name="connsiteX426" fmla="*/ 4841460 w 6530564"/>
              <a:gd name="connsiteY426" fmla="*/ 5000161 h 6858000"/>
              <a:gd name="connsiteX427" fmla="*/ 4839059 w 6530564"/>
              <a:gd name="connsiteY427" fmla="*/ 4996002 h 6858000"/>
              <a:gd name="connsiteX428" fmla="*/ 4842339 w 6530564"/>
              <a:gd name="connsiteY428" fmla="*/ 4996880 h 6858000"/>
              <a:gd name="connsiteX429" fmla="*/ 4846498 w 6530564"/>
              <a:gd name="connsiteY429" fmla="*/ 4994478 h 6858000"/>
              <a:gd name="connsiteX430" fmla="*/ 4843217 w 6530564"/>
              <a:gd name="connsiteY430" fmla="*/ 4993600 h 6858000"/>
              <a:gd name="connsiteX431" fmla="*/ 4878014 w 6530564"/>
              <a:gd name="connsiteY431" fmla="*/ 4981829 h 6858000"/>
              <a:gd name="connsiteX432" fmla="*/ 4876493 w 6530564"/>
              <a:gd name="connsiteY432" fmla="*/ 4974389 h 6858000"/>
              <a:gd name="connsiteX433" fmla="*/ 4883931 w 6530564"/>
              <a:gd name="connsiteY433" fmla="*/ 4972867 h 6858000"/>
              <a:gd name="connsiteX434" fmla="*/ 4892249 w 6530564"/>
              <a:gd name="connsiteY434" fmla="*/ 4968064 h 6858000"/>
              <a:gd name="connsiteX435" fmla="*/ 4891370 w 6530564"/>
              <a:gd name="connsiteY435" fmla="*/ 4971344 h 6858000"/>
              <a:gd name="connsiteX436" fmla="*/ 4894652 w 6530564"/>
              <a:gd name="connsiteY436" fmla="*/ 4972224 h 6858000"/>
              <a:gd name="connsiteX437" fmla="*/ 4899690 w 6530564"/>
              <a:gd name="connsiteY437" fmla="*/ 4966541 h 6858000"/>
              <a:gd name="connsiteX438" fmla="*/ 4900568 w 6530564"/>
              <a:gd name="connsiteY438" fmla="*/ 4963262 h 6858000"/>
              <a:gd name="connsiteX439" fmla="*/ 4926402 w 6530564"/>
              <a:gd name="connsiteY439" fmla="*/ 4945573 h 6858000"/>
              <a:gd name="connsiteX440" fmla="*/ 4914803 w 6530564"/>
              <a:gd name="connsiteY440" fmla="*/ 4949497 h 6858000"/>
              <a:gd name="connsiteX441" fmla="*/ 4909765 w 6530564"/>
              <a:gd name="connsiteY441" fmla="*/ 4955178 h 6858000"/>
              <a:gd name="connsiteX442" fmla="*/ 4906487 w 6530564"/>
              <a:gd name="connsiteY442" fmla="*/ 4954299 h 6858000"/>
              <a:gd name="connsiteX443" fmla="*/ 4902327 w 6530564"/>
              <a:gd name="connsiteY443" fmla="*/ 4956701 h 6858000"/>
              <a:gd name="connsiteX444" fmla="*/ 4903205 w 6530564"/>
              <a:gd name="connsiteY444" fmla="*/ 4953421 h 6858000"/>
              <a:gd name="connsiteX445" fmla="*/ 4907365 w 6530564"/>
              <a:gd name="connsiteY445" fmla="*/ 4951018 h 6858000"/>
              <a:gd name="connsiteX446" fmla="*/ 4904084 w 6530564"/>
              <a:gd name="connsiteY446" fmla="*/ 4950140 h 6858000"/>
              <a:gd name="connsiteX447" fmla="*/ 4899924 w 6530564"/>
              <a:gd name="connsiteY447" fmla="*/ 4952541 h 6858000"/>
              <a:gd name="connsiteX448" fmla="*/ 4895766 w 6530564"/>
              <a:gd name="connsiteY448" fmla="*/ 4954944 h 6858000"/>
              <a:gd name="connsiteX449" fmla="*/ 4900803 w 6530564"/>
              <a:gd name="connsiteY449" fmla="*/ 4949262 h 6858000"/>
              <a:gd name="connsiteX450" fmla="*/ 4904963 w 6530564"/>
              <a:gd name="connsiteY450" fmla="*/ 4946860 h 6858000"/>
              <a:gd name="connsiteX451" fmla="*/ 4909122 w 6530564"/>
              <a:gd name="connsiteY451" fmla="*/ 4944459 h 6858000"/>
              <a:gd name="connsiteX452" fmla="*/ 4917441 w 6530564"/>
              <a:gd name="connsiteY452" fmla="*/ 4939655 h 6858000"/>
              <a:gd name="connsiteX453" fmla="*/ 4910881 w 6530564"/>
              <a:gd name="connsiteY453" fmla="*/ 4937898 h 6858000"/>
              <a:gd name="connsiteX454" fmla="*/ 4907601 w 6530564"/>
              <a:gd name="connsiteY454" fmla="*/ 4937018 h 6858000"/>
              <a:gd name="connsiteX455" fmla="*/ 4927516 w 6530564"/>
              <a:gd name="connsiteY455" fmla="*/ 4928292 h 6858000"/>
              <a:gd name="connsiteX456" fmla="*/ 4926638 w 6530564"/>
              <a:gd name="connsiteY456" fmla="*/ 4931573 h 6858000"/>
              <a:gd name="connsiteX457" fmla="*/ 4929919 w 6530564"/>
              <a:gd name="connsiteY457" fmla="*/ 4932452 h 6858000"/>
              <a:gd name="connsiteX458" fmla="*/ 4930798 w 6530564"/>
              <a:gd name="connsiteY458" fmla="*/ 4929172 h 6858000"/>
              <a:gd name="connsiteX459" fmla="*/ 4931676 w 6530564"/>
              <a:gd name="connsiteY459" fmla="*/ 4925891 h 6858000"/>
              <a:gd name="connsiteX460" fmla="*/ 4935835 w 6530564"/>
              <a:gd name="connsiteY460" fmla="*/ 4923490 h 6858000"/>
              <a:gd name="connsiteX461" fmla="*/ 4948314 w 6530564"/>
              <a:gd name="connsiteY461" fmla="*/ 4916286 h 6858000"/>
              <a:gd name="connsiteX462" fmla="*/ 4953587 w 6530564"/>
              <a:gd name="connsiteY462" fmla="*/ 4896605 h 6858000"/>
              <a:gd name="connsiteX463" fmla="*/ 4939352 w 6530564"/>
              <a:gd name="connsiteY463" fmla="*/ 4910369 h 6858000"/>
              <a:gd name="connsiteX464" fmla="*/ 4941109 w 6530564"/>
              <a:gd name="connsiteY464" fmla="*/ 4903808 h 6858000"/>
              <a:gd name="connsiteX465" fmla="*/ 4937829 w 6530564"/>
              <a:gd name="connsiteY465" fmla="*/ 4902930 h 6858000"/>
              <a:gd name="connsiteX466" fmla="*/ 4971103 w 6530564"/>
              <a:gd name="connsiteY466" fmla="*/ 4883717 h 6858000"/>
              <a:gd name="connsiteX467" fmla="*/ 6068122 w 6530564"/>
              <a:gd name="connsiteY467" fmla="*/ 4864900 h 6858000"/>
              <a:gd name="connsiteX468" fmla="*/ 6068152 w 6530564"/>
              <a:gd name="connsiteY468" fmla="*/ 4865039 h 6858000"/>
              <a:gd name="connsiteX469" fmla="*/ 6064479 w 6530564"/>
              <a:gd name="connsiteY469" fmla="*/ 4870708 h 6858000"/>
              <a:gd name="connsiteX470" fmla="*/ 2849427 w 6530564"/>
              <a:gd name="connsiteY470" fmla="*/ 4863682 h 6858000"/>
              <a:gd name="connsiteX471" fmla="*/ 2852706 w 6530564"/>
              <a:gd name="connsiteY471" fmla="*/ 4864560 h 6858000"/>
              <a:gd name="connsiteX472" fmla="*/ 2855987 w 6530564"/>
              <a:gd name="connsiteY472" fmla="*/ 4865440 h 6858000"/>
              <a:gd name="connsiteX473" fmla="*/ 2856769 w 6530564"/>
              <a:gd name="connsiteY473" fmla="*/ 4866135 h 6858000"/>
              <a:gd name="connsiteX474" fmla="*/ 5007247 w 6530564"/>
              <a:gd name="connsiteY474" fmla="*/ 4862211 h 6858000"/>
              <a:gd name="connsiteX475" fmla="*/ 4996249 w 6530564"/>
              <a:gd name="connsiteY475" fmla="*/ 4868580 h 6858000"/>
              <a:gd name="connsiteX476" fmla="*/ 4999337 w 6530564"/>
              <a:gd name="connsiteY476" fmla="*/ 4870189 h 6858000"/>
              <a:gd name="connsiteX477" fmla="*/ 6130068 w 6530564"/>
              <a:gd name="connsiteY477" fmla="*/ 4856695 h 6858000"/>
              <a:gd name="connsiteX478" fmla="*/ 6126199 w 6530564"/>
              <a:gd name="connsiteY478" fmla="*/ 4862407 h 6858000"/>
              <a:gd name="connsiteX479" fmla="*/ 6129873 w 6530564"/>
              <a:gd name="connsiteY479" fmla="*/ 4856736 h 6858000"/>
              <a:gd name="connsiteX480" fmla="*/ 5030417 w 6530564"/>
              <a:gd name="connsiteY480" fmla="*/ 4849127 h 6858000"/>
              <a:gd name="connsiteX481" fmla="*/ 5029817 w 6530564"/>
              <a:gd name="connsiteY481" fmla="*/ 4849140 h 6858000"/>
              <a:gd name="connsiteX482" fmla="*/ 5010221 w 6530564"/>
              <a:gd name="connsiteY482" fmla="*/ 4860487 h 6858000"/>
              <a:gd name="connsiteX483" fmla="*/ 5015974 w 6530564"/>
              <a:gd name="connsiteY483" fmla="*/ 4860584 h 6858000"/>
              <a:gd name="connsiteX484" fmla="*/ 5030417 w 6530564"/>
              <a:gd name="connsiteY484" fmla="*/ 4849127 h 6858000"/>
              <a:gd name="connsiteX485" fmla="*/ 5071263 w 6530564"/>
              <a:gd name="connsiteY485" fmla="*/ 4820079 h 6858000"/>
              <a:gd name="connsiteX486" fmla="*/ 5059909 w 6530564"/>
              <a:gd name="connsiteY486" fmla="*/ 4829301 h 6858000"/>
              <a:gd name="connsiteX487" fmla="*/ 5059325 w 6530564"/>
              <a:gd name="connsiteY487" fmla="*/ 4830010 h 6858000"/>
              <a:gd name="connsiteX488" fmla="*/ 5057793 w 6530564"/>
              <a:gd name="connsiteY488" fmla="*/ 4831019 h 6858000"/>
              <a:gd name="connsiteX489" fmla="*/ 5055235 w 6530564"/>
              <a:gd name="connsiteY489" fmla="*/ 4833097 h 6858000"/>
              <a:gd name="connsiteX490" fmla="*/ 5055445 w 6530564"/>
              <a:gd name="connsiteY490" fmla="*/ 4833420 h 6858000"/>
              <a:gd name="connsiteX491" fmla="*/ 5062605 w 6530564"/>
              <a:gd name="connsiteY491" fmla="*/ 4830888 h 6858000"/>
              <a:gd name="connsiteX492" fmla="*/ 5057377 w 6530564"/>
              <a:gd name="connsiteY492" fmla="*/ 4835640 h 6858000"/>
              <a:gd name="connsiteX493" fmla="*/ 5060755 w 6530564"/>
              <a:gd name="connsiteY493" fmla="*/ 4837402 h 6858000"/>
              <a:gd name="connsiteX494" fmla="*/ 5060961 w 6530564"/>
              <a:gd name="connsiteY494" fmla="*/ 4837260 h 6858000"/>
              <a:gd name="connsiteX495" fmla="*/ 5108837 w 6530564"/>
              <a:gd name="connsiteY495" fmla="*/ 4789562 h 6858000"/>
              <a:gd name="connsiteX496" fmla="*/ 5093745 w 6530564"/>
              <a:gd name="connsiteY496" fmla="*/ 4801819 h 6858000"/>
              <a:gd name="connsiteX497" fmla="*/ 5095236 w 6530564"/>
              <a:gd name="connsiteY497" fmla="*/ 4800959 h 6858000"/>
              <a:gd name="connsiteX498" fmla="*/ 5108593 w 6530564"/>
              <a:gd name="connsiteY498" fmla="*/ 4790474 h 6858000"/>
              <a:gd name="connsiteX499" fmla="*/ 5127188 w 6530564"/>
              <a:gd name="connsiteY499" fmla="*/ 4774656 h 6858000"/>
              <a:gd name="connsiteX500" fmla="*/ 5117361 w 6530564"/>
              <a:gd name="connsiteY500" fmla="*/ 4782639 h 6858000"/>
              <a:gd name="connsiteX501" fmla="*/ 5121949 w 6530564"/>
              <a:gd name="connsiteY501" fmla="*/ 4779991 h 6858000"/>
              <a:gd name="connsiteX502" fmla="*/ 5125229 w 6530564"/>
              <a:gd name="connsiteY502" fmla="*/ 4780869 h 6858000"/>
              <a:gd name="connsiteX503" fmla="*/ 5129389 w 6530564"/>
              <a:gd name="connsiteY503" fmla="*/ 4778468 h 6858000"/>
              <a:gd name="connsiteX504" fmla="*/ 2748506 w 6530564"/>
              <a:gd name="connsiteY504" fmla="*/ 4741714 h 6858000"/>
              <a:gd name="connsiteX505" fmla="*/ 2753001 w 6530564"/>
              <a:gd name="connsiteY505" fmla="*/ 4745754 h 6858000"/>
              <a:gd name="connsiteX506" fmla="*/ 2748356 w 6530564"/>
              <a:gd name="connsiteY506" fmla="*/ 4742283 h 6858000"/>
              <a:gd name="connsiteX507" fmla="*/ 2738573 w 6530564"/>
              <a:gd name="connsiteY507" fmla="*/ 4734114 h 6858000"/>
              <a:gd name="connsiteX508" fmla="*/ 2742497 w 6530564"/>
              <a:gd name="connsiteY508" fmla="*/ 4737906 h 6858000"/>
              <a:gd name="connsiteX509" fmla="*/ 2748356 w 6530564"/>
              <a:gd name="connsiteY509" fmla="*/ 4742283 h 6858000"/>
              <a:gd name="connsiteX510" fmla="*/ 2747627 w 6530564"/>
              <a:gd name="connsiteY510" fmla="*/ 4744994 h 6858000"/>
              <a:gd name="connsiteX511" fmla="*/ 2739545 w 6530564"/>
              <a:gd name="connsiteY511" fmla="*/ 4735796 h 6858000"/>
              <a:gd name="connsiteX512" fmla="*/ 2733528 w 6530564"/>
              <a:gd name="connsiteY512" fmla="*/ 4728433 h 6858000"/>
              <a:gd name="connsiteX513" fmla="*/ 2737143 w 6530564"/>
              <a:gd name="connsiteY513" fmla="*/ 4731638 h 6858000"/>
              <a:gd name="connsiteX514" fmla="*/ 2738573 w 6530564"/>
              <a:gd name="connsiteY514" fmla="*/ 4734114 h 6858000"/>
              <a:gd name="connsiteX515" fmla="*/ 2733769 w 6530564"/>
              <a:gd name="connsiteY515" fmla="*/ 4729470 h 6858000"/>
              <a:gd name="connsiteX516" fmla="*/ 2725781 w 6530564"/>
              <a:gd name="connsiteY516" fmla="*/ 4721561 h 6858000"/>
              <a:gd name="connsiteX517" fmla="*/ 2732341 w 6530564"/>
              <a:gd name="connsiteY517" fmla="*/ 4723320 h 6858000"/>
              <a:gd name="connsiteX518" fmla="*/ 2733528 w 6530564"/>
              <a:gd name="connsiteY518" fmla="*/ 4728433 h 6858000"/>
              <a:gd name="connsiteX519" fmla="*/ 2731462 w 6530564"/>
              <a:gd name="connsiteY519" fmla="*/ 4726600 h 6858000"/>
              <a:gd name="connsiteX520" fmla="*/ 2728183 w 6530564"/>
              <a:gd name="connsiteY520" fmla="*/ 4725721 h 6858000"/>
              <a:gd name="connsiteX521" fmla="*/ 2725781 w 6530564"/>
              <a:gd name="connsiteY521" fmla="*/ 4721561 h 6858000"/>
              <a:gd name="connsiteX522" fmla="*/ 3028405 w 6530564"/>
              <a:gd name="connsiteY522" fmla="*/ 4669808 h 6858000"/>
              <a:gd name="connsiteX523" fmla="*/ 3030752 w 6530564"/>
              <a:gd name="connsiteY523" fmla="*/ 4673522 h 6858000"/>
              <a:gd name="connsiteX524" fmla="*/ 3054617 w 6530564"/>
              <a:gd name="connsiteY524" fmla="*/ 4692835 h 6858000"/>
              <a:gd name="connsiteX525" fmla="*/ 3107225 w 6530564"/>
              <a:gd name="connsiteY525" fmla="*/ 4721282 h 6858000"/>
              <a:gd name="connsiteX526" fmla="*/ 3105246 w 6530564"/>
              <a:gd name="connsiteY526" fmla="*/ 4719661 h 6858000"/>
              <a:gd name="connsiteX527" fmla="*/ 3057715 w 6530564"/>
              <a:gd name="connsiteY527" fmla="*/ 4691376 h 6858000"/>
              <a:gd name="connsiteX528" fmla="*/ 6304463 w 6530564"/>
              <a:gd name="connsiteY528" fmla="*/ 4668027 h 6858000"/>
              <a:gd name="connsiteX529" fmla="*/ 6302855 w 6530564"/>
              <a:gd name="connsiteY529" fmla="*/ 4672815 h 6858000"/>
              <a:gd name="connsiteX530" fmla="*/ 6301832 w 6530564"/>
              <a:gd name="connsiteY530" fmla="*/ 4672862 h 6858000"/>
              <a:gd name="connsiteX531" fmla="*/ 6304463 w 6530564"/>
              <a:gd name="connsiteY531" fmla="*/ 4668027 h 6858000"/>
              <a:gd name="connsiteX532" fmla="*/ 2673360 w 6530564"/>
              <a:gd name="connsiteY532" fmla="*/ 4654778 h 6858000"/>
              <a:gd name="connsiteX533" fmla="*/ 2678648 w 6530564"/>
              <a:gd name="connsiteY533" fmla="*/ 4660537 h 6858000"/>
              <a:gd name="connsiteX534" fmla="*/ 2678411 w 6530564"/>
              <a:gd name="connsiteY534" fmla="*/ 4660527 h 6858000"/>
              <a:gd name="connsiteX535" fmla="*/ 2673360 w 6530564"/>
              <a:gd name="connsiteY535" fmla="*/ 4654778 h 6858000"/>
              <a:gd name="connsiteX536" fmla="*/ 2988071 w 6530564"/>
              <a:gd name="connsiteY536" fmla="*/ 4640127 h 6858000"/>
              <a:gd name="connsiteX537" fmla="*/ 2993758 w 6530564"/>
              <a:gd name="connsiteY537" fmla="*/ 4645670 h 6858000"/>
              <a:gd name="connsiteX538" fmla="*/ 3002041 w 6530564"/>
              <a:gd name="connsiteY538" fmla="*/ 4651387 h 6858000"/>
              <a:gd name="connsiteX539" fmla="*/ 3003476 w 6530564"/>
              <a:gd name="connsiteY539" fmla="*/ 4651462 h 6858000"/>
              <a:gd name="connsiteX540" fmla="*/ 2964415 w 6530564"/>
              <a:gd name="connsiteY540" fmla="*/ 4622718 h 6858000"/>
              <a:gd name="connsiteX541" fmla="*/ 2964410 w 6530564"/>
              <a:gd name="connsiteY541" fmla="*/ 4622737 h 6858000"/>
              <a:gd name="connsiteX542" fmla="*/ 2964457 w 6530564"/>
              <a:gd name="connsiteY542" fmla="*/ 4622750 h 6858000"/>
              <a:gd name="connsiteX543" fmla="*/ 2936215 w 6530564"/>
              <a:gd name="connsiteY543" fmla="*/ 4620923 h 6858000"/>
              <a:gd name="connsiteX544" fmla="*/ 2938890 w 6530564"/>
              <a:gd name="connsiteY544" fmla="*/ 4621639 h 6858000"/>
              <a:gd name="connsiteX545" fmla="*/ 2938711 w 6530564"/>
              <a:gd name="connsiteY545" fmla="*/ 4622308 h 6858000"/>
              <a:gd name="connsiteX546" fmla="*/ 2922025 w 6530564"/>
              <a:gd name="connsiteY546" fmla="*/ 4586750 h 6858000"/>
              <a:gd name="connsiteX547" fmla="*/ 2919078 w 6530564"/>
              <a:gd name="connsiteY547" fmla="*/ 4591214 h 6858000"/>
              <a:gd name="connsiteX548" fmla="*/ 2912519 w 6530564"/>
              <a:gd name="connsiteY548" fmla="*/ 4591609 h 6858000"/>
              <a:gd name="connsiteX549" fmla="*/ 2922311 w 6530564"/>
              <a:gd name="connsiteY549" fmla="*/ 4608585 h 6858000"/>
              <a:gd name="connsiteX550" fmla="*/ 2917677 w 6530564"/>
              <a:gd name="connsiteY550" fmla="*/ 4604474 h 6858000"/>
              <a:gd name="connsiteX551" fmla="*/ 2913043 w 6530564"/>
              <a:gd name="connsiteY551" fmla="*/ 4600361 h 6858000"/>
              <a:gd name="connsiteX552" fmla="*/ 2915001 w 6530564"/>
              <a:gd name="connsiteY552" fmla="*/ 4603756 h 6858000"/>
              <a:gd name="connsiteX553" fmla="*/ 2919635 w 6530564"/>
              <a:gd name="connsiteY553" fmla="*/ 4607868 h 6858000"/>
              <a:gd name="connsiteX554" fmla="*/ 2921593 w 6530564"/>
              <a:gd name="connsiteY554" fmla="*/ 4611263 h 6858000"/>
              <a:gd name="connsiteX555" fmla="*/ 2932821 w 6530564"/>
              <a:gd name="connsiteY555" fmla="*/ 4622883 h 6858000"/>
              <a:gd name="connsiteX556" fmla="*/ 2935497 w 6530564"/>
              <a:gd name="connsiteY556" fmla="*/ 4623599 h 6858000"/>
              <a:gd name="connsiteX557" fmla="*/ 2938172 w 6530564"/>
              <a:gd name="connsiteY557" fmla="*/ 4624317 h 6858000"/>
              <a:gd name="connsiteX558" fmla="*/ 2938711 w 6530564"/>
              <a:gd name="connsiteY558" fmla="*/ 4622308 h 6858000"/>
              <a:gd name="connsiteX559" fmla="*/ 2941207 w 6530564"/>
              <a:gd name="connsiteY559" fmla="*/ 4623695 h 6858000"/>
              <a:gd name="connsiteX560" fmla="*/ 2946201 w 6530564"/>
              <a:gd name="connsiteY560" fmla="*/ 4626469 h 6858000"/>
              <a:gd name="connsiteX561" fmla="*/ 2941761 w 6530564"/>
              <a:gd name="connsiteY561" fmla="*/ 4610927 h 6858000"/>
              <a:gd name="connsiteX562" fmla="*/ 2961733 w 6530564"/>
              <a:gd name="connsiteY562" fmla="*/ 4622018 h 6858000"/>
              <a:gd name="connsiteX563" fmla="*/ 2962703 w 6530564"/>
              <a:gd name="connsiteY563" fmla="*/ 4621458 h 6858000"/>
              <a:gd name="connsiteX564" fmla="*/ 2948426 w 6530564"/>
              <a:gd name="connsiteY564" fmla="*/ 4610952 h 6858000"/>
              <a:gd name="connsiteX565" fmla="*/ 2860394 w 6530564"/>
              <a:gd name="connsiteY565" fmla="*/ 4530255 h 6858000"/>
              <a:gd name="connsiteX566" fmla="*/ 2873925 w 6530564"/>
              <a:gd name="connsiteY566" fmla="*/ 4544310 h 6858000"/>
              <a:gd name="connsiteX567" fmla="*/ 2898368 w 6530564"/>
              <a:gd name="connsiteY567" fmla="*/ 4565066 h 6858000"/>
              <a:gd name="connsiteX568" fmla="*/ 2850179 w 6530564"/>
              <a:gd name="connsiteY568" fmla="*/ 4503144 h 6858000"/>
              <a:gd name="connsiteX569" fmla="*/ 2849725 w 6530564"/>
              <a:gd name="connsiteY569" fmla="*/ 4504837 h 6858000"/>
              <a:gd name="connsiteX570" fmla="*/ 2856363 w 6530564"/>
              <a:gd name="connsiteY570" fmla="*/ 4508236 h 6858000"/>
              <a:gd name="connsiteX571" fmla="*/ 2855786 w 6530564"/>
              <a:gd name="connsiteY571" fmla="*/ 4507515 h 6858000"/>
              <a:gd name="connsiteX572" fmla="*/ 2857490 w 6530564"/>
              <a:gd name="connsiteY572" fmla="*/ 4507973 h 6858000"/>
              <a:gd name="connsiteX573" fmla="*/ 2858176 w 6530564"/>
              <a:gd name="connsiteY573" fmla="*/ 4509163 h 6858000"/>
              <a:gd name="connsiteX574" fmla="*/ 2862899 w 6530564"/>
              <a:gd name="connsiteY574" fmla="*/ 4511580 h 6858000"/>
              <a:gd name="connsiteX575" fmla="*/ 2852855 w 6530564"/>
              <a:gd name="connsiteY575" fmla="*/ 4503860 h 6858000"/>
              <a:gd name="connsiteX576" fmla="*/ 2855786 w 6530564"/>
              <a:gd name="connsiteY576" fmla="*/ 4507515 h 6858000"/>
              <a:gd name="connsiteX577" fmla="*/ 2854813 w 6530564"/>
              <a:gd name="connsiteY577" fmla="*/ 4507255 h 6858000"/>
              <a:gd name="connsiteX578" fmla="*/ 2850179 w 6530564"/>
              <a:gd name="connsiteY578" fmla="*/ 4503144 h 6858000"/>
              <a:gd name="connsiteX579" fmla="*/ 5450741 w 6530564"/>
              <a:gd name="connsiteY579" fmla="*/ 4439964 h 6858000"/>
              <a:gd name="connsiteX580" fmla="*/ 5377825 w 6530564"/>
              <a:gd name="connsiteY580" fmla="*/ 4530592 h 6858000"/>
              <a:gd name="connsiteX581" fmla="*/ 5323869 w 6530564"/>
              <a:gd name="connsiteY581" fmla="*/ 4592582 h 6858000"/>
              <a:gd name="connsiteX582" fmla="*/ 5314677 w 6530564"/>
              <a:gd name="connsiteY582" fmla="*/ 4613036 h 6858000"/>
              <a:gd name="connsiteX583" fmla="*/ 5364167 w 6530564"/>
              <a:gd name="connsiteY583" fmla="*/ 4564878 h 6858000"/>
              <a:gd name="connsiteX584" fmla="*/ 5370795 w 6530564"/>
              <a:gd name="connsiteY584" fmla="*/ 4560109 h 6858000"/>
              <a:gd name="connsiteX585" fmla="*/ 5397869 w 6530564"/>
              <a:gd name="connsiteY585" fmla="*/ 4523430 h 6858000"/>
              <a:gd name="connsiteX586" fmla="*/ 1643525 w 6530564"/>
              <a:gd name="connsiteY586" fmla="*/ 4432993 h 6858000"/>
              <a:gd name="connsiteX587" fmla="*/ 1644522 w 6530564"/>
              <a:gd name="connsiteY587" fmla="*/ 4437664 h 6858000"/>
              <a:gd name="connsiteX588" fmla="*/ 1643326 w 6530564"/>
              <a:gd name="connsiteY588" fmla="*/ 4435630 h 6858000"/>
              <a:gd name="connsiteX589" fmla="*/ 2776939 w 6530564"/>
              <a:gd name="connsiteY589" fmla="*/ 4423240 h 6858000"/>
              <a:gd name="connsiteX590" fmla="*/ 2779311 w 6530564"/>
              <a:gd name="connsiteY590" fmla="*/ 4426396 h 6858000"/>
              <a:gd name="connsiteX591" fmla="*/ 2778899 w 6530564"/>
              <a:gd name="connsiteY591" fmla="*/ 4426634 h 6858000"/>
              <a:gd name="connsiteX592" fmla="*/ 2776939 w 6530564"/>
              <a:gd name="connsiteY592" fmla="*/ 4423240 h 6858000"/>
              <a:gd name="connsiteX593" fmla="*/ 2676789 w 6530564"/>
              <a:gd name="connsiteY593" fmla="*/ 4299837 h 6858000"/>
              <a:gd name="connsiteX594" fmla="*/ 2665036 w 6530564"/>
              <a:gd name="connsiteY594" fmla="*/ 4302598 h 6858000"/>
              <a:gd name="connsiteX595" fmla="*/ 2701549 w 6530564"/>
              <a:gd name="connsiteY595" fmla="*/ 4351370 h 6858000"/>
              <a:gd name="connsiteX596" fmla="*/ 2741629 w 6530564"/>
              <a:gd name="connsiteY596" fmla="*/ 4405167 h 6858000"/>
              <a:gd name="connsiteX597" fmla="*/ 2786537 w 6530564"/>
              <a:gd name="connsiteY597" fmla="*/ 4451645 h 6858000"/>
              <a:gd name="connsiteX598" fmla="*/ 2822178 w 6530564"/>
              <a:gd name="connsiteY598" fmla="*/ 4489900 h 6858000"/>
              <a:gd name="connsiteX599" fmla="*/ 2824137 w 6530564"/>
              <a:gd name="connsiteY599" fmla="*/ 4493294 h 6858000"/>
              <a:gd name="connsiteX600" fmla="*/ 2828771 w 6530564"/>
              <a:gd name="connsiteY600" fmla="*/ 4497407 h 6858000"/>
              <a:gd name="connsiteX601" fmla="*/ 2839192 w 6530564"/>
              <a:gd name="connsiteY601" fmla="*/ 4508233 h 6858000"/>
              <a:gd name="connsiteX602" fmla="*/ 2837891 w 6530564"/>
              <a:gd name="connsiteY602" fmla="*/ 4500449 h 6858000"/>
              <a:gd name="connsiteX603" fmla="*/ 2829489 w 6530564"/>
              <a:gd name="connsiteY603" fmla="*/ 4494729 h 6858000"/>
              <a:gd name="connsiteX604" fmla="*/ 2832164 w 6530564"/>
              <a:gd name="connsiteY604" fmla="*/ 4495445 h 6858000"/>
              <a:gd name="connsiteX605" fmla="*/ 2827529 w 6530564"/>
              <a:gd name="connsiteY605" fmla="*/ 4491333 h 6858000"/>
              <a:gd name="connsiteX606" fmla="*/ 2825572 w 6530564"/>
              <a:gd name="connsiteY606" fmla="*/ 4487938 h 6858000"/>
              <a:gd name="connsiteX607" fmla="*/ 2779311 w 6530564"/>
              <a:gd name="connsiteY607" fmla="*/ 4426396 h 6858000"/>
              <a:gd name="connsiteX608" fmla="*/ 2782293 w 6530564"/>
              <a:gd name="connsiteY608" fmla="*/ 4424673 h 6858000"/>
              <a:gd name="connsiteX609" fmla="*/ 2779616 w 6530564"/>
              <a:gd name="connsiteY609" fmla="*/ 4423956 h 6858000"/>
              <a:gd name="connsiteX610" fmla="*/ 2776939 w 6530564"/>
              <a:gd name="connsiteY610" fmla="*/ 4423240 h 6858000"/>
              <a:gd name="connsiteX611" fmla="*/ 2774981 w 6530564"/>
              <a:gd name="connsiteY611" fmla="*/ 4419843 h 6858000"/>
              <a:gd name="connsiteX612" fmla="*/ 2765190 w 6530564"/>
              <a:gd name="connsiteY612" fmla="*/ 4402868 h 6858000"/>
              <a:gd name="connsiteX613" fmla="*/ 2766430 w 6530564"/>
              <a:gd name="connsiteY613" fmla="*/ 4408940 h 6858000"/>
              <a:gd name="connsiteX614" fmla="*/ 2763755 w 6530564"/>
              <a:gd name="connsiteY614" fmla="*/ 4408224 h 6858000"/>
              <a:gd name="connsiteX615" fmla="*/ 2761078 w 6530564"/>
              <a:gd name="connsiteY615" fmla="*/ 4407507 h 6858000"/>
              <a:gd name="connsiteX616" fmla="*/ 2763037 w 6530564"/>
              <a:gd name="connsiteY616" fmla="*/ 4410902 h 6858000"/>
              <a:gd name="connsiteX617" fmla="*/ 2747175 w 6530564"/>
              <a:gd name="connsiteY617" fmla="*/ 4395170 h 6858000"/>
              <a:gd name="connsiteX618" fmla="*/ 2749852 w 6530564"/>
              <a:gd name="connsiteY618" fmla="*/ 4395886 h 6858000"/>
              <a:gd name="connsiteX619" fmla="*/ 2751809 w 6530564"/>
              <a:gd name="connsiteY619" fmla="*/ 4399282 h 6858000"/>
              <a:gd name="connsiteX620" fmla="*/ 2754485 w 6530564"/>
              <a:gd name="connsiteY620" fmla="*/ 4399999 h 6858000"/>
              <a:gd name="connsiteX621" fmla="*/ 2750569 w 6530564"/>
              <a:gd name="connsiteY621" fmla="*/ 4393208 h 6858000"/>
              <a:gd name="connsiteX622" fmla="*/ 2748611 w 6530564"/>
              <a:gd name="connsiteY622" fmla="*/ 4389814 h 6858000"/>
              <a:gd name="connsiteX623" fmla="*/ 2736338 w 6530564"/>
              <a:gd name="connsiteY623" fmla="*/ 4360691 h 6858000"/>
              <a:gd name="connsiteX624" fmla="*/ 2722327 w 6530564"/>
              <a:gd name="connsiteY624" fmla="*/ 4344738 h 6858000"/>
              <a:gd name="connsiteX625" fmla="*/ 2716857 w 6530564"/>
              <a:gd name="connsiteY625" fmla="*/ 4339970 h 6858000"/>
              <a:gd name="connsiteX626" fmla="*/ 2703428 w 6530564"/>
              <a:gd name="connsiteY626" fmla="*/ 4336022 h 6858000"/>
              <a:gd name="connsiteX627" fmla="*/ 2688247 w 6530564"/>
              <a:gd name="connsiteY627" fmla="*/ 4319673 h 6858000"/>
              <a:gd name="connsiteX628" fmla="*/ 2677451 w 6530564"/>
              <a:gd name="connsiteY628" fmla="*/ 4300826 h 6858000"/>
              <a:gd name="connsiteX629" fmla="*/ 2337159 w 6530564"/>
              <a:gd name="connsiteY629" fmla="*/ 4269366 h 6858000"/>
              <a:gd name="connsiteX630" fmla="*/ 2339560 w 6530564"/>
              <a:gd name="connsiteY630" fmla="*/ 4273526 h 6858000"/>
              <a:gd name="connsiteX631" fmla="*/ 2339523 w 6530564"/>
              <a:gd name="connsiteY631" fmla="*/ 4273662 h 6858000"/>
              <a:gd name="connsiteX632" fmla="*/ 1526874 w 6530564"/>
              <a:gd name="connsiteY632" fmla="*/ 4252779 h 6858000"/>
              <a:gd name="connsiteX633" fmla="*/ 1534539 w 6530564"/>
              <a:gd name="connsiteY633" fmla="*/ 4265793 h 6858000"/>
              <a:gd name="connsiteX634" fmla="*/ 1529869 w 6530564"/>
              <a:gd name="connsiteY634" fmla="*/ 4266791 h 6858000"/>
              <a:gd name="connsiteX635" fmla="*/ 2351864 w 6530564"/>
              <a:gd name="connsiteY635" fmla="*/ 4227601 h 6858000"/>
              <a:gd name="connsiteX636" fmla="*/ 2354365 w 6530564"/>
              <a:gd name="connsiteY636" fmla="*/ 4231786 h 6858000"/>
              <a:gd name="connsiteX637" fmla="*/ 2354267 w 6530564"/>
              <a:gd name="connsiteY637" fmla="*/ 4231761 h 6858000"/>
              <a:gd name="connsiteX638" fmla="*/ 2351864 w 6530564"/>
              <a:gd name="connsiteY638" fmla="*/ 4227601 h 6858000"/>
              <a:gd name="connsiteX639" fmla="*/ 6397652 w 6530564"/>
              <a:gd name="connsiteY639" fmla="*/ 4184394 h 6858000"/>
              <a:gd name="connsiteX640" fmla="*/ 6397793 w 6530564"/>
              <a:gd name="connsiteY640" fmla="*/ 4184698 h 6858000"/>
              <a:gd name="connsiteX641" fmla="*/ 6393825 w 6530564"/>
              <a:gd name="connsiteY641" fmla="*/ 4194703 h 6858000"/>
              <a:gd name="connsiteX642" fmla="*/ 6495950 w 6530564"/>
              <a:gd name="connsiteY642" fmla="*/ 4124042 h 6858000"/>
              <a:gd name="connsiteX643" fmla="*/ 6492277 w 6530564"/>
              <a:gd name="connsiteY643" fmla="*/ 4129712 h 6858000"/>
              <a:gd name="connsiteX644" fmla="*/ 6495950 w 6530564"/>
              <a:gd name="connsiteY644" fmla="*/ 4124042 h 6858000"/>
              <a:gd name="connsiteX645" fmla="*/ 6447581 w 6530564"/>
              <a:gd name="connsiteY645" fmla="*/ 4072213 h 6858000"/>
              <a:gd name="connsiteX646" fmla="*/ 6446607 w 6530564"/>
              <a:gd name="connsiteY646" fmla="*/ 4075973 h 6858000"/>
              <a:gd name="connsiteX647" fmla="*/ 6447605 w 6530564"/>
              <a:gd name="connsiteY647" fmla="*/ 4080645 h 6858000"/>
              <a:gd name="connsiteX648" fmla="*/ 6443932 w 6530564"/>
              <a:gd name="connsiteY648" fmla="*/ 4086313 h 6858000"/>
              <a:gd name="connsiteX649" fmla="*/ 6441935 w 6530564"/>
              <a:gd name="connsiteY649" fmla="*/ 4076971 h 6858000"/>
              <a:gd name="connsiteX650" fmla="*/ 6451467 w 6530564"/>
              <a:gd name="connsiteY650" fmla="*/ 4062259 h 6858000"/>
              <a:gd name="connsiteX651" fmla="*/ 6448725 w 6530564"/>
              <a:gd name="connsiteY651" fmla="*/ 4071248 h 6858000"/>
              <a:gd name="connsiteX652" fmla="*/ 6447581 w 6530564"/>
              <a:gd name="connsiteY652" fmla="*/ 4072213 h 6858000"/>
              <a:gd name="connsiteX653" fmla="*/ 6449283 w 6530564"/>
              <a:gd name="connsiteY653" fmla="*/ 4065635 h 6858000"/>
              <a:gd name="connsiteX654" fmla="*/ 6095133 w 6530564"/>
              <a:gd name="connsiteY654" fmla="*/ 4053382 h 6858000"/>
              <a:gd name="connsiteX655" fmla="*/ 6093665 w 6530564"/>
              <a:gd name="connsiteY655" fmla="*/ 4058179 h 6858000"/>
              <a:gd name="connsiteX656" fmla="*/ 6092651 w 6530564"/>
              <a:gd name="connsiteY656" fmla="*/ 4060432 h 6858000"/>
              <a:gd name="connsiteX657" fmla="*/ 6092133 w 6530564"/>
              <a:gd name="connsiteY657" fmla="*/ 4058007 h 6858000"/>
              <a:gd name="connsiteX658" fmla="*/ 6095133 w 6530564"/>
              <a:gd name="connsiteY658" fmla="*/ 4053382 h 6858000"/>
              <a:gd name="connsiteX659" fmla="*/ 1243863 w 6530564"/>
              <a:gd name="connsiteY659" fmla="*/ 4048308 h 6858000"/>
              <a:gd name="connsiteX660" fmla="*/ 1243853 w 6530564"/>
              <a:gd name="connsiteY660" fmla="*/ 4048690 h 6858000"/>
              <a:gd name="connsiteX661" fmla="*/ 1244017 w 6530564"/>
              <a:gd name="connsiteY661" fmla="*/ 4049024 h 6858000"/>
              <a:gd name="connsiteX662" fmla="*/ 6459303 w 6530564"/>
              <a:gd name="connsiteY662" fmla="*/ 4043956 h 6858000"/>
              <a:gd name="connsiteX663" fmla="*/ 6452955 w 6530564"/>
              <a:gd name="connsiteY663" fmla="*/ 4059966 h 6858000"/>
              <a:gd name="connsiteX664" fmla="*/ 6451467 w 6530564"/>
              <a:gd name="connsiteY664" fmla="*/ 4062259 h 6858000"/>
              <a:gd name="connsiteX665" fmla="*/ 6453708 w 6530564"/>
              <a:gd name="connsiteY665" fmla="*/ 4054920 h 6858000"/>
              <a:gd name="connsiteX666" fmla="*/ 6455441 w 6530564"/>
              <a:gd name="connsiteY666" fmla="*/ 4044781 h 6858000"/>
              <a:gd name="connsiteX667" fmla="*/ 6456817 w 6530564"/>
              <a:gd name="connsiteY667" fmla="*/ 4036740 h 6858000"/>
              <a:gd name="connsiteX668" fmla="*/ 6455441 w 6530564"/>
              <a:gd name="connsiteY668" fmla="*/ 4044781 h 6858000"/>
              <a:gd name="connsiteX669" fmla="*/ 6454631 w 6530564"/>
              <a:gd name="connsiteY669" fmla="*/ 4044953 h 6858000"/>
              <a:gd name="connsiteX670" fmla="*/ 1431945 w 6530564"/>
              <a:gd name="connsiteY670" fmla="*/ 4014196 h 6858000"/>
              <a:gd name="connsiteX671" fmla="*/ 1434938 w 6530564"/>
              <a:gd name="connsiteY671" fmla="*/ 4028209 h 6858000"/>
              <a:gd name="connsiteX672" fmla="*/ 1428273 w 6530564"/>
              <a:gd name="connsiteY672" fmla="*/ 4019865 h 6858000"/>
              <a:gd name="connsiteX673" fmla="*/ 1431945 w 6530564"/>
              <a:gd name="connsiteY673" fmla="*/ 4014196 h 6858000"/>
              <a:gd name="connsiteX674" fmla="*/ 1496703 w 6530564"/>
              <a:gd name="connsiteY674" fmla="*/ 3951518 h 6858000"/>
              <a:gd name="connsiteX675" fmla="*/ 1502371 w 6530564"/>
              <a:gd name="connsiteY675" fmla="*/ 3955191 h 6858000"/>
              <a:gd name="connsiteX676" fmla="*/ 1498697 w 6530564"/>
              <a:gd name="connsiteY676" fmla="*/ 3960861 h 6858000"/>
              <a:gd name="connsiteX677" fmla="*/ 1496703 w 6530564"/>
              <a:gd name="connsiteY677" fmla="*/ 3951518 h 6858000"/>
              <a:gd name="connsiteX678" fmla="*/ 2081274 w 6530564"/>
              <a:gd name="connsiteY678" fmla="*/ 3919538 h 6858000"/>
              <a:gd name="connsiteX679" fmla="*/ 2082728 w 6530564"/>
              <a:gd name="connsiteY679" fmla="*/ 3919927 h 6858000"/>
              <a:gd name="connsiteX680" fmla="*/ 2081850 w 6530564"/>
              <a:gd name="connsiteY680" fmla="*/ 3923208 h 6858000"/>
              <a:gd name="connsiteX681" fmla="*/ 6530564 w 6530564"/>
              <a:gd name="connsiteY681" fmla="*/ 3917715 h 6858000"/>
              <a:gd name="connsiteX682" fmla="*/ 6530564 w 6530564"/>
              <a:gd name="connsiteY682" fmla="*/ 3921552 h 6858000"/>
              <a:gd name="connsiteX683" fmla="*/ 6527556 w 6530564"/>
              <a:gd name="connsiteY683" fmla="*/ 3926194 h 6858000"/>
              <a:gd name="connsiteX684" fmla="*/ 6527097 w 6530564"/>
              <a:gd name="connsiteY684" fmla="*/ 3926903 h 6858000"/>
              <a:gd name="connsiteX685" fmla="*/ 6183373 w 6530564"/>
              <a:gd name="connsiteY685" fmla="*/ 3883119 h 6858000"/>
              <a:gd name="connsiteX686" fmla="*/ 6183235 w 6530564"/>
              <a:gd name="connsiteY686" fmla="*/ 3887133 h 6858000"/>
              <a:gd name="connsiteX687" fmla="*/ 6182420 w 6530564"/>
              <a:gd name="connsiteY687" fmla="*/ 3883322 h 6858000"/>
              <a:gd name="connsiteX688" fmla="*/ 6530394 w 6530564"/>
              <a:gd name="connsiteY688" fmla="*/ 3785167 h 6858000"/>
              <a:gd name="connsiteX689" fmla="*/ 6530564 w 6530564"/>
              <a:gd name="connsiteY689" fmla="*/ 3785630 h 6858000"/>
              <a:gd name="connsiteX690" fmla="*/ 6530564 w 6530564"/>
              <a:gd name="connsiteY690" fmla="*/ 3792682 h 6858000"/>
              <a:gd name="connsiteX691" fmla="*/ 6526181 w 6530564"/>
              <a:gd name="connsiteY691" fmla="*/ 3785456 h 6858000"/>
              <a:gd name="connsiteX692" fmla="*/ 6530394 w 6530564"/>
              <a:gd name="connsiteY692" fmla="*/ 3785167 h 6858000"/>
              <a:gd name="connsiteX693" fmla="*/ 2531063 w 6530564"/>
              <a:gd name="connsiteY693" fmla="*/ 3675825 h 6858000"/>
              <a:gd name="connsiteX694" fmla="*/ 2572765 w 6530564"/>
              <a:gd name="connsiteY694" fmla="*/ 3812143 h 6858000"/>
              <a:gd name="connsiteX695" fmla="*/ 2619585 w 6530564"/>
              <a:gd name="connsiteY695" fmla="*/ 3940039 h 6858000"/>
              <a:gd name="connsiteX696" fmla="*/ 2689216 w 6530564"/>
              <a:gd name="connsiteY696" fmla="*/ 4071055 h 6858000"/>
              <a:gd name="connsiteX697" fmla="*/ 2731894 w 6530564"/>
              <a:gd name="connsiteY697" fmla="*/ 4145620 h 6858000"/>
              <a:gd name="connsiteX698" fmla="*/ 2736797 w 6530564"/>
              <a:gd name="connsiteY698" fmla="*/ 4151516 h 6858000"/>
              <a:gd name="connsiteX699" fmla="*/ 2736150 w 6530564"/>
              <a:gd name="connsiteY699" fmla="*/ 4154286 h 6858000"/>
              <a:gd name="connsiteX700" fmla="*/ 2761162 w 6530564"/>
              <a:gd name="connsiteY700" fmla="*/ 4192307 h 6858000"/>
              <a:gd name="connsiteX701" fmla="*/ 2734027 w 6530564"/>
              <a:gd name="connsiteY701" fmla="*/ 4159027 h 6858000"/>
              <a:gd name="connsiteX702" fmla="*/ 2727501 w 6530564"/>
              <a:gd name="connsiteY702" fmla="*/ 4162023 h 6858000"/>
              <a:gd name="connsiteX703" fmla="*/ 2719561 w 6530564"/>
              <a:gd name="connsiteY703" fmla="*/ 4158874 h 6858000"/>
              <a:gd name="connsiteX704" fmla="*/ 2694323 w 6530564"/>
              <a:gd name="connsiteY704" fmla="*/ 4128398 h 6858000"/>
              <a:gd name="connsiteX705" fmla="*/ 2638432 w 6530564"/>
              <a:gd name="connsiteY705" fmla="*/ 4030019 h 6858000"/>
              <a:gd name="connsiteX706" fmla="*/ 2616715 w 6530564"/>
              <a:gd name="connsiteY706" fmla="*/ 3986397 h 6858000"/>
              <a:gd name="connsiteX707" fmla="*/ 2616051 w 6530564"/>
              <a:gd name="connsiteY707" fmla="*/ 3985283 h 6858000"/>
              <a:gd name="connsiteX708" fmla="*/ 2614788 w 6530564"/>
              <a:gd name="connsiteY708" fmla="*/ 3982527 h 6858000"/>
              <a:gd name="connsiteX709" fmla="*/ 2613003 w 6530564"/>
              <a:gd name="connsiteY709" fmla="*/ 3978941 h 6858000"/>
              <a:gd name="connsiteX710" fmla="*/ 2612430 w 6530564"/>
              <a:gd name="connsiteY710" fmla="*/ 3977382 h 6858000"/>
              <a:gd name="connsiteX711" fmla="*/ 2590101 w 6530564"/>
              <a:gd name="connsiteY711" fmla="*/ 3928646 h 6858000"/>
              <a:gd name="connsiteX712" fmla="*/ 2588278 w 6530564"/>
              <a:gd name="connsiteY712" fmla="*/ 3930926 h 6858000"/>
              <a:gd name="connsiteX713" fmla="*/ 2586807 w 6530564"/>
              <a:gd name="connsiteY713" fmla="*/ 3937922 h 6858000"/>
              <a:gd name="connsiteX714" fmla="*/ 2585985 w 6530564"/>
              <a:gd name="connsiteY714" fmla="*/ 3941174 h 6858000"/>
              <a:gd name="connsiteX715" fmla="*/ 2612386 w 6530564"/>
              <a:gd name="connsiteY715" fmla="*/ 4010360 h 6858000"/>
              <a:gd name="connsiteX716" fmla="*/ 2690871 w 6530564"/>
              <a:gd name="connsiteY716" fmla="*/ 4160213 h 6858000"/>
              <a:gd name="connsiteX717" fmla="*/ 2700625 w 6530564"/>
              <a:gd name="connsiteY717" fmla="*/ 4177201 h 6858000"/>
              <a:gd name="connsiteX718" fmla="*/ 2708709 w 6530564"/>
              <a:gd name="connsiteY718" fmla="*/ 4189725 h 6858000"/>
              <a:gd name="connsiteX719" fmla="*/ 2709242 w 6530564"/>
              <a:gd name="connsiteY719" fmla="*/ 4192597 h 6858000"/>
              <a:gd name="connsiteX720" fmla="*/ 2818914 w 6530564"/>
              <a:gd name="connsiteY720" fmla="*/ 4346218 h 6858000"/>
              <a:gd name="connsiteX721" fmla="*/ 2958211 w 6530564"/>
              <a:gd name="connsiteY721" fmla="*/ 4492927 h 6858000"/>
              <a:gd name="connsiteX722" fmla="*/ 3037117 w 6530564"/>
              <a:gd name="connsiteY722" fmla="*/ 4556144 h 6858000"/>
              <a:gd name="connsiteX723" fmla="*/ 3127435 w 6530564"/>
              <a:gd name="connsiteY723" fmla="*/ 4612403 h 6858000"/>
              <a:gd name="connsiteX724" fmla="*/ 3228660 w 6530564"/>
              <a:gd name="connsiteY724" fmla="*/ 4665324 h 6858000"/>
              <a:gd name="connsiteX725" fmla="*/ 3284085 w 6530564"/>
              <a:gd name="connsiteY725" fmla="*/ 4680023 h 6858000"/>
              <a:gd name="connsiteX726" fmla="*/ 3324987 w 6530564"/>
              <a:gd name="connsiteY726" fmla="*/ 4690843 h 6858000"/>
              <a:gd name="connsiteX727" fmla="*/ 3540971 w 6530564"/>
              <a:gd name="connsiteY727" fmla="*/ 4768253 h 6858000"/>
              <a:gd name="connsiteX728" fmla="*/ 3555898 w 6530564"/>
              <a:gd name="connsiteY728" fmla="*/ 4767020 h 6858000"/>
              <a:gd name="connsiteX729" fmla="*/ 3541374 w 6530564"/>
              <a:gd name="connsiteY729" fmla="*/ 4755574 h 6858000"/>
              <a:gd name="connsiteX730" fmla="*/ 3218006 w 6530564"/>
              <a:gd name="connsiteY730" fmla="*/ 4624223 h 6858000"/>
              <a:gd name="connsiteX731" fmla="*/ 3205733 w 6530564"/>
              <a:gd name="connsiteY731" fmla="*/ 4618706 h 6858000"/>
              <a:gd name="connsiteX732" fmla="*/ 3202251 w 6530564"/>
              <a:gd name="connsiteY732" fmla="*/ 4605416 h 6858000"/>
              <a:gd name="connsiteX733" fmla="*/ 3215747 w 6530564"/>
              <a:gd name="connsiteY733" fmla="*/ 4603161 h 6858000"/>
              <a:gd name="connsiteX734" fmla="*/ 3277149 w 6530564"/>
              <a:gd name="connsiteY734" fmla="*/ 4635346 h 6858000"/>
              <a:gd name="connsiteX735" fmla="*/ 3300817 w 6530564"/>
              <a:gd name="connsiteY735" fmla="*/ 4645474 h 6858000"/>
              <a:gd name="connsiteX736" fmla="*/ 3203581 w 6530564"/>
              <a:gd name="connsiteY736" fmla="*/ 4589043 h 6858000"/>
              <a:gd name="connsiteX737" fmla="*/ 2817218 w 6530564"/>
              <a:gd name="connsiteY737" fmla="*/ 4214123 h 6858000"/>
              <a:gd name="connsiteX738" fmla="*/ 2795524 w 6530564"/>
              <a:gd name="connsiteY738" fmla="*/ 4180373 h 6858000"/>
              <a:gd name="connsiteX739" fmla="*/ 2794029 w 6530564"/>
              <a:gd name="connsiteY739" fmla="*/ 4178497 h 6858000"/>
              <a:gd name="connsiteX740" fmla="*/ 2777085 w 6530564"/>
              <a:gd name="connsiteY740" fmla="*/ 4161569 h 6858000"/>
              <a:gd name="connsiteX741" fmla="*/ 2741001 w 6530564"/>
              <a:gd name="connsiteY741" fmla="*/ 4101332 h 6858000"/>
              <a:gd name="connsiteX742" fmla="*/ 2679864 w 6530564"/>
              <a:gd name="connsiteY742" fmla="*/ 4007725 h 6858000"/>
              <a:gd name="connsiteX743" fmla="*/ 2531063 w 6530564"/>
              <a:gd name="connsiteY743" fmla="*/ 3675825 h 6858000"/>
              <a:gd name="connsiteX744" fmla="*/ 1469523 w 6530564"/>
              <a:gd name="connsiteY744" fmla="*/ 3664273 h 6858000"/>
              <a:gd name="connsiteX745" fmla="*/ 1470520 w 6530564"/>
              <a:gd name="connsiteY745" fmla="*/ 3668943 h 6858000"/>
              <a:gd name="connsiteX746" fmla="*/ 1464851 w 6530564"/>
              <a:gd name="connsiteY746" fmla="*/ 3665270 h 6858000"/>
              <a:gd name="connsiteX747" fmla="*/ 1469523 w 6530564"/>
              <a:gd name="connsiteY747" fmla="*/ 3664273 h 6858000"/>
              <a:gd name="connsiteX748" fmla="*/ 1961674 w 6530564"/>
              <a:gd name="connsiteY748" fmla="*/ 3623805 h 6858000"/>
              <a:gd name="connsiteX749" fmla="*/ 1961195 w 6530564"/>
              <a:gd name="connsiteY749" fmla="*/ 3627779 h 6858000"/>
              <a:gd name="connsiteX750" fmla="*/ 1960794 w 6530564"/>
              <a:gd name="connsiteY750" fmla="*/ 3627086 h 6858000"/>
              <a:gd name="connsiteX751" fmla="*/ 1961674 w 6530564"/>
              <a:gd name="connsiteY751" fmla="*/ 3623805 h 6858000"/>
              <a:gd name="connsiteX752" fmla="*/ 6199520 w 6530564"/>
              <a:gd name="connsiteY752" fmla="*/ 3608723 h 6858000"/>
              <a:gd name="connsiteX753" fmla="*/ 6184735 w 6530564"/>
              <a:gd name="connsiteY753" fmla="*/ 3707510 h 6858000"/>
              <a:gd name="connsiteX754" fmla="*/ 6163438 w 6530564"/>
              <a:gd name="connsiteY754" fmla="*/ 3775812 h 6858000"/>
              <a:gd name="connsiteX755" fmla="*/ 6164252 w 6530564"/>
              <a:gd name="connsiteY755" fmla="*/ 3779623 h 6858000"/>
              <a:gd name="connsiteX756" fmla="*/ 6161253 w 6530564"/>
              <a:gd name="connsiteY756" fmla="*/ 3784247 h 6858000"/>
              <a:gd name="connsiteX757" fmla="*/ 6165881 w 6530564"/>
              <a:gd name="connsiteY757" fmla="*/ 3787245 h 6858000"/>
              <a:gd name="connsiteX758" fmla="*/ 6168881 w 6530564"/>
              <a:gd name="connsiteY758" fmla="*/ 3782617 h 6858000"/>
              <a:gd name="connsiteX759" fmla="*/ 6144582 w 6530564"/>
              <a:gd name="connsiteY759" fmla="*/ 3855546 h 6858000"/>
              <a:gd name="connsiteX760" fmla="*/ 6142399 w 6530564"/>
              <a:gd name="connsiteY760" fmla="*/ 3863981 h 6858000"/>
              <a:gd name="connsiteX761" fmla="*/ 6139398 w 6530564"/>
              <a:gd name="connsiteY761" fmla="*/ 3868606 h 6858000"/>
              <a:gd name="connsiteX762" fmla="*/ 6144841 w 6530564"/>
              <a:gd name="connsiteY762" fmla="*/ 3875415 h 6858000"/>
              <a:gd name="connsiteX763" fmla="*/ 6133657 w 6530564"/>
              <a:gd name="connsiteY763" fmla="*/ 3897726 h 6858000"/>
              <a:gd name="connsiteX764" fmla="*/ 6089949 w 6530564"/>
              <a:gd name="connsiteY764" fmla="*/ 4066444 h 6858000"/>
              <a:gd name="connsiteX765" fmla="*/ 6092651 w 6530564"/>
              <a:gd name="connsiteY765" fmla="*/ 4060432 h 6858000"/>
              <a:gd name="connsiteX766" fmla="*/ 6092947 w 6530564"/>
              <a:gd name="connsiteY766" fmla="*/ 4061819 h 6858000"/>
              <a:gd name="connsiteX767" fmla="*/ 6090763 w 6530564"/>
              <a:gd name="connsiteY767" fmla="*/ 4070255 h 6858000"/>
              <a:gd name="connsiteX768" fmla="*/ 6094575 w 6530564"/>
              <a:gd name="connsiteY768" fmla="*/ 4069439 h 6858000"/>
              <a:gd name="connsiteX769" fmla="*/ 6096761 w 6530564"/>
              <a:gd name="connsiteY769" fmla="*/ 4061003 h 6858000"/>
              <a:gd name="connsiteX770" fmla="*/ 6093461 w 6530564"/>
              <a:gd name="connsiteY770" fmla="*/ 4101553 h 6858000"/>
              <a:gd name="connsiteX771" fmla="*/ 6092647 w 6530564"/>
              <a:gd name="connsiteY771" fmla="*/ 4097743 h 6858000"/>
              <a:gd name="connsiteX772" fmla="*/ 6090461 w 6530564"/>
              <a:gd name="connsiteY772" fmla="*/ 4106179 h 6858000"/>
              <a:gd name="connsiteX773" fmla="*/ 6087462 w 6530564"/>
              <a:gd name="connsiteY773" fmla="*/ 4110804 h 6858000"/>
              <a:gd name="connsiteX774" fmla="*/ 6037541 w 6530564"/>
              <a:gd name="connsiteY774" fmla="*/ 4213114 h 6858000"/>
              <a:gd name="connsiteX775" fmla="*/ 6040540 w 6530564"/>
              <a:gd name="connsiteY775" fmla="*/ 4208487 h 6858000"/>
              <a:gd name="connsiteX776" fmla="*/ 6035913 w 6530564"/>
              <a:gd name="connsiteY776" fmla="*/ 4205492 h 6858000"/>
              <a:gd name="connsiteX777" fmla="*/ 6036727 w 6530564"/>
              <a:gd name="connsiteY777" fmla="*/ 4209302 h 6858000"/>
              <a:gd name="connsiteX778" fmla="*/ 6037541 w 6530564"/>
              <a:gd name="connsiteY778" fmla="*/ 4213114 h 6858000"/>
              <a:gd name="connsiteX779" fmla="*/ 6034541 w 6530564"/>
              <a:gd name="connsiteY779" fmla="*/ 4217738 h 6858000"/>
              <a:gd name="connsiteX780" fmla="*/ 6019543 w 6530564"/>
              <a:gd name="connsiteY780" fmla="*/ 4240865 h 6858000"/>
              <a:gd name="connsiteX781" fmla="*/ 6026355 w 6530564"/>
              <a:gd name="connsiteY781" fmla="*/ 4235425 h 6858000"/>
              <a:gd name="connsiteX782" fmla="*/ 6027169 w 6530564"/>
              <a:gd name="connsiteY782" fmla="*/ 4239235 h 6858000"/>
              <a:gd name="connsiteX783" fmla="*/ 6027984 w 6530564"/>
              <a:gd name="connsiteY783" fmla="*/ 4243047 h 6858000"/>
              <a:gd name="connsiteX784" fmla="*/ 6030985 w 6530564"/>
              <a:gd name="connsiteY784" fmla="*/ 4238420 h 6858000"/>
              <a:gd name="connsiteX785" fmla="*/ 6021427 w 6530564"/>
              <a:gd name="connsiteY785" fmla="*/ 4268354 h 6858000"/>
              <a:gd name="connsiteX786" fmla="*/ 6020613 w 6530564"/>
              <a:gd name="connsiteY786" fmla="*/ 4264544 h 6858000"/>
              <a:gd name="connsiteX787" fmla="*/ 6023613 w 6530564"/>
              <a:gd name="connsiteY787" fmla="*/ 4259918 h 6858000"/>
              <a:gd name="connsiteX788" fmla="*/ 6022799 w 6530564"/>
              <a:gd name="connsiteY788" fmla="*/ 4256108 h 6858000"/>
              <a:gd name="connsiteX789" fmla="*/ 6016800 w 6530564"/>
              <a:gd name="connsiteY789" fmla="*/ 4265358 h 6858000"/>
              <a:gd name="connsiteX790" fmla="*/ 6013801 w 6530564"/>
              <a:gd name="connsiteY790" fmla="*/ 4269984 h 6858000"/>
              <a:gd name="connsiteX791" fmla="*/ 5985177 w 6530564"/>
              <a:gd name="connsiteY791" fmla="*/ 4303990 h 6858000"/>
              <a:gd name="connsiteX792" fmla="*/ 5968249 w 6530564"/>
              <a:gd name="connsiteY792" fmla="*/ 4355422 h 6858000"/>
              <a:gd name="connsiteX793" fmla="*/ 5964437 w 6530564"/>
              <a:gd name="connsiteY793" fmla="*/ 4356236 h 6858000"/>
              <a:gd name="connsiteX794" fmla="*/ 5962251 w 6530564"/>
              <a:gd name="connsiteY794" fmla="*/ 4364670 h 6858000"/>
              <a:gd name="connsiteX795" fmla="*/ 5958437 w 6530564"/>
              <a:gd name="connsiteY795" fmla="*/ 4365486 h 6858000"/>
              <a:gd name="connsiteX796" fmla="*/ 5959251 w 6530564"/>
              <a:gd name="connsiteY796" fmla="*/ 4369296 h 6858000"/>
              <a:gd name="connsiteX797" fmla="*/ 5945069 w 6530564"/>
              <a:gd name="connsiteY797" fmla="*/ 4396235 h 6858000"/>
              <a:gd name="connsiteX798" fmla="*/ 5955695 w 6530564"/>
              <a:gd name="connsiteY798" fmla="*/ 4389979 h 6858000"/>
              <a:gd name="connsiteX799" fmla="*/ 5956509 w 6530564"/>
              <a:gd name="connsiteY799" fmla="*/ 4393791 h 6858000"/>
              <a:gd name="connsiteX800" fmla="*/ 5959509 w 6530564"/>
              <a:gd name="connsiteY800" fmla="*/ 4389164 h 6858000"/>
              <a:gd name="connsiteX801" fmla="*/ 5963323 w 6530564"/>
              <a:gd name="connsiteY801" fmla="*/ 4388350 h 6858000"/>
              <a:gd name="connsiteX802" fmla="*/ 5943140 w 6530564"/>
              <a:gd name="connsiteY802" fmla="*/ 4424538 h 6858000"/>
              <a:gd name="connsiteX803" fmla="*/ 5933884 w 6530564"/>
              <a:gd name="connsiteY803" fmla="*/ 4418547 h 6858000"/>
              <a:gd name="connsiteX804" fmla="*/ 5895447 w 6530564"/>
              <a:gd name="connsiteY804" fmla="*/ 4462619 h 6858000"/>
              <a:gd name="connsiteX805" fmla="*/ 5880707 w 6530564"/>
              <a:gd name="connsiteY805" fmla="*/ 4505613 h 6858000"/>
              <a:gd name="connsiteX806" fmla="*/ 5846083 w 6530564"/>
              <a:gd name="connsiteY806" fmla="*/ 4548870 h 6858000"/>
              <a:gd name="connsiteX807" fmla="*/ 5839527 w 6530564"/>
              <a:gd name="connsiteY807" fmla="*/ 4574178 h 6858000"/>
              <a:gd name="connsiteX808" fmla="*/ 5727729 w 6530564"/>
              <a:gd name="connsiteY808" fmla="*/ 4741505 h 6858000"/>
              <a:gd name="connsiteX809" fmla="*/ 5808417 w 6530564"/>
              <a:gd name="connsiteY809" fmla="*/ 4652545 h 6858000"/>
              <a:gd name="connsiteX810" fmla="*/ 5869779 w 6530564"/>
              <a:gd name="connsiteY810" fmla="*/ 4547793 h 6858000"/>
              <a:gd name="connsiteX811" fmla="*/ 5870593 w 6530564"/>
              <a:gd name="connsiteY811" fmla="*/ 4551603 h 6858000"/>
              <a:gd name="connsiteX812" fmla="*/ 5868407 w 6530564"/>
              <a:gd name="connsiteY812" fmla="*/ 4560039 h 6858000"/>
              <a:gd name="connsiteX813" fmla="*/ 5871408 w 6530564"/>
              <a:gd name="connsiteY813" fmla="*/ 4555413 h 6858000"/>
              <a:gd name="connsiteX814" fmla="*/ 5878220 w 6530564"/>
              <a:gd name="connsiteY814" fmla="*/ 4549973 h 6858000"/>
              <a:gd name="connsiteX815" fmla="*/ 5869221 w 6530564"/>
              <a:gd name="connsiteY815" fmla="*/ 4563850 h 6858000"/>
              <a:gd name="connsiteX816" fmla="*/ 5934654 w 6530564"/>
              <a:gd name="connsiteY816" fmla="*/ 4478149 h 6858000"/>
              <a:gd name="connsiteX817" fmla="*/ 5995761 w 6530564"/>
              <a:gd name="connsiteY817" fmla="*/ 4353528 h 6858000"/>
              <a:gd name="connsiteX818" fmla="*/ 6037497 w 6530564"/>
              <a:gd name="connsiteY818" fmla="*/ 4268905 h 6858000"/>
              <a:gd name="connsiteX819" fmla="*/ 6066979 w 6530564"/>
              <a:gd name="connsiteY819" fmla="*/ 4182916 h 6858000"/>
              <a:gd name="connsiteX820" fmla="*/ 6092089 w 6530564"/>
              <a:gd name="connsiteY820" fmla="*/ 4113800 h 6858000"/>
              <a:gd name="connsiteX821" fmla="*/ 6095089 w 6530564"/>
              <a:gd name="connsiteY821" fmla="*/ 4109174 h 6858000"/>
              <a:gd name="connsiteX822" fmla="*/ 6097275 w 6530564"/>
              <a:gd name="connsiteY822" fmla="*/ 4100738 h 6858000"/>
              <a:gd name="connsiteX823" fmla="*/ 6147797 w 6530564"/>
              <a:gd name="connsiteY823" fmla="*/ 3926580 h 6858000"/>
              <a:gd name="connsiteX824" fmla="*/ 6161681 w 6530564"/>
              <a:gd name="connsiteY824" fmla="*/ 3935566 h 6858000"/>
              <a:gd name="connsiteX825" fmla="*/ 6176677 w 6530564"/>
              <a:gd name="connsiteY825" fmla="*/ 3912441 h 6858000"/>
              <a:gd name="connsiteX826" fmla="*/ 6174493 w 6530564"/>
              <a:gd name="connsiteY826" fmla="*/ 3920876 h 6858000"/>
              <a:gd name="connsiteX827" fmla="*/ 6172306 w 6530564"/>
              <a:gd name="connsiteY827" fmla="*/ 3929312 h 6858000"/>
              <a:gd name="connsiteX828" fmla="*/ 6175307 w 6530564"/>
              <a:gd name="connsiteY828" fmla="*/ 3924687 h 6858000"/>
              <a:gd name="connsiteX829" fmla="*/ 6177492 w 6530564"/>
              <a:gd name="connsiteY829" fmla="*/ 3916252 h 6858000"/>
              <a:gd name="connsiteX830" fmla="*/ 6180491 w 6530564"/>
              <a:gd name="connsiteY830" fmla="*/ 3911626 h 6858000"/>
              <a:gd name="connsiteX831" fmla="*/ 6187861 w 6530564"/>
              <a:gd name="connsiteY831" fmla="*/ 3890129 h 6858000"/>
              <a:gd name="connsiteX832" fmla="*/ 6187047 w 6530564"/>
              <a:gd name="connsiteY832" fmla="*/ 3886319 h 6858000"/>
              <a:gd name="connsiteX833" fmla="*/ 6186233 w 6530564"/>
              <a:gd name="connsiteY833" fmla="*/ 3882508 h 6858000"/>
              <a:gd name="connsiteX834" fmla="*/ 6183373 w 6530564"/>
              <a:gd name="connsiteY834" fmla="*/ 3883119 h 6858000"/>
              <a:gd name="connsiteX835" fmla="*/ 6183513 w 6530564"/>
              <a:gd name="connsiteY835" fmla="*/ 3879104 h 6858000"/>
              <a:gd name="connsiteX836" fmla="*/ 6183791 w 6530564"/>
              <a:gd name="connsiteY836" fmla="*/ 3871076 h 6858000"/>
              <a:gd name="connsiteX837" fmla="*/ 6167166 w 6530564"/>
              <a:gd name="connsiteY837" fmla="*/ 3886581 h 6858000"/>
              <a:gd name="connsiteX838" fmla="*/ 6168280 w 6530564"/>
              <a:gd name="connsiteY838" fmla="*/ 3854469 h 6858000"/>
              <a:gd name="connsiteX839" fmla="*/ 6163653 w 6530564"/>
              <a:gd name="connsiteY839" fmla="*/ 3851471 h 6858000"/>
              <a:gd name="connsiteX840" fmla="*/ 6167465 w 6530564"/>
              <a:gd name="connsiteY840" fmla="*/ 3850657 h 6858000"/>
              <a:gd name="connsiteX841" fmla="*/ 6166651 w 6530564"/>
              <a:gd name="connsiteY841" fmla="*/ 3846847 h 6858000"/>
              <a:gd name="connsiteX842" fmla="*/ 6165837 w 6530564"/>
              <a:gd name="connsiteY842" fmla="*/ 3843036 h 6858000"/>
              <a:gd name="connsiteX843" fmla="*/ 6165022 w 6530564"/>
              <a:gd name="connsiteY843" fmla="*/ 3839226 h 6858000"/>
              <a:gd name="connsiteX844" fmla="*/ 6175693 w 6530564"/>
              <a:gd name="connsiteY844" fmla="*/ 3777178 h 6858000"/>
              <a:gd name="connsiteX845" fmla="*/ 6171880 w 6530564"/>
              <a:gd name="connsiteY845" fmla="*/ 3777993 h 6858000"/>
              <a:gd name="connsiteX846" fmla="*/ 6174879 w 6530564"/>
              <a:gd name="connsiteY846" fmla="*/ 3773367 h 6858000"/>
              <a:gd name="connsiteX847" fmla="*/ 6180065 w 6530564"/>
              <a:gd name="connsiteY847" fmla="*/ 3760306 h 6858000"/>
              <a:gd name="connsiteX848" fmla="*/ 6175436 w 6530564"/>
              <a:gd name="connsiteY848" fmla="*/ 3757310 h 6858000"/>
              <a:gd name="connsiteX849" fmla="*/ 6197548 w 6530564"/>
              <a:gd name="connsiteY849" fmla="*/ 3692818 h 6858000"/>
              <a:gd name="connsiteX850" fmla="*/ 6199520 w 6530564"/>
              <a:gd name="connsiteY850" fmla="*/ 3608723 h 6858000"/>
              <a:gd name="connsiteX851" fmla="*/ 6065238 w 6530564"/>
              <a:gd name="connsiteY851" fmla="*/ 3308795 h 6858000"/>
              <a:gd name="connsiteX852" fmla="*/ 6065531 w 6530564"/>
              <a:gd name="connsiteY852" fmla="*/ 3314628 h 6858000"/>
              <a:gd name="connsiteX853" fmla="*/ 5962661 w 6530564"/>
              <a:gd name="connsiteY853" fmla="*/ 3968210 h 6858000"/>
              <a:gd name="connsiteX854" fmla="*/ 5809937 w 6530564"/>
              <a:gd name="connsiteY854" fmla="*/ 4303923 h 6858000"/>
              <a:gd name="connsiteX855" fmla="*/ 5551706 w 6530564"/>
              <a:gd name="connsiteY855" fmla="*/ 4690196 h 6858000"/>
              <a:gd name="connsiteX856" fmla="*/ 5516536 w 6530564"/>
              <a:gd name="connsiteY856" fmla="*/ 4707050 h 6858000"/>
              <a:gd name="connsiteX857" fmla="*/ 5503087 w 6530564"/>
              <a:gd name="connsiteY857" fmla="*/ 4713664 h 6858000"/>
              <a:gd name="connsiteX858" fmla="*/ 5304022 w 6530564"/>
              <a:gd name="connsiteY858" fmla="*/ 4917255 h 6858000"/>
              <a:gd name="connsiteX859" fmla="*/ 5300471 w 6530564"/>
              <a:gd name="connsiteY859" fmla="*/ 4925062 h 6858000"/>
              <a:gd name="connsiteX860" fmla="*/ 5343981 w 6530564"/>
              <a:gd name="connsiteY860" fmla="*/ 4920662 h 6858000"/>
              <a:gd name="connsiteX861" fmla="*/ 5655346 w 6530564"/>
              <a:gd name="connsiteY861" fmla="*/ 4608480 h 6858000"/>
              <a:gd name="connsiteX862" fmla="*/ 5983356 w 6530564"/>
              <a:gd name="connsiteY862" fmla="*/ 3978135 h 6858000"/>
              <a:gd name="connsiteX863" fmla="*/ 6073117 w 6530564"/>
              <a:gd name="connsiteY863" fmla="*/ 3583217 h 6858000"/>
              <a:gd name="connsiteX864" fmla="*/ 6074066 w 6530564"/>
              <a:gd name="connsiteY864" fmla="*/ 3578467 h 6858000"/>
              <a:gd name="connsiteX865" fmla="*/ 6079369 w 6530564"/>
              <a:gd name="connsiteY865" fmla="*/ 3507090 h 6858000"/>
              <a:gd name="connsiteX866" fmla="*/ 6072751 w 6530564"/>
              <a:gd name="connsiteY866" fmla="*/ 3363985 h 6858000"/>
              <a:gd name="connsiteX867" fmla="*/ 2047326 w 6530564"/>
              <a:gd name="connsiteY867" fmla="*/ 3281632 h 6858000"/>
              <a:gd name="connsiteX868" fmla="*/ 2045645 w 6530564"/>
              <a:gd name="connsiteY868" fmla="*/ 3284178 h 6858000"/>
              <a:gd name="connsiteX869" fmla="*/ 2047343 w 6530564"/>
              <a:gd name="connsiteY869" fmla="*/ 3286585 h 6858000"/>
              <a:gd name="connsiteX870" fmla="*/ 2051036 w 6530564"/>
              <a:gd name="connsiteY870" fmla="*/ 3201671 h 6858000"/>
              <a:gd name="connsiteX871" fmla="*/ 2050661 w 6530564"/>
              <a:gd name="connsiteY871" fmla="*/ 3206416 h 6858000"/>
              <a:gd name="connsiteX872" fmla="*/ 2049263 w 6530564"/>
              <a:gd name="connsiteY872" fmla="*/ 3226807 h 6858000"/>
              <a:gd name="connsiteX873" fmla="*/ 2049406 w 6530564"/>
              <a:gd name="connsiteY873" fmla="*/ 3233130 h 6858000"/>
              <a:gd name="connsiteX874" fmla="*/ 1495570 w 6530564"/>
              <a:gd name="connsiteY874" fmla="*/ 3077486 h 6858000"/>
              <a:gd name="connsiteX875" fmla="*/ 1496569 w 6530564"/>
              <a:gd name="connsiteY875" fmla="*/ 3082159 h 6858000"/>
              <a:gd name="connsiteX876" fmla="*/ 1491897 w 6530564"/>
              <a:gd name="connsiteY876" fmla="*/ 3083156 h 6858000"/>
              <a:gd name="connsiteX877" fmla="*/ 1495570 w 6530564"/>
              <a:gd name="connsiteY877" fmla="*/ 3077486 h 6858000"/>
              <a:gd name="connsiteX878" fmla="*/ 2063000 w 6530564"/>
              <a:gd name="connsiteY878" fmla="*/ 3065542 h 6858000"/>
              <a:gd name="connsiteX879" fmla="*/ 2061195 w 6530564"/>
              <a:gd name="connsiteY879" fmla="*/ 3075253 h 6858000"/>
              <a:gd name="connsiteX880" fmla="*/ 2058277 w 6530564"/>
              <a:gd name="connsiteY880" fmla="*/ 3102543 h 6858000"/>
              <a:gd name="connsiteX881" fmla="*/ 2056929 w 6530564"/>
              <a:gd name="connsiteY881" fmla="*/ 3122128 h 6858000"/>
              <a:gd name="connsiteX882" fmla="*/ 6487598 w 6530564"/>
              <a:gd name="connsiteY882" fmla="*/ 3056185 h 6858000"/>
              <a:gd name="connsiteX883" fmla="*/ 6493268 w 6530564"/>
              <a:gd name="connsiteY883" fmla="*/ 3059858 h 6858000"/>
              <a:gd name="connsiteX884" fmla="*/ 6488597 w 6530564"/>
              <a:gd name="connsiteY884" fmla="*/ 3060857 h 6858000"/>
              <a:gd name="connsiteX885" fmla="*/ 6487598 w 6530564"/>
              <a:gd name="connsiteY885" fmla="*/ 3056185 h 6858000"/>
              <a:gd name="connsiteX886" fmla="*/ 6485963 w 6530564"/>
              <a:gd name="connsiteY886" fmla="*/ 3002807 h 6858000"/>
              <a:gd name="connsiteX887" fmla="*/ 6508597 w 6530564"/>
              <a:gd name="connsiteY887" fmla="*/ 3085888 h 6858000"/>
              <a:gd name="connsiteX888" fmla="*/ 6520853 w 6530564"/>
              <a:gd name="connsiteY888" fmla="*/ 3091817 h 6858000"/>
              <a:gd name="connsiteX889" fmla="*/ 6530564 w 6530564"/>
              <a:gd name="connsiteY889" fmla="*/ 3120178 h 6858000"/>
              <a:gd name="connsiteX890" fmla="*/ 6530564 w 6530564"/>
              <a:gd name="connsiteY890" fmla="*/ 3206162 h 6858000"/>
              <a:gd name="connsiteX891" fmla="*/ 6521209 w 6530564"/>
              <a:gd name="connsiteY891" fmla="*/ 3190646 h 6858000"/>
              <a:gd name="connsiteX892" fmla="*/ 6525881 w 6530564"/>
              <a:gd name="connsiteY892" fmla="*/ 3189649 h 6858000"/>
              <a:gd name="connsiteX893" fmla="*/ 6523885 w 6530564"/>
              <a:gd name="connsiteY893" fmla="*/ 3180305 h 6858000"/>
              <a:gd name="connsiteX894" fmla="*/ 6522887 w 6530564"/>
              <a:gd name="connsiteY894" fmla="*/ 3175635 h 6858000"/>
              <a:gd name="connsiteX895" fmla="*/ 6517578 w 6530564"/>
              <a:gd name="connsiteY895" fmla="*/ 3127927 h 6858000"/>
              <a:gd name="connsiteX896" fmla="*/ 6512907 w 6530564"/>
              <a:gd name="connsiteY896" fmla="*/ 3128925 h 6858000"/>
              <a:gd name="connsiteX897" fmla="*/ 6516581 w 6530564"/>
              <a:gd name="connsiteY897" fmla="*/ 3123256 h 6858000"/>
              <a:gd name="connsiteX898" fmla="*/ 6510911 w 6530564"/>
              <a:gd name="connsiteY898" fmla="*/ 3119583 h 6858000"/>
              <a:gd name="connsiteX899" fmla="*/ 6504923 w 6530564"/>
              <a:gd name="connsiteY899" fmla="*/ 3091557 h 6858000"/>
              <a:gd name="connsiteX900" fmla="*/ 6497260 w 6530564"/>
              <a:gd name="connsiteY900" fmla="*/ 3078542 h 6858000"/>
              <a:gd name="connsiteX901" fmla="*/ 6500931 w 6530564"/>
              <a:gd name="connsiteY901" fmla="*/ 3072873 h 6858000"/>
              <a:gd name="connsiteX902" fmla="*/ 6490593 w 6530564"/>
              <a:gd name="connsiteY902" fmla="*/ 3070198 h 6858000"/>
              <a:gd name="connsiteX903" fmla="*/ 6495263 w 6530564"/>
              <a:gd name="connsiteY903" fmla="*/ 3069200 h 6858000"/>
              <a:gd name="connsiteX904" fmla="*/ 6494265 w 6530564"/>
              <a:gd name="connsiteY904" fmla="*/ 3064529 h 6858000"/>
              <a:gd name="connsiteX905" fmla="*/ 6493268 w 6530564"/>
              <a:gd name="connsiteY905" fmla="*/ 3059858 h 6858000"/>
              <a:gd name="connsiteX906" fmla="*/ 6492269 w 6530564"/>
              <a:gd name="connsiteY906" fmla="*/ 3055188 h 6858000"/>
              <a:gd name="connsiteX907" fmla="*/ 6491272 w 6530564"/>
              <a:gd name="connsiteY907" fmla="*/ 3050515 h 6858000"/>
              <a:gd name="connsiteX908" fmla="*/ 6493945 w 6530564"/>
              <a:gd name="connsiteY908" fmla="*/ 3040177 h 6858000"/>
              <a:gd name="connsiteX909" fmla="*/ 6487279 w 6530564"/>
              <a:gd name="connsiteY909" fmla="*/ 3031831 h 6858000"/>
              <a:gd name="connsiteX910" fmla="*/ 6485963 w 6530564"/>
              <a:gd name="connsiteY910" fmla="*/ 3002807 h 6858000"/>
              <a:gd name="connsiteX911" fmla="*/ 2135961 w 6530564"/>
              <a:gd name="connsiteY911" fmla="*/ 2977892 h 6858000"/>
              <a:gd name="connsiteX912" fmla="*/ 2135002 w 6530564"/>
              <a:gd name="connsiteY912" fmla="*/ 2982694 h 6858000"/>
              <a:gd name="connsiteX913" fmla="*/ 2136350 w 6530564"/>
              <a:gd name="connsiteY913" fmla="*/ 2985028 h 6858000"/>
              <a:gd name="connsiteX914" fmla="*/ 2138107 w 6530564"/>
              <a:gd name="connsiteY914" fmla="*/ 2978468 h 6858000"/>
              <a:gd name="connsiteX915" fmla="*/ 1530525 w 6530564"/>
              <a:gd name="connsiteY915" fmla="*/ 2870743 h 6858000"/>
              <a:gd name="connsiteX916" fmla="*/ 1530389 w 6530564"/>
              <a:gd name="connsiteY916" fmla="*/ 2874680 h 6858000"/>
              <a:gd name="connsiteX917" fmla="*/ 1526716 w 6530564"/>
              <a:gd name="connsiteY917" fmla="*/ 2880348 h 6858000"/>
              <a:gd name="connsiteX918" fmla="*/ 1549890 w 6530564"/>
              <a:gd name="connsiteY918" fmla="*/ 2806826 h 6858000"/>
              <a:gd name="connsiteX919" fmla="*/ 1550113 w 6530564"/>
              <a:gd name="connsiteY919" fmla="*/ 2806971 h 6858000"/>
              <a:gd name="connsiteX920" fmla="*/ 1549629 w 6530564"/>
              <a:gd name="connsiteY920" fmla="*/ 2807814 h 6858000"/>
              <a:gd name="connsiteX921" fmla="*/ 2190201 w 6530564"/>
              <a:gd name="connsiteY921" fmla="*/ 2770932 h 6858000"/>
              <a:gd name="connsiteX922" fmla="*/ 2189323 w 6530564"/>
              <a:gd name="connsiteY922" fmla="*/ 2774211 h 6858000"/>
              <a:gd name="connsiteX923" fmla="*/ 2188443 w 6530564"/>
              <a:gd name="connsiteY923" fmla="*/ 2777491 h 6858000"/>
              <a:gd name="connsiteX924" fmla="*/ 2184927 w 6530564"/>
              <a:gd name="connsiteY924" fmla="*/ 2790612 h 6858000"/>
              <a:gd name="connsiteX925" fmla="*/ 2181290 w 6530564"/>
              <a:gd name="connsiteY925" fmla="*/ 2797164 h 6858000"/>
              <a:gd name="connsiteX926" fmla="*/ 6368398 w 6530564"/>
              <a:gd name="connsiteY926" fmla="*/ 2681145 h 6858000"/>
              <a:gd name="connsiteX927" fmla="*/ 6376065 w 6530564"/>
              <a:gd name="connsiteY927" fmla="*/ 2694161 h 6858000"/>
              <a:gd name="connsiteX928" fmla="*/ 6377063 w 6530564"/>
              <a:gd name="connsiteY928" fmla="*/ 2698832 h 6858000"/>
              <a:gd name="connsiteX929" fmla="*/ 6378061 w 6530564"/>
              <a:gd name="connsiteY929" fmla="*/ 2703503 h 6858000"/>
              <a:gd name="connsiteX930" fmla="*/ 6379057 w 6530564"/>
              <a:gd name="connsiteY930" fmla="*/ 2708174 h 6858000"/>
              <a:gd name="connsiteX931" fmla="*/ 6372391 w 6530564"/>
              <a:gd name="connsiteY931" fmla="*/ 2699831 h 6858000"/>
              <a:gd name="connsiteX932" fmla="*/ 6368398 w 6530564"/>
              <a:gd name="connsiteY932" fmla="*/ 2681145 h 6858000"/>
              <a:gd name="connsiteX933" fmla="*/ 1615952 w 6530564"/>
              <a:gd name="connsiteY933" fmla="*/ 2612189 h 6858000"/>
              <a:gd name="connsiteX934" fmla="*/ 1617948 w 6530564"/>
              <a:gd name="connsiteY934" fmla="*/ 2621531 h 6858000"/>
              <a:gd name="connsiteX935" fmla="*/ 1578861 w 6530564"/>
              <a:gd name="connsiteY935" fmla="*/ 2712914 h 6858000"/>
              <a:gd name="connsiteX936" fmla="*/ 1573966 w 6530564"/>
              <a:gd name="connsiteY936" fmla="*/ 2741433 h 6858000"/>
              <a:gd name="connsiteX937" fmla="*/ 1556905 w 6530564"/>
              <a:gd name="connsiteY937" fmla="*/ 2780304 h 6858000"/>
              <a:gd name="connsiteX938" fmla="*/ 1579289 w 6530564"/>
              <a:gd name="connsiteY938" fmla="*/ 2695699 h 6858000"/>
              <a:gd name="connsiteX939" fmla="*/ 1595842 w 6530564"/>
              <a:gd name="connsiteY939" fmla="*/ 2645791 h 6858000"/>
              <a:gd name="connsiteX940" fmla="*/ 1603256 w 6530564"/>
              <a:gd name="connsiteY940" fmla="*/ 2644207 h 6858000"/>
              <a:gd name="connsiteX941" fmla="*/ 1612279 w 6530564"/>
              <a:gd name="connsiteY941" fmla="*/ 2617859 h 6858000"/>
              <a:gd name="connsiteX942" fmla="*/ 1615952 w 6530564"/>
              <a:gd name="connsiteY942" fmla="*/ 2612189 h 6858000"/>
              <a:gd name="connsiteX943" fmla="*/ 1613956 w 6530564"/>
              <a:gd name="connsiteY943" fmla="*/ 2602847 h 6858000"/>
              <a:gd name="connsiteX944" fmla="*/ 1611280 w 6530564"/>
              <a:gd name="connsiteY944" fmla="*/ 2613188 h 6858000"/>
              <a:gd name="connsiteX945" fmla="*/ 1607608 w 6530564"/>
              <a:gd name="connsiteY945" fmla="*/ 2618857 h 6858000"/>
              <a:gd name="connsiteX946" fmla="*/ 1599798 w 6530564"/>
              <a:gd name="connsiteY946" fmla="*/ 2633861 h 6858000"/>
              <a:gd name="connsiteX947" fmla="*/ 1607087 w 6530564"/>
              <a:gd name="connsiteY947" fmla="*/ 2611884 h 6858000"/>
              <a:gd name="connsiteX948" fmla="*/ 1610283 w 6530564"/>
              <a:gd name="connsiteY948" fmla="*/ 2608515 h 6858000"/>
              <a:gd name="connsiteX949" fmla="*/ 1609003 w 6530564"/>
              <a:gd name="connsiteY949" fmla="*/ 2606107 h 6858000"/>
              <a:gd name="connsiteX950" fmla="*/ 1609622 w 6530564"/>
              <a:gd name="connsiteY950" fmla="*/ 2604236 h 6858000"/>
              <a:gd name="connsiteX951" fmla="*/ 1612438 w 6530564"/>
              <a:gd name="connsiteY951" fmla="*/ 2595743 h 6858000"/>
              <a:gd name="connsiteX952" fmla="*/ 1612958 w 6530564"/>
              <a:gd name="connsiteY952" fmla="*/ 2598177 h 6858000"/>
              <a:gd name="connsiteX953" fmla="*/ 1611136 w 6530564"/>
              <a:gd name="connsiteY953" fmla="*/ 2599671 h 6858000"/>
              <a:gd name="connsiteX954" fmla="*/ 1622980 w 6530564"/>
              <a:gd name="connsiteY954" fmla="*/ 2576498 h 6858000"/>
              <a:gd name="connsiteX955" fmla="*/ 1620306 w 6530564"/>
              <a:gd name="connsiteY955" fmla="*/ 2586839 h 6858000"/>
              <a:gd name="connsiteX956" fmla="*/ 1619308 w 6530564"/>
              <a:gd name="connsiteY956" fmla="*/ 2582167 h 6858000"/>
              <a:gd name="connsiteX957" fmla="*/ 1616762 w 6530564"/>
              <a:gd name="connsiteY957" fmla="*/ 2582712 h 6858000"/>
              <a:gd name="connsiteX958" fmla="*/ 1618505 w 6530564"/>
              <a:gd name="connsiteY958" fmla="*/ 2577454 h 6858000"/>
              <a:gd name="connsiteX959" fmla="*/ 1649502 w 6530564"/>
              <a:gd name="connsiteY959" fmla="*/ 2499886 h 6858000"/>
              <a:gd name="connsiteX960" fmla="*/ 1648634 w 6530564"/>
              <a:gd name="connsiteY960" fmla="*/ 2503325 h 6858000"/>
              <a:gd name="connsiteX961" fmla="*/ 1655719 w 6530564"/>
              <a:gd name="connsiteY961" fmla="*/ 2501126 h 6858000"/>
              <a:gd name="connsiteX962" fmla="*/ 1625655 w 6530564"/>
              <a:gd name="connsiteY962" fmla="*/ 2566159 h 6858000"/>
              <a:gd name="connsiteX963" fmla="*/ 1621993 w 6530564"/>
              <a:gd name="connsiteY963" fmla="*/ 2566942 h 6858000"/>
              <a:gd name="connsiteX964" fmla="*/ 1623115 w 6530564"/>
              <a:gd name="connsiteY964" fmla="*/ 2563555 h 6858000"/>
              <a:gd name="connsiteX965" fmla="*/ 2319373 w 6530564"/>
              <a:gd name="connsiteY965" fmla="*/ 2498792 h 6858000"/>
              <a:gd name="connsiteX966" fmla="*/ 2303814 w 6530564"/>
              <a:gd name="connsiteY966" fmla="*/ 2500188 h 6858000"/>
              <a:gd name="connsiteX967" fmla="*/ 2290837 w 6530564"/>
              <a:gd name="connsiteY967" fmla="*/ 2517807 h 6858000"/>
              <a:gd name="connsiteX968" fmla="*/ 2215875 w 6530564"/>
              <a:gd name="connsiteY968" fmla="*/ 2697450 h 6858000"/>
              <a:gd name="connsiteX969" fmla="*/ 2209226 w 6530564"/>
              <a:gd name="connsiteY969" fmla="*/ 2715686 h 6858000"/>
              <a:gd name="connsiteX970" fmla="*/ 2208765 w 6530564"/>
              <a:gd name="connsiteY970" fmla="*/ 2718664 h 6858000"/>
              <a:gd name="connsiteX971" fmla="*/ 2202915 w 6530564"/>
              <a:gd name="connsiteY971" fmla="*/ 2749726 h 6858000"/>
              <a:gd name="connsiteX972" fmla="*/ 2202035 w 6530564"/>
              <a:gd name="connsiteY972" fmla="*/ 2753007 h 6858000"/>
              <a:gd name="connsiteX973" fmla="*/ 2195240 w 6530564"/>
              <a:gd name="connsiteY973" fmla="*/ 2765248 h 6858000"/>
              <a:gd name="connsiteX974" fmla="*/ 2191960 w 6530564"/>
              <a:gd name="connsiteY974" fmla="*/ 2764370 h 6858000"/>
              <a:gd name="connsiteX975" fmla="*/ 2191515 w 6530564"/>
              <a:gd name="connsiteY975" fmla="*/ 2764250 h 6858000"/>
              <a:gd name="connsiteX976" fmla="*/ 2182554 w 6530564"/>
              <a:gd name="connsiteY976" fmla="*/ 2788823 h 6858000"/>
              <a:gd name="connsiteX977" fmla="*/ 2178751 w 6530564"/>
              <a:gd name="connsiteY977" fmla="*/ 2801737 h 6858000"/>
              <a:gd name="connsiteX978" fmla="*/ 2181290 w 6530564"/>
              <a:gd name="connsiteY978" fmla="*/ 2797164 h 6858000"/>
              <a:gd name="connsiteX979" fmla="*/ 2172327 w 6530564"/>
              <a:gd name="connsiteY979" fmla="*/ 2823555 h 6858000"/>
              <a:gd name="connsiteX980" fmla="*/ 2164219 w 6530564"/>
              <a:gd name="connsiteY980" fmla="*/ 2851082 h 6858000"/>
              <a:gd name="connsiteX981" fmla="*/ 2161835 w 6530564"/>
              <a:gd name="connsiteY981" fmla="*/ 2861828 h 6858000"/>
              <a:gd name="connsiteX982" fmla="*/ 2158794 w 6530564"/>
              <a:gd name="connsiteY982" fmla="*/ 2875021 h 6858000"/>
              <a:gd name="connsiteX983" fmla="*/ 2157915 w 6530564"/>
              <a:gd name="connsiteY983" fmla="*/ 2878301 h 6858000"/>
              <a:gd name="connsiteX984" fmla="*/ 2148821 w 6530564"/>
              <a:gd name="connsiteY984" fmla="*/ 2913407 h 6858000"/>
              <a:gd name="connsiteX985" fmla="*/ 2139494 w 6530564"/>
              <a:gd name="connsiteY985" fmla="*/ 2960172 h 6858000"/>
              <a:gd name="connsiteX986" fmla="*/ 2142037 w 6530564"/>
              <a:gd name="connsiteY986" fmla="*/ 2950680 h 6858000"/>
              <a:gd name="connsiteX987" fmla="*/ 2161195 w 6530564"/>
              <a:gd name="connsiteY987" fmla="*/ 2879181 h 6858000"/>
              <a:gd name="connsiteX988" fmla="*/ 2168636 w 6530564"/>
              <a:gd name="connsiteY988" fmla="*/ 2877658 h 6858000"/>
              <a:gd name="connsiteX989" fmla="*/ 2169514 w 6530564"/>
              <a:gd name="connsiteY989" fmla="*/ 2874377 h 6858000"/>
              <a:gd name="connsiteX990" fmla="*/ 2166235 w 6530564"/>
              <a:gd name="connsiteY990" fmla="*/ 2873499 h 6858000"/>
              <a:gd name="connsiteX991" fmla="*/ 2184693 w 6530564"/>
              <a:gd name="connsiteY991" fmla="*/ 2804613 h 6858000"/>
              <a:gd name="connsiteX992" fmla="*/ 2181412 w 6530564"/>
              <a:gd name="connsiteY992" fmla="*/ 2803733 h 6858000"/>
              <a:gd name="connsiteX993" fmla="*/ 2188209 w 6530564"/>
              <a:gd name="connsiteY993" fmla="*/ 2791491 h 6858000"/>
              <a:gd name="connsiteX994" fmla="*/ 2189966 w 6530564"/>
              <a:gd name="connsiteY994" fmla="*/ 2784930 h 6858000"/>
              <a:gd name="connsiteX995" fmla="*/ 2202207 w 6530564"/>
              <a:gd name="connsiteY995" fmla="*/ 2791725 h 6858000"/>
              <a:gd name="connsiteX996" fmla="*/ 2198691 w 6530564"/>
              <a:gd name="connsiteY996" fmla="*/ 2804847 h 6858000"/>
              <a:gd name="connsiteX997" fmla="*/ 2193417 w 6530564"/>
              <a:gd name="connsiteY997" fmla="*/ 2824530 h 6858000"/>
              <a:gd name="connsiteX998" fmla="*/ 2192539 w 6530564"/>
              <a:gd name="connsiteY998" fmla="*/ 2827809 h 6858000"/>
              <a:gd name="connsiteX999" fmla="*/ 2191660 w 6530564"/>
              <a:gd name="connsiteY999" fmla="*/ 2831090 h 6858000"/>
              <a:gd name="connsiteX1000" fmla="*/ 2189902 w 6530564"/>
              <a:gd name="connsiteY1000" fmla="*/ 2837650 h 6858000"/>
              <a:gd name="connsiteX1001" fmla="*/ 2189023 w 6530564"/>
              <a:gd name="connsiteY1001" fmla="*/ 2840931 h 6858000"/>
              <a:gd name="connsiteX1002" fmla="*/ 2189696 w 6530564"/>
              <a:gd name="connsiteY1002" fmla="*/ 2840543 h 6858000"/>
              <a:gd name="connsiteX1003" fmla="*/ 2208348 w 6530564"/>
              <a:gd name="connsiteY1003" fmla="*/ 2778797 h 6858000"/>
              <a:gd name="connsiteX1004" fmla="*/ 2211622 w 6530564"/>
              <a:gd name="connsiteY1004" fmla="*/ 2769653 h 6858000"/>
              <a:gd name="connsiteX1005" fmla="*/ 2207481 w 6530564"/>
              <a:gd name="connsiteY1005" fmla="*/ 2772046 h 6858000"/>
              <a:gd name="connsiteX1006" fmla="*/ 2203965 w 6530564"/>
              <a:gd name="connsiteY1006" fmla="*/ 2785166 h 6858000"/>
              <a:gd name="connsiteX1007" fmla="*/ 2192603 w 6530564"/>
              <a:gd name="connsiteY1007" fmla="*/ 2775089 h 6858000"/>
              <a:gd name="connsiteX1008" fmla="*/ 2194361 w 6530564"/>
              <a:gd name="connsiteY1008" fmla="*/ 2768530 h 6858000"/>
              <a:gd name="connsiteX1009" fmla="*/ 2195240 w 6530564"/>
              <a:gd name="connsiteY1009" fmla="*/ 2765248 h 6858000"/>
              <a:gd name="connsiteX1010" fmla="*/ 2197641 w 6530564"/>
              <a:gd name="connsiteY1010" fmla="*/ 2769408 h 6858000"/>
              <a:gd name="connsiteX1011" fmla="*/ 2201800 w 6530564"/>
              <a:gd name="connsiteY1011" fmla="*/ 2767006 h 6858000"/>
              <a:gd name="connsiteX1012" fmla="*/ 2200278 w 6530564"/>
              <a:gd name="connsiteY1012" fmla="*/ 2759567 h 6858000"/>
              <a:gd name="connsiteX1013" fmla="*/ 2201156 w 6530564"/>
              <a:gd name="connsiteY1013" fmla="*/ 2756287 h 6858000"/>
              <a:gd name="connsiteX1014" fmla="*/ 2207953 w 6530564"/>
              <a:gd name="connsiteY1014" fmla="*/ 2744045 h 6858000"/>
              <a:gd name="connsiteX1015" fmla="*/ 2216271 w 6530564"/>
              <a:gd name="connsiteY1015" fmla="*/ 2739241 h 6858000"/>
              <a:gd name="connsiteX1016" fmla="*/ 2225703 w 6530564"/>
              <a:gd name="connsiteY1016" fmla="*/ 2717159 h 6858000"/>
              <a:gd name="connsiteX1017" fmla="*/ 2220022 w 6530564"/>
              <a:gd name="connsiteY1017" fmla="*/ 2712121 h 6858000"/>
              <a:gd name="connsiteX1018" fmla="*/ 2227462 w 6530564"/>
              <a:gd name="connsiteY1018" fmla="*/ 2710598 h 6858000"/>
              <a:gd name="connsiteX1019" fmla="*/ 2229455 w 6530564"/>
              <a:gd name="connsiteY1019" fmla="*/ 2690037 h 6858000"/>
              <a:gd name="connsiteX1020" fmla="*/ 2238887 w 6530564"/>
              <a:gd name="connsiteY1020" fmla="*/ 2667954 h 6858000"/>
              <a:gd name="connsiteX1021" fmla="*/ 2239767 w 6530564"/>
              <a:gd name="connsiteY1021" fmla="*/ 2664674 h 6858000"/>
              <a:gd name="connsiteX1022" fmla="*/ 2248965 w 6530564"/>
              <a:gd name="connsiteY1022" fmla="*/ 2656591 h 6858000"/>
              <a:gd name="connsiteX1023" fmla="*/ 2252715 w 6530564"/>
              <a:gd name="connsiteY1023" fmla="*/ 2629469 h 6858000"/>
              <a:gd name="connsiteX1024" fmla="*/ 2266307 w 6530564"/>
              <a:gd name="connsiteY1024" fmla="*/ 2604985 h 6858000"/>
              <a:gd name="connsiteX1025" fmla="*/ 2273104 w 6530564"/>
              <a:gd name="connsiteY1025" fmla="*/ 2592744 h 6858000"/>
              <a:gd name="connsiteX1026" fmla="*/ 2287340 w 6530564"/>
              <a:gd name="connsiteY1026" fmla="*/ 2578980 h 6858000"/>
              <a:gd name="connsiteX1027" fmla="*/ 2314759 w 6530564"/>
              <a:gd name="connsiteY1027" fmla="*/ 2516010 h 6858000"/>
              <a:gd name="connsiteX1028" fmla="*/ 2318274 w 6530564"/>
              <a:gd name="connsiteY1028" fmla="*/ 2502889 h 6858000"/>
              <a:gd name="connsiteX1029" fmla="*/ 1745743 w 6530564"/>
              <a:gd name="connsiteY1029" fmla="*/ 2277280 h 6858000"/>
              <a:gd name="connsiteX1030" fmla="*/ 1746544 w 6530564"/>
              <a:gd name="connsiteY1030" fmla="*/ 2277481 h 6858000"/>
              <a:gd name="connsiteX1031" fmla="*/ 1735073 w 6530564"/>
              <a:gd name="connsiteY1031" fmla="*/ 2301013 h 6858000"/>
              <a:gd name="connsiteX1032" fmla="*/ 1715529 w 6530564"/>
              <a:gd name="connsiteY1032" fmla="*/ 2346705 h 6858000"/>
              <a:gd name="connsiteX1033" fmla="*/ 1682110 w 6530564"/>
              <a:gd name="connsiteY1033" fmla="*/ 2441760 h 6858000"/>
              <a:gd name="connsiteX1034" fmla="*/ 1676442 w 6530564"/>
              <a:gd name="connsiteY1034" fmla="*/ 2438087 h 6858000"/>
              <a:gd name="connsiteX1035" fmla="*/ 1665372 w 6530564"/>
              <a:gd name="connsiteY1035" fmla="*/ 2469147 h 6858000"/>
              <a:gd name="connsiteX1036" fmla="*/ 1652015 w 6530564"/>
              <a:gd name="connsiteY1036" fmla="*/ 2493822 h 6858000"/>
              <a:gd name="connsiteX1037" fmla="*/ 1729501 w 6530564"/>
              <a:gd name="connsiteY1037" fmla="*/ 2306860 h 6858000"/>
              <a:gd name="connsiteX1038" fmla="*/ 1737409 w 6530564"/>
              <a:gd name="connsiteY1038" fmla="*/ 2286918 h 6858000"/>
              <a:gd name="connsiteX1039" fmla="*/ 1745743 w 6530564"/>
              <a:gd name="connsiteY1039" fmla="*/ 2277280 h 6858000"/>
              <a:gd name="connsiteX1040" fmla="*/ 2406271 w 6530564"/>
              <a:gd name="connsiteY1040" fmla="*/ 2140812 h 6858000"/>
              <a:gd name="connsiteX1041" fmla="*/ 2381400 w 6530564"/>
              <a:gd name="connsiteY1041" fmla="*/ 2172178 h 6858000"/>
              <a:gd name="connsiteX1042" fmla="*/ 2360419 w 6530564"/>
              <a:gd name="connsiteY1042" fmla="*/ 2201275 h 6858000"/>
              <a:gd name="connsiteX1043" fmla="*/ 2279573 w 6530564"/>
              <a:gd name="connsiteY1043" fmla="*/ 2306181 h 6858000"/>
              <a:gd name="connsiteX1044" fmla="*/ 2232000 w 6530564"/>
              <a:gd name="connsiteY1044" fmla="*/ 2391875 h 6858000"/>
              <a:gd name="connsiteX1045" fmla="*/ 2198898 w 6530564"/>
              <a:gd name="connsiteY1045" fmla="*/ 2449807 h 6858000"/>
              <a:gd name="connsiteX1046" fmla="*/ 2155721 w 6530564"/>
              <a:gd name="connsiteY1046" fmla="*/ 2519101 h 6858000"/>
              <a:gd name="connsiteX1047" fmla="*/ 2112543 w 6530564"/>
              <a:gd name="connsiteY1047" fmla="*/ 2588395 h 6858000"/>
              <a:gd name="connsiteX1048" fmla="*/ 2098073 w 6530564"/>
              <a:gd name="connsiteY1048" fmla="*/ 2616160 h 6858000"/>
              <a:gd name="connsiteX1049" fmla="*/ 2078328 w 6530564"/>
              <a:gd name="connsiteY1049" fmla="*/ 2663606 h 6858000"/>
              <a:gd name="connsiteX1050" fmla="*/ 2074811 w 6530564"/>
              <a:gd name="connsiteY1050" fmla="*/ 2676728 h 6858000"/>
              <a:gd name="connsiteX1051" fmla="*/ 2050908 w 6530564"/>
              <a:gd name="connsiteY1051" fmla="*/ 2726574 h 6858000"/>
              <a:gd name="connsiteX1052" fmla="*/ 2050028 w 6530564"/>
              <a:gd name="connsiteY1052" fmla="*/ 2729856 h 6858000"/>
              <a:gd name="connsiteX1053" fmla="*/ 2046748 w 6530564"/>
              <a:gd name="connsiteY1053" fmla="*/ 2728977 h 6858000"/>
              <a:gd name="connsiteX1054" fmla="*/ 2044991 w 6530564"/>
              <a:gd name="connsiteY1054" fmla="*/ 2735538 h 6858000"/>
              <a:gd name="connsiteX1055" fmla="*/ 2048271 w 6530564"/>
              <a:gd name="connsiteY1055" fmla="*/ 2736415 h 6858000"/>
              <a:gd name="connsiteX1056" fmla="*/ 2049149 w 6530564"/>
              <a:gd name="connsiteY1056" fmla="*/ 2733136 h 6858000"/>
              <a:gd name="connsiteX1057" fmla="*/ 2048035 w 6530564"/>
              <a:gd name="connsiteY1057" fmla="*/ 2750415 h 6858000"/>
              <a:gd name="connsiteX1058" fmla="*/ 1995770 w 6530564"/>
              <a:gd name="connsiteY1058" fmla="*/ 2919234 h 6858000"/>
              <a:gd name="connsiteX1059" fmla="*/ 1981470 w 6530564"/>
              <a:gd name="connsiteY1059" fmla="*/ 2985718 h 6858000"/>
              <a:gd name="connsiteX1060" fmla="*/ 1964707 w 6530564"/>
              <a:gd name="connsiteY1060" fmla="*/ 3100763 h 6858000"/>
              <a:gd name="connsiteX1061" fmla="*/ 1953626 w 6530564"/>
              <a:gd name="connsiteY1061" fmla="*/ 3220847 h 6858000"/>
              <a:gd name="connsiteX1062" fmla="*/ 1948288 w 6530564"/>
              <a:gd name="connsiteY1062" fmla="*/ 3293249 h 6858000"/>
              <a:gd name="connsiteX1063" fmla="*/ 1945417 w 6530564"/>
              <a:gd name="connsiteY1063" fmla="*/ 3317092 h 6858000"/>
              <a:gd name="connsiteX1064" fmla="*/ 1946232 w 6530564"/>
              <a:gd name="connsiteY1064" fmla="*/ 3366530 h 6858000"/>
              <a:gd name="connsiteX1065" fmla="*/ 1942952 w 6530564"/>
              <a:gd name="connsiteY1065" fmla="*/ 3365651 h 6858000"/>
              <a:gd name="connsiteX1066" fmla="*/ 1942074 w 6530564"/>
              <a:gd name="connsiteY1066" fmla="*/ 3368931 h 6858000"/>
              <a:gd name="connsiteX1067" fmla="*/ 1940315 w 6530564"/>
              <a:gd name="connsiteY1067" fmla="*/ 3375492 h 6858000"/>
              <a:gd name="connsiteX1068" fmla="*/ 1942716 w 6530564"/>
              <a:gd name="connsiteY1068" fmla="*/ 3379652 h 6858000"/>
              <a:gd name="connsiteX1069" fmla="*/ 1937678 w 6530564"/>
              <a:gd name="connsiteY1069" fmla="*/ 3385333 h 6858000"/>
              <a:gd name="connsiteX1070" fmla="*/ 1944239 w 6530564"/>
              <a:gd name="connsiteY1070" fmla="*/ 3387091 h 6858000"/>
              <a:gd name="connsiteX1071" fmla="*/ 1943359 w 6530564"/>
              <a:gd name="connsiteY1071" fmla="*/ 3390371 h 6858000"/>
              <a:gd name="connsiteX1072" fmla="*/ 1944882 w 6530564"/>
              <a:gd name="connsiteY1072" fmla="*/ 3397810 h 6858000"/>
              <a:gd name="connsiteX1073" fmla="*/ 1949920 w 6530564"/>
              <a:gd name="connsiteY1073" fmla="*/ 3392128 h 6858000"/>
              <a:gd name="connsiteX1074" fmla="*/ 1946640 w 6530564"/>
              <a:gd name="connsiteY1074" fmla="*/ 3391250 h 6858000"/>
              <a:gd name="connsiteX1075" fmla="*/ 1950798 w 6530564"/>
              <a:gd name="connsiteY1075" fmla="*/ 3388848 h 6858000"/>
              <a:gd name="connsiteX1076" fmla="*/ 1955068 w 6530564"/>
              <a:gd name="connsiteY1076" fmla="*/ 3477887 h 6858000"/>
              <a:gd name="connsiteX1077" fmla="*/ 1967593 w 6530564"/>
              <a:gd name="connsiteY1077" fmla="*/ 3614845 h 6858000"/>
              <a:gd name="connsiteX1078" fmla="*/ 1964311 w 6530564"/>
              <a:gd name="connsiteY1078" fmla="*/ 3613965 h 6858000"/>
              <a:gd name="connsiteX1079" fmla="*/ 1965190 w 6530564"/>
              <a:gd name="connsiteY1079" fmla="*/ 3610685 h 6858000"/>
              <a:gd name="connsiteX1080" fmla="*/ 1959509 w 6530564"/>
              <a:gd name="connsiteY1080" fmla="*/ 3605646 h 6858000"/>
              <a:gd name="connsiteX1081" fmla="*/ 1961030 w 6530564"/>
              <a:gd name="connsiteY1081" fmla="*/ 3613086 h 6858000"/>
              <a:gd name="connsiteX1082" fmla="*/ 1962553 w 6530564"/>
              <a:gd name="connsiteY1082" fmla="*/ 3620525 h 6858000"/>
              <a:gd name="connsiteX1083" fmla="*/ 1956636 w 6530564"/>
              <a:gd name="connsiteY1083" fmla="*/ 3629487 h 6858000"/>
              <a:gd name="connsiteX1084" fmla="*/ 1960956 w 6530564"/>
              <a:gd name="connsiteY1084" fmla="*/ 3629767 h 6858000"/>
              <a:gd name="connsiteX1085" fmla="*/ 1961195 w 6530564"/>
              <a:gd name="connsiteY1085" fmla="*/ 3627779 h 6858000"/>
              <a:gd name="connsiteX1086" fmla="*/ 1965598 w 6530564"/>
              <a:gd name="connsiteY1086" fmla="*/ 3635404 h 6858000"/>
              <a:gd name="connsiteX1087" fmla="*/ 1968235 w 6530564"/>
              <a:gd name="connsiteY1087" fmla="*/ 3625564 h 6858000"/>
              <a:gd name="connsiteX1088" fmla="*/ 1982406 w 6530564"/>
              <a:gd name="connsiteY1088" fmla="*/ 3664519 h 6858000"/>
              <a:gd name="connsiteX1089" fmla="*/ 1978248 w 6530564"/>
              <a:gd name="connsiteY1089" fmla="*/ 3666921 h 6858000"/>
              <a:gd name="connsiteX1090" fmla="*/ 1993063 w 6530564"/>
              <a:gd name="connsiteY1090" fmla="*/ 3716595 h 6858000"/>
              <a:gd name="connsiteX1091" fmla="*/ 1990662 w 6530564"/>
              <a:gd name="connsiteY1091" fmla="*/ 3712437 h 6858000"/>
              <a:gd name="connsiteX1092" fmla="*/ 2000440 w 6530564"/>
              <a:gd name="connsiteY1092" fmla="*/ 3767792 h 6858000"/>
              <a:gd name="connsiteX1093" fmla="*/ 2002841 w 6530564"/>
              <a:gd name="connsiteY1093" fmla="*/ 3771952 h 6858000"/>
              <a:gd name="connsiteX1094" fmla="*/ 2006357 w 6530564"/>
              <a:gd name="connsiteY1094" fmla="*/ 3758832 h 6858000"/>
              <a:gd name="connsiteX1095" fmla="*/ 2017248 w 6530564"/>
              <a:gd name="connsiteY1095" fmla="*/ 3796907 h 6858000"/>
              <a:gd name="connsiteX1096" fmla="*/ 2012210 w 6530564"/>
              <a:gd name="connsiteY1096" fmla="*/ 3802590 h 6858000"/>
              <a:gd name="connsiteX1097" fmla="*/ 2020293 w 6530564"/>
              <a:gd name="connsiteY1097" fmla="*/ 3811786 h 6858000"/>
              <a:gd name="connsiteX1098" fmla="*/ 2022695 w 6530564"/>
              <a:gd name="connsiteY1098" fmla="*/ 3815946 h 6858000"/>
              <a:gd name="connsiteX1099" fmla="*/ 2027497 w 6530564"/>
              <a:gd name="connsiteY1099" fmla="*/ 3824264 h 6858000"/>
              <a:gd name="connsiteX1100" fmla="*/ 2029256 w 6530564"/>
              <a:gd name="connsiteY1100" fmla="*/ 3817704 h 6858000"/>
              <a:gd name="connsiteX1101" fmla="*/ 2030134 w 6530564"/>
              <a:gd name="connsiteY1101" fmla="*/ 3814423 h 6858000"/>
              <a:gd name="connsiteX1102" fmla="*/ 2060002 w 6530564"/>
              <a:gd name="connsiteY1102" fmla="*/ 3899774 h 6858000"/>
              <a:gd name="connsiteX1103" fmla="*/ 2059530 w 6530564"/>
              <a:gd name="connsiteY1103" fmla="*/ 3927774 h 6858000"/>
              <a:gd name="connsiteX1104" fmla="*/ 2056251 w 6530564"/>
              <a:gd name="connsiteY1104" fmla="*/ 3926896 h 6858000"/>
              <a:gd name="connsiteX1105" fmla="*/ 2055372 w 6530564"/>
              <a:gd name="connsiteY1105" fmla="*/ 3930176 h 6858000"/>
              <a:gd name="connsiteX1106" fmla="*/ 2060174 w 6530564"/>
              <a:gd name="connsiteY1106" fmla="*/ 3938494 h 6858000"/>
              <a:gd name="connsiteX1107" fmla="*/ 2062575 w 6530564"/>
              <a:gd name="connsiteY1107" fmla="*/ 3942653 h 6858000"/>
              <a:gd name="connsiteX1108" fmla="*/ 2071537 w 6530564"/>
              <a:gd name="connsiteY1108" fmla="*/ 3948570 h 6858000"/>
              <a:gd name="connsiteX1109" fmla="*/ 2077862 w 6530564"/>
              <a:gd name="connsiteY1109" fmla="*/ 3964329 h 6858000"/>
              <a:gd name="connsiteX1110" fmla="*/ 2073296 w 6530564"/>
              <a:gd name="connsiteY1110" fmla="*/ 3942009 h 6858000"/>
              <a:gd name="connsiteX1111" fmla="*/ 2066735 w 6530564"/>
              <a:gd name="connsiteY1111" fmla="*/ 3940252 h 6858000"/>
              <a:gd name="connsiteX1112" fmla="*/ 2064334 w 6530564"/>
              <a:gd name="connsiteY1112" fmla="*/ 3936093 h 6858000"/>
              <a:gd name="connsiteX1113" fmla="*/ 2065212 w 6530564"/>
              <a:gd name="connsiteY1113" fmla="*/ 3932813 h 6858000"/>
              <a:gd name="connsiteX1114" fmla="*/ 2059530 w 6530564"/>
              <a:gd name="connsiteY1114" fmla="*/ 3927774 h 6858000"/>
              <a:gd name="connsiteX1115" fmla="*/ 2055670 w 6530564"/>
              <a:gd name="connsiteY1115" fmla="*/ 3863455 h 6858000"/>
              <a:gd name="connsiteX1116" fmla="*/ 2057428 w 6530564"/>
              <a:gd name="connsiteY1116" fmla="*/ 3856895 h 6858000"/>
              <a:gd name="connsiteX1117" fmla="*/ 2060708 w 6530564"/>
              <a:gd name="connsiteY1117" fmla="*/ 3857775 h 6858000"/>
              <a:gd name="connsiteX1118" fmla="*/ 2058307 w 6530564"/>
              <a:gd name="connsiteY1118" fmla="*/ 3853615 h 6858000"/>
              <a:gd name="connsiteX1119" fmla="*/ 2059185 w 6530564"/>
              <a:gd name="connsiteY1119" fmla="*/ 3850335 h 6858000"/>
              <a:gd name="connsiteX1120" fmla="*/ 2075527 w 6530564"/>
              <a:gd name="connsiteY1120" fmla="*/ 3882839 h 6858000"/>
              <a:gd name="connsiteX1121" fmla="*/ 2081274 w 6530564"/>
              <a:gd name="connsiteY1121" fmla="*/ 3919538 h 6858000"/>
              <a:gd name="connsiteX1122" fmla="*/ 2079447 w 6530564"/>
              <a:gd name="connsiteY1122" fmla="*/ 3919048 h 6858000"/>
              <a:gd name="connsiteX1123" fmla="*/ 2081850 w 6530564"/>
              <a:gd name="connsiteY1123" fmla="*/ 3923208 h 6858000"/>
              <a:gd name="connsiteX1124" fmla="*/ 2084894 w 6530564"/>
              <a:gd name="connsiteY1124" fmla="*/ 3938087 h 6858000"/>
              <a:gd name="connsiteX1125" fmla="*/ 2082492 w 6530564"/>
              <a:gd name="connsiteY1125" fmla="*/ 3933927 h 6858000"/>
              <a:gd name="connsiteX1126" fmla="*/ 2081612 w 6530564"/>
              <a:gd name="connsiteY1126" fmla="*/ 3937209 h 6858000"/>
              <a:gd name="connsiteX1127" fmla="*/ 2084015 w 6530564"/>
              <a:gd name="connsiteY1127" fmla="*/ 3941367 h 6858000"/>
              <a:gd name="connsiteX1128" fmla="*/ 2096193 w 6530564"/>
              <a:gd name="connsiteY1128" fmla="*/ 4000883 h 6858000"/>
              <a:gd name="connsiteX1129" fmla="*/ 2091155 w 6530564"/>
              <a:gd name="connsiteY1129" fmla="*/ 4006565 h 6858000"/>
              <a:gd name="connsiteX1130" fmla="*/ 2079149 w 6530564"/>
              <a:gd name="connsiteY1130" fmla="*/ 3985769 h 6858000"/>
              <a:gd name="connsiteX1131" fmla="*/ 2105093 w 6530564"/>
              <a:gd name="connsiteY1131" fmla="*/ 4059520 h 6858000"/>
              <a:gd name="connsiteX1132" fmla="*/ 2103334 w 6530564"/>
              <a:gd name="connsiteY1132" fmla="*/ 4066081 h 6858000"/>
              <a:gd name="connsiteX1133" fmla="*/ 2109017 w 6530564"/>
              <a:gd name="connsiteY1133" fmla="*/ 4071119 h 6858000"/>
              <a:gd name="connsiteX1134" fmla="*/ 2124302 w 6530564"/>
              <a:gd name="connsiteY1134" fmla="*/ 4092795 h 6858000"/>
              <a:gd name="connsiteX1135" fmla="*/ 2116863 w 6530564"/>
              <a:gd name="connsiteY1135" fmla="*/ 4094316 h 6858000"/>
              <a:gd name="connsiteX1136" fmla="*/ 2124946 w 6530564"/>
              <a:gd name="connsiteY1136" fmla="*/ 4103514 h 6858000"/>
              <a:gd name="connsiteX1137" fmla="*/ 2127347 w 6530564"/>
              <a:gd name="connsiteY1137" fmla="*/ 4107674 h 6858000"/>
              <a:gd name="connsiteX1138" fmla="*/ 2126469 w 6530564"/>
              <a:gd name="connsiteY1138" fmla="*/ 4110953 h 6858000"/>
              <a:gd name="connsiteX1139" fmla="*/ 2129749 w 6530564"/>
              <a:gd name="connsiteY1139" fmla="*/ 4111834 h 6858000"/>
              <a:gd name="connsiteX1140" fmla="*/ 2127347 w 6530564"/>
              <a:gd name="connsiteY1140" fmla="*/ 4107674 h 6858000"/>
              <a:gd name="connsiteX1141" fmla="*/ 2128226 w 6530564"/>
              <a:gd name="connsiteY1141" fmla="*/ 4104393 h 6858000"/>
              <a:gd name="connsiteX1142" fmla="*/ 2134551 w 6530564"/>
              <a:gd name="connsiteY1142" fmla="*/ 4120150 h 6858000"/>
              <a:gd name="connsiteX1143" fmla="*/ 2131272 w 6530564"/>
              <a:gd name="connsiteY1143" fmla="*/ 4119272 h 6858000"/>
              <a:gd name="connsiteX1144" fmla="*/ 2205304 w 6530564"/>
              <a:gd name="connsiteY1144" fmla="*/ 4223489 h 6858000"/>
              <a:gd name="connsiteX1145" fmla="*/ 2288534 w 6530564"/>
              <a:gd name="connsiteY1145" fmla="*/ 4319621 h 6858000"/>
              <a:gd name="connsiteX1146" fmla="*/ 2276936 w 6530564"/>
              <a:gd name="connsiteY1146" fmla="*/ 4323545 h 6858000"/>
              <a:gd name="connsiteX1147" fmla="*/ 2338554 w 6530564"/>
              <a:gd name="connsiteY1147" fmla="*/ 4382245 h 6858000"/>
              <a:gd name="connsiteX1148" fmla="*/ 2402574 w 6530564"/>
              <a:gd name="connsiteY1148" fmla="*/ 4445104 h 6858000"/>
              <a:gd name="connsiteX1149" fmla="*/ 2399295 w 6530564"/>
              <a:gd name="connsiteY1149" fmla="*/ 4444226 h 6858000"/>
              <a:gd name="connsiteX1150" fmla="*/ 2400815 w 6530564"/>
              <a:gd name="connsiteY1150" fmla="*/ 4451665 h 6858000"/>
              <a:gd name="connsiteX1151" fmla="*/ 2399937 w 6530564"/>
              <a:gd name="connsiteY1151" fmla="*/ 4454946 h 6858000"/>
              <a:gd name="connsiteX1152" fmla="*/ 2414581 w 6530564"/>
              <a:gd name="connsiteY1152" fmla="*/ 4465901 h 6858000"/>
              <a:gd name="connsiteX1153" fmla="*/ 2419383 w 6530564"/>
              <a:gd name="connsiteY1153" fmla="*/ 4474219 h 6858000"/>
              <a:gd name="connsiteX1154" fmla="*/ 2422665 w 6530564"/>
              <a:gd name="connsiteY1154" fmla="*/ 4475099 h 6858000"/>
              <a:gd name="connsiteX1155" fmla="*/ 2423543 w 6530564"/>
              <a:gd name="connsiteY1155" fmla="*/ 4471818 h 6858000"/>
              <a:gd name="connsiteX1156" fmla="*/ 2459154 w 6530564"/>
              <a:gd name="connsiteY1156" fmla="*/ 4509487 h 6858000"/>
              <a:gd name="connsiteX1157" fmla="*/ 2468994 w 6530564"/>
              <a:gd name="connsiteY1157" fmla="*/ 4512124 h 6858000"/>
              <a:gd name="connsiteX1158" fmla="*/ 2462671 w 6530564"/>
              <a:gd name="connsiteY1158" fmla="*/ 4496365 h 6858000"/>
              <a:gd name="connsiteX1159" fmla="*/ 2455230 w 6530564"/>
              <a:gd name="connsiteY1159" fmla="*/ 4497888 h 6858000"/>
              <a:gd name="connsiteX1160" fmla="*/ 2440823 w 6530564"/>
              <a:gd name="connsiteY1160" fmla="*/ 4472932 h 6858000"/>
              <a:gd name="connsiteX1161" fmla="*/ 2448905 w 6530564"/>
              <a:gd name="connsiteY1161" fmla="*/ 4482130 h 6858000"/>
              <a:gd name="connsiteX1162" fmla="*/ 2402166 w 6530564"/>
              <a:gd name="connsiteY1162" fmla="*/ 4420385 h 6858000"/>
              <a:gd name="connsiteX1163" fmla="*/ 2348865 w 6530564"/>
              <a:gd name="connsiteY1163" fmla="*/ 4356882 h 6858000"/>
              <a:gd name="connsiteX1164" fmla="*/ 2350624 w 6530564"/>
              <a:gd name="connsiteY1164" fmla="*/ 4350321 h 6858000"/>
              <a:gd name="connsiteX1165" fmla="*/ 2311324 w 6530564"/>
              <a:gd name="connsiteY1165" fmla="*/ 4287054 h 6858000"/>
              <a:gd name="connsiteX1166" fmla="*/ 2296917 w 6530564"/>
              <a:gd name="connsiteY1166" fmla="*/ 4262099 h 6858000"/>
              <a:gd name="connsiteX1167" fmla="*/ 2288833 w 6530564"/>
              <a:gd name="connsiteY1167" fmla="*/ 4252901 h 6858000"/>
              <a:gd name="connsiteX1168" fmla="*/ 2280107 w 6530564"/>
              <a:gd name="connsiteY1168" fmla="*/ 4232984 h 6858000"/>
              <a:gd name="connsiteX1169" fmla="*/ 2255216 w 6530564"/>
              <a:gd name="connsiteY1169" fmla="*/ 4194671 h 6858000"/>
              <a:gd name="connsiteX1170" fmla="*/ 2233602 w 6530564"/>
              <a:gd name="connsiteY1170" fmla="*/ 4157238 h 6858000"/>
              <a:gd name="connsiteX1171" fmla="*/ 2178608 w 6530564"/>
              <a:gd name="connsiteY1171" fmla="*/ 4047576 h 6858000"/>
              <a:gd name="connsiteX1172" fmla="*/ 2162677 w 6530564"/>
              <a:gd name="connsiteY1172" fmla="*/ 4015182 h 6858000"/>
              <a:gd name="connsiteX1173" fmla="*/ 2166837 w 6530564"/>
              <a:gd name="connsiteY1173" fmla="*/ 4012780 h 6858000"/>
              <a:gd name="connsiteX1174" fmla="*/ 2126722 w 6530564"/>
              <a:gd name="connsiteY1174" fmla="*/ 3900073 h 6858000"/>
              <a:gd name="connsiteX1175" fmla="*/ 2116473 w 6530564"/>
              <a:gd name="connsiteY1175" fmla="*/ 3872717 h 6858000"/>
              <a:gd name="connsiteX1176" fmla="*/ 2103179 w 6530564"/>
              <a:gd name="connsiteY1176" fmla="*/ 3830480 h 6858000"/>
              <a:gd name="connsiteX1177" fmla="*/ 2069451 w 6530564"/>
              <a:gd name="connsiteY1177" fmla="*/ 3680812 h 6858000"/>
              <a:gd name="connsiteX1178" fmla="*/ 2057037 w 6530564"/>
              <a:gd name="connsiteY1178" fmla="*/ 3635295 h 6858000"/>
              <a:gd name="connsiteX1179" fmla="*/ 2058794 w 6530564"/>
              <a:gd name="connsiteY1179" fmla="*/ 3628734 h 6858000"/>
              <a:gd name="connsiteX1180" fmla="*/ 2056865 w 6530564"/>
              <a:gd name="connsiteY1180" fmla="*/ 3596574 h 6858000"/>
              <a:gd name="connsiteX1181" fmla="*/ 2049896 w 6530564"/>
              <a:gd name="connsiteY1181" fmla="*/ 3570096 h 6858000"/>
              <a:gd name="connsiteX1182" fmla="*/ 2040589 w 6530564"/>
              <a:gd name="connsiteY1182" fmla="*/ 3486740 h 6858000"/>
              <a:gd name="connsiteX1183" fmla="*/ 2035615 w 6530564"/>
              <a:gd name="connsiteY1183" fmla="*/ 3439701 h 6858000"/>
              <a:gd name="connsiteX1184" fmla="*/ 2035915 w 6530564"/>
              <a:gd name="connsiteY1184" fmla="*/ 3372981 h 6858000"/>
              <a:gd name="connsiteX1185" fmla="*/ 2031990 w 6530564"/>
              <a:gd name="connsiteY1185" fmla="*/ 3361383 h 6858000"/>
              <a:gd name="connsiteX1186" fmla="*/ 2032461 w 6530564"/>
              <a:gd name="connsiteY1186" fmla="*/ 3333382 h 6858000"/>
              <a:gd name="connsiteX1187" fmla="*/ 2038849 w 6530564"/>
              <a:gd name="connsiteY1187" fmla="*/ 3296420 h 6858000"/>
              <a:gd name="connsiteX1188" fmla="*/ 2027486 w 6530564"/>
              <a:gd name="connsiteY1188" fmla="*/ 3286343 h 6858000"/>
              <a:gd name="connsiteX1189" fmla="*/ 2025321 w 6530564"/>
              <a:gd name="connsiteY1189" fmla="*/ 3268185 h 6858000"/>
              <a:gd name="connsiteX1190" fmla="*/ 2033294 w 6530564"/>
              <a:gd name="connsiteY1190" fmla="*/ 3185942 h 6858000"/>
              <a:gd name="connsiteX1191" fmla="*/ 2040090 w 6530564"/>
              <a:gd name="connsiteY1191" fmla="*/ 3173700 h 6858000"/>
              <a:gd name="connsiteX1192" fmla="*/ 2036166 w 6530564"/>
              <a:gd name="connsiteY1192" fmla="*/ 3162101 h 6858000"/>
              <a:gd name="connsiteX1193" fmla="*/ 2037046 w 6530564"/>
              <a:gd name="connsiteY1193" fmla="*/ 3158821 h 6858000"/>
              <a:gd name="connsiteX1194" fmla="*/ 2049179 w 6530564"/>
              <a:gd name="connsiteY1194" fmla="*/ 3074176 h 6858000"/>
              <a:gd name="connsiteX1195" fmla="*/ 2052459 w 6530564"/>
              <a:gd name="connsiteY1195" fmla="*/ 3075055 h 6858000"/>
              <a:gd name="connsiteX1196" fmla="*/ 2056854 w 6530564"/>
              <a:gd name="connsiteY1196" fmla="*/ 3058653 h 6858000"/>
              <a:gd name="connsiteX1197" fmla="*/ 2055566 w 6530564"/>
              <a:gd name="connsiteY1197" fmla="*/ 3037215 h 6858000"/>
              <a:gd name="connsiteX1198" fmla="*/ 2064764 w 6530564"/>
              <a:gd name="connsiteY1198" fmla="*/ 3029132 h 6858000"/>
              <a:gd name="connsiteX1199" fmla="*/ 2072911 w 6530564"/>
              <a:gd name="connsiteY1199" fmla="*/ 2985608 h 6858000"/>
              <a:gd name="connsiteX1200" fmla="*/ 2075140 w 6530564"/>
              <a:gd name="connsiteY1200" fmla="*/ 2951048 h 6858000"/>
              <a:gd name="connsiteX1201" fmla="*/ 2079298 w 6530564"/>
              <a:gd name="connsiteY1201" fmla="*/ 2948647 h 6858000"/>
              <a:gd name="connsiteX1202" fmla="*/ 2090081 w 6530564"/>
              <a:gd name="connsiteY1202" fmla="*/ 2895283 h 6858000"/>
              <a:gd name="connsiteX1203" fmla="*/ 2091816 w 6530564"/>
              <a:gd name="connsiteY1203" fmla="*/ 2888809 h 6858000"/>
              <a:gd name="connsiteX1204" fmla="*/ 2099621 w 6530564"/>
              <a:gd name="connsiteY1204" fmla="*/ 2853246 h 6858000"/>
              <a:gd name="connsiteX1205" fmla="*/ 2099985 w 6530564"/>
              <a:gd name="connsiteY1205" fmla="*/ 2845200 h 6858000"/>
              <a:gd name="connsiteX1206" fmla="*/ 2100816 w 6530564"/>
              <a:gd name="connsiteY1206" fmla="*/ 2847794 h 6858000"/>
              <a:gd name="connsiteX1207" fmla="*/ 2110855 w 6530564"/>
              <a:gd name="connsiteY1207" fmla="*/ 2802050 h 6858000"/>
              <a:gd name="connsiteX1208" fmla="*/ 2224554 w 6530564"/>
              <a:gd name="connsiteY1208" fmla="*/ 2460779 h 6858000"/>
              <a:gd name="connsiteX1209" fmla="*/ 2358682 w 6530564"/>
              <a:gd name="connsiteY1209" fmla="*/ 2205979 h 6858000"/>
              <a:gd name="connsiteX1210" fmla="*/ 6077176 w 6530564"/>
              <a:gd name="connsiteY1210" fmla="*/ 2118185 h 6858000"/>
              <a:gd name="connsiteX1211" fmla="*/ 6112507 w 6530564"/>
              <a:gd name="connsiteY1211" fmla="*/ 2169248 h 6858000"/>
              <a:gd name="connsiteX1212" fmla="*/ 6107837 w 6530564"/>
              <a:gd name="connsiteY1212" fmla="*/ 2170245 h 6858000"/>
              <a:gd name="connsiteX1213" fmla="*/ 6099173 w 6530564"/>
              <a:gd name="connsiteY1213" fmla="*/ 2152560 h 6858000"/>
              <a:gd name="connsiteX1214" fmla="*/ 6085839 w 6530564"/>
              <a:gd name="connsiteY1214" fmla="*/ 2135872 h 6858000"/>
              <a:gd name="connsiteX1215" fmla="*/ 6080171 w 6530564"/>
              <a:gd name="connsiteY1215" fmla="*/ 2132198 h 6858000"/>
              <a:gd name="connsiteX1216" fmla="*/ 6073503 w 6530564"/>
              <a:gd name="connsiteY1216" fmla="*/ 2123854 h 6858000"/>
              <a:gd name="connsiteX1217" fmla="*/ 6077176 w 6530564"/>
              <a:gd name="connsiteY1217" fmla="*/ 2118185 h 6858000"/>
              <a:gd name="connsiteX1218" fmla="*/ 2109589 w 6530564"/>
              <a:gd name="connsiteY1218" fmla="*/ 1937684 h 6858000"/>
              <a:gd name="connsiteX1219" fmla="*/ 2088831 w 6530564"/>
              <a:gd name="connsiteY1219" fmla="*/ 1976351 h 6858000"/>
              <a:gd name="connsiteX1220" fmla="*/ 2082998 w 6530564"/>
              <a:gd name="connsiteY1220" fmla="*/ 2000064 h 6858000"/>
              <a:gd name="connsiteX1221" fmla="*/ 2083339 w 6530564"/>
              <a:gd name="connsiteY1221" fmla="*/ 2004008 h 6858000"/>
              <a:gd name="connsiteX1222" fmla="*/ 2078984 w 6530564"/>
              <a:gd name="connsiteY1222" fmla="*/ 2013244 h 6858000"/>
              <a:gd name="connsiteX1223" fmla="*/ 2058996 w 6530564"/>
              <a:gd name="connsiteY1223" fmla="*/ 2033998 h 6858000"/>
              <a:gd name="connsiteX1224" fmla="*/ 2025940 w 6530564"/>
              <a:gd name="connsiteY1224" fmla="*/ 2085019 h 6858000"/>
              <a:gd name="connsiteX1225" fmla="*/ 2020588 w 6530564"/>
              <a:gd name="connsiteY1225" fmla="*/ 2105699 h 6858000"/>
              <a:gd name="connsiteX1226" fmla="*/ 2019591 w 6530564"/>
              <a:gd name="connsiteY1226" fmla="*/ 2101027 h 6858000"/>
              <a:gd name="connsiteX1227" fmla="*/ 2018592 w 6530564"/>
              <a:gd name="connsiteY1227" fmla="*/ 2096357 h 6858000"/>
              <a:gd name="connsiteX1228" fmla="*/ 2013921 w 6530564"/>
              <a:gd name="connsiteY1228" fmla="*/ 2097355 h 6858000"/>
              <a:gd name="connsiteX1229" fmla="*/ 2010248 w 6530564"/>
              <a:gd name="connsiteY1229" fmla="*/ 2103023 h 6858000"/>
              <a:gd name="connsiteX1230" fmla="*/ 2013243 w 6530564"/>
              <a:gd name="connsiteY1230" fmla="*/ 2117038 h 6858000"/>
              <a:gd name="connsiteX1231" fmla="*/ 2006894 w 6530564"/>
              <a:gd name="connsiteY1231" fmla="*/ 2133046 h 6858000"/>
              <a:gd name="connsiteX1232" fmla="*/ 1997551 w 6530564"/>
              <a:gd name="connsiteY1232" fmla="*/ 2135041 h 6858000"/>
              <a:gd name="connsiteX1233" fmla="*/ 1996554 w 6530564"/>
              <a:gd name="connsiteY1233" fmla="*/ 2130371 h 6858000"/>
              <a:gd name="connsiteX1234" fmla="*/ 1991884 w 6530564"/>
              <a:gd name="connsiteY1234" fmla="*/ 2131368 h 6858000"/>
              <a:gd name="connsiteX1235" fmla="*/ 1992881 w 6530564"/>
              <a:gd name="connsiteY1235" fmla="*/ 2136040 h 6858000"/>
              <a:gd name="connsiteX1236" fmla="*/ 1993879 w 6530564"/>
              <a:gd name="connsiteY1236" fmla="*/ 2140711 h 6858000"/>
              <a:gd name="connsiteX1237" fmla="*/ 1991204 w 6530564"/>
              <a:gd name="connsiteY1237" fmla="*/ 2151051 h 6858000"/>
              <a:gd name="connsiteX1238" fmla="*/ 1987531 w 6530564"/>
              <a:gd name="connsiteY1238" fmla="*/ 2156719 h 6858000"/>
              <a:gd name="connsiteX1239" fmla="*/ 1982860 w 6530564"/>
              <a:gd name="connsiteY1239" fmla="*/ 2157718 h 6858000"/>
              <a:gd name="connsiteX1240" fmla="*/ 1979187 w 6530564"/>
              <a:gd name="connsiteY1240" fmla="*/ 2163386 h 6858000"/>
              <a:gd name="connsiteX1241" fmla="*/ 1983857 w 6530564"/>
              <a:gd name="connsiteY1241" fmla="*/ 2162388 h 6858000"/>
              <a:gd name="connsiteX1242" fmla="*/ 1980184 w 6530564"/>
              <a:gd name="connsiteY1242" fmla="*/ 2168057 h 6858000"/>
              <a:gd name="connsiteX1243" fmla="*/ 1939781 w 6530564"/>
              <a:gd name="connsiteY1243" fmla="*/ 2230416 h 6858000"/>
              <a:gd name="connsiteX1244" fmla="*/ 1935109 w 6530564"/>
              <a:gd name="connsiteY1244" fmla="*/ 2231414 h 6858000"/>
              <a:gd name="connsiteX1245" fmla="*/ 1936107 w 6530564"/>
              <a:gd name="connsiteY1245" fmla="*/ 2236085 h 6858000"/>
              <a:gd name="connsiteX1246" fmla="*/ 1932434 w 6530564"/>
              <a:gd name="connsiteY1246" fmla="*/ 2241754 h 6858000"/>
              <a:gd name="connsiteX1247" fmla="*/ 1933433 w 6530564"/>
              <a:gd name="connsiteY1247" fmla="*/ 2246425 h 6858000"/>
              <a:gd name="connsiteX1248" fmla="*/ 1926765 w 6530564"/>
              <a:gd name="connsiteY1248" fmla="*/ 2238080 h 6858000"/>
              <a:gd name="connsiteX1249" fmla="*/ 1912072 w 6530564"/>
              <a:gd name="connsiteY1249" fmla="*/ 2260756 h 6858000"/>
              <a:gd name="connsiteX1250" fmla="*/ 1907402 w 6530564"/>
              <a:gd name="connsiteY1250" fmla="*/ 2261755 h 6858000"/>
              <a:gd name="connsiteX1251" fmla="*/ 1905146 w 6530564"/>
              <a:gd name="connsiteY1251" fmla="*/ 2259025 h 6858000"/>
              <a:gd name="connsiteX1252" fmla="*/ 1906944 w 6530564"/>
              <a:gd name="connsiteY1252" fmla="*/ 2256251 h 6858000"/>
              <a:gd name="connsiteX1253" fmla="*/ 1908825 w 6530564"/>
              <a:gd name="connsiteY1253" fmla="*/ 2254124 h 6858000"/>
              <a:gd name="connsiteX1254" fmla="*/ 1913750 w 6530564"/>
              <a:gd name="connsiteY1254" fmla="*/ 2245744 h 6858000"/>
              <a:gd name="connsiteX1255" fmla="*/ 1906944 w 6530564"/>
              <a:gd name="connsiteY1255" fmla="*/ 2256251 h 6858000"/>
              <a:gd name="connsiteX1256" fmla="*/ 1904828 w 6530564"/>
              <a:gd name="connsiteY1256" fmla="*/ 2258642 h 6858000"/>
              <a:gd name="connsiteX1257" fmla="*/ 1905146 w 6530564"/>
              <a:gd name="connsiteY1257" fmla="*/ 2259025 h 6858000"/>
              <a:gd name="connsiteX1258" fmla="*/ 1888038 w 6530564"/>
              <a:gd name="connsiteY1258" fmla="*/ 2285428 h 6858000"/>
              <a:gd name="connsiteX1259" fmla="*/ 1869672 w 6530564"/>
              <a:gd name="connsiteY1259" fmla="*/ 2313773 h 6858000"/>
              <a:gd name="connsiteX1260" fmla="*/ 1855978 w 6530564"/>
              <a:gd name="connsiteY1260" fmla="*/ 2341119 h 6858000"/>
              <a:gd name="connsiteX1261" fmla="*/ 1822921 w 6530564"/>
              <a:gd name="connsiteY1261" fmla="*/ 2392140 h 6858000"/>
              <a:gd name="connsiteX1262" fmla="*/ 1816572 w 6530564"/>
              <a:gd name="connsiteY1262" fmla="*/ 2408148 h 6858000"/>
              <a:gd name="connsiteX1263" fmla="*/ 1808228 w 6530564"/>
              <a:gd name="connsiteY1263" fmla="*/ 2414816 h 6858000"/>
              <a:gd name="connsiteX1264" fmla="*/ 1804555 w 6530564"/>
              <a:gd name="connsiteY1264" fmla="*/ 2420484 h 6858000"/>
              <a:gd name="connsiteX1265" fmla="*/ 1794533 w 6530564"/>
              <a:gd name="connsiteY1265" fmla="*/ 2442162 h 6858000"/>
              <a:gd name="connsiteX1266" fmla="*/ 1788184 w 6530564"/>
              <a:gd name="connsiteY1266" fmla="*/ 2458170 h 6858000"/>
              <a:gd name="connsiteX1267" fmla="*/ 1777165 w 6530564"/>
              <a:gd name="connsiteY1267" fmla="*/ 2475180 h 6858000"/>
              <a:gd name="connsiteX1268" fmla="*/ 1685658 w 6530564"/>
              <a:gd name="connsiteY1268" fmla="*/ 2641254 h 6858000"/>
              <a:gd name="connsiteX1269" fmla="*/ 1682599 w 6530564"/>
              <a:gd name="connsiteY1269" fmla="*/ 2641908 h 6858000"/>
              <a:gd name="connsiteX1270" fmla="*/ 1683636 w 6530564"/>
              <a:gd name="connsiteY1270" fmla="*/ 2638298 h 6858000"/>
              <a:gd name="connsiteX1271" fmla="*/ 1750713 w 6530564"/>
              <a:gd name="connsiteY1271" fmla="*/ 2461519 h 6858000"/>
              <a:gd name="connsiteX1272" fmla="*/ 1758144 w 6530564"/>
              <a:gd name="connsiteY1272" fmla="*/ 2444367 h 6858000"/>
              <a:gd name="connsiteX1273" fmla="*/ 1761837 w 6530564"/>
              <a:gd name="connsiteY1273" fmla="*/ 2449148 h 6858000"/>
              <a:gd name="connsiteX1274" fmla="*/ 1764852 w 6530564"/>
              <a:gd name="connsiteY1274" fmla="*/ 2429816 h 6858000"/>
              <a:gd name="connsiteX1275" fmla="*/ 1770123 w 6530564"/>
              <a:gd name="connsiteY1275" fmla="*/ 2418679 h 6858000"/>
              <a:gd name="connsiteX1276" fmla="*/ 1773535 w 6530564"/>
              <a:gd name="connsiteY1276" fmla="*/ 2412460 h 6858000"/>
              <a:gd name="connsiteX1277" fmla="*/ 1778206 w 6530564"/>
              <a:gd name="connsiteY1277" fmla="*/ 2411463 h 6858000"/>
              <a:gd name="connsiteX1278" fmla="*/ 1779045 w 6530564"/>
              <a:gd name="connsiteY1278" fmla="*/ 2403956 h 6858000"/>
              <a:gd name="connsiteX1279" fmla="*/ 1779650 w 6530564"/>
              <a:gd name="connsiteY1279" fmla="*/ 2398547 h 6858000"/>
              <a:gd name="connsiteX1280" fmla="*/ 1780549 w 6530564"/>
              <a:gd name="connsiteY1280" fmla="*/ 2396643 h 6858000"/>
              <a:gd name="connsiteX1281" fmla="*/ 1783219 w 6530564"/>
              <a:gd name="connsiteY1281" fmla="*/ 2397418 h 6858000"/>
              <a:gd name="connsiteX1282" fmla="*/ 1798250 w 6530564"/>
              <a:gd name="connsiteY1282" fmla="*/ 2368106 h 6858000"/>
              <a:gd name="connsiteX1283" fmla="*/ 1818610 w 6530564"/>
              <a:gd name="connsiteY1283" fmla="*/ 2349103 h 6858000"/>
              <a:gd name="connsiteX1284" fmla="*/ 1881733 w 6530564"/>
              <a:gd name="connsiteY1284" fmla="*/ 2233049 h 6858000"/>
              <a:gd name="connsiteX1285" fmla="*/ 1896425 w 6530564"/>
              <a:gd name="connsiteY1285" fmla="*/ 2210374 h 6858000"/>
              <a:gd name="connsiteX1286" fmla="*/ 1991246 w 6530564"/>
              <a:gd name="connsiteY1286" fmla="*/ 2082662 h 6858000"/>
              <a:gd name="connsiteX1287" fmla="*/ 2014282 w 6530564"/>
              <a:gd name="connsiteY1287" fmla="*/ 2053319 h 6858000"/>
              <a:gd name="connsiteX1288" fmla="*/ 2013284 w 6530564"/>
              <a:gd name="connsiteY1288" fmla="*/ 2048648 h 6858000"/>
              <a:gd name="connsiteX1289" fmla="*/ 2018954 w 6530564"/>
              <a:gd name="connsiteY1289" fmla="*/ 2052322 h 6858000"/>
              <a:gd name="connsiteX1290" fmla="*/ 2026300 w 6530564"/>
              <a:gd name="connsiteY1290" fmla="*/ 2040983 h 6858000"/>
              <a:gd name="connsiteX1291" fmla="*/ 2029972 w 6530564"/>
              <a:gd name="connsiteY1291" fmla="*/ 2035316 h 6858000"/>
              <a:gd name="connsiteX1292" fmla="*/ 2025302 w 6530564"/>
              <a:gd name="connsiteY1292" fmla="*/ 2036313 h 6858000"/>
              <a:gd name="connsiteX1293" fmla="*/ 2079719 w 6530564"/>
              <a:gd name="connsiteY1293" fmla="*/ 1970960 h 6858000"/>
              <a:gd name="connsiteX1294" fmla="*/ 2104808 w 6530564"/>
              <a:gd name="connsiteY1294" fmla="*/ 1943012 h 6858000"/>
              <a:gd name="connsiteX1295" fmla="*/ 5856125 w 6530564"/>
              <a:gd name="connsiteY1295" fmla="*/ 1563605 h 6858000"/>
              <a:gd name="connsiteX1296" fmla="*/ 5862009 w 6530564"/>
              <a:gd name="connsiteY1296" fmla="*/ 1568282 h 6858000"/>
              <a:gd name="connsiteX1297" fmla="*/ 5856339 w 6530564"/>
              <a:gd name="connsiteY1297" fmla="*/ 1564609 h 6858000"/>
              <a:gd name="connsiteX1298" fmla="*/ 5246583 w 6530564"/>
              <a:gd name="connsiteY1298" fmla="*/ 1522365 h 6858000"/>
              <a:gd name="connsiteX1299" fmla="*/ 5292976 w 6530564"/>
              <a:gd name="connsiteY1299" fmla="*/ 1557270 h 6858000"/>
              <a:gd name="connsiteX1300" fmla="*/ 5381981 w 6530564"/>
              <a:gd name="connsiteY1300" fmla="*/ 1629688 h 6858000"/>
              <a:gd name="connsiteX1301" fmla="*/ 5378789 w 6530564"/>
              <a:gd name="connsiteY1301" fmla="*/ 1629103 h 6858000"/>
              <a:gd name="connsiteX1302" fmla="*/ 5369212 w 6530564"/>
              <a:gd name="connsiteY1302" fmla="*/ 1627347 h 6858000"/>
              <a:gd name="connsiteX1303" fmla="*/ 5375011 w 6530564"/>
              <a:gd name="connsiteY1303" fmla="*/ 1631710 h 6858000"/>
              <a:gd name="connsiteX1304" fmla="*/ 5272066 w 6530564"/>
              <a:gd name="connsiteY1304" fmla="*/ 1563336 h 6858000"/>
              <a:gd name="connsiteX1305" fmla="*/ 5204180 w 6530564"/>
              <a:gd name="connsiteY1305" fmla="*/ 1537692 h 6858000"/>
              <a:gd name="connsiteX1306" fmla="*/ 5381927 w 6530564"/>
              <a:gd name="connsiteY1306" fmla="*/ 1665979 h 6858000"/>
              <a:gd name="connsiteX1307" fmla="*/ 5437310 w 6530564"/>
              <a:gd name="connsiteY1307" fmla="*/ 1705833 h 6858000"/>
              <a:gd name="connsiteX1308" fmla="*/ 5428584 w 6530564"/>
              <a:gd name="connsiteY1308" fmla="*/ 1717433 h 6858000"/>
              <a:gd name="connsiteX1309" fmla="*/ 5445982 w 6530564"/>
              <a:gd name="connsiteY1309" fmla="*/ 1730522 h 6858000"/>
              <a:gd name="connsiteX1310" fmla="*/ 5454121 w 6530564"/>
              <a:gd name="connsiteY1310" fmla="*/ 1722114 h 6858000"/>
              <a:gd name="connsiteX1311" fmla="*/ 5545149 w 6530564"/>
              <a:gd name="connsiteY1311" fmla="*/ 1801503 h 6858000"/>
              <a:gd name="connsiteX1312" fmla="*/ 5589201 w 6530564"/>
              <a:gd name="connsiteY1312" fmla="*/ 1849179 h 6858000"/>
              <a:gd name="connsiteX1313" fmla="*/ 5635857 w 6530564"/>
              <a:gd name="connsiteY1313" fmla="*/ 1900633 h 6858000"/>
              <a:gd name="connsiteX1314" fmla="*/ 5617876 w 6530564"/>
              <a:gd name="connsiteY1314" fmla="*/ 1890738 h 6858000"/>
              <a:gd name="connsiteX1315" fmla="*/ 5616705 w 6530564"/>
              <a:gd name="connsiteY1315" fmla="*/ 1897123 h 6858000"/>
              <a:gd name="connsiteX1316" fmla="*/ 5652350 w 6530564"/>
              <a:gd name="connsiteY1316" fmla="*/ 1936657 h 6858000"/>
              <a:gd name="connsiteX1317" fmla="*/ 5661340 w 6530564"/>
              <a:gd name="connsiteY1317" fmla="*/ 1941605 h 6858000"/>
              <a:gd name="connsiteX1318" fmla="*/ 5666874 w 6530564"/>
              <a:gd name="connsiteY1318" fmla="*/ 1929420 h 6858000"/>
              <a:gd name="connsiteX1319" fmla="*/ 5707147 w 6530564"/>
              <a:gd name="connsiteY1319" fmla="*/ 1979705 h 6858000"/>
              <a:gd name="connsiteX1320" fmla="*/ 5756412 w 6530564"/>
              <a:gd name="connsiteY1320" fmla="*/ 2034937 h 6858000"/>
              <a:gd name="connsiteX1321" fmla="*/ 5762795 w 6530564"/>
              <a:gd name="connsiteY1321" fmla="*/ 2036107 h 6858000"/>
              <a:gd name="connsiteX1322" fmla="*/ 5789449 w 6530564"/>
              <a:gd name="connsiteY1322" fmla="*/ 2070695 h 6858000"/>
              <a:gd name="connsiteX1323" fmla="*/ 5808283 w 6530564"/>
              <a:gd name="connsiteY1323" fmla="*/ 2093948 h 6858000"/>
              <a:gd name="connsiteX1324" fmla="*/ 5910535 w 6530564"/>
              <a:gd name="connsiteY1324" fmla="*/ 2238094 h 6858000"/>
              <a:gd name="connsiteX1325" fmla="*/ 5924153 w 6530564"/>
              <a:gd name="connsiteY1325" fmla="*/ 2253791 h 6858000"/>
              <a:gd name="connsiteX1326" fmla="*/ 5927611 w 6530564"/>
              <a:gd name="connsiteY1326" fmla="*/ 2270927 h 6858000"/>
              <a:gd name="connsiteX1327" fmla="*/ 5904415 w 6530564"/>
              <a:gd name="connsiteY1327" fmla="*/ 2253473 h 6858000"/>
              <a:gd name="connsiteX1328" fmla="*/ 5924685 w 6530564"/>
              <a:gd name="connsiteY1328" fmla="*/ 2286890 h 6858000"/>
              <a:gd name="connsiteX1329" fmla="*/ 5949317 w 6530564"/>
              <a:gd name="connsiteY1329" fmla="*/ 2314506 h 6858000"/>
              <a:gd name="connsiteX1330" fmla="*/ 5949051 w 6530564"/>
              <a:gd name="connsiteY1330" fmla="*/ 2297957 h 6858000"/>
              <a:gd name="connsiteX1331" fmla="*/ 5958042 w 6530564"/>
              <a:gd name="connsiteY1331" fmla="*/ 2302905 h 6858000"/>
              <a:gd name="connsiteX1332" fmla="*/ 5967621 w 6530564"/>
              <a:gd name="connsiteY1332" fmla="*/ 2304661 h 6858000"/>
              <a:gd name="connsiteX1333" fmla="*/ 5965012 w 6530564"/>
              <a:gd name="connsiteY1333" fmla="*/ 2300883 h 6858000"/>
              <a:gd name="connsiteX1334" fmla="*/ 5964427 w 6530564"/>
              <a:gd name="connsiteY1334" fmla="*/ 2304075 h 6858000"/>
              <a:gd name="connsiteX1335" fmla="*/ 5963841 w 6530564"/>
              <a:gd name="connsiteY1335" fmla="*/ 2307269 h 6858000"/>
              <a:gd name="connsiteX1336" fmla="*/ 5969641 w 6530564"/>
              <a:gd name="connsiteY1336" fmla="*/ 2311632 h 6858000"/>
              <a:gd name="connsiteX1337" fmla="*/ 5982091 w 6530564"/>
              <a:gd name="connsiteY1337" fmla="*/ 2333714 h 6858000"/>
              <a:gd name="connsiteX1338" fmla="*/ 5987303 w 6530564"/>
              <a:gd name="connsiteY1338" fmla="*/ 2341270 h 6858000"/>
              <a:gd name="connsiteX1339" fmla="*/ 5985281 w 6530564"/>
              <a:gd name="connsiteY1339" fmla="*/ 2334300 h 6858000"/>
              <a:gd name="connsiteX1340" fmla="*/ 5985867 w 6530564"/>
              <a:gd name="connsiteY1340" fmla="*/ 2331106 h 6858000"/>
              <a:gd name="connsiteX1341" fmla="*/ 6031034 w 6530564"/>
              <a:gd name="connsiteY1341" fmla="*/ 2408688 h 6858000"/>
              <a:gd name="connsiteX1342" fmla="*/ 6004061 w 6530564"/>
              <a:gd name="connsiteY1342" fmla="*/ 2393843 h 6858000"/>
              <a:gd name="connsiteX1343" fmla="*/ 6004326 w 6530564"/>
              <a:gd name="connsiteY1343" fmla="*/ 2410392 h 6858000"/>
              <a:gd name="connsiteX1344" fmla="*/ 6026031 w 6530564"/>
              <a:gd name="connsiteY1344" fmla="*/ 2453972 h 6858000"/>
              <a:gd name="connsiteX1345" fmla="*/ 6029808 w 6530564"/>
              <a:gd name="connsiteY1345" fmla="*/ 2451365 h 6858000"/>
              <a:gd name="connsiteX1346" fmla="*/ 6047737 w 6530564"/>
              <a:gd name="connsiteY1346" fmla="*/ 2497552 h 6858000"/>
              <a:gd name="connsiteX1347" fmla="*/ 6086519 w 6530564"/>
              <a:gd name="connsiteY1347" fmla="*/ 2573962 h 6858000"/>
              <a:gd name="connsiteX1348" fmla="*/ 6082156 w 6530564"/>
              <a:gd name="connsiteY1348" fmla="*/ 2579763 h 6858000"/>
              <a:gd name="connsiteX1349" fmla="*/ 6113651 w 6530564"/>
              <a:gd name="connsiteY1349" fmla="*/ 2677937 h 6858000"/>
              <a:gd name="connsiteX1350" fmla="*/ 6143121 w 6530564"/>
              <a:gd name="connsiteY1350" fmla="*/ 2769142 h 6858000"/>
              <a:gd name="connsiteX1351" fmla="*/ 6149507 w 6530564"/>
              <a:gd name="connsiteY1351" fmla="*/ 2770313 h 6858000"/>
              <a:gd name="connsiteX1352" fmla="*/ 6151794 w 6530564"/>
              <a:gd name="connsiteY1352" fmla="*/ 2793831 h 6858000"/>
              <a:gd name="connsiteX1353" fmla="*/ 6172593 w 6530564"/>
              <a:gd name="connsiteY1353" fmla="*/ 2860346 h 6858000"/>
              <a:gd name="connsiteX1354" fmla="*/ 6171103 w 6530564"/>
              <a:gd name="connsiteY1354" fmla="*/ 2886473 h 6858000"/>
              <a:gd name="connsiteX1355" fmla="*/ 6180041 w 6530564"/>
              <a:gd name="connsiteY1355" fmla="*/ 2927712 h 6858000"/>
              <a:gd name="connsiteX1356" fmla="*/ 6193340 w 6530564"/>
              <a:gd name="connsiteY1356" fmla="*/ 2963151 h 6858000"/>
              <a:gd name="connsiteX1357" fmla="*/ 6188501 w 6530564"/>
              <a:gd name="connsiteY1357" fmla="*/ 2899562 h 6858000"/>
              <a:gd name="connsiteX1358" fmla="*/ 6168869 w 6530564"/>
              <a:gd name="connsiteY1358" fmla="*/ 2826663 h 6858000"/>
              <a:gd name="connsiteX1359" fmla="*/ 6165413 w 6530564"/>
              <a:gd name="connsiteY1359" fmla="*/ 2809528 h 6858000"/>
              <a:gd name="connsiteX1360" fmla="*/ 6141209 w 6530564"/>
              <a:gd name="connsiteY1360" fmla="*/ 2689590 h 6858000"/>
              <a:gd name="connsiteX1361" fmla="*/ 6069763 w 6530564"/>
              <a:gd name="connsiteY1361" fmla="*/ 2521391 h 6858000"/>
              <a:gd name="connsiteX1362" fmla="*/ 6075882 w 6530564"/>
              <a:gd name="connsiteY1362" fmla="*/ 2506011 h 6858000"/>
              <a:gd name="connsiteX1363" fmla="*/ 6059974 w 6530564"/>
              <a:gd name="connsiteY1363" fmla="*/ 2466794 h 6858000"/>
              <a:gd name="connsiteX1364" fmla="*/ 6062581 w 6530564"/>
              <a:gd name="connsiteY1364" fmla="*/ 2470572 h 6858000"/>
              <a:gd name="connsiteX1365" fmla="*/ 6065188 w 6530564"/>
              <a:gd name="connsiteY1365" fmla="*/ 2474350 h 6858000"/>
              <a:gd name="connsiteX1366" fmla="*/ 6063167 w 6530564"/>
              <a:gd name="connsiteY1366" fmla="*/ 2467380 h 6858000"/>
              <a:gd name="connsiteX1367" fmla="*/ 6060559 w 6530564"/>
              <a:gd name="connsiteY1367" fmla="*/ 2463602 h 6858000"/>
              <a:gd name="connsiteX1368" fmla="*/ 6061145 w 6530564"/>
              <a:gd name="connsiteY1368" fmla="*/ 2460410 h 6858000"/>
              <a:gd name="connsiteX1369" fmla="*/ 6030769 w 6530564"/>
              <a:gd name="connsiteY1369" fmla="*/ 2392138 h 6858000"/>
              <a:gd name="connsiteX1370" fmla="*/ 5967939 w 6530564"/>
              <a:gd name="connsiteY1370" fmla="*/ 2284919 h 6858000"/>
              <a:gd name="connsiteX1371" fmla="*/ 5950861 w 6530564"/>
              <a:gd name="connsiteY1371" fmla="*/ 2252088 h 6858000"/>
              <a:gd name="connsiteX1372" fmla="*/ 5874678 w 6530564"/>
              <a:gd name="connsiteY1372" fmla="*/ 2145720 h 6858000"/>
              <a:gd name="connsiteX1373" fmla="*/ 5862229 w 6530564"/>
              <a:gd name="connsiteY1373" fmla="*/ 2123637 h 6858000"/>
              <a:gd name="connsiteX1374" fmla="*/ 5864835 w 6530564"/>
              <a:gd name="connsiteY1374" fmla="*/ 2127414 h 6858000"/>
              <a:gd name="connsiteX1375" fmla="*/ 5868028 w 6530564"/>
              <a:gd name="connsiteY1375" fmla="*/ 2128001 h 6858000"/>
              <a:gd name="connsiteX1376" fmla="*/ 5862814 w 6530564"/>
              <a:gd name="connsiteY1376" fmla="*/ 2120444 h 6858000"/>
              <a:gd name="connsiteX1377" fmla="*/ 5860207 w 6530564"/>
              <a:gd name="connsiteY1377" fmla="*/ 2116666 h 6858000"/>
              <a:gd name="connsiteX1378" fmla="*/ 5888031 w 6530564"/>
              <a:gd name="connsiteY1378" fmla="*/ 2144868 h 6858000"/>
              <a:gd name="connsiteX1379" fmla="*/ 5876167 w 6530564"/>
              <a:gd name="connsiteY1379" fmla="*/ 2119593 h 6858000"/>
              <a:gd name="connsiteX1380" fmla="*/ 5879361 w 6530564"/>
              <a:gd name="connsiteY1380" fmla="*/ 2120179 h 6858000"/>
              <a:gd name="connsiteX1381" fmla="*/ 5881968 w 6530564"/>
              <a:gd name="connsiteY1381" fmla="*/ 2123955 h 6858000"/>
              <a:gd name="connsiteX1382" fmla="*/ 5879947 w 6530564"/>
              <a:gd name="connsiteY1382" fmla="*/ 2116985 h 6858000"/>
              <a:gd name="connsiteX1383" fmla="*/ 5877339 w 6530564"/>
              <a:gd name="connsiteY1383" fmla="*/ 2113207 h 6858000"/>
              <a:gd name="connsiteX1384" fmla="*/ 5888937 w 6530564"/>
              <a:gd name="connsiteY1384" fmla="*/ 2121935 h 6858000"/>
              <a:gd name="connsiteX1385" fmla="*/ 5847227 w 6530564"/>
              <a:gd name="connsiteY1385" fmla="*/ 2061487 h 6858000"/>
              <a:gd name="connsiteX1386" fmla="*/ 5815626 w 6530564"/>
              <a:gd name="connsiteY1386" fmla="*/ 2035893 h 6858000"/>
              <a:gd name="connsiteX1387" fmla="*/ 5813019 w 6530564"/>
              <a:gd name="connsiteY1387" fmla="*/ 2032114 h 6858000"/>
              <a:gd name="connsiteX1388" fmla="*/ 5807807 w 6530564"/>
              <a:gd name="connsiteY1388" fmla="*/ 2024558 h 6858000"/>
              <a:gd name="connsiteX1389" fmla="*/ 5807219 w 6530564"/>
              <a:gd name="connsiteY1389" fmla="*/ 2027751 h 6858000"/>
              <a:gd name="connsiteX1390" fmla="*/ 5809827 w 6530564"/>
              <a:gd name="connsiteY1390" fmla="*/ 2031530 h 6858000"/>
              <a:gd name="connsiteX1391" fmla="*/ 5792431 w 6530564"/>
              <a:gd name="connsiteY1391" fmla="*/ 2018439 h 6858000"/>
              <a:gd name="connsiteX1392" fmla="*/ 5778490 w 6530564"/>
              <a:gd name="connsiteY1392" fmla="*/ 2022486 h 6858000"/>
              <a:gd name="connsiteX1393" fmla="*/ 5713585 w 6530564"/>
              <a:gd name="connsiteY1393" fmla="*/ 1944585 h 6858000"/>
              <a:gd name="connsiteX1394" fmla="*/ 5693582 w 6530564"/>
              <a:gd name="connsiteY1394" fmla="*/ 1927717 h 6858000"/>
              <a:gd name="connsiteX1395" fmla="*/ 5602288 w 6530564"/>
              <a:gd name="connsiteY1395" fmla="*/ 1831780 h 6858000"/>
              <a:gd name="connsiteX1396" fmla="*/ 5510410 w 6530564"/>
              <a:gd name="connsiteY1396" fmla="*/ 1739034 h 6858000"/>
              <a:gd name="connsiteX1397" fmla="*/ 5513601 w 6530564"/>
              <a:gd name="connsiteY1397" fmla="*/ 1739619 h 6858000"/>
              <a:gd name="connsiteX1398" fmla="*/ 5519401 w 6530564"/>
              <a:gd name="connsiteY1398" fmla="*/ 1743982 h 6858000"/>
              <a:gd name="connsiteX1399" fmla="*/ 5514187 w 6530564"/>
              <a:gd name="connsiteY1399" fmla="*/ 1736427 h 6858000"/>
              <a:gd name="connsiteX1400" fmla="*/ 5508389 w 6530564"/>
              <a:gd name="connsiteY1400" fmla="*/ 1732064 h 6858000"/>
              <a:gd name="connsiteX1401" fmla="*/ 5514771 w 6530564"/>
              <a:gd name="connsiteY1401" fmla="*/ 1733234 h 6858000"/>
              <a:gd name="connsiteX1402" fmla="*/ 5602607 w 6530564"/>
              <a:gd name="connsiteY1402" fmla="*/ 1812037 h 6858000"/>
              <a:gd name="connsiteX1403" fmla="*/ 5604365 w 6530564"/>
              <a:gd name="connsiteY1403" fmla="*/ 1802460 h 6858000"/>
              <a:gd name="connsiteX1404" fmla="*/ 5577975 w 6530564"/>
              <a:gd name="connsiteY1404" fmla="*/ 1784421 h 6858000"/>
              <a:gd name="connsiteX1405" fmla="*/ 5541747 w 6530564"/>
              <a:gd name="connsiteY1405" fmla="*/ 1748079 h 6858000"/>
              <a:gd name="connsiteX1406" fmla="*/ 5413903 w 6530564"/>
              <a:gd name="connsiteY1406" fmla="*/ 1635540 h 6858000"/>
              <a:gd name="connsiteX1407" fmla="*/ 5399113 w 6530564"/>
              <a:gd name="connsiteY1407" fmla="*/ 1626229 h 6858000"/>
              <a:gd name="connsiteX1408" fmla="*/ 5340536 w 6530564"/>
              <a:gd name="connsiteY1408" fmla="*/ 1585789 h 6858000"/>
              <a:gd name="connsiteX1409" fmla="*/ 5336494 w 6530564"/>
              <a:gd name="connsiteY1409" fmla="*/ 1571849 h 6858000"/>
              <a:gd name="connsiteX1410" fmla="*/ 5305744 w 6530564"/>
              <a:gd name="connsiteY1410" fmla="*/ 1559611 h 6858000"/>
              <a:gd name="connsiteX1411" fmla="*/ 5312713 w 6530564"/>
              <a:gd name="connsiteY1411" fmla="*/ 1557588 h 6858000"/>
              <a:gd name="connsiteX1412" fmla="*/ 5246583 w 6530564"/>
              <a:gd name="connsiteY1412" fmla="*/ 1522365 h 6858000"/>
              <a:gd name="connsiteX1413" fmla="*/ 4878235 w 6530564"/>
              <a:gd name="connsiteY1413" fmla="*/ 1485529 h 6858000"/>
              <a:gd name="connsiteX1414" fmla="*/ 4870589 w 6530564"/>
              <a:gd name="connsiteY1414" fmla="*/ 1490232 h 6858000"/>
              <a:gd name="connsiteX1415" fmla="*/ 4876107 w 6530564"/>
              <a:gd name="connsiteY1415" fmla="*/ 1507769 h 6858000"/>
              <a:gd name="connsiteX1416" fmla="*/ 4892523 w 6530564"/>
              <a:gd name="connsiteY1416" fmla="*/ 1528225 h 6858000"/>
              <a:gd name="connsiteX1417" fmla="*/ 4854485 w 6530564"/>
              <a:gd name="connsiteY1417" fmla="*/ 1513109 h 6858000"/>
              <a:gd name="connsiteX1418" fmla="*/ 4906663 w 6530564"/>
              <a:gd name="connsiteY1418" fmla="*/ 1538241 h 6858000"/>
              <a:gd name="connsiteX1419" fmla="*/ 5219949 w 6530564"/>
              <a:gd name="connsiteY1419" fmla="*/ 1757355 h 6858000"/>
              <a:gd name="connsiteX1420" fmla="*/ 5244849 w 6530564"/>
              <a:gd name="connsiteY1420" fmla="*/ 1781311 h 6858000"/>
              <a:gd name="connsiteX1421" fmla="*/ 5285425 w 6530564"/>
              <a:gd name="connsiteY1421" fmla="*/ 1812833 h 6858000"/>
              <a:gd name="connsiteX1422" fmla="*/ 5422531 w 6530564"/>
              <a:gd name="connsiteY1422" fmla="*/ 1941767 h 6858000"/>
              <a:gd name="connsiteX1423" fmla="*/ 5427783 w 6530564"/>
              <a:gd name="connsiteY1423" fmla="*/ 1954854 h 6858000"/>
              <a:gd name="connsiteX1424" fmla="*/ 5370401 w 6530564"/>
              <a:gd name="connsiteY1424" fmla="*/ 1904986 h 6858000"/>
              <a:gd name="connsiteX1425" fmla="*/ 5481735 w 6530564"/>
              <a:gd name="connsiteY1425" fmla="*/ 2036160 h 6858000"/>
              <a:gd name="connsiteX1426" fmla="*/ 5639099 w 6530564"/>
              <a:gd name="connsiteY1426" fmla="*/ 2260841 h 6858000"/>
              <a:gd name="connsiteX1427" fmla="*/ 5880519 w 6530564"/>
              <a:gd name="connsiteY1427" fmla="*/ 2928041 h 6858000"/>
              <a:gd name="connsiteX1428" fmla="*/ 5891569 w 6530564"/>
              <a:gd name="connsiteY1428" fmla="*/ 2991409 h 6858000"/>
              <a:gd name="connsiteX1429" fmla="*/ 5898861 w 6530564"/>
              <a:gd name="connsiteY1429" fmla="*/ 3009164 h 6858000"/>
              <a:gd name="connsiteX1430" fmla="*/ 5902123 w 6530564"/>
              <a:gd name="connsiteY1430" fmla="*/ 3033759 h 6858000"/>
              <a:gd name="connsiteX1431" fmla="*/ 5917520 w 6530564"/>
              <a:gd name="connsiteY1431" fmla="*/ 3250562 h 6858000"/>
              <a:gd name="connsiteX1432" fmla="*/ 5916015 w 6530564"/>
              <a:gd name="connsiteY1432" fmla="*/ 3270366 h 6858000"/>
              <a:gd name="connsiteX1433" fmla="*/ 5917712 w 6530564"/>
              <a:gd name="connsiteY1433" fmla="*/ 3301456 h 6858000"/>
              <a:gd name="connsiteX1434" fmla="*/ 5917722 w 6530564"/>
              <a:gd name="connsiteY1434" fmla="*/ 3321050 h 6858000"/>
              <a:gd name="connsiteX1435" fmla="*/ 5920837 w 6530564"/>
              <a:gd name="connsiteY1435" fmla="*/ 3319470 h 6858000"/>
              <a:gd name="connsiteX1436" fmla="*/ 5938043 w 6530564"/>
              <a:gd name="connsiteY1436" fmla="*/ 3297393 h 6858000"/>
              <a:gd name="connsiteX1437" fmla="*/ 5940465 w 6530564"/>
              <a:gd name="connsiteY1437" fmla="*/ 3397310 h 6858000"/>
              <a:gd name="connsiteX1438" fmla="*/ 5799700 w 6530564"/>
              <a:gd name="connsiteY1438" fmla="*/ 4058849 h 6858000"/>
              <a:gd name="connsiteX1439" fmla="*/ 5565591 w 6530564"/>
              <a:gd name="connsiteY1439" fmla="*/ 4474942 h 6858000"/>
              <a:gd name="connsiteX1440" fmla="*/ 5478169 w 6530564"/>
              <a:gd name="connsiteY1440" fmla="*/ 4588742 h 6858000"/>
              <a:gd name="connsiteX1441" fmla="*/ 5480671 w 6530564"/>
              <a:gd name="connsiteY1441" fmla="*/ 4622988 h 6858000"/>
              <a:gd name="connsiteX1442" fmla="*/ 5508667 w 6530564"/>
              <a:gd name="connsiteY1442" fmla="*/ 4605673 h 6858000"/>
              <a:gd name="connsiteX1443" fmla="*/ 5545127 w 6530564"/>
              <a:gd name="connsiteY1443" fmla="*/ 4573107 h 6858000"/>
              <a:gd name="connsiteX1444" fmla="*/ 5400007 w 6530564"/>
              <a:gd name="connsiteY1444" fmla="*/ 4782392 h 6858000"/>
              <a:gd name="connsiteX1445" fmla="*/ 5292521 w 6530564"/>
              <a:gd name="connsiteY1445" fmla="*/ 4889355 h 6858000"/>
              <a:gd name="connsiteX1446" fmla="*/ 5403631 w 6530564"/>
              <a:gd name="connsiteY1446" fmla="*/ 4790663 h 6858000"/>
              <a:gd name="connsiteX1447" fmla="*/ 5540062 w 6530564"/>
              <a:gd name="connsiteY1447" fmla="*/ 4630142 h 6858000"/>
              <a:gd name="connsiteX1448" fmla="*/ 5835395 w 6530564"/>
              <a:gd name="connsiteY1448" fmla="*/ 4132646 h 6858000"/>
              <a:gd name="connsiteX1449" fmla="*/ 5860185 w 6530564"/>
              <a:gd name="connsiteY1449" fmla="*/ 4061918 h 6858000"/>
              <a:gd name="connsiteX1450" fmla="*/ 5841093 w 6530564"/>
              <a:gd name="connsiteY1450" fmla="*/ 4078700 h 6858000"/>
              <a:gd name="connsiteX1451" fmla="*/ 5603333 w 6530564"/>
              <a:gd name="connsiteY1451" fmla="*/ 4508413 h 6858000"/>
              <a:gd name="connsiteX1452" fmla="*/ 5582878 w 6530564"/>
              <a:gd name="connsiteY1452" fmla="*/ 4524830 h 6858000"/>
              <a:gd name="connsiteX1453" fmla="*/ 5585095 w 6530564"/>
              <a:gd name="connsiteY1453" fmla="*/ 4494767 h 6858000"/>
              <a:gd name="connsiteX1454" fmla="*/ 5674172 w 6530564"/>
              <a:gd name="connsiteY1454" fmla="*/ 4363893 h 6858000"/>
              <a:gd name="connsiteX1455" fmla="*/ 5923723 w 6530564"/>
              <a:gd name="connsiteY1455" fmla="*/ 3721285 h 6858000"/>
              <a:gd name="connsiteX1456" fmla="*/ 5954351 w 6530564"/>
              <a:gd name="connsiteY1456" fmla="*/ 3182057 h 6858000"/>
              <a:gd name="connsiteX1457" fmla="*/ 5955213 w 6530564"/>
              <a:gd name="connsiteY1457" fmla="*/ 3069882 h 6858000"/>
              <a:gd name="connsiteX1458" fmla="*/ 5905413 w 6530564"/>
              <a:gd name="connsiteY1458" fmla="*/ 3914916 h 6858000"/>
              <a:gd name="connsiteX1459" fmla="*/ 5937521 w 6530564"/>
              <a:gd name="connsiteY1459" fmla="*/ 3876803 h 6858000"/>
              <a:gd name="connsiteX1460" fmla="*/ 5898035 w 6530564"/>
              <a:gd name="connsiteY1460" fmla="*/ 4007827 h 6858000"/>
              <a:gd name="connsiteX1461" fmla="*/ 5827971 w 6530564"/>
              <a:gd name="connsiteY1461" fmla="*/ 4187589 h 6858000"/>
              <a:gd name="connsiteX1462" fmla="*/ 5826681 w 6530564"/>
              <a:gd name="connsiteY1462" fmla="*/ 4203302 h 6858000"/>
              <a:gd name="connsiteX1463" fmla="*/ 5839500 w 6530564"/>
              <a:gd name="connsiteY1463" fmla="*/ 4193599 h 6858000"/>
              <a:gd name="connsiteX1464" fmla="*/ 5929413 w 6530564"/>
              <a:gd name="connsiteY1464" fmla="*/ 3972440 h 6858000"/>
              <a:gd name="connsiteX1465" fmla="*/ 5953909 w 6530564"/>
              <a:gd name="connsiteY1465" fmla="*/ 3919150 h 6858000"/>
              <a:gd name="connsiteX1466" fmla="*/ 6006151 w 6530564"/>
              <a:gd name="connsiteY1466" fmla="*/ 3680598 h 6858000"/>
              <a:gd name="connsiteX1467" fmla="*/ 6033787 w 6530564"/>
              <a:gd name="connsiteY1467" fmla="*/ 3136190 h 6858000"/>
              <a:gd name="connsiteX1468" fmla="*/ 6028315 w 6530564"/>
              <a:gd name="connsiteY1468" fmla="*/ 3093047 h 6858000"/>
              <a:gd name="connsiteX1469" fmla="*/ 6025816 w 6530564"/>
              <a:gd name="connsiteY1469" fmla="*/ 3080224 h 6858000"/>
              <a:gd name="connsiteX1470" fmla="*/ 5462620 w 6530564"/>
              <a:gd name="connsiteY1470" fmla="*/ 1953402 h 6858000"/>
              <a:gd name="connsiteX1471" fmla="*/ 5104061 w 6530564"/>
              <a:gd name="connsiteY1471" fmla="*/ 1632541 h 6858000"/>
              <a:gd name="connsiteX1472" fmla="*/ 5003371 w 6530564"/>
              <a:gd name="connsiteY1472" fmla="*/ 1558743 h 6858000"/>
              <a:gd name="connsiteX1473" fmla="*/ 4962275 w 6530564"/>
              <a:gd name="connsiteY1473" fmla="*/ 1523505 h 6858000"/>
              <a:gd name="connsiteX1474" fmla="*/ 4951211 w 6530564"/>
              <a:gd name="connsiteY1474" fmla="*/ 1516212 h 6858000"/>
              <a:gd name="connsiteX1475" fmla="*/ 4887030 w 6530564"/>
              <a:gd name="connsiteY1475" fmla="*/ 1488798 h 6858000"/>
              <a:gd name="connsiteX1476" fmla="*/ 4878235 w 6530564"/>
              <a:gd name="connsiteY1476" fmla="*/ 1485529 h 6858000"/>
              <a:gd name="connsiteX1477" fmla="*/ 2488089 w 6530564"/>
              <a:gd name="connsiteY1477" fmla="*/ 1468873 h 6858000"/>
              <a:gd name="connsiteX1478" fmla="*/ 2483339 w 6530564"/>
              <a:gd name="connsiteY1478" fmla="*/ 1472039 h 6858000"/>
              <a:gd name="connsiteX1479" fmla="*/ 2486645 w 6530564"/>
              <a:gd name="connsiteY1479" fmla="*/ 1469475 h 6858000"/>
              <a:gd name="connsiteX1480" fmla="*/ 2428360 w 6530564"/>
              <a:gd name="connsiteY1480" fmla="*/ 1430993 h 6858000"/>
              <a:gd name="connsiteX1481" fmla="*/ 2428663 w 6530564"/>
              <a:gd name="connsiteY1481" fmla="*/ 1432410 h 6858000"/>
              <a:gd name="connsiteX1482" fmla="*/ 2423991 w 6530564"/>
              <a:gd name="connsiteY1482" fmla="*/ 1433409 h 6858000"/>
              <a:gd name="connsiteX1483" fmla="*/ 3312724 w 6530564"/>
              <a:gd name="connsiteY1483" fmla="*/ 1415766 h 6858000"/>
              <a:gd name="connsiteX1484" fmla="*/ 3256489 w 6530564"/>
              <a:gd name="connsiteY1484" fmla="*/ 1428825 h 6858000"/>
              <a:gd name="connsiteX1485" fmla="*/ 3219056 w 6530564"/>
              <a:gd name="connsiteY1485" fmla="*/ 1450437 h 6858000"/>
              <a:gd name="connsiteX1486" fmla="*/ 3264571 w 6530564"/>
              <a:gd name="connsiteY1486" fmla="*/ 1438022 h 6858000"/>
              <a:gd name="connsiteX1487" fmla="*/ 3145305 w 6530564"/>
              <a:gd name="connsiteY1487" fmla="*/ 1476381 h 6858000"/>
              <a:gd name="connsiteX1488" fmla="*/ 3078993 w 6530564"/>
              <a:gd name="connsiteY1488" fmla="*/ 1500802 h 6858000"/>
              <a:gd name="connsiteX1489" fmla="*/ 3032598 w 6530564"/>
              <a:gd name="connsiteY1489" fmla="*/ 1516496 h 6858000"/>
              <a:gd name="connsiteX1490" fmla="*/ 3010922 w 6530564"/>
              <a:gd name="connsiteY1490" fmla="*/ 1531783 h 6858000"/>
              <a:gd name="connsiteX1491" fmla="*/ 1851594 w 6530564"/>
              <a:gd name="connsiteY1491" fmla="*/ 3116159 h 6858000"/>
              <a:gd name="connsiteX1492" fmla="*/ 1924097 w 6530564"/>
              <a:gd name="connsiteY1492" fmla="*/ 3947739 h 6858000"/>
              <a:gd name="connsiteX1493" fmla="*/ 3149544 w 6530564"/>
              <a:gd name="connsiteY1493" fmla="*/ 5239426 h 6858000"/>
              <a:gd name="connsiteX1494" fmla="*/ 3272436 w 6530564"/>
              <a:gd name="connsiteY1494" fmla="*/ 5279386 h 6858000"/>
              <a:gd name="connsiteX1495" fmla="*/ 3274837 w 6530564"/>
              <a:gd name="connsiteY1495" fmla="*/ 5283546 h 6858000"/>
              <a:gd name="connsiteX1496" fmla="*/ 3284679 w 6530564"/>
              <a:gd name="connsiteY1496" fmla="*/ 5286183 h 6858000"/>
              <a:gd name="connsiteX1497" fmla="*/ 3288837 w 6530564"/>
              <a:gd name="connsiteY1497" fmla="*/ 5283781 h 6858000"/>
              <a:gd name="connsiteX1498" fmla="*/ 3380685 w 6530564"/>
              <a:gd name="connsiteY1498" fmla="*/ 5308392 h 6858000"/>
              <a:gd name="connsiteX1499" fmla="*/ 3599176 w 6530564"/>
              <a:gd name="connsiteY1499" fmla="*/ 5345842 h 6858000"/>
              <a:gd name="connsiteX1500" fmla="*/ 4305801 w 6530564"/>
              <a:gd name="connsiteY1500" fmla="*/ 5306654 h 6858000"/>
              <a:gd name="connsiteX1501" fmla="*/ 4682641 w 6530564"/>
              <a:gd name="connsiteY1501" fmla="*/ 5186132 h 6858000"/>
              <a:gd name="connsiteX1502" fmla="*/ 4677601 w 6530564"/>
              <a:gd name="connsiteY1502" fmla="*/ 5191813 h 6858000"/>
              <a:gd name="connsiteX1503" fmla="*/ 4733195 w 6530564"/>
              <a:gd name="connsiteY1503" fmla="*/ 5168036 h 6858000"/>
              <a:gd name="connsiteX1504" fmla="*/ 4762309 w 6530564"/>
              <a:gd name="connsiteY1504" fmla="*/ 5151226 h 6858000"/>
              <a:gd name="connsiteX1505" fmla="*/ 4852933 w 6530564"/>
              <a:gd name="connsiteY1505" fmla="*/ 5101678 h 6858000"/>
              <a:gd name="connsiteX1506" fmla="*/ 4886205 w 6530564"/>
              <a:gd name="connsiteY1506" fmla="*/ 5082466 h 6858000"/>
              <a:gd name="connsiteX1507" fmla="*/ 5167103 w 6530564"/>
              <a:gd name="connsiteY1507" fmla="*/ 4887015 h 6858000"/>
              <a:gd name="connsiteX1508" fmla="*/ 5099205 w 6530564"/>
              <a:gd name="connsiteY1508" fmla="*/ 4956718 h 6858000"/>
              <a:gd name="connsiteX1509" fmla="*/ 5079289 w 6530564"/>
              <a:gd name="connsiteY1509" fmla="*/ 4965443 h 6858000"/>
              <a:gd name="connsiteX1510" fmla="*/ 5004830 w 6530564"/>
              <a:gd name="connsiteY1510" fmla="*/ 5033389 h 6858000"/>
              <a:gd name="connsiteX1511" fmla="*/ 5039627 w 6530564"/>
              <a:gd name="connsiteY1511" fmla="*/ 5021617 h 6858000"/>
              <a:gd name="connsiteX1512" fmla="*/ 5104007 w 6530564"/>
              <a:gd name="connsiteY1512" fmla="*/ 4965035 h 6858000"/>
              <a:gd name="connsiteX1513" fmla="*/ 5123925 w 6530564"/>
              <a:gd name="connsiteY1513" fmla="*/ 4956309 h 6858000"/>
              <a:gd name="connsiteX1514" fmla="*/ 5168389 w 6530564"/>
              <a:gd name="connsiteY1514" fmla="*/ 4908456 h 6858000"/>
              <a:gd name="connsiteX1515" fmla="*/ 5221817 w 6530564"/>
              <a:gd name="connsiteY1515" fmla="*/ 4866518 h 6858000"/>
              <a:gd name="connsiteX1516" fmla="*/ 5229491 w 6530564"/>
              <a:gd name="connsiteY1516" fmla="*/ 4850995 h 6858000"/>
              <a:gd name="connsiteX1517" fmla="*/ 5255325 w 6530564"/>
              <a:gd name="connsiteY1517" fmla="*/ 4833307 h 6858000"/>
              <a:gd name="connsiteX1518" fmla="*/ 5282919 w 6530564"/>
              <a:gd name="connsiteY1518" fmla="*/ 4809059 h 6858000"/>
              <a:gd name="connsiteX1519" fmla="*/ 5300025 w 6530564"/>
              <a:gd name="connsiteY1519" fmla="*/ 4771452 h 6858000"/>
              <a:gd name="connsiteX1520" fmla="*/ 5287549 w 6530564"/>
              <a:gd name="connsiteY1520" fmla="*/ 4778657 h 6858000"/>
              <a:gd name="connsiteX1521" fmla="*/ 5820215 w 6530564"/>
              <a:gd name="connsiteY1521" fmla="*/ 3866642 h 6858000"/>
              <a:gd name="connsiteX1522" fmla="*/ 5820377 w 6530564"/>
              <a:gd name="connsiteY1522" fmla="*/ 3865901 h 6858000"/>
              <a:gd name="connsiteX1523" fmla="*/ 5786815 w 6530564"/>
              <a:gd name="connsiteY1523" fmla="*/ 3962149 h 6858000"/>
              <a:gd name="connsiteX1524" fmla="*/ 5689529 w 6530564"/>
              <a:gd name="connsiteY1524" fmla="*/ 4151358 h 6858000"/>
              <a:gd name="connsiteX1525" fmla="*/ 5652275 w 6530564"/>
              <a:gd name="connsiteY1525" fmla="*/ 4213857 h 6858000"/>
              <a:gd name="connsiteX1526" fmla="*/ 5648119 w 6530564"/>
              <a:gd name="connsiteY1526" fmla="*/ 4223529 h 6858000"/>
              <a:gd name="connsiteX1527" fmla="*/ 5290656 w 6530564"/>
              <a:gd name="connsiteY1527" fmla="*/ 4740814 h 6858000"/>
              <a:gd name="connsiteX1528" fmla="*/ 5293293 w 6530564"/>
              <a:gd name="connsiteY1528" fmla="*/ 4730974 h 6858000"/>
              <a:gd name="connsiteX1529" fmla="*/ 5252987 w 6530564"/>
              <a:gd name="connsiteY1529" fmla="*/ 4776428 h 6858000"/>
              <a:gd name="connsiteX1530" fmla="*/ 5200205 w 6530564"/>
              <a:gd name="connsiteY1530" fmla="*/ 4829085 h 6858000"/>
              <a:gd name="connsiteX1531" fmla="*/ 5167573 w 6530564"/>
              <a:gd name="connsiteY1531" fmla="*/ 4859015 h 6858000"/>
              <a:gd name="connsiteX1532" fmla="*/ 5164293 w 6530564"/>
              <a:gd name="connsiteY1532" fmla="*/ 4858136 h 6858000"/>
              <a:gd name="connsiteX1533" fmla="*/ 5163415 w 6530564"/>
              <a:gd name="connsiteY1533" fmla="*/ 4861416 h 6858000"/>
              <a:gd name="connsiteX1534" fmla="*/ 5159255 w 6530564"/>
              <a:gd name="connsiteY1534" fmla="*/ 4863817 h 6858000"/>
              <a:gd name="connsiteX1535" fmla="*/ 5154217 w 6530564"/>
              <a:gd name="connsiteY1535" fmla="*/ 4869499 h 6858000"/>
              <a:gd name="connsiteX1536" fmla="*/ 5139981 w 6530564"/>
              <a:gd name="connsiteY1536" fmla="*/ 4883264 h 6858000"/>
              <a:gd name="connsiteX1537" fmla="*/ 5089836 w 6530564"/>
              <a:gd name="connsiteY1537" fmla="*/ 4926080 h 6858000"/>
              <a:gd name="connsiteX1538" fmla="*/ 5068160 w 6530564"/>
              <a:gd name="connsiteY1538" fmla="*/ 4941369 h 6858000"/>
              <a:gd name="connsiteX1539" fmla="*/ 5019772 w 6530564"/>
              <a:gd name="connsiteY1539" fmla="*/ 4977623 h 6858000"/>
              <a:gd name="connsiteX1540" fmla="*/ 5020651 w 6530564"/>
              <a:gd name="connsiteY1540" fmla="*/ 4974342 h 6858000"/>
              <a:gd name="connsiteX1541" fmla="*/ 5011455 w 6530564"/>
              <a:gd name="connsiteY1541" fmla="*/ 4982425 h 6858000"/>
              <a:gd name="connsiteX1542" fmla="*/ 4305801 w 6530564"/>
              <a:gd name="connsiteY1542" fmla="*/ 5306654 h 6858000"/>
              <a:gd name="connsiteX1543" fmla="*/ 3402360 w 6530564"/>
              <a:gd name="connsiteY1543" fmla="*/ 5293105 h 6858000"/>
              <a:gd name="connsiteX1544" fmla="*/ 3404117 w 6530564"/>
              <a:gd name="connsiteY1544" fmla="*/ 5286544 h 6858000"/>
              <a:gd name="connsiteX1545" fmla="*/ 3508914 w 6530564"/>
              <a:gd name="connsiteY1545" fmla="*/ 5275951 h 6858000"/>
              <a:gd name="connsiteX1546" fmla="*/ 3496671 w 6530564"/>
              <a:gd name="connsiteY1546" fmla="*/ 5269154 h 6858000"/>
              <a:gd name="connsiteX1547" fmla="*/ 3557475 w 6530564"/>
              <a:gd name="connsiteY1547" fmla="*/ 5278414 h 6858000"/>
              <a:gd name="connsiteX1548" fmla="*/ 3604513 w 6530564"/>
              <a:gd name="connsiteY1548" fmla="*/ 5273439 h 6858000"/>
              <a:gd name="connsiteX1549" fmla="*/ 3573468 w 6530564"/>
              <a:gd name="connsiteY1549" fmla="*/ 5258088 h 6858000"/>
              <a:gd name="connsiteX1550" fmla="*/ 3577628 w 6530564"/>
              <a:gd name="connsiteY1550" fmla="*/ 5255687 h 6858000"/>
              <a:gd name="connsiteX1551" fmla="*/ 3580907 w 6530564"/>
              <a:gd name="connsiteY1551" fmla="*/ 5256567 h 6858000"/>
              <a:gd name="connsiteX1552" fmla="*/ 3584189 w 6530564"/>
              <a:gd name="connsiteY1552" fmla="*/ 5257445 h 6858000"/>
              <a:gd name="connsiteX1553" fmla="*/ 3590749 w 6530564"/>
              <a:gd name="connsiteY1553" fmla="*/ 5259203 h 6858000"/>
              <a:gd name="connsiteX1554" fmla="*/ 3588347 w 6530564"/>
              <a:gd name="connsiteY1554" fmla="*/ 5255045 h 6858000"/>
              <a:gd name="connsiteX1555" fmla="*/ 3585065 w 6530564"/>
              <a:gd name="connsiteY1555" fmla="*/ 5254166 h 6858000"/>
              <a:gd name="connsiteX1556" fmla="*/ 3581787 w 6530564"/>
              <a:gd name="connsiteY1556" fmla="*/ 5253286 h 6858000"/>
              <a:gd name="connsiteX1557" fmla="*/ 3572825 w 6530564"/>
              <a:gd name="connsiteY1557" fmla="*/ 5247369 h 6858000"/>
              <a:gd name="connsiteX1558" fmla="*/ 3568666 w 6530564"/>
              <a:gd name="connsiteY1558" fmla="*/ 5249771 h 6858000"/>
              <a:gd name="connsiteX1559" fmla="*/ 3571945 w 6530564"/>
              <a:gd name="connsiteY1559" fmla="*/ 5250649 h 6858000"/>
              <a:gd name="connsiteX1560" fmla="*/ 3574346 w 6530564"/>
              <a:gd name="connsiteY1560" fmla="*/ 5254808 h 6858000"/>
              <a:gd name="connsiteX1561" fmla="*/ 3564507 w 6530564"/>
              <a:gd name="connsiteY1561" fmla="*/ 5252171 h 6858000"/>
              <a:gd name="connsiteX1562" fmla="*/ 3561226 w 6530564"/>
              <a:gd name="connsiteY1562" fmla="*/ 5251293 h 6858000"/>
              <a:gd name="connsiteX1563" fmla="*/ 3539378 w 6530564"/>
              <a:gd name="connsiteY1563" fmla="*/ 5227860 h 6858000"/>
              <a:gd name="connsiteX1564" fmla="*/ 3579620 w 6530564"/>
              <a:gd name="connsiteY1564" fmla="*/ 5235127 h 6858000"/>
              <a:gd name="connsiteX1565" fmla="*/ 3570016 w 6530564"/>
              <a:gd name="connsiteY1565" fmla="*/ 5218490 h 6858000"/>
              <a:gd name="connsiteX1566" fmla="*/ 3657531 w 6530564"/>
              <a:gd name="connsiteY1566" fmla="*/ 5206782 h 6858000"/>
              <a:gd name="connsiteX1567" fmla="*/ 3660813 w 6530564"/>
              <a:gd name="connsiteY1567" fmla="*/ 5207661 h 6858000"/>
              <a:gd name="connsiteX1568" fmla="*/ 3667372 w 6530564"/>
              <a:gd name="connsiteY1568" fmla="*/ 5209419 h 6858000"/>
              <a:gd name="connsiteX1569" fmla="*/ 3671532 w 6530564"/>
              <a:gd name="connsiteY1569" fmla="*/ 5207018 h 6858000"/>
              <a:gd name="connsiteX1570" fmla="*/ 3710251 w 6530564"/>
              <a:gd name="connsiteY1570" fmla="*/ 5206844 h 6858000"/>
              <a:gd name="connsiteX1571" fmla="*/ 3724251 w 6530564"/>
              <a:gd name="connsiteY1571" fmla="*/ 5207082 h 6858000"/>
              <a:gd name="connsiteX1572" fmla="*/ 3728411 w 6530564"/>
              <a:gd name="connsiteY1572" fmla="*/ 5204679 h 6858000"/>
              <a:gd name="connsiteX1573" fmla="*/ 3731689 w 6530564"/>
              <a:gd name="connsiteY1573" fmla="*/ 5205559 h 6858000"/>
              <a:gd name="connsiteX1574" fmla="*/ 3732569 w 6530564"/>
              <a:gd name="connsiteY1574" fmla="*/ 5202278 h 6858000"/>
              <a:gd name="connsiteX1575" fmla="*/ 3735849 w 6530564"/>
              <a:gd name="connsiteY1575" fmla="*/ 5203156 h 6858000"/>
              <a:gd name="connsiteX1576" fmla="*/ 3750729 w 6530564"/>
              <a:gd name="connsiteY1576" fmla="*/ 5200112 h 6858000"/>
              <a:gd name="connsiteX1577" fmla="*/ 3741767 w 6530564"/>
              <a:gd name="connsiteY1577" fmla="*/ 5194194 h 6858000"/>
              <a:gd name="connsiteX1578" fmla="*/ 3750085 w 6530564"/>
              <a:gd name="connsiteY1578" fmla="*/ 5189392 h 6858000"/>
              <a:gd name="connsiteX1579" fmla="*/ 3780485 w 6530564"/>
              <a:gd name="connsiteY1579" fmla="*/ 5194022 h 6858000"/>
              <a:gd name="connsiteX1580" fmla="*/ 3866245 w 6530564"/>
              <a:gd name="connsiteY1580" fmla="*/ 5188875 h 6858000"/>
              <a:gd name="connsiteX1581" fmla="*/ 3887685 w 6530564"/>
              <a:gd name="connsiteY1581" fmla="*/ 5187588 h 6858000"/>
              <a:gd name="connsiteX1582" fmla="*/ 3959442 w 6530564"/>
              <a:gd name="connsiteY1582" fmla="*/ 5182205 h 6858000"/>
              <a:gd name="connsiteX1583" fmla="*/ 3969282 w 6530564"/>
              <a:gd name="connsiteY1583" fmla="*/ 5184842 h 6858000"/>
              <a:gd name="connsiteX1584" fmla="*/ 3977601 w 6530564"/>
              <a:gd name="connsiteY1584" fmla="*/ 5180038 h 6858000"/>
              <a:gd name="connsiteX1585" fmla="*/ 3980003 w 6530564"/>
              <a:gd name="connsiteY1585" fmla="*/ 5184199 h 6858000"/>
              <a:gd name="connsiteX1586" fmla="*/ 4031200 w 6530564"/>
              <a:gd name="connsiteY1586" fmla="*/ 5176823 h 6858000"/>
              <a:gd name="connsiteX1587" fmla="*/ 4029443 w 6530564"/>
              <a:gd name="connsiteY1587" fmla="*/ 5183383 h 6858000"/>
              <a:gd name="connsiteX1588" fmla="*/ 4041919 w 6530564"/>
              <a:gd name="connsiteY1588" fmla="*/ 5176178 h 6858000"/>
              <a:gd name="connsiteX1589" fmla="*/ 4067519 w 6530564"/>
              <a:gd name="connsiteY1589" fmla="*/ 5172490 h 6858000"/>
              <a:gd name="connsiteX1590" fmla="*/ 4070798 w 6530564"/>
              <a:gd name="connsiteY1590" fmla="*/ 5173369 h 6858000"/>
              <a:gd name="connsiteX1591" fmla="*/ 4069920 w 6530564"/>
              <a:gd name="connsiteY1591" fmla="*/ 5176648 h 6858000"/>
              <a:gd name="connsiteX1592" fmla="*/ 4069041 w 6530564"/>
              <a:gd name="connsiteY1592" fmla="*/ 5179929 h 6858000"/>
              <a:gd name="connsiteX1593" fmla="*/ 4072321 w 6530564"/>
              <a:gd name="connsiteY1593" fmla="*/ 5180808 h 6858000"/>
              <a:gd name="connsiteX1594" fmla="*/ 4089601 w 6530564"/>
              <a:gd name="connsiteY1594" fmla="*/ 5181922 h 6858000"/>
              <a:gd name="connsiteX1595" fmla="*/ 4088723 w 6530564"/>
              <a:gd name="connsiteY1595" fmla="*/ 5185204 h 6858000"/>
              <a:gd name="connsiteX1596" fmla="*/ 4092003 w 6530564"/>
              <a:gd name="connsiteY1596" fmla="*/ 5186082 h 6858000"/>
              <a:gd name="connsiteX1597" fmla="*/ 4096162 w 6530564"/>
              <a:gd name="connsiteY1597" fmla="*/ 5183681 h 6858000"/>
              <a:gd name="connsiteX1598" fmla="*/ 4165519 w 6530564"/>
              <a:gd name="connsiteY1598" fmla="*/ 5174139 h 6858000"/>
              <a:gd name="connsiteX1599" fmla="*/ 4237513 w 6530564"/>
              <a:gd name="connsiteY1599" fmla="*/ 5154755 h 6858000"/>
              <a:gd name="connsiteX1600" fmla="*/ 4264671 w 6530564"/>
              <a:gd name="connsiteY1600" fmla="*/ 5150166 h 6858000"/>
              <a:gd name="connsiteX1601" fmla="*/ 4275426 w 6530564"/>
              <a:gd name="connsiteY1601" fmla="*/ 5147224 h 6858000"/>
              <a:gd name="connsiteX1602" fmla="*/ 4225547 w 6530564"/>
              <a:gd name="connsiteY1602" fmla="*/ 5155482 h 6858000"/>
              <a:gd name="connsiteX1603" fmla="*/ 3777147 w 6530564"/>
              <a:gd name="connsiteY1603" fmla="*/ 5162641 h 6858000"/>
              <a:gd name="connsiteX1604" fmla="*/ 3607202 w 6530564"/>
              <a:gd name="connsiteY1604" fmla="*/ 5141859 h 6858000"/>
              <a:gd name="connsiteX1605" fmla="*/ 3593293 w 6530564"/>
              <a:gd name="connsiteY1605" fmla="*/ 5134094 h 6858000"/>
              <a:gd name="connsiteX1606" fmla="*/ 3601266 w 6530564"/>
              <a:gd name="connsiteY1606" fmla="*/ 5128978 h 6858000"/>
              <a:gd name="connsiteX1607" fmla="*/ 4150133 w 6530564"/>
              <a:gd name="connsiteY1607" fmla="*/ 5138134 h 6858000"/>
              <a:gd name="connsiteX1608" fmla="*/ 4432718 w 6530564"/>
              <a:gd name="connsiteY1608" fmla="*/ 5085854 h 6858000"/>
              <a:gd name="connsiteX1609" fmla="*/ 4466865 w 6530564"/>
              <a:gd name="connsiteY1609" fmla="*/ 5078886 h 6858000"/>
              <a:gd name="connsiteX1610" fmla="*/ 4480356 w 6530564"/>
              <a:gd name="connsiteY1610" fmla="*/ 5069063 h 6858000"/>
              <a:gd name="connsiteX1611" fmla="*/ 4462767 w 6530564"/>
              <a:gd name="connsiteY1611" fmla="*/ 5061914 h 6858000"/>
              <a:gd name="connsiteX1612" fmla="*/ 4330679 w 6530564"/>
              <a:gd name="connsiteY1612" fmla="*/ 5094082 h 6858000"/>
              <a:gd name="connsiteX1613" fmla="*/ 4193125 w 6530564"/>
              <a:gd name="connsiteY1613" fmla="*/ 5115579 h 6858000"/>
              <a:gd name="connsiteX1614" fmla="*/ 4089964 w 6530564"/>
              <a:gd name="connsiteY1614" fmla="*/ 5124917 h 6858000"/>
              <a:gd name="connsiteX1615" fmla="*/ 4090545 w 6530564"/>
              <a:gd name="connsiteY1615" fmla="*/ 5125923 h 6858000"/>
              <a:gd name="connsiteX1616" fmla="*/ 4046787 w 6530564"/>
              <a:gd name="connsiteY1616" fmla="*/ 5131776 h 6858000"/>
              <a:gd name="connsiteX1617" fmla="*/ 4047666 w 6530564"/>
              <a:gd name="connsiteY1617" fmla="*/ 5128497 h 6858000"/>
              <a:gd name="connsiteX1618" fmla="*/ 4061664 w 6530564"/>
              <a:gd name="connsiteY1618" fmla="*/ 5128732 h 6858000"/>
              <a:gd name="connsiteX1619" fmla="*/ 4072652 w 6530564"/>
              <a:gd name="connsiteY1619" fmla="*/ 5126484 h 6858000"/>
              <a:gd name="connsiteX1620" fmla="*/ 4056543 w 6530564"/>
              <a:gd name="connsiteY1620" fmla="*/ 5127942 h 6858000"/>
              <a:gd name="connsiteX1621" fmla="*/ 4025363 w 6530564"/>
              <a:gd name="connsiteY1621" fmla="*/ 5128577 h 6858000"/>
              <a:gd name="connsiteX1622" fmla="*/ 4022586 w 6530564"/>
              <a:gd name="connsiteY1622" fmla="*/ 5131884 h 6858000"/>
              <a:gd name="connsiteX1623" fmla="*/ 4021187 w 6530564"/>
              <a:gd name="connsiteY1623" fmla="*/ 5135465 h 6858000"/>
              <a:gd name="connsiteX1624" fmla="*/ 4014626 w 6530564"/>
              <a:gd name="connsiteY1624" fmla="*/ 5133707 h 6858000"/>
              <a:gd name="connsiteX1625" fmla="*/ 4015505 w 6530564"/>
              <a:gd name="connsiteY1625" fmla="*/ 5130427 h 6858000"/>
              <a:gd name="connsiteX1626" fmla="*/ 4012226 w 6530564"/>
              <a:gd name="connsiteY1626" fmla="*/ 5129549 h 6858000"/>
              <a:gd name="connsiteX1627" fmla="*/ 4009785 w 6530564"/>
              <a:gd name="connsiteY1627" fmla="*/ 5128894 h 6858000"/>
              <a:gd name="connsiteX1628" fmla="*/ 3920985 w 6530564"/>
              <a:gd name="connsiteY1628" fmla="*/ 5130704 h 6858000"/>
              <a:gd name="connsiteX1629" fmla="*/ 3897176 w 6530564"/>
              <a:gd name="connsiteY1629" fmla="*/ 5129411 h 6858000"/>
              <a:gd name="connsiteX1630" fmla="*/ 3884467 w 6530564"/>
              <a:gd name="connsiteY1630" fmla="*/ 5133988 h 6858000"/>
              <a:gd name="connsiteX1631" fmla="*/ 3866308 w 6530564"/>
              <a:gd name="connsiteY1631" fmla="*/ 5136155 h 6858000"/>
              <a:gd name="connsiteX1632" fmla="*/ 3845748 w 6530564"/>
              <a:gd name="connsiteY1632" fmla="*/ 5134162 h 6858000"/>
              <a:gd name="connsiteX1633" fmla="*/ 3821029 w 6530564"/>
              <a:gd name="connsiteY1633" fmla="*/ 5134569 h 6858000"/>
              <a:gd name="connsiteX1634" fmla="*/ 3786467 w 6530564"/>
              <a:gd name="connsiteY1634" fmla="*/ 5132340 h 6858000"/>
              <a:gd name="connsiteX1635" fmla="*/ 3765027 w 6530564"/>
              <a:gd name="connsiteY1635" fmla="*/ 5133628 h 6858000"/>
              <a:gd name="connsiteX1636" fmla="*/ 3761746 w 6530564"/>
              <a:gd name="connsiteY1636" fmla="*/ 5132748 h 6858000"/>
              <a:gd name="connsiteX1637" fmla="*/ 3733748 w 6530564"/>
              <a:gd name="connsiteY1637" fmla="*/ 5132278 h 6858000"/>
              <a:gd name="connsiteX1638" fmla="*/ 3709028 w 6530564"/>
              <a:gd name="connsiteY1638" fmla="*/ 5132686 h 6858000"/>
              <a:gd name="connsiteX1639" fmla="*/ 3698308 w 6530564"/>
              <a:gd name="connsiteY1639" fmla="*/ 5133328 h 6858000"/>
              <a:gd name="connsiteX1640" fmla="*/ 3695027 w 6530564"/>
              <a:gd name="connsiteY1640" fmla="*/ 5132450 h 6858000"/>
              <a:gd name="connsiteX1641" fmla="*/ 3686065 w 6530564"/>
              <a:gd name="connsiteY1641" fmla="*/ 5126532 h 6858000"/>
              <a:gd name="connsiteX1642" fmla="*/ 3682787 w 6530564"/>
              <a:gd name="connsiteY1642" fmla="*/ 5125654 h 6858000"/>
              <a:gd name="connsiteX1643" fmla="*/ 3675347 w 6530564"/>
              <a:gd name="connsiteY1643" fmla="*/ 5127176 h 6858000"/>
              <a:gd name="connsiteX1644" fmla="*/ 3674467 w 6530564"/>
              <a:gd name="connsiteY1644" fmla="*/ 5130457 h 6858000"/>
              <a:gd name="connsiteX1645" fmla="*/ 3658065 w 6530564"/>
              <a:gd name="connsiteY1645" fmla="*/ 5126062 h 6858000"/>
              <a:gd name="connsiteX1646" fmla="*/ 3653907 w 6530564"/>
              <a:gd name="connsiteY1646" fmla="*/ 5128463 h 6858000"/>
              <a:gd name="connsiteX1647" fmla="*/ 3657187 w 6530564"/>
              <a:gd name="connsiteY1647" fmla="*/ 5129341 h 6858000"/>
              <a:gd name="connsiteX1648" fmla="*/ 3674467 w 6530564"/>
              <a:gd name="connsiteY1648" fmla="*/ 5130457 h 6858000"/>
              <a:gd name="connsiteX1649" fmla="*/ 3673588 w 6530564"/>
              <a:gd name="connsiteY1649" fmla="*/ 5133737 h 6858000"/>
              <a:gd name="connsiteX1650" fmla="*/ 3667027 w 6530564"/>
              <a:gd name="connsiteY1650" fmla="*/ 5131978 h 6858000"/>
              <a:gd name="connsiteX1651" fmla="*/ 3663747 w 6530564"/>
              <a:gd name="connsiteY1651" fmla="*/ 5131100 h 6858000"/>
              <a:gd name="connsiteX1652" fmla="*/ 3653027 w 6530564"/>
              <a:gd name="connsiteY1652" fmla="*/ 5131744 h 6858000"/>
              <a:gd name="connsiteX1653" fmla="*/ 3639907 w 6530564"/>
              <a:gd name="connsiteY1653" fmla="*/ 5128227 h 6858000"/>
              <a:gd name="connsiteX1654" fmla="*/ 3644067 w 6530564"/>
              <a:gd name="connsiteY1654" fmla="*/ 5125825 h 6858000"/>
              <a:gd name="connsiteX1655" fmla="*/ 3637506 w 6530564"/>
              <a:gd name="connsiteY1655" fmla="*/ 5124069 h 6858000"/>
              <a:gd name="connsiteX1656" fmla="*/ 3630945 w 6530564"/>
              <a:gd name="connsiteY1656" fmla="*/ 5122310 h 6858000"/>
              <a:gd name="connsiteX1657" fmla="*/ 3620224 w 6530564"/>
              <a:gd name="connsiteY1657" fmla="*/ 5122954 h 6858000"/>
              <a:gd name="connsiteX1658" fmla="*/ 3613665 w 6530564"/>
              <a:gd name="connsiteY1658" fmla="*/ 5121196 h 6858000"/>
              <a:gd name="connsiteX1659" fmla="*/ 3609505 w 6530564"/>
              <a:gd name="connsiteY1659" fmla="*/ 5123597 h 6858000"/>
              <a:gd name="connsiteX1660" fmla="*/ 3598785 w 6530564"/>
              <a:gd name="connsiteY1660" fmla="*/ 5124241 h 6858000"/>
              <a:gd name="connsiteX1661" fmla="*/ 3592225 w 6530564"/>
              <a:gd name="connsiteY1661" fmla="*/ 5122483 h 6858000"/>
              <a:gd name="connsiteX1662" fmla="*/ 3589823 w 6530564"/>
              <a:gd name="connsiteY1662" fmla="*/ 5118324 h 6858000"/>
              <a:gd name="connsiteX1663" fmla="*/ 3585664 w 6530564"/>
              <a:gd name="connsiteY1663" fmla="*/ 5120726 h 6858000"/>
              <a:gd name="connsiteX1664" fmla="*/ 3579982 w 6530564"/>
              <a:gd name="connsiteY1664" fmla="*/ 5115687 h 6858000"/>
              <a:gd name="connsiteX1665" fmla="*/ 3572542 w 6530564"/>
              <a:gd name="connsiteY1665" fmla="*/ 5117210 h 6858000"/>
              <a:gd name="connsiteX1666" fmla="*/ 3574945 w 6530564"/>
              <a:gd name="connsiteY1666" fmla="*/ 5121368 h 6858000"/>
              <a:gd name="connsiteX1667" fmla="*/ 3565103 w 6530564"/>
              <a:gd name="connsiteY1667" fmla="*/ 5118731 h 6858000"/>
              <a:gd name="connsiteX1668" fmla="*/ 3561823 w 6530564"/>
              <a:gd name="connsiteY1668" fmla="*/ 5117852 h 6858000"/>
              <a:gd name="connsiteX1669" fmla="*/ 3547823 w 6530564"/>
              <a:gd name="connsiteY1669" fmla="*/ 5117617 h 6858000"/>
              <a:gd name="connsiteX1670" fmla="*/ 3534703 w 6530564"/>
              <a:gd name="connsiteY1670" fmla="*/ 5114101 h 6858000"/>
              <a:gd name="connsiteX1671" fmla="*/ 3524861 w 6530564"/>
              <a:gd name="connsiteY1671" fmla="*/ 5111464 h 6858000"/>
              <a:gd name="connsiteX1672" fmla="*/ 3505180 w 6530564"/>
              <a:gd name="connsiteY1672" fmla="*/ 5106191 h 6858000"/>
              <a:gd name="connsiteX1673" fmla="*/ 3496218 w 6530564"/>
              <a:gd name="connsiteY1673" fmla="*/ 5100273 h 6858000"/>
              <a:gd name="connsiteX1674" fmla="*/ 3500377 w 6530564"/>
              <a:gd name="connsiteY1674" fmla="*/ 5097872 h 6858000"/>
              <a:gd name="connsiteX1675" fmla="*/ 3504537 w 6530564"/>
              <a:gd name="connsiteY1675" fmla="*/ 5095471 h 6858000"/>
              <a:gd name="connsiteX1676" fmla="*/ 3501256 w 6530564"/>
              <a:gd name="connsiteY1676" fmla="*/ 5094592 h 6858000"/>
              <a:gd name="connsiteX1677" fmla="*/ 3497975 w 6530564"/>
              <a:gd name="connsiteY1677" fmla="*/ 5093714 h 6858000"/>
              <a:gd name="connsiteX1678" fmla="*/ 3493817 w 6530564"/>
              <a:gd name="connsiteY1678" fmla="*/ 5096115 h 6858000"/>
              <a:gd name="connsiteX1679" fmla="*/ 3489659 w 6530564"/>
              <a:gd name="connsiteY1679" fmla="*/ 5098516 h 6858000"/>
              <a:gd name="connsiteX1680" fmla="*/ 3488778 w 6530564"/>
              <a:gd name="connsiteY1680" fmla="*/ 5101796 h 6858000"/>
              <a:gd name="connsiteX1681" fmla="*/ 3504301 w 6530564"/>
              <a:gd name="connsiteY1681" fmla="*/ 5109471 h 6858000"/>
              <a:gd name="connsiteX1682" fmla="*/ 3507581 w 6530564"/>
              <a:gd name="connsiteY1682" fmla="*/ 5110349 h 6858000"/>
              <a:gd name="connsiteX1683" fmla="*/ 3520701 w 6530564"/>
              <a:gd name="connsiteY1683" fmla="*/ 5113865 h 6858000"/>
              <a:gd name="connsiteX1684" fmla="*/ 3527262 w 6530564"/>
              <a:gd name="connsiteY1684" fmla="*/ 5115624 h 6858000"/>
              <a:gd name="connsiteX1685" fmla="*/ 3509983 w 6530564"/>
              <a:gd name="connsiteY1685" fmla="*/ 5114509 h 6858000"/>
              <a:gd name="connsiteX1686" fmla="*/ 3489421 w 6530564"/>
              <a:gd name="connsiteY1686" fmla="*/ 5112516 h 6858000"/>
              <a:gd name="connsiteX1687" fmla="*/ 3483740 w 6530564"/>
              <a:gd name="connsiteY1687" fmla="*/ 5107478 h 6858000"/>
              <a:gd name="connsiteX1688" fmla="*/ 3477179 w 6530564"/>
              <a:gd name="connsiteY1688" fmla="*/ 5105719 h 6858000"/>
              <a:gd name="connsiteX1689" fmla="*/ 3460778 w 6530564"/>
              <a:gd name="connsiteY1689" fmla="*/ 5101325 h 6858000"/>
              <a:gd name="connsiteX1690" fmla="*/ 3464938 w 6530564"/>
              <a:gd name="connsiteY1690" fmla="*/ 5098924 h 6858000"/>
              <a:gd name="connsiteX1691" fmla="*/ 3465816 w 6530564"/>
              <a:gd name="connsiteY1691" fmla="*/ 5095643 h 6858000"/>
              <a:gd name="connsiteX1692" fmla="*/ 3462537 w 6530564"/>
              <a:gd name="connsiteY1692" fmla="*/ 5094765 h 6858000"/>
              <a:gd name="connsiteX1693" fmla="*/ 3459257 w 6530564"/>
              <a:gd name="connsiteY1693" fmla="*/ 5093886 h 6858000"/>
              <a:gd name="connsiteX1694" fmla="*/ 3455097 w 6530564"/>
              <a:gd name="connsiteY1694" fmla="*/ 5096287 h 6858000"/>
              <a:gd name="connsiteX1695" fmla="*/ 3451816 w 6530564"/>
              <a:gd name="connsiteY1695" fmla="*/ 5095409 h 6858000"/>
              <a:gd name="connsiteX1696" fmla="*/ 3448536 w 6530564"/>
              <a:gd name="connsiteY1696" fmla="*/ 5094529 h 6858000"/>
              <a:gd name="connsiteX1697" fmla="*/ 3434537 w 6530564"/>
              <a:gd name="connsiteY1697" fmla="*/ 5094294 h 6858000"/>
              <a:gd name="connsiteX1698" fmla="*/ 3418134 w 6530564"/>
              <a:gd name="connsiteY1698" fmla="*/ 5089898 h 6858000"/>
              <a:gd name="connsiteX1699" fmla="*/ 3415734 w 6530564"/>
              <a:gd name="connsiteY1699" fmla="*/ 5085739 h 6858000"/>
              <a:gd name="connsiteX1700" fmla="*/ 3419893 w 6530564"/>
              <a:gd name="connsiteY1700" fmla="*/ 5083337 h 6858000"/>
              <a:gd name="connsiteX1701" fmla="*/ 3460135 w 6530564"/>
              <a:gd name="connsiteY1701" fmla="*/ 5090605 h 6858000"/>
              <a:gd name="connsiteX1702" fmla="*/ 3463417 w 6530564"/>
              <a:gd name="connsiteY1702" fmla="*/ 5091485 h 6858000"/>
              <a:gd name="connsiteX1703" fmla="*/ 3461014 w 6530564"/>
              <a:gd name="connsiteY1703" fmla="*/ 5087326 h 6858000"/>
              <a:gd name="connsiteX1704" fmla="*/ 3420771 w 6530564"/>
              <a:gd name="connsiteY1704" fmla="*/ 5080058 h 6858000"/>
              <a:gd name="connsiteX1705" fmla="*/ 3416848 w 6530564"/>
              <a:gd name="connsiteY1705" fmla="*/ 5068459 h 6858000"/>
              <a:gd name="connsiteX1706" fmla="*/ 3382522 w 6530564"/>
              <a:gd name="connsiteY1706" fmla="*/ 5052230 h 6858000"/>
              <a:gd name="connsiteX1707" fmla="*/ 3258344 w 6530564"/>
              <a:gd name="connsiteY1707" fmla="*/ 4990831 h 6858000"/>
              <a:gd name="connsiteX1708" fmla="*/ 3255064 w 6530564"/>
              <a:gd name="connsiteY1708" fmla="*/ 4989952 h 6858000"/>
              <a:gd name="connsiteX1709" fmla="*/ 3251783 w 6530564"/>
              <a:gd name="connsiteY1709" fmla="*/ 4989072 h 6858000"/>
              <a:gd name="connsiteX1710" fmla="*/ 3254186 w 6530564"/>
              <a:gd name="connsiteY1710" fmla="*/ 4993232 h 6858000"/>
              <a:gd name="connsiteX1711" fmla="*/ 3375085 w 6530564"/>
              <a:gd name="connsiteY1711" fmla="*/ 5053753 h 6858000"/>
              <a:gd name="connsiteX1712" fmla="*/ 3371803 w 6530564"/>
              <a:gd name="connsiteY1712" fmla="*/ 5052874 h 6858000"/>
              <a:gd name="connsiteX1713" fmla="*/ 3376606 w 6530564"/>
              <a:gd name="connsiteY1713" fmla="*/ 5061192 h 6858000"/>
              <a:gd name="connsiteX1714" fmla="*/ 3366767 w 6530564"/>
              <a:gd name="connsiteY1714" fmla="*/ 5058555 h 6858000"/>
              <a:gd name="connsiteX1715" fmla="*/ 3367645 w 6530564"/>
              <a:gd name="connsiteY1715" fmla="*/ 5055275 h 6858000"/>
              <a:gd name="connsiteX1716" fmla="*/ 3364364 w 6530564"/>
              <a:gd name="connsiteY1716" fmla="*/ 5054397 h 6858000"/>
              <a:gd name="connsiteX1717" fmla="*/ 3361083 w 6530564"/>
              <a:gd name="connsiteY1717" fmla="*/ 5053517 h 6858000"/>
              <a:gd name="connsiteX1718" fmla="*/ 3360205 w 6530564"/>
              <a:gd name="connsiteY1718" fmla="*/ 5056798 h 6858000"/>
              <a:gd name="connsiteX1719" fmla="*/ 3344683 w 6530564"/>
              <a:gd name="connsiteY1719" fmla="*/ 5049123 h 6858000"/>
              <a:gd name="connsiteX1720" fmla="*/ 3338122 w 6530564"/>
              <a:gd name="connsiteY1720" fmla="*/ 5047364 h 6858000"/>
              <a:gd name="connsiteX1721" fmla="*/ 3328281 w 6530564"/>
              <a:gd name="connsiteY1721" fmla="*/ 5044727 h 6858000"/>
              <a:gd name="connsiteX1722" fmla="*/ 3325001 w 6530564"/>
              <a:gd name="connsiteY1722" fmla="*/ 5043849 h 6858000"/>
              <a:gd name="connsiteX1723" fmla="*/ 3322599 w 6530564"/>
              <a:gd name="connsiteY1723" fmla="*/ 5039690 h 6858000"/>
              <a:gd name="connsiteX1724" fmla="*/ 3316040 w 6530564"/>
              <a:gd name="connsiteY1724" fmla="*/ 5037932 h 6858000"/>
              <a:gd name="connsiteX1725" fmla="*/ 3311880 w 6530564"/>
              <a:gd name="connsiteY1725" fmla="*/ 5040333 h 6858000"/>
              <a:gd name="connsiteX1726" fmla="*/ 3233153 w 6530564"/>
              <a:gd name="connsiteY1726" fmla="*/ 5019238 h 6858000"/>
              <a:gd name="connsiteX1727" fmla="*/ 3198829 w 6530564"/>
              <a:gd name="connsiteY1727" fmla="*/ 5003009 h 6858000"/>
              <a:gd name="connsiteX1728" fmla="*/ 3201230 w 6530564"/>
              <a:gd name="connsiteY1728" fmla="*/ 5007168 h 6858000"/>
              <a:gd name="connsiteX1729" fmla="*/ 3137383 w 6530564"/>
              <a:gd name="connsiteY1729" fmla="*/ 4983030 h 6858000"/>
              <a:gd name="connsiteX1730" fmla="*/ 3133223 w 6530564"/>
              <a:gd name="connsiteY1730" fmla="*/ 4985431 h 6858000"/>
              <a:gd name="connsiteX1731" fmla="*/ 3117700 w 6530564"/>
              <a:gd name="connsiteY1731" fmla="*/ 4977756 h 6858000"/>
              <a:gd name="connsiteX1732" fmla="*/ 3115299 w 6530564"/>
              <a:gd name="connsiteY1732" fmla="*/ 4973596 h 6858000"/>
              <a:gd name="connsiteX1733" fmla="*/ 3107860 w 6530564"/>
              <a:gd name="connsiteY1733" fmla="*/ 4975119 h 6858000"/>
              <a:gd name="connsiteX1734" fmla="*/ 3089059 w 6530564"/>
              <a:gd name="connsiteY1734" fmla="*/ 4966565 h 6858000"/>
              <a:gd name="connsiteX1735" fmla="*/ 3085777 w 6530564"/>
              <a:gd name="connsiteY1735" fmla="*/ 4965684 h 6858000"/>
              <a:gd name="connsiteX1736" fmla="*/ 3076815 w 6530564"/>
              <a:gd name="connsiteY1736" fmla="*/ 4959768 h 6858000"/>
              <a:gd name="connsiteX1737" fmla="*/ 3073536 w 6530564"/>
              <a:gd name="connsiteY1737" fmla="*/ 4958890 h 6858000"/>
              <a:gd name="connsiteX1738" fmla="*/ 3070254 w 6530564"/>
              <a:gd name="connsiteY1738" fmla="*/ 4958011 h 6858000"/>
              <a:gd name="connsiteX1739" fmla="*/ 3018005 w 6530564"/>
              <a:gd name="connsiteY1739" fmla="*/ 4929948 h 6858000"/>
              <a:gd name="connsiteX1740" fmla="*/ 3008164 w 6530564"/>
              <a:gd name="connsiteY1740" fmla="*/ 4927311 h 6858000"/>
              <a:gd name="connsiteX1741" fmla="*/ 3004884 w 6530564"/>
              <a:gd name="connsiteY1741" fmla="*/ 4926433 h 6858000"/>
              <a:gd name="connsiteX1742" fmla="*/ 2991763 w 6530564"/>
              <a:gd name="connsiteY1742" fmla="*/ 4922918 h 6858000"/>
              <a:gd name="connsiteX1743" fmla="*/ 2959196 w 6530564"/>
              <a:gd name="connsiteY1743" fmla="*/ 4900127 h 6858000"/>
              <a:gd name="connsiteX1744" fmla="*/ 2832851 w 6530564"/>
              <a:gd name="connsiteY1744" fmla="*/ 4820566 h 6858000"/>
              <a:gd name="connsiteX1745" fmla="*/ 2829571 w 6530564"/>
              <a:gd name="connsiteY1745" fmla="*/ 4819688 h 6858000"/>
              <a:gd name="connsiteX1746" fmla="*/ 2827170 w 6530564"/>
              <a:gd name="connsiteY1746" fmla="*/ 4815530 h 6858000"/>
              <a:gd name="connsiteX1747" fmla="*/ 2790300 w 6530564"/>
              <a:gd name="connsiteY1747" fmla="*/ 4779282 h 6858000"/>
              <a:gd name="connsiteX1748" fmla="*/ 2753001 w 6530564"/>
              <a:gd name="connsiteY1748" fmla="*/ 4745754 h 6858000"/>
              <a:gd name="connsiteX1749" fmla="*/ 2753847 w 6530564"/>
              <a:gd name="connsiteY1749" fmla="*/ 4746386 h 6858000"/>
              <a:gd name="connsiteX1750" fmla="*/ 2763151 w 6530564"/>
              <a:gd name="connsiteY1750" fmla="*/ 4752669 h 6858000"/>
              <a:gd name="connsiteX1751" fmla="*/ 2768833 w 6530564"/>
              <a:gd name="connsiteY1751" fmla="*/ 4757708 h 6858000"/>
              <a:gd name="connsiteX1752" fmla="*/ 2789157 w 6530564"/>
              <a:gd name="connsiteY1752" fmla="*/ 4773703 h 6858000"/>
              <a:gd name="connsiteX1753" fmla="*/ 2824125 w 6530564"/>
              <a:gd name="connsiteY1753" fmla="*/ 4800649 h 6858000"/>
              <a:gd name="connsiteX1754" fmla="*/ 2829807 w 6530564"/>
              <a:gd name="connsiteY1754" fmla="*/ 4805687 h 6858000"/>
              <a:gd name="connsiteX1755" fmla="*/ 2835489 w 6530564"/>
              <a:gd name="connsiteY1755" fmla="*/ 4810727 h 6858000"/>
              <a:gd name="connsiteX1756" fmla="*/ 2839648 w 6530564"/>
              <a:gd name="connsiteY1756" fmla="*/ 4808324 h 6858000"/>
              <a:gd name="connsiteX1757" fmla="*/ 2829163 w 6530564"/>
              <a:gd name="connsiteY1757" fmla="*/ 4794968 h 6858000"/>
              <a:gd name="connsiteX1758" fmla="*/ 2825883 w 6530564"/>
              <a:gd name="connsiteY1758" fmla="*/ 4794088 h 6858000"/>
              <a:gd name="connsiteX1759" fmla="*/ 2773871 w 6530564"/>
              <a:gd name="connsiteY1759" fmla="*/ 4752025 h 6858000"/>
              <a:gd name="connsiteX1760" fmla="*/ 2770590 w 6530564"/>
              <a:gd name="connsiteY1760" fmla="*/ 4751147 h 6858000"/>
              <a:gd name="connsiteX1761" fmla="*/ 2757705 w 6530564"/>
              <a:gd name="connsiteY1761" fmla="*/ 4733631 h 6858000"/>
              <a:gd name="connsiteX1762" fmla="*/ 2740660 w 6530564"/>
              <a:gd name="connsiteY1762" fmla="*/ 4718516 h 6858000"/>
              <a:gd name="connsiteX1763" fmla="*/ 2706021 w 6530564"/>
              <a:gd name="connsiteY1763" fmla="*/ 4690338 h 6858000"/>
              <a:gd name="connsiteX1764" fmla="*/ 2678648 w 6530564"/>
              <a:gd name="connsiteY1764" fmla="*/ 4660537 h 6858000"/>
              <a:gd name="connsiteX1765" fmla="*/ 2682322 w 6530564"/>
              <a:gd name="connsiteY1765" fmla="*/ 4660696 h 6858000"/>
              <a:gd name="connsiteX1766" fmla="*/ 2556040 w 6530564"/>
              <a:gd name="connsiteY1766" fmla="*/ 4528415 h 6858000"/>
              <a:gd name="connsiteX1767" fmla="*/ 2556918 w 6530564"/>
              <a:gd name="connsiteY1767" fmla="*/ 4525136 h 6858000"/>
              <a:gd name="connsiteX1768" fmla="*/ 2553638 w 6530564"/>
              <a:gd name="connsiteY1768" fmla="*/ 4524257 h 6858000"/>
              <a:gd name="connsiteX1769" fmla="*/ 2550359 w 6530564"/>
              <a:gd name="connsiteY1769" fmla="*/ 4523378 h 6858000"/>
              <a:gd name="connsiteX1770" fmla="*/ 2544034 w 6530564"/>
              <a:gd name="connsiteY1770" fmla="*/ 4507619 h 6858000"/>
              <a:gd name="connsiteX1771" fmla="*/ 2505142 w 6530564"/>
              <a:gd name="connsiteY1771" fmla="*/ 4469072 h 6858000"/>
              <a:gd name="connsiteX1772" fmla="*/ 2514981 w 6530564"/>
              <a:gd name="connsiteY1772" fmla="*/ 4471709 h 6858000"/>
              <a:gd name="connsiteX1773" fmla="*/ 2494657 w 6530564"/>
              <a:gd name="connsiteY1773" fmla="*/ 4455716 h 6858000"/>
              <a:gd name="connsiteX1774" fmla="*/ 2498817 w 6530564"/>
              <a:gd name="connsiteY1774" fmla="*/ 4453313 h 6858000"/>
              <a:gd name="connsiteX1775" fmla="*/ 2453599 w 6530564"/>
              <a:gd name="connsiteY1775" fmla="*/ 4399008 h 6858000"/>
              <a:gd name="connsiteX1776" fmla="*/ 2454477 w 6530564"/>
              <a:gd name="connsiteY1776" fmla="*/ 4395729 h 6858000"/>
              <a:gd name="connsiteX1777" fmla="*/ 2424784 w 6530564"/>
              <a:gd name="connsiteY1777" fmla="*/ 4349098 h 6858000"/>
              <a:gd name="connsiteX1778" fmla="*/ 2387006 w 6530564"/>
              <a:gd name="connsiteY1778" fmla="*/ 4293271 h 6858000"/>
              <a:gd name="connsiteX1779" fmla="*/ 2372796 w 6530564"/>
              <a:gd name="connsiteY1779" fmla="*/ 4262654 h 6858000"/>
              <a:gd name="connsiteX1780" fmla="*/ 2354365 w 6530564"/>
              <a:gd name="connsiteY1780" fmla="*/ 4231786 h 6858000"/>
              <a:gd name="connsiteX1781" fmla="*/ 2357546 w 6530564"/>
              <a:gd name="connsiteY1781" fmla="*/ 4232639 h 6858000"/>
              <a:gd name="connsiteX1782" fmla="*/ 2355145 w 6530564"/>
              <a:gd name="connsiteY1782" fmla="*/ 4228480 h 6858000"/>
              <a:gd name="connsiteX1783" fmla="*/ 2349463 w 6530564"/>
              <a:gd name="connsiteY1783" fmla="*/ 4223441 h 6858000"/>
              <a:gd name="connsiteX1784" fmla="*/ 2352745 w 6530564"/>
              <a:gd name="connsiteY1784" fmla="*/ 4224320 h 6858000"/>
              <a:gd name="connsiteX1785" fmla="*/ 2338336 w 6530564"/>
              <a:gd name="connsiteY1785" fmla="*/ 4199366 h 6858000"/>
              <a:gd name="connsiteX1786" fmla="*/ 2335056 w 6530564"/>
              <a:gd name="connsiteY1786" fmla="*/ 4198486 h 6858000"/>
              <a:gd name="connsiteX1787" fmla="*/ 2329374 w 6530564"/>
              <a:gd name="connsiteY1787" fmla="*/ 4193448 h 6858000"/>
              <a:gd name="connsiteX1788" fmla="*/ 2335934 w 6530564"/>
              <a:gd name="connsiteY1788" fmla="*/ 4195206 h 6858000"/>
              <a:gd name="connsiteX1789" fmla="*/ 2328731 w 6530564"/>
              <a:gd name="connsiteY1789" fmla="*/ 4182729 h 6858000"/>
              <a:gd name="connsiteX1790" fmla="*/ 2332011 w 6530564"/>
              <a:gd name="connsiteY1790" fmla="*/ 4183607 h 6858000"/>
              <a:gd name="connsiteX1791" fmla="*/ 2335292 w 6530564"/>
              <a:gd name="connsiteY1791" fmla="*/ 4184486 h 6858000"/>
              <a:gd name="connsiteX1792" fmla="*/ 2336170 w 6530564"/>
              <a:gd name="connsiteY1792" fmla="*/ 4181206 h 6858000"/>
              <a:gd name="connsiteX1793" fmla="*/ 2329610 w 6530564"/>
              <a:gd name="connsiteY1793" fmla="*/ 4179448 h 6858000"/>
              <a:gd name="connsiteX1794" fmla="*/ 2326328 w 6530564"/>
              <a:gd name="connsiteY1794" fmla="*/ 4178569 h 6858000"/>
              <a:gd name="connsiteX1795" fmla="*/ 2323927 w 6530564"/>
              <a:gd name="connsiteY1795" fmla="*/ 4174411 h 6858000"/>
              <a:gd name="connsiteX1796" fmla="*/ 2324807 w 6530564"/>
              <a:gd name="connsiteY1796" fmla="*/ 4171130 h 6858000"/>
              <a:gd name="connsiteX1797" fmla="*/ 2325686 w 6530564"/>
              <a:gd name="connsiteY1797" fmla="*/ 4167850 h 6858000"/>
              <a:gd name="connsiteX1798" fmla="*/ 2322406 w 6530564"/>
              <a:gd name="connsiteY1798" fmla="*/ 4166970 h 6858000"/>
              <a:gd name="connsiteX1799" fmla="*/ 2319125 w 6530564"/>
              <a:gd name="connsiteY1799" fmla="*/ 4166091 h 6858000"/>
              <a:gd name="connsiteX1800" fmla="*/ 2315201 w 6530564"/>
              <a:gd name="connsiteY1800" fmla="*/ 4154494 h 6858000"/>
              <a:gd name="connsiteX1801" fmla="*/ 2318482 w 6530564"/>
              <a:gd name="connsiteY1801" fmla="*/ 4155373 h 6858000"/>
              <a:gd name="connsiteX1802" fmla="*/ 2316081 w 6530564"/>
              <a:gd name="connsiteY1802" fmla="*/ 4151212 h 6858000"/>
              <a:gd name="connsiteX1803" fmla="*/ 2313680 w 6530564"/>
              <a:gd name="connsiteY1803" fmla="*/ 4147053 h 6858000"/>
              <a:gd name="connsiteX1804" fmla="*/ 2307998 w 6530564"/>
              <a:gd name="connsiteY1804" fmla="*/ 4142015 h 6858000"/>
              <a:gd name="connsiteX1805" fmla="*/ 2311277 w 6530564"/>
              <a:gd name="connsiteY1805" fmla="*/ 4142893 h 6858000"/>
              <a:gd name="connsiteX1806" fmla="*/ 2308233 w 6530564"/>
              <a:gd name="connsiteY1806" fmla="*/ 4128016 h 6858000"/>
              <a:gd name="connsiteX1807" fmla="*/ 2314794 w 6530564"/>
              <a:gd name="connsiteY1807" fmla="*/ 4129773 h 6858000"/>
              <a:gd name="connsiteX1808" fmla="*/ 2308469 w 6530564"/>
              <a:gd name="connsiteY1808" fmla="*/ 4114014 h 6858000"/>
              <a:gd name="connsiteX1809" fmla="*/ 2311749 w 6530564"/>
              <a:gd name="connsiteY1809" fmla="*/ 4114894 h 6858000"/>
              <a:gd name="connsiteX1810" fmla="*/ 2314150 w 6530564"/>
              <a:gd name="connsiteY1810" fmla="*/ 4119054 h 6858000"/>
              <a:gd name="connsiteX1811" fmla="*/ 2317430 w 6530564"/>
              <a:gd name="connsiteY1811" fmla="*/ 4119932 h 6858000"/>
              <a:gd name="connsiteX1812" fmla="*/ 2315029 w 6530564"/>
              <a:gd name="connsiteY1812" fmla="*/ 4115773 h 6858000"/>
              <a:gd name="connsiteX1813" fmla="*/ 2312628 w 6530564"/>
              <a:gd name="connsiteY1813" fmla="*/ 4111613 h 6858000"/>
              <a:gd name="connsiteX1814" fmla="*/ 2306947 w 6530564"/>
              <a:gd name="connsiteY1814" fmla="*/ 4106575 h 6858000"/>
              <a:gd name="connsiteX1815" fmla="*/ 2305188 w 6530564"/>
              <a:gd name="connsiteY1815" fmla="*/ 4113136 h 6858000"/>
              <a:gd name="connsiteX1816" fmla="*/ 2302787 w 6530564"/>
              <a:gd name="connsiteY1816" fmla="*/ 4108977 h 6858000"/>
              <a:gd name="connsiteX1817" fmla="*/ 2287500 w 6530564"/>
              <a:gd name="connsiteY1817" fmla="*/ 4087301 h 6858000"/>
              <a:gd name="connsiteX1818" fmla="*/ 2287264 w 6530564"/>
              <a:gd name="connsiteY1818" fmla="*/ 4101302 h 6858000"/>
              <a:gd name="connsiteX1819" fmla="*/ 2280939 w 6530564"/>
              <a:gd name="connsiteY1819" fmla="*/ 4085543 h 6858000"/>
              <a:gd name="connsiteX1820" fmla="*/ 2273736 w 6530564"/>
              <a:gd name="connsiteY1820" fmla="*/ 4073065 h 6858000"/>
              <a:gd name="connsiteX1821" fmla="*/ 2272213 w 6530564"/>
              <a:gd name="connsiteY1821" fmla="*/ 4065626 h 6858000"/>
              <a:gd name="connsiteX1822" fmla="*/ 2278774 w 6530564"/>
              <a:gd name="connsiteY1822" fmla="*/ 4067385 h 6858000"/>
              <a:gd name="connsiteX1823" fmla="*/ 2269169 w 6530564"/>
              <a:gd name="connsiteY1823" fmla="*/ 4050747 h 6858000"/>
              <a:gd name="connsiteX1824" fmla="*/ 2273328 w 6530564"/>
              <a:gd name="connsiteY1824" fmla="*/ 4048346 h 6858000"/>
              <a:gd name="connsiteX1825" fmla="*/ 2275729 w 6530564"/>
              <a:gd name="connsiteY1825" fmla="*/ 4052506 h 6858000"/>
              <a:gd name="connsiteX1826" fmla="*/ 2279010 w 6530564"/>
              <a:gd name="connsiteY1826" fmla="*/ 4053384 h 6858000"/>
              <a:gd name="connsiteX1827" fmla="*/ 2279888 w 6530564"/>
              <a:gd name="connsiteY1827" fmla="*/ 4050103 h 6858000"/>
              <a:gd name="connsiteX1828" fmla="*/ 2277487 w 6530564"/>
              <a:gd name="connsiteY1828" fmla="*/ 4045945 h 6858000"/>
              <a:gd name="connsiteX1829" fmla="*/ 2274206 w 6530564"/>
              <a:gd name="connsiteY1829" fmla="*/ 4045065 h 6858000"/>
              <a:gd name="connsiteX1830" fmla="*/ 2271805 w 6530564"/>
              <a:gd name="connsiteY1830" fmla="*/ 4040907 h 6858000"/>
              <a:gd name="connsiteX1831" fmla="*/ 2269404 w 6530564"/>
              <a:gd name="connsiteY1831" fmla="*/ 4036747 h 6858000"/>
              <a:gd name="connsiteX1832" fmla="*/ 2270282 w 6530564"/>
              <a:gd name="connsiteY1832" fmla="*/ 4033467 h 6858000"/>
              <a:gd name="connsiteX1833" fmla="*/ 2267003 w 6530564"/>
              <a:gd name="connsiteY1833" fmla="*/ 4032587 h 6858000"/>
              <a:gd name="connsiteX1834" fmla="*/ 2267881 w 6530564"/>
              <a:gd name="connsiteY1834" fmla="*/ 4029308 h 6858000"/>
              <a:gd name="connsiteX1835" fmla="*/ 2271162 w 6530564"/>
              <a:gd name="connsiteY1835" fmla="*/ 4030186 h 6858000"/>
              <a:gd name="connsiteX1836" fmla="*/ 2276843 w 6530564"/>
              <a:gd name="connsiteY1836" fmla="*/ 4035224 h 6858000"/>
              <a:gd name="connsiteX1837" fmla="*/ 2281647 w 6530564"/>
              <a:gd name="connsiteY1837" fmla="*/ 4043544 h 6858000"/>
              <a:gd name="connsiteX1838" fmla="*/ 2282526 w 6530564"/>
              <a:gd name="connsiteY1838" fmla="*/ 4040263 h 6858000"/>
              <a:gd name="connsiteX1839" fmla="*/ 2280124 w 6530564"/>
              <a:gd name="connsiteY1839" fmla="*/ 4036104 h 6858000"/>
              <a:gd name="connsiteX1840" fmla="*/ 2272919 w 6530564"/>
              <a:gd name="connsiteY1840" fmla="*/ 4023625 h 6858000"/>
              <a:gd name="connsiteX1841" fmla="*/ 2269640 w 6530564"/>
              <a:gd name="connsiteY1841" fmla="*/ 4022747 h 6858000"/>
              <a:gd name="connsiteX1842" fmla="*/ 2261556 w 6530564"/>
              <a:gd name="connsiteY1842" fmla="*/ 4013550 h 6858000"/>
              <a:gd name="connsiteX1843" fmla="*/ 2240180 w 6530564"/>
              <a:gd name="connsiteY1843" fmla="*/ 3962117 h 6858000"/>
              <a:gd name="connsiteX1844" fmla="*/ 2241060 w 6530564"/>
              <a:gd name="connsiteY1844" fmla="*/ 3958836 h 6858000"/>
              <a:gd name="connsiteX1845" fmla="*/ 2238659 w 6530564"/>
              <a:gd name="connsiteY1845" fmla="*/ 3954676 h 6858000"/>
              <a:gd name="connsiteX1846" fmla="*/ 2234735 w 6530564"/>
              <a:gd name="connsiteY1846" fmla="*/ 3943079 h 6858000"/>
              <a:gd name="connsiteX1847" fmla="*/ 2232334 w 6530564"/>
              <a:gd name="connsiteY1847" fmla="*/ 3938919 h 6858000"/>
              <a:gd name="connsiteX1848" fmla="*/ 2228410 w 6530564"/>
              <a:gd name="connsiteY1848" fmla="*/ 3927321 h 6858000"/>
              <a:gd name="connsiteX1849" fmla="*/ 2224486 w 6530564"/>
              <a:gd name="connsiteY1849" fmla="*/ 3915722 h 6858000"/>
              <a:gd name="connsiteX1850" fmla="*/ 2215995 w 6530564"/>
              <a:gd name="connsiteY1850" fmla="*/ 3881804 h 6858000"/>
              <a:gd name="connsiteX1851" fmla="*/ 2195263 w 6530564"/>
              <a:gd name="connsiteY1851" fmla="*/ 3841091 h 6858000"/>
              <a:gd name="connsiteX1852" fmla="*/ 2191339 w 6530564"/>
              <a:gd name="connsiteY1852" fmla="*/ 3829493 h 6858000"/>
              <a:gd name="connsiteX1853" fmla="*/ 2188651 w 6530564"/>
              <a:gd name="connsiteY1853" fmla="*/ 3836242 h 6858000"/>
              <a:gd name="connsiteX1854" fmla="*/ 2188075 w 6530564"/>
              <a:gd name="connsiteY1854" fmla="*/ 3835811 h 6858000"/>
              <a:gd name="connsiteX1855" fmla="*/ 2194554 w 6530564"/>
              <a:gd name="connsiteY1855" fmla="*/ 3858195 h 6858000"/>
              <a:gd name="connsiteX1856" fmla="*/ 2198532 w 6530564"/>
              <a:gd name="connsiteY1856" fmla="*/ 3875169 h 6858000"/>
              <a:gd name="connsiteX1857" fmla="*/ 2200656 w 6530564"/>
              <a:gd name="connsiteY1857" fmla="*/ 3881649 h 6858000"/>
              <a:gd name="connsiteX1858" fmla="*/ 2210722 w 6530564"/>
              <a:gd name="connsiteY1858" fmla="*/ 3901486 h 6858000"/>
              <a:gd name="connsiteX1859" fmla="*/ 2217047 w 6530564"/>
              <a:gd name="connsiteY1859" fmla="*/ 3917243 h 6858000"/>
              <a:gd name="connsiteX1860" fmla="*/ 2213766 w 6530564"/>
              <a:gd name="connsiteY1860" fmla="*/ 3916364 h 6858000"/>
              <a:gd name="connsiteX1861" fmla="*/ 2214644 w 6530564"/>
              <a:gd name="connsiteY1861" fmla="*/ 3913085 h 6858000"/>
              <a:gd name="connsiteX1862" fmla="*/ 2211364 w 6530564"/>
              <a:gd name="connsiteY1862" fmla="*/ 3912205 h 6858000"/>
              <a:gd name="connsiteX1863" fmla="*/ 2210486 w 6530564"/>
              <a:gd name="connsiteY1863" fmla="*/ 3915486 h 6858000"/>
              <a:gd name="connsiteX1864" fmla="*/ 2212887 w 6530564"/>
              <a:gd name="connsiteY1864" fmla="*/ 3919646 h 6858000"/>
              <a:gd name="connsiteX1865" fmla="*/ 2222728 w 6530564"/>
              <a:gd name="connsiteY1865" fmla="*/ 3922281 h 6858000"/>
              <a:gd name="connsiteX1866" fmla="*/ 2226652 w 6530564"/>
              <a:gd name="connsiteY1866" fmla="*/ 3933880 h 6858000"/>
              <a:gd name="connsiteX1867" fmla="*/ 2224895 w 6530564"/>
              <a:gd name="connsiteY1867" fmla="*/ 3940442 h 6858000"/>
              <a:gd name="connsiteX1868" fmla="*/ 2221613 w 6530564"/>
              <a:gd name="connsiteY1868" fmla="*/ 3939563 h 6858000"/>
              <a:gd name="connsiteX1869" fmla="*/ 2224015 w 6530564"/>
              <a:gd name="connsiteY1869" fmla="*/ 3943721 h 6858000"/>
              <a:gd name="connsiteX1870" fmla="*/ 2227296 w 6530564"/>
              <a:gd name="connsiteY1870" fmla="*/ 3944601 h 6858000"/>
              <a:gd name="connsiteX1871" fmla="*/ 2232977 w 6530564"/>
              <a:gd name="connsiteY1871" fmla="*/ 3949639 h 6858000"/>
              <a:gd name="connsiteX1872" fmla="*/ 2234499 w 6530564"/>
              <a:gd name="connsiteY1872" fmla="*/ 3957077 h 6858000"/>
              <a:gd name="connsiteX1873" fmla="*/ 2233619 w 6530564"/>
              <a:gd name="connsiteY1873" fmla="*/ 3960358 h 6858000"/>
              <a:gd name="connsiteX1874" fmla="*/ 2236901 w 6530564"/>
              <a:gd name="connsiteY1874" fmla="*/ 3961237 h 6858000"/>
              <a:gd name="connsiteX1875" fmla="*/ 2239302 w 6530564"/>
              <a:gd name="connsiteY1875" fmla="*/ 3965397 h 6858000"/>
              <a:gd name="connsiteX1876" fmla="*/ 2257398 w 6530564"/>
              <a:gd name="connsiteY1876" fmla="*/ 4015951 h 6858000"/>
              <a:gd name="connsiteX1877" fmla="*/ 2259799 w 6530564"/>
              <a:gd name="connsiteY1877" fmla="*/ 4020111 h 6858000"/>
              <a:gd name="connsiteX1878" fmla="*/ 2263079 w 6530564"/>
              <a:gd name="connsiteY1878" fmla="*/ 4020990 h 6858000"/>
              <a:gd name="connsiteX1879" fmla="*/ 2262200 w 6530564"/>
              <a:gd name="connsiteY1879" fmla="*/ 4024269 h 6858000"/>
              <a:gd name="connsiteX1880" fmla="*/ 2258920 w 6530564"/>
              <a:gd name="connsiteY1880" fmla="*/ 4023391 h 6858000"/>
              <a:gd name="connsiteX1881" fmla="*/ 2261086 w 6530564"/>
              <a:gd name="connsiteY1881" fmla="*/ 4041551 h 6858000"/>
              <a:gd name="connsiteX1882" fmla="*/ 2264367 w 6530564"/>
              <a:gd name="connsiteY1882" fmla="*/ 4042429 h 6858000"/>
              <a:gd name="connsiteX1883" fmla="*/ 2255405 w 6530564"/>
              <a:gd name="connsiteY1883" fmla="*/ 4036511 h 6858000"/>
              <a:gd name="connsiteX1884" fmla="*/ 2268055 w 6530564"/>
              <a:gd name="connsiteY1884" fmla="*/ 4068027 h 6858000"/>
              <a:gd name="connsiteX1885" fmla="*/ 2276781 w 6530564"/>
              <a:gd name="connsiteY1885" fmla="*/ 4087944 h 6858000"/>
              <a:gd name="connsiteX1886" fmla="*/ 2285507 w 6530564"/>
              <a:gd name="connsiteY1886" fmla="*/ 4107863 h 6858000"/>
              <a:gd name="connsiteX1887" fmla="*/ 2303838 w 6530564"/>
              <a:gd name="connsiteY1887" fmla="*/ 4144416 h 6858000"/>
              <a:gd name="connsiteX1888" fmla="*/ 2307761 w 6530564"/>
              <a:gd name="connsiteY1888" fmla="*/ 4156015 h 6858000"/>
              <a:gd name="connsiteX1889" fmla="*/ 2312564 w 6530564"/>
              <a:gd name="connsiteY1889" fmla="*/ 4164333 h 6858000"/>
              <a:gd name="connsiteX1890" fmla="*/ 2314087 w 6530564"/>
              <a:gd name="connsiteY1890" fmla="*/ 4171772 h 6858000"/>
              <a:gd name="connsiteX1891" fmla="*/ 2321291 w 6530564"/>
              <a:gd name="connsiteY1891" fmla="*/ 4184250 h 6858000"/>
              <a:gd name="connsiteX1892" fmla="*/ 2325215 w 6530564"/>
              <a:gd name="connsiteY1892" fmla="*/ 4195849 h 6858000"/>
              <a:gd name="connsiteX1893" fmla="*/ 2333297 w 6530564"/>
              <a:gd name="connsiteY1893" fmla="*/ 4205047 h 6858000"/>
              <a:gd name="connsiteX1894" fmla="*/ 2332419 w 6530564"/>
              <a:gd name="connsiteY1894" fmla="*/ 4208327 h 6858000"/>
              <a:gd name="connsiteX1895" fmla="*/ 2391338 w 6530564"/>
              <a:gd name="connsiteY1895" fmla="*/ 4329589 h 6858000"/>
              <a:gd name="connsiteX1896" fmla="*/ 2390458 w 6530564"/>
              <a:gd name="connsiteY1896" fmla="*/ 4332868 h 6858000"/>
              <a:gd name="connsiteX1897" fmla="*/ 2389579 w 6530564"/>
              <a:gd name="connsiteY1897" fmla="*/ 4336150 h 6858000"/>
              <a:gd name="connsiteX1898" fmla="*/ 2384777 w 6530564"/>
              <a:gd name="connsiteY1898" fmla="*/ 4327831 h 6858000"/>
              <a:gd name="connsiteX1899" fmla="*/ 2379973 w 6530564"/>
              <a:gd name="connsiteY1899" fmla="*/ 4319511 h 6858000"/>
              <a:gd name="connsiteX1900" fmla="*/ 2375173 w 6530564"/>
              <a:gd name="connsiteY1900" fmla="*/ 4311195 h 6858000"/>
              <a:gd name="connsiteX1901" fmla="*/ 2371891 w 6530564"/>
              <a:gd name="connsiteY1901" fmla="*/ 4310315 h 6858000"/>
              <a:gd name="connsiteX1902" fmla="*/ 2359884 w 6530564"/>
              <a:gd name="connsiteY1902" fmla="*/ 4289519 h 6858000"/>
              <a:gd name="connsiteX1903" fmla="*/ 2356605 w 6530564"/>
              <a:gd name="connsiteY1903" fmla="*/ 4288639 h 6858000"/>
              <a:gd name="connsiteX1904" fmla="*/ 2355725 w 6530564"/>
              <a:gd name="connsiteY1904" fmla="*/ 4291921 h 6858000"/>
              <a:gd name="connsiteX1905" fmla="*/ 2358127 w 6530564"/>
              <a:gd name="connsiteY1905" fmla="*/ 4296080 h 6858000"/>
              <a:gd name="connsiteX1906" fmla="*/ 2360528 w 6530564"/>
              <a:gd name="connsiteY1906" fmla="*/ 4300238 h 6858000"/>
              <a:gd name="connsiteX1907" fmla="*/ 2362929 w 6530564"/>
              <a:gd name="connsiteY1907" fmla="*/ 4304398 h 6858000"/>
              <a:gd name="connsiteX1908" fmla="*/ 2367731 w 6530564"/>
              <a:gd name="connsiteY1908" fmla="*/ 4312715 h 6858000"/>
              <a:gd name="connsiteX1909" fmla="*/ 2359695 w 6530564"/>
              <a:gd name="connsiteY1909" fmla="*/ 4299246 h 6858000"/>
              <a:gd name="connsiteX1910" fmla="*/ 2353339 w 6530564"/>
              <a:gd name="connsiteY1910" fmla="*/ 4287828 h 6858000"/>
              <a:gd name="connsiteX1911" fmla="*/ 2353323 w 6530564"/>
              <a:gd name="connsiteY1911" fmla="*/ 4287760 h 6858000"/>
              <a:gd name="connsiteX1912" fmla="*/ 2353292 w 6530564"/>
              <a:gd name="connsiteY1912" fmla="*/ 4287741 h 6858000"/>
              <a:gd name="connsiteX1913" fmla="*/ 2352724 w 6530564"/>
              <a:gd name="connsiteY1913" fmla="*/ 4286721 h 6858000"/>
              <a:gd name="connsiteX1914" fmla="*/ 2358361 w 6530564"/>
              <a:gd name="connsiteY1914" fmla="*/ 4282080 h 6858000"/>
              <a:gd name="connsiteX1915" fmla="*/ 2331068 w 6530564"/>
              <a:gd name="connsiteY1915" fmla="*/ 4239607 h 6858000"/>
              <a:gd name="connsiteX1916" fmla="*/ 2330190 w 6530564"/>
              <a:gd name="connsiteY1916" fmla="*/ 4242888 h 6858000"/>
              <a:gd name="connsiteX1917" fmla="*/ 2322985 w 6530564"/>
              <a:gd name="connsiteY1917" fmla="*/ 4230410 h 6858000"/>
              <a:gd name="connsiteX1918" fmla="*/ 2323865 w 6530564"/>
              <a:gd name="connsiteY1918" fmla="*/ 4227129 h 6858000"/>
              <a:gd name="connsiteX1919" fmla="*/ 2320584 w 6530564"/>
              <a:gd name="connsiteY1919" fmla="*/ 4226251 h 6858000"/>
              <a:gd name="connsiteX1920" fmla="*/ 2321464 w 6530564"/>
              <a:gd name="connsiteY1920" fmla="*/ 4222972 h 6858000"/>
              <a:gd name="connsiteX1921" fmla="*/ 2316660 w 6530564"/>
              <a:gd name="connsiteY1921" fmla="*/ 4214652 h 6858000"/>
              <a:gd name="connsiteX1922" fmla="*/ 2310979 w 6530564"/>
              <a:gd name="connsiteY1922" fmla="*/ 4209615 h 6858000"/>
              <a:gd name="connsiteX1923" fmla="*/ 2308578 w 6530564"/>
              <a:gd name="connsiteY1923" fmla="*/ 4205456 h 6858000"/>
              <a:gd name="connsiteX1924" fmla="*/ 2301373 w 6530564"/>
              <a:gd name="connsiteY1924" fmla="*/ 4192977 h 6858000"/>
              <a:gd name="connsiteX1925" fmla="*/ 2298093 w 6530564"/>
              <a:gd name="connsiteY1925" fmla="*/ 4192099 h 6858000"/>
              <a:gd name="connsiteX1926" fmla="*/ 2295692 w 6530564"/>
              <a:gd name="connsiteY1926" fmla="*/ 4187939 h 6858000"/>
              <a:gd name="connsiteX1927" fmla="*/ 2277360 w 6530564"/>
              <a:gd name="connsiteY1927" fmla="*/ 4151385 h 6858000"/>
              <a:gd name="connsiteX1928" fmla="*/ 2281520 w 6530564"/>
              <a:gd name="connsiteY1928" fmla="*/ 4148984 h 6858000"/>
              <a:gd name="connsiteX1929" fmla="*/ 2283921 w 6530564"/>
              <a:gd name="connsiteY1929" fmla="*/ 4153142 h 6858000"/>
              <a:gd name="connsiteX1930" fmla="*/ 2286322 w 6530564"/>
              <a:gd name="connsiteY1930" fmla="*/ 4157302 h 6858000"/>
              <a:gd name="connsiteX1931" fmla="*/ 2287202 w 6530564"/>
              <a:gd name="connsiteY1931" fmla="*/ 4154022 h 6858000"/>
              <a:gd name="connsiteX1932" fmla="*/ 2284799 w 6530564"/>
              <a:gd name="connsiteY1932" fmla="*/ 4149863 h 6858000"/>
              <a:gd name="connsiteX1933" fmla="*/ 2282398 w 6530564"/>
              <a:gd name="connsiteY1933" fmla="*/ 4145704 h 6858000"/>
              <a:gd name="connsiteX1934" fmla="*/ 2279118 w 6530564"/>
              <a:gd name="connsiteY1934" fmla="*/ 4144824 h 6858000"/>
              <a:gd name="connsiteX1935" fmla="*/ 2275837 w 6530564"/>
              <a:gd name="connsiteY1935" fmla="*/ 4143945 h 6858000"/>
              <a:gd name="connsiteX1936" fmla="*/ 2260788 w 6530564"/>
              <a:gd name="connsiteY1936" fmla="*/ 4108270 h 6858000"/>
              <a:gd name="connsiteX1937" fmla="*/ 2257507 w 6530564"/>
              <a:gd name="connsiteY1937" fmla="*/ 4107391 h 6858000"/>
              <a:gd name="connsiteX1938" fmla="*/ 2229163 w 6530564"/>
              <a:gd name="connsiteY1938" fmla="*/ 4029480 h 6858000"/>
              <a:gd name="connsiteX1939" fmla="*/ 2191448 w 6530564"/>
              <a:gd name="connsiteY1939" fmla="*/ 3920932 h 6858000"/>
              <a:gd name="connsiteX1940" fmla="*/ 2183600 w 6530564"/>
              <a:gd name="connsiteY1940" fmla="*/ 3897734 h 6858000"/>
              <a:gd name="connsiteX1941" fmla="*/ 2184480 w 6530564"/>
              <a:gd name="connsiteY1941" fmla="*/ 3894454 h 6858000"/>
              <a:gd name="connsiteX1942" fmla="*/ 2183836 w 6530564"/>
              <a:gd name="connsiteY1942" fmla="*/ 3883736 h 6858000"/>
              <a:gd name="connsiteX1943" fmla="*/ 2181435 w 6530564"/>
              <a:gd name="connsiteY1943" fmla="*/ 3879574 h 6858000"/>
              <a:gd name="connsiteX1944" fmla="*/ 2180556 w 6530564"/>
              <a:gd name="connsiteY1944" fmla="*/ 3882855 h 6858000"/>
              <a:gd name="connsiteX1945" fmla="*/ 2164217 w 6530564"/>
              <a:gd name="connsiteY1945" fmla="*/ 3825741 h 6858000"/>
              <a:gd name="connsiteX1946" fmla="*/ 2151803 w 6530564"/>
              <a:gd name="connsiteY1946" fmla="*/ 3780225 h 6858000"/>
              <a:gd name="connsiteX1947" fmla="*/ 2151319 w 6530564"/>
              <a:gd name="connsiteY1947" fmla="*/ 3777854 h 6858000"/>
              <a:gd name="connsiteX1948" fmla="*/ 2151009 w 6530564"/>
              <a:gd name="connsiteY1948" fmla="*/ 3776873 h 6858000"/>
              <a:gd name="connsiteX1949" fmla="*/ 2132922 w 6530564"/>
              <a:gd name="connsiteY1949" fmla="*/ 3694412 h 6858000"/>
              <a:gd name="connsiteX1950" fmla="*/ 2132655 w 6530564"/>
              <a:gd name="connsiteY1950" fmla="*/ 3694230 h 6858000"/>
              <a:gd name="connsiteX1951" fmla="*/ 2130626 w 6530564"/>
              <a:gd name="connsiteY1951" fmla="*/ 3683943 h 6858000"/>
              <a:gd name="connsiteX1952" fmla="*/ 2101976 w 6530564"/>
              <a:gd name="connsiteY1952" fmla="*/ 3553318 h 6858000"/>
              <a:gd name="connsiteX1953" fmla="*/ 2087236 w 6530564"/>
              <a:gd name="connsiteY1953" fmla="*/ 3095430 h 6858000"/>
              <a:gd name="connsiteX1954" fmla="*/ 2061056 w 6530564"/>
              <a:gd name="connsiteY1954" fmla="*/ 3512229 h 6858000"/>
              <a:gd name="connsiteX1955" fmla="*/ 2059495 w 6530564"/>
              <a:gd name="connsiteY1955" fmla="*/ 3512181 h 6858000"/>
              <a:gd name="connsiteX1956" fmla="*/ 2065891 w 6530564"/>
              <a:gd name="connsiteY1956" fmla="*/ 3549772 h 6858000"/>
              <a:gd name="connsiteX1957" fmla="*/ 2079120 w 6530564"/>
              <a:gd name="connsiteY1957" fmla="*/ 3644728 h 6858000"/>
              <a:gd name="connsiteX1958" fmla="*/ 2083923 w 6530564"/>
              <a:gd name="connsiteY1958" fmla="*/ 3653046 h 6858000"/>
              <a:gd name="connsiteX1959" fmla="*/ 2080643 w 6530564"/>
              <a:gd name="connsiteY1959" fmla="*/ 3652168 h 6858000"/>
              <a:gd name="connsiteX1960" fmla="*/ 2093056 w 6530564"/>
              <a:gd name="connsiteY1960" fmla="*/ 3697684 h 6858000"/>
              <a:gd name="connsiteX1961" fmla="*/ 2093464 w 6530564"/>
              <a:gd name="connsiteY1961" fmla="*/ 3722403 h 6858000"/>
              <a:gd name="connsiteX1962" fmla="*/ 2100904 w 6530564"/>
              <a:gd name="connsiteY1962" fmla="*/ 3720880 h 6858000"/>
              <a:gd name="connsiteX1963" fmla="*/ 2106350 w 6530564"/>
              <a:gd name="connsiteY1963" fmla="*/ 3739919 h 6858000"/>
              <a:gd name="connsiteX1964" fmla="*/ 2100433 w 6530564"/>
              <a:gd name="connsiteY1964" fmla="*/ 3748881 h 6858000"/>
              <a:gd name="connsiteX1965" fmla="*/ 2129421 w 6530564"/>
              <a:gd name="connsiteY1965" fmla="*/ 3837513 h 6858000"/>
              <a:gd name="connsiteX1966" fmla="*/ 2130944 w 6530564"/>
              <a:gd name="connsiteY1966" fmla="*/ 3844951 h 6858000"/>
              <a:gd name="connsiteX1967" fmla="*/ 2133346 w 6530564"/>
              <a:gd name="connsiteY1967" fmla="*/ 3849111 h 6858000"/>
              <a:gd name="connsiteX1968" fmla="*/ 2134224 w 6530564"/>
              <a:gd name="connsiteY1968" fmla="*/ 3845831 h 6858000"/>
              <a:gd name="connsiteX1969" fmla="*/ 2135102 w 6530564"/>
              <a:gd name="connsiteY1969" fmla="*/ 3842550 h 6858000"/>
              <a:gd name="connsiteX1970" fmla="*/ 2165614 w 6530564"/>
              <a:gd name="connsiteY1970" fmla="*/ 3938620 h 6858000"/>
              <a:gd name="connsiteX1971" fmla="*/ 2159697 w 6530564"/>
              <a:gd name="connsiteY1971" fmla="*/ 3947583 h 6858000"/>
              <a:gd name="connsiteX1972" fmla="*/ 2219023 w 6530564"/>
              <a:gd name="connsiteY1972" fmla="*/ 4093565 h 6858000"/>
              <a:gd name="connsiteX1973" fmla="*/ 2289069 w 6530564"/>
              <a:gd name="connsiteY1973" fmla="*/ 4238901 h 6858000"/>
              <a:gd name="connsiteX1974" fmla="*/ 2269214 w 6530564"/>
              <a:gd name="connsiteY1974" fmla="*/ 4194907 h 6858000"/>
              <a:gd name="connsiteX1975" fmla="*/ 2268572 w 6530564"/>
              <a:gd name="connsiteY1975" fmla="*/ 4184188 h 6858000"/>
              <a:gd name="connsiteX1976" fmla="*/ 2224939 w 6530564"/>
              <a:gd name="connsiteY1976" fmla="*/ 4084603 h 6858000"/>
              <a:gd name="connsiteX1977" fmla="*/ 2176741 w 6530564"/>
              <a:gd name="connsiteY1977" fmla="*/ 3962696 h 6858000"/>
              <a:gd name="connsiteX1978" fmla="*/ 2176977 w 6530564"/>
              <a:gd name="connsiteY1978" fmla="*/ 3948697 h 6858000"/>
              <a:gd name="connsiteX1979" fmla="*/ 2152556 w 6530564"/>
              <a:gd name="connsiteY1979" fmla="*/ 3882385 h 6858000"/>
              <a:gd name="connsiteX1980" fmla="*/ 2154313 w 6530564"/>
              <a:gd name="connsiteY1980" fmla="*/ 3875824 h 6858000"/>
              <a:gd name="connsiteX1981" fmla="*/ 2147753 w 6530564"/>
              <a:gd name="connsiteY1981" fmla="*/ 3874066 h 6858000"/>
              <a:gd name="connsiteX1982" fmla="*/ 2128605 w 6530564"/>
              <a:gd name="connsiteY1982" fmla="*/ 3788073 h 6858000"/>
              <a:gd name="connsiteX1983" fmla="*/ 2132530 w 6530564"/>
              <a:gd name="connsiteY1983" fmla="*/ 3799672 h 6858000"/>
              <a:gd name="connsiteX1984" fmla="*/ 2145180 w 6530564"/>
              <a:gd name="connsiteY1984" fmla="*/ 3831186 h 6858000"/>
              <a:gd name="connsiteX1985" fmla="*/ 2168079 w 6530564"/>
              <a:gd name="connsiteY1985" fmla="*/ 3890059 h 6858000"/>
              <a:gd name="connsiteX1986" fmla="*/ 2169600 w 6530564"/>
              <a:gd name="connsiteY1986" fmla="*/ 3897500 h 6858000"/>
              <a:gd name="connsiteX1987" fmla="*/ 2167841 w 6530564"/>
              <a:gd name="connsiteY1987" fmla="*/ 3904059 h 6858000"/>
              <a:gd name="connsiteX1988" fmla="*/ 2179849 w 6530564"/>
              <a:gd name="connsiteY1988" fmla="*/ 3924856 h 6858000"/>
              <a:gd name="connsiteX1989" fmla="*/ 2190097 w 6530564"/>
              <a:gd name="connsiteY1989" fmla="*/ 3952213 h 6858000"/>
              <a:gd name="connsiteX1990" fmla="*/ 2201633 w 6530564"/>
              <a:gd name="connsiteY1990" fmla="*/ 4001009 h 6858000"/>
              <a:gd name="connsiteX1991" fmla="*/ 2204914 w 6530564"/>
              <a:gd name="connsiteY1991" fmla="*/ 4001887 h 6858000"/>
              <a:gd name="connsiteX1992" fmla="*/ 2211239 w 6530564"/>
              <a:gd name="connsiteY1992" fmla="*/ 4017646 h 6858000"/>
              <a:gd name="connsiteX1993" fmla="*/ 2213640 w 6530564"/>
              <a:gd name="connsiteY1993" fmla="*/ 4021805 h 6858000"/>
              <a:gd name="connsiteX1994" fmla="*/ 2226290 w 6530564"/>
              <a:gd name="connsiteY1994" fmla="*/ 4053321 h 6858000"/>
              <a:gd name="connsiteX1995" fmla="*/ 2232615 w 6530564"/>
              <a:gd name="connsiteY1995" fmla="*/ 4069080 h 6858000"/>
              <a:gd name="connsiteX1996" fmla="*/ 2251590 w 6530564"/>
              <a:gd name="connsiteY1996" fmla="*/ 4116353 h 6858000"/>
              <a:gd name="connsiteX1997" fmla="*/ 2260316 w 6530564"/>
              <a:gd name="connsiteY1997" fmla="*/ 4136270 h 6858000"/>
              <a:gd name="connsiteX1998" fmla="*/ 2259437 w 6530564"/>
              <a:gd name="connsiteY1998" fmla="*/ 4139550 h 6858000"/>
              <a:gd name="connsiteX1999" fmla="*/ 2261839 w 6530564"/>
              <a:gd name="connsiteY1999" fmla="*/ 4143710 h 6858000"/>
              <a:gd name="connsiteX2000" fmla="*/ 2265118 w 6530564"/>
              <a:gd name="connsiteY2000" fmla="*/ 4144590 h 6858000"/>
              <a:gd name="connsiteX2001" fmla="*/ 2264239 w 6530564"/>
              <a:gd name="connsiteY2001" fmla="*/ 4147869 h 6858000"/>
              <a:gd name="connsiteX2002" fmla="*/ 2303304 w 6530564"/>
              <a:gd name="connsiteY2002" fmla="*/ 4225136 h 6858000"/>
              <a:gd name="connsiteX2003" fmla="*/ 2304827 w 6530564"/>
              <a:gd name="connsiteY2003" fmla="*/ 4232576 h 6858000"/>
              <a:gd name="connsiteX2004" fmla="*/ 2303948 w 6530564"/>
              <a:gd name="connsiteY2004" fmla="*/ 4235857 h 6858000"/>
              <a:gd name="connsiteX2005" fmla="*/ 2306349 w 6530564"/>
              <a:gd name="connsiteY2005" fmla="*/ 4240017 h 6858000"/>
              <a:gd name="connsiteX2006" fmla="*/ 2309629 w 6530564"/>
              <a:gd name="connsiteY2006" fmla="*/ 4240895 h 6858000"/>
              <a:gd name="connsiteX2007" fmla="*/ 2329718 w 6530564"/>
              <a:gd name="connsiteY2007" fmla="*/ 4270889 h 6858000"/>
              <a:gd name="connsiteX2008" fmla="*/ 2332119 w 6530564"/>
              <a:gd name="connsiteY2008" fmla="*/ 4275047 h 6858000"/>
              <a:gd name="connsiteX2009" fmla="*/ 2337802 w 6530564"/>
              <a:gd name="connsiteY2009" fmla="*/ 4280087 h 6858000"/>
              <a:gd name="connsiteX2010" fmla="*/ 2339523 w 6530564"/>
              <a:gd name="connsiteY2010" fmla="*/ 4273662 h 6858000"/>
              <a:gd name="connsiteX2011" fmla="*/ 2344252 w 6530564"/>
              <a:gd name="connsiteY2011" fmla="*/ 4282253 h 6858000"/>
              <a:gd name="connsiteX2012" fmla="*/ 2353292 w 6530564"/>
              <a:gd name="connsiteY2012" fmla="*/ 4287741 h 6858000"/>
              <a:gd name="connsiteX2013" fmla="*/ 2353339 w 6530564"/>
              <a:gd name="connsiteY2013" fmla="*/ 4287828 h 6858000"/>
              <a:gd name="connsiteX2014" fmla="*/ 2356398 w 6530564"/>
              <a:gd name="connsiteY2014" fmla="*/ 4300890 h 6858000"/>
              <a:gd name="connsiteX2015" fmla="*/ 2366853 w 6530564"/>
              <a:gd name="connsiteY2015" fmla="*/ 4315997 h 6858000"/>
              <a:gd name="connsiteX2016" fmla="*/ 2365974 w 6530564"/>
              <a:gd name="connsiteY2016" fmla="*/ 4319277 h 6858000"/>
              <a:gd name="connsiteX2017" fmla="*/ 2369254 w 6530564"/>
              <a:gd name="connsiteY2017" fmla="*/ 4320156 h 6858000"/>
              <a:gd name="connsiteX2018" fmla="*/ 2372534 w 6530564"/>
              <a:gd name="connsiteY2018" fmla="*/ 4321034 h 6858000"/>
              <a:gd name="connsiteX2019" fmla="*/ 2373178 w 6530564"/>
              <a:gd name="connsiteY2019" fmla="*/ 4331754 h 6858000"/>
              <a:gd name="connsiteX2020" fmla="*/ 2370777 w 6530564"/>
              <a:gd name="connsiteY2020" fmla="*/ 4327595 h 6858000"/>
              <a:gd name="connsiteX2021" fmla="*/ 2365094 w 6530564"/>
              <a:gd name="connsiteY2021" fmla="*/ 4322557 h 6858000"/>
              <a:gd name="connsiteX2022" fmla="*/ 2366617 w 6530564"/>
              <a:gd name="connsiteY2022" fmla="*/ 4329996 h 6858000"/>
              <a:gd name="connsiteX2023" fmla="*/ 2365738 w 6530564"/>
              <a:gd name="connsiteY2023" fmla="*/ 4333277 h 6858000"/>
              <a:gd name="connsiteX2024" fmla="*/ 2352853 w 6530564"/>
              <a:gd name="connsiteY2024" fmla="*/ 4315761 h 6858000"/>
              <a:gd name="connsiteX2025" fmla="*/ 2430574 w 6530564"/>
              <a:gd name="connsiteY2025" fmla="*/ 4445576 h 6858000"/>
              <a:gd name="connsiteX2026" fmla="*/ 2441059 w 6530564"/>
              <a:gd name="connsiteY2026" fmla="*/ 4458934 h 6858000"/>
              <a:gd name="connsiteX2027" fmla="*/ 2443460 w 6530564"/>
              <a:gd name="connsiteY2027" fmla="*/ 4463092 h 6858000"/>
              <a:gd name="connsiteX2028" fmla="*/ 2533015 w 6530564"/>
              <a:gd name="connsiteY2028" fmla="*/ 4574984 h 6858000"/>
              <a:gd name="connsiteX2029" fmla="*/ 2537817 w 6530564"/>
              <a:gd name="connsiteY2029" fmla="*/ 4583302 h 6858000"/>
              <a:gd name="connsiteX2030" fmla="*/ 2529736 w 6530564"/>
              <a:gd name="connsiteY2030" fmla="*/ 4574104 h 6858000"/>
              <a:gd name="connsiteX2031" fmla="*/ 2523175 w 6530564"/>
              <a:gd name="connsiteY2031" fmla="*/ 4572347 h 6858000"/>
              <a:gd name="connsiteX2032" fmla="*/ 2511810 w 6530564"/>
              <a:gd name="connsiteY2032" fmla="*/ 4562270 h 6858000"/>
              <a:gd name="connsiteX2033" fmla="*/ 2509409 w 6530564"/>
              <a:gd name="connsiteY2033" fmla="*/ 4558111 h 6858000"/>
              <a:gd name="connsiteX2034" fmla="*/ 2506129 w 6530564"/>
              <a:gd name="connsiteY2034" fmla="*/ 4557232 h 6858000"/>
              <a:gd name="connsiteX2035" fmla="*/ 2480123 w 6530564"/>
              <a:gd name="connsiteY2035" fmla="*/ 4536200 h 6858000"/>
              <a:gd name="connsiteX2036" fmla="*/ 2485806 w 6530564"/>
              <a:gd name="connsiteY2036" fmla="*/ 4541239 h 6858000"/>
              <a:gd name="connsiteX2037" fmla="*/ 2479243 w 6530564"/>
              <a:gd name="connsiteY2037" fmla="*/ 4539480 h 6858000"/>
              <a:gd name="connsiteX2038" fmla="*/ 2480766 w 6530564"/>
              <a:gd name="connsiteY2038" fmla="*/ 4546920 h 6858000"/>
              <a:gd name="connsiteX2039" fmla="*/ 2477486 w 6530564"/>
              <a:gd name="connsiteY2039" fmla="*/ 4546041 h 6858000"/>
              <a:gd name="connsiteX2040" fmla="*/ 2475085 w 6530564"/>
              <a:gd name="connsiteY2040" fmla="*/ 4541882 h 6858000"/>
              <a:gd name="connsiteX2041" fmla="*/ 2471804 w 6530564"/>
              <a:gd name="connsiteY2041" fmla="*/ 4541004 h 6858000"/>
              <a:gd name="connsiteX2042" fmla="*/ 2454760 w 6530564"/>
              <a:gd name="connsiteY2042" fmla="*/ 4525889 h 6858000"/>
              <a:gd name="connsiteX2043" fmla="*/ 2451480 w 6530564"/>
              <a:gd name="connsiteY2043" fmla="*/ 4525010 h 6858000"/>
              <a:gd name="connsiteX2044" fmla="*/ 2453881 w 6530564"/>
              <a:gd name="connsiteY2044" fmla="*/ 4529170 h 6858000"/>
              <a:gd name="connsiteX2045" fmla="*/ 2453001 w 6530564"/>
              <a:gd name="connsiteY2045" fmla="*/ 4532449 h 6858000"/>
              <a:gd name="connsiteX2046" fmla="*/ 2402746 w 6530564"/>
              <a:gd name="connsiteY2046" fmla="*/ 4483825 h 6858000"/>
              <a:gd name="connsiteX2047" fmla="*/ 2356651 w 6530564"/>
              <a:gd name="connsiteY2047" fmla="*/ 4432800 h 6858000"/>
              <a:gd name="connsiteX2048" fmla="*/ 2353370 w 6530564"/>
              <a:gd name="connsiteY2048" fmla="*/ 4431922 h 6858000"/>
              <a:gd name="connsiteX2049" fmla="*/ 2354248 w 6530564"/>
              <a:gd name="connsiteY2049" fmla="*/ 4428641 h 6858000"/>
              <a:gd name="connsiteX2050" fmla="*/ 2350968 w 6530564"/>
              <a:gd name="connsiteY2050" fmla="*/ 4427762 h 6858000"/>
              <a:gd name="connsiteX2051" fmla="*/ 2348567 w 6530564"/>
              <a:gd name="connsiteY2051" fmla="*/ 4423602 h 6858000"/>
              <a:gd name="connsiteX2052" fmla="*/ 2340484 w 6530564"/>
              <a:gd name="connsiteY2052" fmla="*/ 4414406 h 6858000"/>
              <a:gd name="connsiteX2053" fmla="*/ 2333924 w 6530564"/>
              <a:gd name="connsiteY2053" fmla="*/ 4412648 h 6858000"/>
              <a:gd name="connsiteX2054" fmla="*/ 2345288 w 6530564"/>
              <a:gd name="connsiteY2054" fmla="*/ 4422724 h 6858000"/>
              <a:gd name="connsiteX2055" fmla="*/ 2344408 w 6530564"/>
              <a:gd name="connsiteY2055" fmla="*/ 4426004 h 6858000"/>
              <a:gd name="connsiteX2056" fmla="*/ 2341128 w 6530564"/>
              <a:gd name="connsiteY2056" fmla="*/ 4425125 h 6858000"/>
              <a:gd name="connsiteX2057" fmla="*/ 2343530 w 6530564"/>
              <a:gd name="connsiteY2057" fmla="*/ 4429285 h 6858000"/>
              <a:gd name="connsiteX2058" fmla="*/ 2346809 w 6530564"/>
              <a:gd name="connsiteY2058" fmla="*/ 4430163 h 6858000"/>
              <a:gd name="connsiteX2059" fmla="*/ 2349211 w 6530564"/>
              <a:gd name="connsiteY2059" fmla="*/ 4434323 h 6858000"/>
              <a:gd name="connsiteX2060" fmla="*/ 2357293 w 6530564"/>
              <a:gd name="connsiteY2060" fmla="*/ 4443519 h 6858000"/>
              <a:gd name="connsiteX2061" fmla="*/ 2363854 w 6530564"/>
              <a:gd name="connsiteY2061" fmla="*/ 4445278 h 6858000"/>
              <a:gd name="connsiteX2062" fmla="*/ 2362096 w 6530564"/>
              <a:gd name="connsiteY2062" fmla="*/ 4451837 h 6858000"/>
              <a:gd name="connsiteX2063" fmla="*/ 2382421 w 6530564"/>
              <a:gd name="connsiteY2063" fmla="*/ 4467832 h 6858000"/>
              <a:gd name="connsiteX2064" fmla="*/ 2414753 w 6530564"/>
              <a:gd name="connsiteY2064" fmla="*/ 4504621 h 6858000"/>
              <a:gd name="connsiteX2065" fmla="*/ 2415632 w 6530564"/>
              <a:gd name="connsiteY2065" fmla="*/ 4501341 h 6858000"/>
              <a:gd name="connsiteX2066" fmla="*/ 2420434 w 6530564"/>
              <a:gd name="connsiteY2066" fmla="*/ 4509659 h 6858000"/>
              <a:gd name="connsiteX2067" fmla="*/ 2426995 w 6530564"/>
              <a:gd name="connsiteY2067" fmla="*/ 4511417 h 6858000"/>
              <a:gd name="connsiteX2068" fmla="*/ 2426115 w 6530564"/>
              <a:gd name="connsiteY2068" fmla="*/ 4514697 h 6858000"/>
              <a:gd name="connsiteX2069" fmla="*/ 2430919 w 6530564"/>
              <a:gd name="connsiteY2069" fmla="*/ 4523015 h 6858000"/>
              <a:gd name="connsiteX2070" fmla="*/ 2470691 w 6530564"/>
              <a:gd name="connsiteY2070" fmla="*/ 4558283 h 6858000"/>
              <a:gd name="connsiteX2071" fmla="*/ 2472448 w 6530564"/>
              <a:gd name="connsiteY2071" fmla="*/ 4551724 h 6858000"/>
              <a:gd name="connsiteX2072" fmla="*/ 2534066 w 6530564"/>
              <a:gd name="connsiteY2072" fmla="*/ 4610424 h 6858000"/>
              <a:gd name="connsiteX2073" fmla="*/ 2585200 w 6530564"/>
              <a:gd name="connsiteY2073" fmla="*/ 4655767 h 6858000"/>
              <a:gd name="connsiteX2074" fmla="*/ 2584321 w 6530564"/>
              <a:gd name="connsiteY2074" fmla="*/ 4659048 h 6858000"/>
              <a:gd name="connsiteX2075" fmla="*/ 2618411 w 6530564"/>
              <a:gd name="connsiteY2075" fmla="*/ 4689276 h 6858000"/>
              <a:gd name="connsiteX2076" fmla="*/ 2608571 w 6530564"/>
              <a:gd name="connsiteY2076" fmla="*/ 4686639 h 6858000"/>
              <a:gd name="connsiteX2077" fmla="*/ 2622570 w 6530564"/>
              <a:gd name="connsiteY2077" fmla="*/ 4686874 h 6858000"/>
              <a:gd name="connsiteX2078" fmla="*/ 2658183 w 6530564"/>
              <a:gd name="connsiteY2078" fmla="*/ 4724543 h 6858000"/>
              <a:gd name="connsiteX2079" fmla="*/ 2660584 w 6530564"/>
              <a:gd name="connsiteY2079" fmla="*/ 4728703 h 6858000"/>
              <a:gd name="connsiteX2080" fmla="*/ 2663864 w 6530564"/>
              <a:gd name="connsiteY2080" fmla="*/ 4729582 h 6858000"/>
              <a:gd name="connsiteX2081" fmla="*/ 2664742 w 6530564"/>
              <a:gd name="connsiteY2081" fmla="*/ 4726302 h 6858000"/>
              <a:gd name="connsiteX2082" fmla="*/ 2670424 w 6530564"/>
              <a:gd name="connsiteY2082" fmla="*/ 4731340 h 6858000"/>
              <a:gd name="connsiteX2083" fmla="*/ 2667143 w 6530564"/>
              <a:gd name="connsiteY2083" fmla="*/ 4730462 h 6858000"/>
              <a:gd name="connsiteX2084" fmla="*/ 2666265 w 6530564"/>
              <a:gd name="connsiteY2084" fmla="*/ 4733741 h 6858000"/>
              <a:gd name="connsiteX2085" fmla="*/ 2672825 w 6530564"/>
              <a:gd name="connsiteY2085" fmla="*/ 4735499 h 6858000"/>
              <a:gd name="connsiteX2086" fmla="*/ 2675227 w 6530564"/>
              <a:gd name="connsiteY2086" fmla="*/ 4739658 h 6858000"/>
              <a:gd name="connsiteX2087" fmla="*/ 2685067 w 6530564"/>
              <a:gd name="connsiteY2087" fmla="*/ 4742295 h 6858000"/>
              <a:gd name="connsiteX2088" fmla="*/ 2690749 w 6530564"/>
              <a:gd name="connsiteY2088" fmla="*/ 4747334 h 6858000"/>
              <a:gd name="connsiteX2089" fmla="*/ 2688348 w 6530564"/>
              <a:gd name="connsiteY2089" fmla="*/ 4743174 h 6858000"/>
              <a:gd name="connsiteX2090" fmla="*/ 2685948 w 6530564"/>
              <a:gd name="connsiteY2090" fmla="*/ 4739014 h 6858000"/>
              <a:gd name="connsiteX2091" fmla="*/ 2692507 w 6530564"/>
              <a:gd name="connsiteY2091" fmla="*/ 4740773 h 6858000"/>
              <a:gd name="connsiteX2092" fmla="*/ 2709552 w 6530564"/>
              <a:gd name="connsiteY2092" fmla="*/ 4755887 h 6858000"/>
              <a:gd name="connsiteX2093" fmla="*/ 2741239 w 6530564"/>
              <a:gd name="connsiteY2093" fmla="*/ 4781956 h 6858000"/>
              <a:gd name="connsiteX2094" fmla="*/ 2743642 w 6530564"/>
              <a:gd name="connsiteY2094" fmla="*/ 4786115 h 6858000"/>
              <a:gd name="connsiteX2095" fmla="*/ 2746921 w 6530564"/>
              <a:gd name="connsiteY2095" fmla="*/ 4786995 h 6858000"/>
              <a:gd name="connsiteX2096" fmla="*/ 2761565 w 6530564"/>
              <a:gd name="connsiteY2096" fmla="*/ 4797950 h 6858000"/>
              <a:gd name="connsiteX2097" fmla="*/ 2773807 w 6530564"/>
              <a:gd name="connsiteY2097" fmla="*/ 4804745 h 6858000"/>
              <a:gd name="connsiteX2098" fmla="*/ 2793253 w 6530564"/>
              <a:gd name="connsiteY2098" fmla="*/ 4824020 h 6858000"/>
              <a:gd name="connsiteX2099" fmla="*/ 2792374 w 6530564"/>
              <a:gd name="connsiteY2099" fmla="*/ 4827301 h 6858000"/>
              <a:gd name="connsiteX2100" fmla="*/ 2798935 w 6530564"/>
              <a:gd name="connsiteY2100" fmla="*/ 4829058 h 6858000"/>
              <a:gd name="connsiteX2101" fmla="*/ 2802215 w 6530564"/>
              <a:gd name="connsiteY2101" fmla="*/ 4829937 h 6858000"/>
              <a:gd name="connsiteX2102" fmla="*/ 2799813 w 6530564"/>
              <a:gd name="connsiteY2102" fmla="*/ 4825779 h 6858000"/>
              <a:gd name="connsiteX2103" fmla="*/ 2820139 w 6530564"/>
              <a:gd name="connsiteY2103" fmla="*/ 4841771 h 6858000"/>
              <a:gd name="connsiteX2104" fmla="*/ 2822540 w 6530564"/>
              <a:gd name="connsiteY2104" fmla="*/ 4845931 h 6858000"/>
              <a:gd name="connsiteX2105" fmla="*/ 2825821 w 6530564"/>
              <a:gd name="connsiteY2105" fmla="*/ 4846810 h 6858000"/>
              <a:gd name="connsiteX2106" fmla="*/ 2847025 w 6530564"/>
              <a:gd name="connsiteY2106" fmla="*/ 4859523 h 6858000"/>
              <a:gd name="connsiteX2107" fmla="*/ 2843744 w 6530564"/>
              <a:gd name="connsiteY2107" fmla="*/ 4858645 h 6858000"/>
              <a:gd name="connsiteX2108" fmla="*/ 2833903 w 6530564"/>
              <a:gd name="connsiteY2108" fmla="*/ 4856008 h 6858000"/>
              <a:gd name="connsiteX2109" fmla="*/ 2839585 w 6530564"/>
              <a:gd name="connsiteY2109" fmla="*/ 4861046 h 6858000"/>
              <a:gd name="connsiteX2110" fmla="*/ 2841985 w 6530564"/>
              <a:gd name="connsiteY2110" fmla="*/ 4865204 h 6858000"/>
              <a:gd name="connsiteX2111" fmla="*/ 2829743 w 6530564"/>
              <a:gd name="connsiteY2111" fmla="*/ 4858407 h 6858000"/>
              <a:gd name="connsiteX2112" fmla="*/ 2824705 w 6530564"/>
              <a:gd name="connsiteY2112" fmla="*/ 4864090 h 6858000"/>
              <a:gd name="connsiteX2113" fmla="*/ 2845031 w 6530564"/>
              <a:gd name="connsiteY2113" fmla="*/ 4880083 h 6858000"/>
              <a:gd name="connsiteX2114" fmla="*/ 2847433 w 6530564"/>
              <a:gd name="connsiteY2114" fmla="*/ 4884243 h 6858000"/>
              <a:gd name="connsiteX2115" fmla="*/ 2850711 w 6530564"/>
              <a:gd name="connsiteY2115" fmla="*/ 4885122 h 6858000"/>
              <a:gd name="connsiteX2116" fmla="*/ 2853993 w 6530564"/>
              <a:gd name="connsiteY2116" fmla="*/ 4886000 h 6858000"/>
              <a:gd name="connsiteX2117" fmla="*/ 2851592 w 6530564"/>
              <a:gd name="connsiteY2117" fmla="*/ 4881842 h 6858000"/>
              <a:gd name="connsiteX2118" fmla="*/ 2861432 w 6530564"/>
              <a:gd name="connsiteY2118" fmla="*/ 4884479 h 6858000"/>
              <a:gd name="connsiteX2119" fmla="*/ 2865592 w 6530564"/>
              <a:gd name="connsiteY2119" fmla="*/ 4882076 h 6858000"/>
              <a:gd name="connsiteX2120" fmla="*/ 2850949 w 6530564"/>
              <a:gd name="connsiteY2120" fmla="*/ 4871121 h 6858000"/>
              <a:gd name="connsiteX2121" fmla="*/ 2854228 w 6530564"/>
              <a:gd name="connsiteY2121" fmla="*/ 4872001 h 6858000"/>
              <a:gd name="connsiteX2122" fmla="*/ 2861667 w 6530564"/>
              <a:gd name="connsiteY2122" fmla="*/ 4870478 h 6858000"/>
              <a:gd name="connsiteX2123" fmla="*/ 2856769 w 6530564"/>
              <a:gd name="connsiteY2123" fmla="*/ 4866135 h 6858000"/>
              <a:gd name="connsiteX2124" fmla="*/ 2862737 w 6530564"/>
              <a:gd name="connsiteY2124" fmla="*/ 4868128 h 6858000"/>
              <a:gd name="connsiteX2125" fmla="*/ 2877189 w 6530564"/>
              <a:gd name="connsiteY2125" fmla="*/ 4878154 h 6858000"/>
              <a:gd name="connsiteX2126" fmla="*/ 2889669 w 6530564"/>
              <a:gd name="connsiteY2126" fmla="*/ 4870949 h 6858000"/>
              <a:gd name="connsiteX2127" fmla="*/ 2885509 w 6530564"/>
              <a:gd name="connsiteY2127" fmla="*/ 4873350 h 6858000"/>
              <a:gd name="connsiteX2128" fmla="*/ 2884630 w 6530564"/>
              <a:gd name="connsiteY2128" fmla="*/ 4876631 h 6858000"/>
              <a:gd name="connsiteX2129" fmla="*/ 2883750 w 6530564"/>
              <a:gd name="connsiteY2129" fmla="*/ 4879911 h 6858000"/>
              <a:gd name="connsiteX2130" fmla="*/ 2890311 w 6530564"/>
              <a:gd name="connsiteY2130" fmla="*/ 4881670 h 6858000"/>
              <a:gd name="connsiteX2131" fmla="*/ 2893590 w 6530564"/>
              <a:gd name="connsiteY2131" fmla="*/ 4882548 h 6858000"/>
              <a:gd name="connsiteX2132" fmla="*/ 2898394 w 6530564"/>
              <a:gd name="connsiteY2132" fmla="*/ 4890866 h 6858000"/>
              <a:gd name="connsiteX2133" fmla="*/ 2891834 w 6530564"/>
              <a:gd name="connsiteY2133" fmla="*/ 4889109 h 6858000"/>
              <a:gd name="connsiteX2134" fmla="*/ 2890953 w 6530564"/>
              <a:gd name="connsiteY2134" fmla="*/ 4892389 h 6858000"/>
              <a:gd name="connsiteX2135" fmla="*/ 2896636 w 6530564"/>
              <a:gd name="connsiteY2135" fmla="*/ 4897427 h 6858000"/>
              <a:gd name="connsiteX2136" fmla="*/ 2903197 w 6530564"/>
              <a:gd name="connsiteY2136" fmla="*/ 4899185 h 6858000"/>
              <a:gd name="connsiteX2137" fmla="*/ 2911514 w 6530564"/>
              <a:gd name="connsiteY2137" fmla="*/ 4894383 h 6858000"/>
              <a:gd name="connsiteX2138" fmla="*/ 2915674 w 6530564"/>
              <a:gd name="connsiteY2138" fmla="*/ 4891980 h 6858000"/>
              <a:gd name="connsiteX2139" fmla="*/ 2913273 w 6530564"/>
              <a:gd name="connsiteY2139" fmla="*/ 4887822 h 6858000"/>
              <a:gd name="connsiteX2140" fmla="*/ 2928796 w 6530564"/>
              <a:gd name="connsiteY2140" fmla="*/ 4895497 h 6858000"/>
              <a:gd name="connsiteX2141" fmla="*/ 2918954 w 6530564"/>
              <a:gd name="connsiteY2141" fmla="*/ 4892860 h 6858000"/>
              <a:gd name="connsiteX2142" fmla="*/ 2930317 w 6530564"/>
              <a:gd name="connsiteY2142" fmla="*/ 4902935 h 6858000"/>
              <a:gd name="connsiteX2143" fmla="*/ 2929439 w 6530564"/>
              <a:gd name="connsiteY2143" fmla="*/ 4906217 h 6858000"/>
              <a:gd name="connsiteX2144" fmla="*/ 2932718 w 6530564"/>
              <a:gd name="connsiteY2144" fmla="*/ 4907095 h 6858000"/>
              <a:gd name="connsiteX2145" fmla="*/ 2935999 w 6530564"/>
              <a:gd name="connsiteY2145" fmla="*/ 4907975 h 6858000"/>
              <a:gd name="connsiteX2146" fmla="*/ 2936878 w 6530564"/>
              <a:gd name="connsiteY2146" fmla="*/ 4904694 h 6858000"/>
              <a:gd name="connsiteX2147" fmla="*/ 2941680 w 6530564"/>
              <a:gd name="connsiteY2147" fmla="*/ 4913011 h 6858000"/>
              <a:gd name="connsiteX2148" fmla="*/ 2961363 w 6530564"/>
              <a:gd name="connsiteY2148" fmla="*/ 4918285 h 6858000"/>
              <a:gd name="connsiteX2149" fmla="*/ 2954802 w 6530564"/>
              <a:gd name="connsiteY2149" fmla="*/ 4916527 h 6858000"/>
              <a:gd name="connsiteX2150" fmla="*/ 2972726 w 6530564"/>
              <a:gd name="connsiteY2150" fmla="*/ 4928362 h 6858000"/>
              <a:gd name="connsiteX2151" fmla="*/ 2968566 w 6530564"/>
              <a:gd name="connsiteY2151" fmla="*/ 4930764 h 6858000"/>
              <a:gd name="connsiteX2152" fmla="*/ 2971848 w 6530564"/>
              <a:gd name="connsiteY2152" fmla="*/ 4931642 h 6858000"/>
              <a:gd name="connsiteX2153" fmla="*/ 2970967 w 6530564"/>
              <a:gd name="connsiteY2153" fmla="*/ 4934923 h 6858000"/>
              <a:gd name="connsiteX2154" fmla="*/ 2966810 w 6530564"/>
              <a:gd name="connsiteY2154" fmla="*/ 4937324 h 6858000"/>
              <a:gd name="connsiteX2155" fmla="*/ 2939043 w 6530564"/>
              <a:gd name="connsiteY2155" fmla="*/ 4922854 h 6858000"/>
              <a:gd name="connsiteX2156" fmla="*/ 2939923 w 6530564"/>
              <a:gd name="connsiteY2156" fmla="*/ 4919573 h 6858000"/>
              <a:gd name="connsiteX2157" fmla="*/ 2927680 w 6530564"/>
              <a:gd name="connsiteY2157" fmla="*/ 4912777 h 6858000"/>
              <a:gd name="connsiteX2158" fmla="*/ 2935764 w 6530564"/>
              <a:gd name="connsiteY2158" fmla="*/ 4921974 h 6858000"/>
              <a:gd name="connsiteX2159" fmla="*/ 2920241 w 6530564"/>
              <a:gd name="connsiteY2159" fmla="*/ 4914300 h 6858000"/>
              <a:gd name="connsiteX2160" fmla="*/ 2917839 w 6530564"/>
              <a:gd name="connsiteY2160" fmla="*/ 4910140 h 6858000"/>
              <a:gd name="connsiteX2161" fmla="*/ 2914560 w 6530564"/>
              <a:gd name="connsiteY2161" fmla="*/ 4909260 h 6858000"/>
              <a:gd name="connsiteX2162" fmla="*/ 2910401 w 6530564"/>
              <a:gd name="connsiteY2162" fmla="*/ 4911663 h 6858000"/>
              <a:gd name="connsiteX2163" fmla="*/ 2912801 w 6530564"/>
              <a:gd name="connsiteY2163" fmla="*/ 4915821 h 6858000"/>
              <a:gd name="connsiteX2164" fmla="*/ 2918484 w 6530564"/>
              <a:gd name="connsiteY2164" fmla="*/ 4920859 h 6858000"/>
              <a:gd name="connsiteX2165" fmla="*/ 2921765 w 6530564"/>
              <a:gd name="connsiteY2165" fmla="*/ 4921739 h 6858000"/>
              <a:gd name="connsiteX2166" fmla="*/ 2922643 w 6530564"/>
              <a:gd name="connsiteY2166" fmla="*/ 4918458 h 6858000"/>
              <a:gd name="connsiteX2167" fmla="*/ 2965929 w 6530564"/>
              <a:gd name="connsiteY2167" fmla="*/ 4940604 h 6858000"/>
              <a:gd name="connsiteX2168" fmla="*/ 2968331 w 6530564"/>
              <a:gd name="connsiteY2168" fmla="*/ 4944764 h 6858000"/>
              <a:gd name="connsiteX2169" fmla="*/ 2971612 w 6530564"/>
              <a:gd name="connsiteY2169" fmla="*/ 4945642 h 6858000"/>
              <a:gd name="connsiteX2170" fmla="*/ 2974892 w 6530564"/>
              <a:gd name="connsiteY2170" fmla="*/ 4946522 h 6858000"/>
              <a:gd name="connsiteX2171" fmla="*/ 2992815 w 6530564"/>
              <a:gd name="connsiteY2171" fmla="*/ 4958356 h 6858000"/>
              <a:gd name="connsiteX2172" fmla="*/ 2993695 w 6530564"/>
              <a:gd name="connsiteY2172" fmla="*/ 4955076 h 6858000"/>
              <a:gd name="connsiteX2173" fmla="*/ 2996095 w 6530564"/>
              <a:gd name="connsiteY2173" fmla="*/ 4959234 h 6858000"/>
              <a:gd name="connsiteX2174" fmla="*/ 3001778 w 6530564"/>
              <a:gd name="connsiteY2174" fmla="*/ 4964274 h 6858000"/>
              <a:gd name="connsiteX2175" fmla="*/ 3005937 w 6530564"/>
              <a:gd name="connsiteY2175" fmla="*/ 4961873 h 6858000"/>
              <a:gd name="connsiteX2176" fmla="*/ 3075465 w 6530564"/>
              <a:gd name="connsiteY2176" fmla="*/ 4991048 h 6858000"/>
              <a:gd name="connsiteX2177" fmla="*/ 3081147 w 6530564"/>
              <a:gd name="connsiteY2177" fmla="*/ 4996088 h 6858000"/>
              <a:gd name="connsiteX2178" fmla="*/ 3084428 w 6530564"/>
              <a:gd name="connsiteY2178" fmla="*/ 4996967 h 6858000"/>
              <a:gd name="connsiteX2179" fmla="*/ 3085306 w 6530564"/>
              <a:gd name="connsiteY2179" fmla="*/ 4993685 h 6858000"/>
              <a:gd name="connsiteX2180" fmla="*/ 3103230 w 6530564"/>
              <a:gd name="connsiteY2180" fmla="*/ 5005520 h 6858000"/>
              <a:gd name="connsiteX2181" fmla="*/ 3106511 w 6530564"/>
              <a:gd name="connsiteY2181" fmla="*/ 5006399 h 6858000"/>
              <a:gd name="connsiteX2182" fmla="*/ 3113070 w 6530564"/>
              <a:gd name="connsiteY2182" fmla="*/ 5008157 h 6858000"/>
              <a:gd name="connsiteX2183" fmla="*/ 3116351 w 6530564"/>
              <a:gd name="connsiteY2183" fmla="*/ 5009036 h 6858000"/>
              <a:gd name="connsiteX2184" fmla="*/ 3118751 w 6530564"/>
              <a:gd name="connsiteY2184" fmla="*/ 5013195 h 6858000"/>
              <a:gd name="connsiteX2185" fmla="*/ 3122032 w 6530564"/>
              <a:gd name="connsiteY2185" fmla="*/ 5014073 h 6858000"/>
              <a:gd name="connsiteX2186" fmla="*/ 3141713 w 6530564"/>
              <a:gd name="connsiteY2186" fmla="*/ 5019348 h 6858000"/>
              <a:gd name="connsiteX2187" fmla="*/ 3144995 w 6530564"/>
              <a:gd name="connsiteY2187" fmla="*/ 5020227 h 6858000"/>
              <a:gd name="connsiteX2188" fmla="*/ 3151555 w 6530564"/>
              <a:gd name="connsiteY2188" fmla="*/ 5021985 h 6858000"/>
              <a:gd name="connsiteX2189" fmla="*/ 3154835 w 6530564"/>
              <a:gd name="connsiteY2189" fmla="*/ 5022864 h 6858000"/>
              <a:gd name="connsiteX2190" fmla="*/ 3177797 w 6530564"/>
              <a:gd name="connsiteY2190" fmla="*/ 5029016 h 6858000"/>
              <a:gd name="connsiteX2191" fmla="*/ 3189161 w 6530564"/>
              <a:gd name="connsiteY2191" fmla="*/ 5039093 h 6858000"/>
              <a:gd name="connsiteX2192" fmla="*/ 3191561 w 6530564"/>
              <a:gd name="connsiteY2192" fmla="*/ 5043251 h 6858000"/>
              <a:gd name="connsiteX2193" fmla="*/ 3194841 w 6530564"/>
              <a:gd name="connsiteY2193" fmla="*/ 5044131 h 6858000"/>
              <a:gd name="connsiteX2194" fmla="*/ 3195720 w 6530564"/>
              <a:gd name="connsiteY2194" fmla="*/ 5040850 h 6858000"/>
              <a:gd name="connsiteX2195" fmla="*/ 3192440 w 6530564"/>
              <a:gd name="connsiteY2195" fmla="*/ 5039972 h 6858000"/>
              <a:gd name="connsiteX2196" fmla="*/ 3206440 w 6530564"/>
              <a:gd name="connsiteY2196" fmla="*/ 5040207 h 6858000"/>
              <a:gd name="connsiteX2197" fmla="*/ 3204682 w 6530564"/>
              <a:gd name="connsiteY2197" fmla="*/ 5046768 h 6858000"/>
              <a:gd name="connsiteX2198" fmla="*/ 3200777 w 6530564"/>
              <a:gd name="connsiteY2198" fmla="*/ 5049024 h 6858000"/>
              <a:gd name="connsiteX2199" fmla="*/ 3182802 w 6530564"/>
              <a:gd name="connsiteY2199" fmla="*/ 5042937 h 6858000"/>
              <a:gd name="connsiteX2200" fmla="*/ 3134918 w 6530564"/>
              <a:gd name="connsiteY2200" fmla="*/ 5031590 h 6858000"/>
              <a:gd name="connsiteX2201" fmla="*/ 3132517 w 6530564"/>
              <a:gd name="connsiteY2201" fmla="*/ 5027430 h 6858000"/>
              <a:gd name="connsiteX2202" fmla="*/ 3129237 w 6530564"/>
              <a:gd name="connsiteY2202" fmla="*/ 5026552 h 6858000"/>
              <a:gd name="connsiteX2203" fmla="*/ 3111956 w 6530564"/>
              <a:gd name="connsiteY2203" fmla="*/ 5025438 h 6858000"/>
              <a:gd name="connsiteX2204" fmla="*/ 3125078 w 6530564"/>
              <a:gd name="connsiteY2204" fmla="*/ 5028953 h 6858000"/>
              <a:gd name="connsiteX2205" fmla="*/ 3120918 w 6530564"/>
              <a:gd name="connsiteY2205" fmla="*/ 5031354 h 6858000"/>
              <a:gd name="connsiteX2206" fmla="*/ 3124199 w 6530564"/>
              <a:gd name="connsiteY2206" fmla="*/ 5032234 h 6858000"/>
              <a:gd name="connsiteX2207" fmla="*/ 3127479 w 6530564"/>
              <a:gd name="connsiteY2207" fmla="*/ 5033113 h 6858000"/>
              <a:gd name="connsiteX2208" fmla="*/ 3130758 w 6530564"/>
              <a:gd name="connsiteY2208" fmla="*/ 5033991 h 6858000"/>
              <a:gd name="connsiteX2209" fmla="*/ 3159167 w 6530564"/>
              <a:gd name="connsiteY2209" fmla="*/ 5059182 h 6858000"/>
              <a:gd name="connsiteX2210" fmla="*/ 3223421 w 6530564"/>
              <a:gd name="connsiteY2210" fmla="*/ 5108042 h 6858000"/>
              <a:gd name="connsiteX2211" fmla="*/ 3225824 w 6530564"/>
              <a:gd name="connsiteY2211" fmla="*/ 5112200 h 6858000"/>
              <a:gd name="connsiteX2212" fmla="*/ 3228223 w 6530564"/>
              <a:gd name="connsiteY2212" fmla="*/ 5116360 h 6858000"/>
              <a:gd name="connsiteX2213" fmla="*/ 3224065 w 6530564"/>
              <a:gd name="connsiteY2213" fmla="*/ 5118761 h 6858000"/>
              <a:gd name="connsiteX2214" fmla="*/ 3233907 w 6530564"/>
              <a:gd name="connsiteY2214" fmla="*/ 5121398 h 6858000"/>
              <a:gd name="connsiteX2215" fmla="*/ 3292714 w 6530564"/>
              <a:gd name="connsiteY2215" fmla="*/ 5151219 h 6858000"/>
              <a:gd name="connsiteX2216" fmla="*/ 3285275 w 6530564"/>
              <a:gd name="connsiteY2216" fmla="*/ 5152742 h 6858000"/>
              <a:gd name="connsiteX2217" fmla="*/ 3319365 w 6530564"/>
              <a:gd name="connsiteY2217" fmla="*/ 5182971 h 6858000"/>
              <a:gd name="connsiteX2218" fmla="*/ 3312805 w 6530564"/>
              <a:gd name="connsiteY2218" fmla="*/ 5181213 h 6858000"/>
              <a:gd name="connsiteX2219" fmla="*/ 3309524 w 6530564"/>
              <a:gd name="connsiteY2219" fmla="*/ 5180334 h 6858000"/>
              <a:gd name="connsiteX2220" fmla="*/ 3311927 w 6530564"/>
              <a:gd name="connsiteY2220" fmla="*/ 5184492 h 6858000"/>
              <a:gd name="connsiteX2221" fmla="*/ 3318486 w 6530564"/>
              <a:gd name="connsiteY2221" fmla="*/ 5186251 h 6858000"/>
              <a:gd name="connsiteX2222" fmla="*/ 3266002 w 6530564"/>
              <a:gd name="connsiteY2222" fmla="*/ 5172187 h 6858000"/>
              <a:gd name="connsiteX2223" fmla="*/ 3342499 w 6530564"/>
              <a:gd name="connsiteY2223" fmla="*/ 5227844 h 6858000"/>
              <a:gd name="connsiteX2224" fmla="*/ 3348824 w 6530564"/>
              <a:gd name="connsiteY2224" fmla="*/ 5243600 h 6858000"/>
              <a:gd name="connsiteX2225" fmla="*/ 3338105 w 6530564"/>
              <a:gd name="connsiteY2225" fmla="*/ 5244245 h 6858000"/>
              <a:gd name="connsiteX2226" fmla="*/ 3260257 w 6530564"/>
              <a:gd name="connsiteY2226" fmla="*/ 5219869 h 6858000"/>
              <a:gd name="connsiteX2227" fmla="*/ 3243621 w 6530564"/>
              <a:gd name="connsiteY2227" fmla="*/ 5229475 h 6858000"/>
              <a:gd name="connsiteX2228" fmla="*/ 3201857 w 6530564"/>
              <a:gd name="connsiteY2228" fmla="*/ 5214769 h 6858000"/>
              <a:gd name="connsiteX2229" fmla="*/ 3219780 w 6530564"/>
              <a:gd name="connsiteY2229" fmla="*/ 5226604 h 6858000"/>
              <a:gd name="connsiteX2230" fmla="*/ 3193538 w 6530564"/>
              <a:gd name="connsiteY2230" fmla="*/ 5219573 h 6858000"/>
              <a:gd name="connsiteX2231" fmla="*/ 3204023 w 6530564"/>
              <a:gd name="connsiteY2231" fmla="*/ 5232929 h 6858000"/>
              <a:gd name="connsiteX2232" fmla="*/ 3042882 w 6530564"/>
              <a:gd name="connsiteY2232" fmla="*/ 5165139 h 6858000"/>
              <a:gd name="connsiteX2233" fmla="*/ 3027359 w 6530564"/>
              <a:gd name="connsiteY2233" fmla="*/ 5157464 h 6858000"/>
              <a:gd name="connsiteX2234" fmla="*/ 1894782 w 6530564"/>
              <a:gd name="connsiteY2234" fmla="*/ 3584788 h 6858000"/>
              <a:gd name="connsiteX2235" fmla="*/ 1895662 w 6530564"/>
              <a:gd name="connsiteY2235" fmla="*/ 3581506 h 6858000"/>
              <a:gd name="connsiteX2236" fmla="*/ 1896540 w 6530564"/>
              <a:gd name="connsiteY2236" fmla="*/ 3578226 h 6858000"/>
              <a:gd name="connsiteX2237" fmla="*/ 1900698 w 6530564"/>
              <a:gd name="connsiteY2237" fmla="*/ 3575825 h 6858000"/>
              <a:gd name="connsiteX2238" fmla="*/ 1902221 w 6530564"/>
              <a:gd name="connsiteY2238" fmla="*/ 3583265 h 6858000"/>
              <a:gd name="connsiteX2239" fmla="*/ 1908782 w 6530564"/>
              <a:gd name="connsiteY2239" fmla="*/ 3585022 h 6858000"/>
              <a:gd name="connsiteX2240" fmla="*/ 1907259 w 6530564"/>
              <a:gd name="connsiteY2240" fmla="*/ 3577584 h 6858000"/>
              <a:gd name="connsiteX2241" fmla="*/ 1904858 w 6530564"/>
              <a:gd name="connsiteY2241" fmla="*/ 3573425 h 6858000"/>
              <a:gd name="connsiteX2242" fmla="*/ 1905737 w 6530564"/>
              <a:gd name="connsiteY2242" fmla="*/ 3570143 h 6858000"/>
              <a:gd name="connsiteX2243" fmla="*/ 1911655 w 6530564"/>
              <a:gd name="connsiteY2243" fmla="*/ 3561181 h 6858000"/>
              <a:gd name="connsiteX2244" fmla="*/ 1902693 w 6530564"/>
              <a:gd name="connsiteY2244" fmla="*/ 3555264 h 6858000"/>
              <a:gd name="connsiteX2245" fmla="*/ 1904214 w 6530564"/>
              <a:gd name="connsiteY2245" fmla="*/ 3562704 h 6858000"/>
              <a:gd name="connsiteX2246" fmla="*/ 1898533 w 6530564"/>
              <a:gd name="connsiteY2246" fmla="*/ 3557666 h 6858000"/>
              <a:gd name="connsiteX2247" fmla="*/ 1899176 w 6530564"/>
              <a:gd name="connsiteY2247" fmla="*/ 3568386 h 6858000"/>
              <a:gd name="connsiteX2248" fmla="*/ 1901577 w 6530564"/>
              <a:gd name="connsiteY2248" fmla="*/ 3572544 h 6858000"/>
              <a:gd name="connsiteX2249" fmla="*/ 1895896 w 6530564"/>
              <a:gd name="connsiteY2249" fmla="*/ 3567506 h 6858000"/>
              <a:gd name="connsiteX2250" fmla="*/ 1896775 w 6530564"/>
              <a:gd name="connsiteY2250" fmla="*/ 3564227 h 6858000"/>
              <a:gd name="connsiteX2251" fmla="*/ 1894373 w 6530564"/>
              <a:gd name="connsiteY2251" fmla="*/ 3560067 h 6858000"/>
              <a:gd name="connsiteX2252" fmla="*/ 1891094 w 6530564"/>
              <a:gd name="connsiteY2252" fmla="*/ 3559188 h 6858000"/>
              <a:gd name="connsiteX2253" fmla="*/ 1879920 w 6530564"/>
              <a:gd name="connsiteY2253" fmla="*/ 3390951 h 6858000"/>
              <a:gd name="connsiteX2254" fmla="*/ 1885837 w 6530564"/>
              <a:gd name="connsiteY2254" fmla="*/ 3381989 h 6858000"/>
              <a:gd name="connsiteX2255" fmla="*/ 1882557 w 6530564"/>
              <a:gd name="connsiteY2255" fmla="*/ 3381111 h 6858000"/>
              <a:gd name="connsiteX2256" fmla="*/ 1949501 w 6530564"/>
              <a:gd name="connsiteY2256" fmla="*/ 2829488 h 6858000"/>
              <a:gd name="connsiteX2257" fmla="*/ 2643562 w 6530564"/>
              <a:gd name="connsiteY2257" fmla="*/ 1774383 h 6858000"/>
              <a:gd name="connsiteX2258" fmla="*/ 2640925 w 6530564"/>
              <a:gd name="connsiteY2258" fmla="*/ 1784224 h 6858000"/>
              <a:gd name="connsiteX2259" fmla="*/ 2686913 w 6530564"/>
              <a:gd name="connsiteY2259" fmla="*/ 1743809 h 6858000"/>
              <a:gd name="connsiteX2260" fmla="*/ 2683632 w 6530564"/>
              <a:gd name="connsiteY2260" fmla="*/ 1742931 h 6858000"/>
              <a:gd name="connsiteX2261" fmla="*/ 2744497 w 6530564"/>
              <a:gd name="connsiteY2261" fmla="*/ 1699471 h 6858000"/>
              <a:gd name="connsiteX2262" fmla="*/ 2782809 w 6530564"/>
              <a:gd name="connsiteY2262" fmla="*/ 1674577 h 6858000"/>
              <a:gd name="connsiteX2263" fmla="*/ 2786969 w 6530564"/>
              <a:gd name="connsiteY2263" fmla="*/ 1672176 h 6858000"/>
              <a:gd name="connsiteX2264" fmla="*/ 2787847 w 6530564"/>
              <a:gd name="connsiteY2264" fmla="*/ 1668896 h 6858000"/>
              <a:gd name="connsiteX2265" fmla="*/ 2795287 w 6530564"/>
              <a:gd name="connsiteY2265" fmla="*/ 1667374 h 6858000"/>
              <a:gd name="connsiteX2266" fmla="*/ 2812803 w 6530564"/>
              <a:gd name="connsiteY2266" fmla="*/ 1654488 h 6858000"/>
              <a:gd name="connsiteX2267" fmla="*/ 2867751 w 6530564"/>
              <a:gd name="connsiteY2267" fmla="*/ 1619990 h 6858000"/>
              <a:gd name="connsiteX2268" fmla="*/ 2892707 w 6530564"/>
              <a:gd name="connsiteY2268" fmla="*/ 1605583 h 6858000"/>
              <a:gd name="connsiteX2269" fmla="*/ 2945898 w 6530564"/>
              <a:gd name="connsiteY2269" fmla="*/ 1577646 h 6858000"/>
              <a:gd name="connsiteX2270" fmla="*/ 2945019 w 6530564"/>
              <a:gd name="connsiteY2270" fmla="*/ 1580925 h 6858000"/>
              <a:gd name="connsiteX2271" fmla="*/ 2954215 w 6530564"/>
              <a:gd name="connsiteY2271" fmla="*/ 1572842 h 6858000"/>
              <a:gd name="connsiteX2272" fmla="*/ 3187642 w 6530564"/>
              <a:gd name="connsiteY2272" fmla="*/ 1469266 h 6858000"/>
              <a:gd name="connsiteX2273" fmla="*/ 3206518 w 6530564"/>
              <a:gd name="connsiteY2273" fmla="*/ 1462968 h 6858000"/>
              <a:gd name="connsiteX2274" fmla="*/ 3279061 w 6530564"/>
              <a:gd name="connsiteY2274" fmla="*/ 1433119 h 6858000"/>
              <a:gd name="connsiteX2275" fmla="*/ 3268731 w 6530564"/>
              <a:gd name="connsiteY2275" fmla="*/ 1435621 h 6858000"/>
              <a:gd name="connsiteX2276" fmla="*/ 3291288 w 6530564"/>
              <a:gd name="connsiteY2276" fmla="*/ 1428088 h 6858000"/>
              <a:gd name="connsiteX2277" fmla="*/ 3299007 w 6530564"/>
              <a:gd name="connsiteY2277" fmla="*/ 1424913 h 6858000"/>
              <a:gd name="connsiteX2278" fmla="*/ 2502762 w 6530564"/>
              <a:gd name="connsiteY2278" fmla="*/ 1367737 h 6858000"/>
              <a:gd name="connsiteX2279" fmla="*/ 2499088 w 6530564"/>
              <a:gd name="connsiteY2279" fmla="*/ 1373406 h 6858000"/>
              <a:gd name="connsiteX2280" fmla="*/ 2508432 w 6530564"/>
              <a:gd name="connsiteY2280" fmla="*/ 1371410 h 6858000"/>
              <a:gd name="connsiteX2281" fmla="*/ 2472589 w 6530564"/>
              <a:gd name="connsiteY2281" fmla="*/ 1406541 h 6858000"/>
              <a:gd name="connsiteX2282" fmla="*/ 2428360 w 6530564"/>
              <a:gd name="connsiteY2282" fmla="*/ 1430993 h 6858000"/>
              <a:gd name="connsiteX2283" fmla="*/ 2427665 w 6530564"/>
              <a:gd name="connsiteY2283" fmla="*/ 1427740 h 6858000"/>
              <a:gd name="connsiteX2284" fmla="*/ 2423991 w 6530564"/>
              <a:gd name="connsiteY2284" fmla="*/ 1433409 h 6858000"/>
              <a:gd name="connsiteX2285" fmla="*/ 2406305 w 6530564"/>
              <a:gd name="connsiteY2285" fmla="*/ 1442071 h 6858000"/>
              <a:gd name="connsiteX2286" fmla="*/ 2401635 w 6530564"/>
              <a:gd name="connsiteY2286" fmla="*/ 1443068 h 6858000"/>
              <a:gd name="connsiteX2287" fmla="*/ 2402632 w 6530564"/>
              <a:gd name="connsiteY2287" fmla="*/ 1447739 h 6858000"/>
              <a:gd name="connsiteX2288" fmla="*/ 2397962 w 6530564"/>
              <a:gd name="connsiteY2288" fmla="*/ 1448738 h 6858000"/>
              <a:gd name="connsiteX2289" fmla="*/ 2368524 w 6530564"/>
              <a:gd name="connsiteY2289" fmla="*/ 1462091 h 6858000"/>
              <a:gd name="connsiteX2290" fmla="*/ 2436136 w 6530564"/>
              <a:gd name="connsiteY2290" fmla="*/ 1405006 h 6858000"/>
              <a:gd name="connsiteX2291" fmla="*/ 2447028 w 6530564"/>
              <a:gd name="connsiteY2291" fmla="*/ 1404065 h 6858000"/>
              <a:gd name="connsiteX2292" fmla="*/ 2493419 w 6530564"/>
              <a:gd name="connsiteY2292" fmla="*/ 1369732 h 6858000"/>
              <a:gd name="connsiteX2293" fmla="*/ 2502762 w 6530564"/>
              <a:gd name="connsiteY2293" fmla="*/ 1367737 h 6858000"/>
              <a:gd name="connsiteX2294" fmla="*/ 3694920 w 6530564"/>
              <a:gd name="connsiteY2294" fmla="*/ 1351768 h 6858000"/>
              <a:gd name="connsiteX2295" fmla="*/ 3592642 w 6530564"/>
              <a:gd name="connsiteY2295" fmla="*/ 1364711 h 6858000"/>
              <a:gd name="connsiteX2296" fmla="*/ 3590251 w 6530564"/>
              <a:gd name="connsiteY2296" fmla="*/ 1366035 h 6858000"/>
              <a:gd name="connsiteX2297" fmla="*/ 3570147 w 6530564"/>
              <a:gd name="connsiteY2297" fmla="*/ 1371907 h 6858000"/>
              <a:gd name="connsiteX2298" fmla="*/ 3581954 w 6530564"/>
              <a:gd name="connsiteY2298" fmla="*/ 1369853 h 6858000"/>
              <a:gd name="connsiteX2299" fmla="*/ 3656160 w 6530564"/>
              <a:gd name="connsiteY2299" fmla="*/ 1363370 h 6858000"/>
              <a:gd name="connsiteX2300" fmla="*/ 2840435 w 6530564"/>
              <a:gd name="connsiteY2300" fmla="*/ 1256522 h 6858000"/>
              <a:gd name="connsiteX2301" fmla="*/ 2754000 w 6530564"/>
              <a:gd name="connsiteY2301" fmla="*/ 1309177 h 6858000"/>
              <a:gd name="connsiteX2302" fmla="*/ 2675675 w 6530564"/>
              <a:gd name="connsiteY2302" fmla="*/ 1354070 h 6858000"/>
              <a:gd name="connsiteX2303" fmla="*/ 2664839 w 6530564"/>
              <a:gd name="connsiteY2303" fmla="*/ 1363575 h 6858000"/>
              <a:gd name="connsiteX2304" fmla="*/ 2606905 w 6530564"/>
              <a:gd name="connsiteY2304" fmla="*/ 1394572 h 6858000"/>
              <a:gd name="connsiteX2305" fmla="*/ 2606162 w 6530564"/>
              <a:gd name="connsiteY2305" fmla="*/ 1394488 h 6858000"/>
              <a:gd name="connsiteX2306" fmla="*/ 2606032 w 6530564"/>
              <a:gd name="connsiteY2306" fmla="*/ 1395039 h 6858000"/>
              <a:gd name="connsiteX2307" fmla="*/ 2569460 w 6530564"/>
              <a:gd name="connsiteY2307" fmla="*/ 1414607 h 6858000"/>
              <a:gd name="connsiteX2308" fmla="*/ 2535666 w 6530564"/>
              <a:gd name="connsiteY2308" fmla="*/ 1437142 h 6858000"/>
              <a:gd name="connsiteX2309" fmla="*/ 2557774 w 6530564"/>
              <a:gd name="connsiteY2309" fmla="*/ 1419478 h 6858000"/>
              <a:gd name="connsiteX2310" fmla="*/ 2743660 w 6530564"/>
              <a:gd name="connsiteY2310" fmla="*/ 1306503 h 6858000"/>
              <a:gd name="connsiteX2311" fmla="*/ 2803068 w 6530564"/>
              <a:gd name="connsiteY2311" fmla="*/ 1264505 h 6858000"/>
              <a:gd name="connsiteX2312" fmla="*/ 2840435 w 6530564"/>
              <a:gd name="connsiteY2312" fmla="*/ 1256522 h 6858000"/>
              <a:gd name="connsiteX2313" fmla="*/ 4291945 w 6530564"/>
              <a:gd name="connsiteY2313" fmla="*/ 1253435 h 6858000"/>
              <a:gd name="connsiteX2314" fmla="*/ 4284137 w 6530564"/>
              <a:gd name="connsiteY2314" fmla="*/ 1260101 h 6858000"/>
              <a:gd name="connsiteX2315" fmla="*/ 4298921 w 6530564"/>
              <a:gd name="connsiteY2315" fmla="*/ 1275741 h 6858000"/>
              <a:gd name="connsiteX2316" fmla="*/ 4450293 w 6530564"/>
              <a:gd name="connsiteY2316" fmla="*/ 1304623 h 6858000"/>
              <a:gd name="connsiteX2317" fmla="*/ 4748991 w 6530564"/>
              <a:gd name="connsiteY2317" fmla="*/ 1398504 h 6858000"/>
              <a:gd name="connsiteX2318" fmla="*/ 4900593 w 6530564"/>
              <a:gd name="connsiteY2318" fmla="*/ 1470664 h 6858000"/>
              <a:gd name="connsiteX2319" fmla="*/ 4850303 w 6530564"/>
              <a:gd name="connsiteY2319" fmla="*/ 1427852 h 6858000"/>
              <a:gd name="connsiteX2320" fmla="*/ 4826319 w 6530564"/>
              <a:gd name="connsiteY2320" fmla="*/ 1412622 h 6858000"/>
              <a:gd name="connsiteX2321" fmla="*/ 4657237 w 6530564"/>
              <a:gd name="connsiteY2321" fmla="*/ 1344015 h 6858000"/>
              <a:gd name="connsiteX2322" fmla="*/ 4341169 w 6530564"/>
              <a:gd name="connsiteY2322" fmla="*/ 1265164 h 6858000"/>
              <a:gd name="connsiteX2323" fmla="*/ 4302669 w 6530564"/>
              <a:gd name="connsiteY2323" fmla="*/ 1256309 h 6858000"/>
              <a:gd name="connsiteX2324" fmla="*/ 4291945 w 6530564"/>
              <a:gd name="connsiteY2324" fmla="*/ 1253435 h 6858000"/>
              <a:gd name="connsiteX2325" fmla="*/ 3498102 w 6530564"/>
              <a:gd name="connsiteY2325" fmla="*/ 1245800 h 6858000"/>
              <a:gd name="connsiteX2326" fmla="*/ 3459267 w 6530564"/>
              <a:gd name="connsiteY2326" fmla="*/ 1255133 h 6858000"/>
              <a:gd name="connsiteX2327" fmla="*/ 3459939 w 6530564"/>
              <a:gd name="connsiteY2327" fmla="*/ 1258420 h 6858000"/>
              <a:gd name="connsiteX2328" fmla="*/ 5350802 w 6530564"/>
              <a:gd name="connsiteY2328" fmla="*/ 1233036 h 6858000"/>
              <a:gd name="connsiteX2329" fmla="*/ 5351799 w 6530564"/>
              <a:gd name="connsiteY2329" fmla="*/ 1237706 h 6858000"/>
              <a:gd name="connsiteX2330" fmla="*/ 5346131 w 6530564"/>
              <a:gd name="connsiteY2330" fmla="*/ 1234033 h 6858000"/>
              <a:gd name="connsiteX2331" fmla="*/ 5350802 w 6530564"/>
              <a:gd name="connsiteY2331" fmla="*/ 1233036 h 6858000"/>
              <a:gd name="connsiteX2332" fmla="*/ 5345813 w 6530564"/>
              <a:gd name="connsiteY2332" fmla="*/ 1209681 h 6858000"/>
              <a:gd name="connsiteX2333" fmla="*/ 5351481 w 6530564"/>
              <a:gd name="connsiteY2333" fmla="*/ 1213353 h 6858000"/>
              <a:gd name="connsiteX2334" fmla="*/ 5346810 w 6530564"/>
              <a:gd name="connsiteY2334" fmla="*/ 1214352 h 6858000"/>
              <a:gd name="connsiteX2335" fmla="*/ 5345813 w 6530564"/>
              <a:gd name="connsiteY2335" fmla="*/ 1209681 h 6858000"/>
              <a:gd name="connsiteX2336" fmla="*/ 5343817 w 6530564"/>
              <a:gd name="connsiteY2336" fmla="*/ 1200338 h 6858000"/>
              <a:gd name="connsiteX2337" fmla="*/ 5349485 w 6530564"/>
              <a:gd name="connsiteY2337" fmla="*/ 1204011 h 6858000"/>
              <a:gd name="connsiteX2338" fmla="*/ 5339148 w 6530564"/>
              <a:gd name="connsiteY2338" fmla="*/ 1201337 h 6858000"/>
              <a:gd name="connsiteX2339" fmla="*/ 2761703 w 6530564"/>
              <a:gd name="connsiteY2339" fmla="*/ 1151674 h 6858000"/>
              <a:gd name="connsiteX2340" fmla="*/ 2748959 w 6530564"/>
              <a:gd name="connsiteY2340" fmla="*/ 1165559 h 6858000"/>
              <a:gd name="connsiteX2341" fmla="*/ 2722385 w 6530564"/>
              <a:gd name="connsiteY2341" fmla="*/ 1184058 h 6858000"/>
              <a:gd name="connsiteX2342" fmla="*/ 2716716 w 6530564"/>
              <a:gd name="connsiteY2342" fmla="*/ 1180384 h 6858000"/>
              <a:gd name="connsiteX2343" fmla="*/ 2657309 w 6530564"/>
              <a:gd name="connsiteY2343" fmla="*/ 1222382 h 6858000"/>
              <a:gd name="connsiteX2344" fmla="*/ 2660982 w 6530564"/>
              <a:gd name="connsiteY2344" fmla="*/ 1216713 h 6858000"/>
              <a:gd name="connsiteX2345" fmla="*/ 2595906 w 6530564"/>
              <a:gd name="connsiteY2345" fmla="*/ 1255037 h 6858000"/>
              <a:gd name="connsiteX2346" fmla="*/ 2592233 w 6530564"/>
              <a:gd name="connsiteY2346" fmla="*/ 1260706 h 6858000"/>
              <a:gd name="connsiteX2347" fmla="*/ 2606247 w 6530564"/>
              <a:gd name="connsiteY2347" fmla="*/ 1257713 h 6858000"/>
              <a:gd name="connsiteX2348" fmla="*/ 2577796 w 6530564"/>
              <a:gd name="connsiteY2348" fmla="*/ 1276001 h 6858000"/>
              <a:gd name="connsiteX2349" fmla="*/ 2560312 w 6530564"/>
              <a:gd name="connsiteY2349" fmla="*/ 1291636 h 6858000"/>
              <a:gd name="connsiteX2350" fmla="*/ 2559859 w 6530564"/>
              <a:gd name="connsiteY2350" fmla="*/ 1291860 h 6858000"/>
              <a:gd name="connsiteX2351" fmla="*/ 2560069 w 6530564"/>
              <a:gd name="connsiteY2351" fmla="*/ 1281620 h 6858000"/>
              <a:gd name="connsiteX2352" fmla="*/ 2548516 w 6530564"/>
              <a:gd name="connsiteY2352" fmla="*/ 1284699 h 6858000"/>
              <a:gd name="connsiteX2353" fmla="*/ 2549928 w 6530564"/>
              <a:gd name="connsiteY2353" fmla="*/ 1294165 h 6858000"/>
              <a:gd name="connsiteX2354" fmla="*/ 2549342 w 6530564"/>
              <a:gd name="connsiteY2354" fmla="*/ 1297035 h 6858000"/>
              <a:gd name="connsiteX2355" fmla="*/ 2541806 w 6530564"/>
              <a:gd name="connsiteY2355" fmla="*/ 1300742 h 6858000"/>
              <a:gd name="connsiteX2356" fmla="*/ 2470077 w 6530564"/>
              <a:gd name="connsiteY2356" fmla="*/ 1321264 h 6858000"/>
              <a:gd name="connsiteX2357" fmla="*/ 2536602 w 6530564"/>
              <a:gd name="connsiteY2357" fmla="*/ 1262438 h 6858000"/>
              <a:gd name="connsiteX2358" fmla="*/ 2712436 w 6530564"/>
              <a:gd name="connsiteY2358" fmla="*/ 1174174 h 6858000"/>
              <a:gd name="connsiteX2359" fmla="*/ 2745575 w 6530564"/>
              <a:gd name="connsiteY2359" fmla="*/ 1156796 h 6858000"/>
              <a:gd name="connsiteX2360" fmla="*/ 4763650 w 6530564"/>
              <a:gd name="connsiteY2360" fmla="*/ 1149529 h 6858000"/>
              <a:gd name="connsiteX2361" fmla="*/ 4771720 w 6530564"/>
              <a:gd name="connsiteY2361" fmla="*/ 1151618 h 6858000"/>
              <a:gd name="connsiteX2362" fmla="*/ 4767049 w 6530564"/>
              <a:gd name="connsiteY2362" fmla="*/ 1152615 h 6858000"/>
              <a:gd name="connsiteX2363" fmla="*/ 3314885 w 6530564"/>
              <a:gd name="connsiteY2363" fmla="*/ 1145389 h 6858000"/>
              <a:gd name="connsiteX2364" fmla="*/ 3311211 w 6530564"/>
              <a:gd name="connsiteY2364" fmla="*/ 1151058 h 6858000"/>
              <a:gd name="connsiteX2365" fmla="*/ 3306541 w 6530564"/>
              <a:gd name="connsiteY2365" fmla="*/ 1152057 h 6858000"/>
              <a:gd name="connsiteX2366" fmla="*/ 3287857 w 6530564"/>
              <a:gd name="connsiteY2366" fmla="*/ 1156047 h 6858000"/>
              <a:gd name="connsiteX2367" fmla="*/ 3264500 w 6530564"/>
              <a:gd name="connsiteY2367" fmla="*/ 1161037 h 6858000"/>
              <a:gd name="connsiteX2368" fmla="*/ 3259830 w 6530564"/>
              <a:gd name="connsiteY2368" fmla="*/ 1162034 h 6858000"/>
              <a:gd name="connsiteX2369" fmla="*/ 4063207 w 6530564"/>
              <a:gd name="connsiteY2369" fmla="*/ 1058776 h 6858000"/>
              <a:gd name="connsiteX2370" fmla="*/ 4059509 w 6530564"/>
              <a:gd name="connsiteY2370" fmla="*/ 1058914 h 6858000"/>
              <a:gd name="connsiteX2371" fmla="*/ 4059417 w 6530564"/>
              <a:gd name="connsiteY2371" fmla="*/ 1058899 h 6858000"/>
              <a:gd name="connsiteX2372" fmla="*/ 4063207 w 6530564"/>
              <a:gd name="connsiteY2372" fmla="*/ 1058776 h 6858000"/>
              <a:gd name="connsiteX2373" fmla="*/ 4081891 w 6530564"/>
              <a:gd name="connsiteY2373" fmla="*/ 1054786 h 6858000"/>
              <a:gd name="connsiteX2374" fmla="*/ 4111912 w 6530564"/>
              <a:gd name="connsiteY2374" fmla="*/ 1058138 h 6858000"/>
              <a:gd name="connsiteX2375" fmla="*/ 4112910 w 6530564"/>
              <a:gd name="connsiteY2375" fmla="*/ 1062810 h 6858000"/>
              <a:gd name="connsiteX2376" fmla="*/ 4191639 w 6530564"/>
              <a:gd name="connsiteY2376" fmla="*/ 1065528 h 6858000"/>
              <a:gd name="connsiteX2377" fmla="*/ 4224337 w 6530564"/>
              <a:gd name="connsiteY2377" fmla="*/ 1058542 h 6858000"/>
              <a:gd name="connsiteX2378" fmla="*/ 4215991 w 6530564"/>
              <a:gd name="connsiteY2378" fmla="*/ 1065208 h 6858000"/>
              <a:gd name="connsiteX2379" fmla="*/ 4290049 w 6530564"/>
              <a:gd name="connsiteY2379" fmla="*/ 1068923 h 6858000"/>
              <a:gd name="connsiteX2380" fmla="*/ 4379117 w 6530564"/>
              <a:gd name="connsiteY2380" fmla="*/ 1074315 h 6858000"/>
              <a:gd name="connsiteX2381" fmla="*/ 4385785 w 6530564"/>
              <a:gd name="connsiteY2381" fmla="*/ 1082660 h 6858000"/>
              <a:gd name="connsiteX2382" fmla="*/ 4398799 w 6530564"/>
              <a:gd name="connsiteY2382" fmla="*/ 1074995 h 6858000"/>
              <a:gd name="connsiteX2383" fmla="*/ 4443833 w 6530564"/>
              <a:gd name="connsiteY2383" fmla="*/ 1080026 h 6858000"/>
              <a:gd name="connsiteX2384" fmla="*/ 4461839 w 6530564"/>
              <a:gd name="connsiteY2384" fmla="*/ 1095716 h 6858000"/>
              <a:gd name="connsiteX2385" fmla="*/ 4489863 w 6530564"/>
              <a:gd name="connsiteY2385" fmla="*/ 1089728 h 6858000"/>
              <a:gd name="connsiteX2386" fmla="*/ 4486191 w 6530564"/>
              <a:gd name="connsiteY2386" fmla="*/ 1095398 h 6858000"/>
              <a:gd name="connsiteX2387" fmla="*/ 4565917 w 6530564"/>
              <a:gd name="connsiteY2387" fmla="*/ 1102785 h 6858000"/>
              <a:gd name="connsiteX2388" fmla="*/ 4547233 w 6530564"/>
              <a:gd name="connsiteY2388" fmla="*/ 1106777 h 6858000"/>
              <a:gd name="connsiteX2389" fmla="*/ 4609273 w 6530564"/>
              <a:gd name="connsiteY2389" fmla="*/ 1122827 h 6858000"/>
              <a:gd name="connsiteX2390" fmla="*/ 4611947 w 6530564"/>
              <a:gd name="connsiteY2390" fmla="*/ 1112488 h 6858000"/>
              <a:gd name="connsiteX2391" fmla="*/ 4628956 w 6530564"/>
              <a:gd name="connsiteY2391" fmla="*/ 1123507 h 6858000"/>
              <a:gd name="connsiteX2392" fmla="*/ 4668320 w 6530564"/>
              <a:gd name="connsiteY2392" fmla="*/ 1124867 h 6858000"/>
              <a:gd name="connsiteX2393" fmla="*/ 4679657 w 6530564"/>
              <a:gd name="connsiteY2393" fmla="*/ 1132212 h 6858000"/>
              <a:gd name="connsiteX2394" fmla="*/ 4685326 w 6530564"/>
              <a:gd name="connsiteY2394" fmla="*/ 1135884 h 6858000"/>
              <a:gd name="connsiteX2395" fmla="*/ 4684329 w 6530564"/>
              <a:gd name="connsiteY2395" fmla="*/ 1131215 h 6858000"/>
              <a:gd name="connsiteX2396" fmla="*/ 4673989 w 6530564"/>
              <a:gd name="connsiteY2396" fmla="*/ 1128538 h 6858000"/>
              <a:gd name="connsiteX2397" fmla="*/ 4716346 w 6530564"/>
              <a:gd name="connsiteY2397" fmla="*/ 1143910 h 6858000"/>
              <a:gd name="connsiteX2398" fmla="*/ 4737026 w 6530564"/>
              <a:gd name="connsiteY2398" fmla="*/ 1149261 h 6858000"/>
              <a:gd name="connsiteX2399" fmla="*/ 4733035 w 6530564"/>
              <a:gd name="connsiteY2399" fmla="*/ 1130577 h 6858000"/>
              <a:gd name="connsiteX2400" fmla="*/ 4760516 w 6530564"/>
              <a:gd name="connsiteY2400" fmla="*/ 1146683 h 6858000"/>
              <a:gd name="connsiteX2401" fmla="*/ 4763650 w 6530564"/>
              <a:gd name="connsiteY2401" fmla="*/ 1149529 h 6858000"/>
              <a:gd name="connsiteX2402" fmla="*/ 4761379 w 6530564"/>
              <a:gd name="connsiteY2402" fmla="*/ 1148942 h 6858000"/>
              <a:gd name="connsiteX2403" fmla="*/ 4752037 w 6530564"/>
              <a:gd name="connsiteY2403" fmla="*/ 1150938 h 6858000"/>
              <a:gd name="connsiteX2404" fmla="*/ 4757706 w 6530564"/>
              <a:gd name="connsiteY2404" fmla="*/ 1154611 h 6858000"/>
              <a:gd name="connsiteX2405" fmla="*/ 4772717 w 6530564"/>
              <a:gd name="connsiteY2405" fmla="*/ 1156287 h 6858000"/>
              <a:gd name="connsiteX2406" fmla="*/ 4799066 w 6530564"/>
              <a:gd name="connsiteY2406" fmla="*/ 1165310 h 6858000"/>
              <a:gd name="connsiteX2407" fmla="*/ 4881786 w 6530564"/>
              <a:gd name="connsiteY2407" fmla="*/ 1186712 h 6858000"/>
              <a:gd name="connsiteX2408" fmla="*/ 4886457 w 6530564"/>
              <a:gd name="connsiteY2408" fmla="*/ 1185713 h 6858000"/>
              <a:gd name="connsiteX2409" fmla="*/ 4878113 w 6530564"/>
              <a:gd name="connsiteY2409" fmla="*/ 1192381 h 6858000"/>
              <a:gd name="connsiteX2410" fmla="*/ 4883782 w 6530564"/>
              <a:gd name="connsiteY2410" fmla="*/ 1196053 h 6858000"/>
              <a:gd name="connsiteX2411" fmla="*/ 4887456 w 6530564"/>
              <a:gd name="connsiteY2411" fmla="*/ 1190385 h 6858000"/>
              <a:gd name="connsiteX2412" fmla="*/ 4920471 w 6530564"/>
              <a:gd name="connsiteY2412" fmla="*/ 1207753 h 6858000"/>
              <a:gd name="connsiteX2413" fmla="*/ 4968499 w 6530564"/>
              <a:gd name="connsiteY2413" fmla="*/ 1226796 h 6858000"/>
              <a:gd name="connsiteX2414" fmla="*/ 4972171 w 6530564"/>
              <a:gd name="connsiteY2414" fmla="*/ 1221128 h 6858000"/>
              <a:gd name="connsiteX2415" fmla="*/ 4988181 w 6530564"/>
              <a:gd name="connsiteY2415" fmla="*/ 1227477 h 6858000"/>
              <a:gd name="connsiteX2416" fmla="*/ 4996843 w 6530564"/>
              <a:gd name="connsiteY2416" fmla="*/ 1245163 h 6858000"/>
              <a:gd name="connsiteX2417" fmla="*/ 5025867 w 6530564"/>
              <a:gd name="connsiteY2417" fmla="*/ 1243845 h 6858000"/>
              <a:gd name="connsiteX2418" fmla="*/ 5026865 w 6530564"/>
              <a:gd name="connsiteY2418" fmla="*/ 1248516 h 6858000"/>
              <a:gd name="connsiteX2419" fmla="*/ 5039201 w 6530564"/>
              <a:gd name="connsiteY2419" fmla="*/ 1260533 h 6858000"/>
              <a:gd name="connsiteX2420" fmla="*/ 5054211 w 6530564"/>
              <a:gd name="connsiteY2420" fmla="*/ 1262212 h 6858000"/>
              <a:gd name="connsiteX2421" fmla="*/ 5059881 w 6530564"/>
              <a:gd name="connsiteY2421" fmla="*/ 1265883 h 6858000"/>
              <a:gd name="connsiteX2422" fmla="*/ 5060879 w 6530564"/>
              <a:gd name="connsiteY2422" fmla="*/ 1270554 h 6858000"/>
              <a:gd name="connsiteX2423" fmla="*/ 5065550 w 6530564"/>
              <a:gd name="connsiteY2423" fmla="*/ 1269557 h 6858000"/>
              <a:gd name="connsiteX2424" fmla="*/ 5063554 w 6530564"/>
              <a:gd name="connsiteY2424" fmla="*/ 1260214 h 6858000"/>
              <a:gd name="connsiteX2425" fmla="*/ 5085233 w 6530564"/>
              <a:gd name="connsiteY2425" fmla="*/ 1270236 h 6858000"/>
              <a:gd name="connsiteX2426" fmla="*/ 5089903 w 6530564"/>
              <a:gd name="connsiteY2426" fmla="*/ 1269239 h 6858000"/>
              <a:gd name="connsiteX2427" fmla="*/ 5092897 w 6530564"/>
              <a:gd name="connsiteY2427" fmla="*/ 1283251 h 6858000"/>
              <a:gd name="connsiteX2428" fmla="*/ 5135255 w 6530564"/>
              <a:gd name="connsiteY2428" fmla="*/ 1298622 h 6858000"/>
              <a:gd name="connsiteX2429" fmla="*/ 5140923 w 6530564"/>
              <a:gd name="connsiteY2429" fmla="*/ 1302296 h 6858000"/>
              <a:gd name="connsiteX2430" fmla="*/ 5136253 w 6530564"/>
              <a:gd name="connsiteY2430" fmla="*/ 1303293 h 6858000"/>
              <a:gd name="connsiteX2431" fmla="*/ 5125914 w 6530564"/>
              <a:gd name="connsiteY2431" fmla="*/ 1300618 h 6858000"/>
              <a:gd name="connsiteX2432" fmla="*/ 5126911 w 6530564"/>
              <a:gd name="connsiteY2432" fmla="*/ 1305290 h 6858000"/>
              <a:gd name="connsiteX2433" fmla="*/ 5141923 w 6530564"/>
              <a:gd name="connsiteY2433" fmla="*/ 1306967 h 6858000"/>
              <a:gd name="connsiteX2434" fmla="*/ 5185279 w 6530564"/>
              <a:gd name="connsiteY2434" fmla="*/ 1327010 h 6858000"/>
              <a:gd name="connsiteX2435" fmla="*/ 5188951 w 6530564"/>
              <a:gd name="connsiteY2435" fmla="*/ 1321339 h 6858000"/>
              <a:gd name="connsiteX2436" fmla="*/ 5201287 w 6530564"/>
              <a:gd name="connsiteY2436" fmla="*/ 1333357 h 6858000"/>
              <a:gd name="connsiteX2437" fmla="*/ 5212625 w 6530564"/>
              <a:gd name="connsiteY2437" fmla="*/ 1340704 h 6858000"/>
              <a:gd name="connsiteX2438" fmla="*/ 5234302 w 6530564"/>
              <a:gd name="connsiteY2438" fmla="*/ 1350726 h 6858000"/>
              <a:gd name="connsiteX2439" fmla="*/ 5261651 w 6530564"/>
              <a:gd name="connsiteY2439" fmla="*/ 1364420 h 6858000"/>
              <a:gd name="connsiteX2440" fmla="*/ 5263645 w 6530564"/>
              <a:gd name="connsiteY2440" fmla="*/ 1373761 h 6858000"/>
              <a:gd name="connsiteX2441" fmla="*/ 5269315 w 6530564"/>
              <a:gd name="connsiteY2441" fmla="*/ 1377435 h 6858000"/>
              <a:gd name="connsiteX2442" fmla="*/ 5279654 w 6530564"/>
              <a:gd name="connsiteY2442" fmla="*/ 1380109 h 6858000"/>
              <a:gd name="connsiteX2443" fmla="*/ 5284325 w 6530564"/>
              <a:gd name="connsiteY2443" fmla="*/ 1379110 h 6858000"/>
              <a:gd name="connsiteX2444" fmla="*/ 5307001 w 6530564"/>
              <a:gd name="connsiteY2444" fmla="*/ 1393803 h 6858000"/>
              <a:gd name="connsiteX2445" fmla="*/ 5311671 w 6530564"/>
              <a:gd name="connsiteY2445" fmla="*/ 1392806 h 6858000"/>
              <a:gd name="connsiteX2446" fmla="*/ 5374031 w 6530564"/>
              <a:gd name="connsiteY2446" fmla="*/ 1433210 h 6858000"/>
              <a:gd name="connsiteX2447" fmla="*/ 5375029 w 6530564"/>
              <a:gd name="connsiteY2447" fmla="*/ 1437880 h 6858000"/>
              <a:gd name="connsiteX2448" fmla="*/ 5379701 w 6530564"/>
              <a:gd name="connsiteY2448" fmla="*/ 1436882 h 6858000"/>
              <a:gd name="connsiteX2449" fmla="*/ 5497073 w 6530564"/>
              <a:gd name="connsiteY2449" fmla="*/ 1529027 h 6858000"/>
              <a:gd name="connsiteX2450" fmla="*/ 5580429 w 6530564"/>
              <a:gd name="connsiteY2450" fmla="*/ 1599135 h 6858000"/>
              <a:gd name="connsiteX2451" fmla="*/ 5606099 w 6530564"/>
              <a:gd name="connsiteY2451" fmla="*/ 1627840 h 6858000"/>
              <a:gd name="connsiteX2452" fmla="*/ 5746464 w 6530564"/>
              <a:gd name="connsiteY2452" fmla="*/ 1759030 h 6858000"/>
              <a:gd name="connsiteX2453" fmla="*/ 5757803 w 6530564"/>
              <a:gd name="connsiteY2453" fmla="*/ 1766375 h 6858000"/>
              <a:gd name="connsiteX2454" fmla="*/ 5758800 w 6530564"/>
              <a:gd name="connsiteY2454" fmla="*/ 1771047 h 6858000"/>
              <a:gd name="connsiteX2455" fmla="*/ 5801477 w 6530564"/>
              <a:gd name="connsiteY2455" fmla="*/ 1810771 h 6858000"/>
              <a:gd name="connsiteX2456" fmla="*/ 5807146 w 6530564"/>
              <a:gd name="connsiteY2456" fmla="*/ 1814445 h 6858000"/>
              <a:gd name="connsiteX2457" fmla="*/ 5812815 w 6530564"/>
              <a:gd name="connsiteY2457" fmla="*/ 1818118 h 6858000"/>
              <a:gd name="connsiteX2458" fmla="*/ 5863156 w 6530564"/>
              <a:gd name="connsiteY2458" fmla="*/ 1870858 h 6858000"/>
              <a:gd name="connsiteX2459" fmla="*/ 5854493 w 6530564"/>
              <a:gd name="connsiteY2459" fmla="*/ 1853171 h 6858000"/>
              <a:gd name="connsiteX2460" fmla="*/ 5860163 w 6530564"/>
              <a:gd name="connsiteY2460" fmla="*/ 1856844 h 6858000"/>
              <a:gd name="connsiteX2461" fmla="*/ 5861160 w 6530564"/>
              <a:gd name="connsiteY2461" fmla="*/ 1861515 h 6858000"/>
              <a:gd name="connsiteX2462" fmla="*/ 5865831 w 6530564"/>
              <a:gd name="connsiteY2462" fmla="*/ 1860516 h 6858000"/>
              <a:gd name="connsiteX2463" fmla="*/ 5870503 w 6530564"/>
              <a:gd name="connsiteY2463" fmla="*/ 1859519 h 6858000"/>
              <a:gd name="connsiteX2464" fmla="*/ 5876171 w 6530564"/>
              <a:gd name="connsiteY2464" fmla="*/ 1863192 h 6858000"/>
              <a:gd name="connsiteX2465" fmla="*/ 5901841 w 6530564"/>
              <a:gd name="connsiteY2465" fmla="*/ 1891897 h 6858000"/>
              <a:gd name="connsiteX2466" fmla="*/ 5900842 w 6530564"/>
              <a:gd name="connsiteY2466" fmla="*/ 1887226 h 6858000"/>
              <a:gd name="connsiteX2467" fmla="*/ 5906513 w 6530564"/>
              <a:gd name="connsiteY2467" fmla="*/ 1890900 h 6858000"/>
              <a:gd name="connsiteX2468" fmla="*/ 5913179 w 6530564"/>
              <a:gd name="connsiteY2468" fmla="*/ 1899244 h 6858000"/>
              <a:gd name="connsiteX2469" fmla="*/ 5897169 w 6530564"/>
              <a:gd name="connsiteY2469" fmla="*/ 1892896 h 6858000"/>
              <a:gd name="connsiteX2470" fmla="*/ 5904836 w 6530564"/>
              <a:gd name="connsiteY2470" fmla="*/ 1905910 h 6858000"/>
              <a:gd name="connsiteX2471" fmla="*/ 5900163 w 6530564"/>
              <a:gd name="connsiteY2471" fmla="*/ 1906909 h 6858000"/>
              <a:gd name="connsiteX2472" fmla="*/ 5901161 w 6530564"/>
              <a:gd name="connsiteY2472" fmla="*/ 1911580 h 6858000"/>
              <a:gd name="connsiteX2473" fmla="*/ 5911502 w 6530564"/>
              <a:gd name="connsiteY2473" fmla="*/ 1914255 h 6858000"/>
              <a:gd name="connsiteX2474" fmla="*/ 5925833 w 6530564"/>
              <a:gd name="connsiteY2474" fmla="*/ 1935614 h 6858000"/>
              <a:gd name="connsiteX2475" fmla="*/ 5922160 w 6530564"/>
              <a:gd name="connsiteY2475" fmla="*/ 1941283 h 6858000"/>
              <a:gd name="connsiteX2476" fmla="*/ 5943160 w 6530564"/>
              <a:gd name="connsiteY2476" fmla="*/ 1970986 h 6858000"/>
              <a:gd name="connsiteX2477" fmla="*/ 5948829 w 6530564"/>
              <a:gd name="connsiteY2477" fmla="*/ 1974660 h 6858000"/>
              <a:gd name="connsiteX2478" fmla="*/ 5955496 w 6530564"/>
              <a:gd name="connsiteY2478" fmla="*/ 1983002 h 6858000"/>
              <a:gd name="connsiteX2479" fmla="*/ 5965836 w 6530564"/>
              <a:gd name="connsiteY2479" fmla="*/ 1985679 h 6858000"/>
              <a:gd name="connsiteX2480" fmla="*/ 5966833 w 6530564"/>
              <a:gd name="connsiteY2480" fmla="*/ 1990349 h 6858000"/>
              <a:gd name="connsiteX2481" fmla="*/ 5963161 w 6530564"/>
              <a:gd name="connsiteY2481" fmla="*/ 1996018 h 6858000"/>
              <a:gd name="connsiteX2482" fmla="*/ 5964158 w 6530564"/>
              <a:gd name="connsiteY2482" fmla="*/ 2000689 h 6858000"/>
              <a:gd name="connsiteX2483" fmla="*/ 5969828 w 6530564"/>
              <a:gd name="connsiteY2483" fmla="*/ 2004363 h 6858000"/>
              <a:gd name="connsiteX2484" fmla="*/ 5973499 w 6530564"/>
              <a:gd name="connsiteY2484" fmla="*/ 1998694 h 6858000"/>
              <a:gd name="connsiteX2485" fmla="*/ 5972502 w 6530564"/>
              <a:gd name="connsiteY2485" fmla="*/ 1994021 h 6858000"/>
              <a:gd name="connsiteX2486" fmla="*/ 5971505 w 6530564"/>
              <a:gd name="connsiteY2486" fmla="*/ 1989352 h 6858000"/>
              <a:gd name="connsiteX2487" fmla="*/ 5975177 w 6530564"/>
              <a:gd name="connsiteY2487" fmla="*/ 1983681 h 6858000"/>
              <a:gd name="connsiteX2488" fmla="*/ 5979849 w 6530564"/>
              <a:gd name="connsiteY2488" fmla="*/ 1982684 h 6858000"/>
              <a:gd name="connsiteX2489" fmla="*/ 5986515 w 6530564"/>
              <a:gd name="connsiteY2489" fmla="*/ 1991028 h 6858000"/>
              <a:gd name="connsiteX2490" fmla="*/ 5987513 w 6530564"/>
              <a:gd name="connsiteY2490" fmla="*/ 1995699 h 6858000"/>
              <a:gd name="connsiteX2491" fmla="*/ 5983841 w 6530564"/>
              <a:gd name="connsiteY2491" fmla="*/ 2001368 h 6858000"/>
              <a:gd name="connsiteX2492" fmla="*/ 5991504 w 6530564"/>
              <a:gd name="connsiteY2492" fmla="*/ 2014383 h 6858000"/>
              <a:gd name="connsiteX2493" fmla="*/ 5997174 w 6530564"/>
              <a:gd name="connsiteY2493" fmla="*/ 2018057 h 6858000"/>
              <a:gd name="connsiteX2494" fmla="*/ 5996177 w 6530564"/>
              <a:gd name="connsiteY2494" fmla="*/ 2013386 h 6858000"/>
              <a:gd name="connsiteX2495" fmla="*/ 5989508 w 6530564"/>
              <a:gd name="connsiteY2495" fmla="*/ 2005041 h 6858000"/>
              <a:gd name="connsiteX2496" fmla="*/ 5993182 w 6530564"/>
              <a:gd name="connsiteY2496" fmla="*/ 1999373 h 6858000"/>
              <a:gd name="connsiteX2497" fmla="*/ 5999848 w 6530564"/>
              <a:gd name="connsiteY2497" fmla="*/ 2007716 h 6858000"/>
              <a:gd name="connsiteX2498" fmla="*/ 6017173 w 6530564"/>
              <a:gd name="connsiteY2498" fmla="*/ 2043089 h 6858000"/>
              <a:gd name="connsiteX2499" fmla="*/ 6013501 w 6530564"/>
              <a:gd name="connsiteY2499" fmla="*/ 2048758 h 6858000"/>
              <a:gd name="connsiteX2500" fmla="*/ 6002163 w 6530564"/>
              <a:gd name="connsiteY2500" fmla="*/ 2041411 h 6858000"/>
              <a:gd name="connsiteX2501" fmla="*/ 6039490 w 6530564"/>
              <a:gd name="connsiteY2501" fmla="*/ 2101816 h 6858000"/>
              <a:gd name="connsiteX2502" fmla="*/ 6064163 w 6530564"/>
              <a:gd name="connsiteY2502" fmla="*/ 2125850 h 6858000"/>
              <a:gd name="connsiteX2503" fmla="*/ 6068833 w 6530564"/>
              <a:gd name="connsiteY2503" fmla="*/ 2124853 h 6858000"/>
              <a:gd name="connsiteX2504" fmla="*/ 6076497 w 6530564"/>
              <a:gd name="connsiteY2504" fmla="*/ 2137868 h 6858000"/>
              <a:gd name="connsiteX2505" fmla="*/ 6080171 w 6530564"/>
              <a:gd name="connsiteY2505" fmla="*/ 2132198 h 6858000"/>
              <a:gd name="connsiteX2506" fmla="*/ 6081170 w 6530564"/>
              <a:gd name="connsiteY2506" fmla="*/ 2136869 h 6858000"/>
              <a:gd name="connsiteX2507" fmla="*/ 6095499 w 6530564"/>
              <a:gd name="connsiteY2507" fmla="*/ 2158228 h 6858000"/>
              <a:gd name="connsiteX2508" fmla="*/ 6108834 w 6530564"/>
              <a:gd name="connsiteY2508" fmla="*/ 2174916 h 6858000"/>
              <a:gd name="connsiteX2509" fmla="*/ 6118495 w 6530564"/>
              <a:gd name="connsiteY2509" fmla="*/ 2197274 h 6858000"/>
              <a:gd name="connsiteX2510" fmla="*/ 6133507 w 6530564"/>
              <a:gd name="connsiteY2510" fmla="*/ 2198951 h 6858000"/>
              <a:gd name="connsiteX2511" fmla="*/ 6135503 w 6530564"/>
              <a:gd name="connsiteY2511" fmla="*/ 2208293 h 6858000"/>
              <a:gd name="connsiteX2512" fmla="*/ 6130831 w 6530564"/>
              <a:gd name="connsiteY2512" fmla="*/ 2209292 h 6858000"/>
              <a:gd name="connsiteX2513" fmla="*/ 6131829 w 6530564"/>
              <a:gd name="connsiteY2513" fmla="*/ 2213962 h 6858000"/>
              <a:gd name="connsiteX2514" fmla="*/ 6132827 w 6530564"/>
              <a:gd name="connsiteY2514" fmla="*/ 2218633 h 6858000"/>
              <a:gd name="connsiteX2515" fmla="*/ 6124482 w 6530564"/>
              <a:gd name="connsiteY2515" fmla="*/ 2225300 h 6858000"/>
              <a:gd name="connsiteX2516" fmla="*/ 6219136 w 6530564"/>
              <a:gd name="connsiteY2516" fmla="*/ 2371140 h 6858000"/>
              <a:gd name="connsiteX2517" fmla="*/ 6233467 w 6530564"/>
              <a:gd name="connsiteY2517" fmla="*/ 2392499 h 6858000"/>
              <a:gd name="connsiteX2518" fmla="*/ 6244127 w 6530564"/>
              <a:gd name="connsiteY2518" fmla="*/ 2419528 h 6858000"/>
              <a:gd name="connsiteX2519" fmla="*/ 6260453 w 6530564"/>
              <a:gd name="connsiteY2519" fmla="*/ 2450229 h 6858000"/>
              <a:gd name="connsiteX2520" fmla="*/ 6279775 w 6530564"/>
              <a:gd name="connsiteY2520" fmla="*/ 2494943 h 6858000"/>
              <a:gd name="connsiteX2521" fmla="*/ 6295105 w 6530564"/>
              <a:gd name="connsiteY2521" fmla="*/ 2520973 h 6858000"/>
              <a:gd name="connsiteX2522" fmla="*/ 6296102 w 6530564"/>
              <a:gd name="connsiteY2522" fmla="*/ 2525645 h 6858000"/>
              <a:gd name="connsiteX2523" fmla="*/ 6313429 w 6530564"/>
              <a:gd name="connsiteY2523" fmla="*/ 2561017 h 6858000"/>
              <a:gd name="connsiteX2524" fmla="*/ 6329756 w 6530564"/>
              <a:gd name="connsiteY2524" fmla="*/ 2591718 h 6858000"/>
              <a:gd name="connsiteX2525" fmla="*/ 6337421 w 6530564"/>
              <a:gd name="connsiteY2525" fmla="*/ 2604732 h 6858000"/>
              <a:gd name="connsiteX2526" fmla="*/ 6338419 w 6530564"/>
              <a:gd name="connsiteY2526" fmla="*/ 2609405 h 6858000"/>
              <a:gd name="connsiteX2527" fmla="*/ 6336741 w 6530564"/>
              <a:gd name="connsiteY2527" fmla="*/ 2624414 h 6858000"/>
              <a:gd name="connsiteX2528" fmla="*/ 6337739 w 6530564"/>
              <a:gd name="connsiteY2528" fmla="*/ 2629085 h 6858000"/>
              <a:gd name="connsiteX2529" fmla="*/ 6344407 w 6530564"/>
              <a:gd name="connsiteY2529" fmla="*/ 2637430 h 6858000"/>
              <a:gd name="connsiteX2530" fmla="*/ 6349077 w 6530564"/>
              <a:gd name="connsiteY2530" fmla="*/ 2636431 h 6858000"/>
              <a:gd name="connsiteX2531" fmla="*/ 6354067 w 6530564"/>
              <a:gd name="connsiteY2531" fmla="*/ 2659786 h 6858000"/>
              <a:gd name="connsiteX2532" fmla="*/ 6359736 w 6530564"/>
              <a:gd name="connsiteY2532" fmla="*/ 2663460 h 6858000"/>
              <a:gd name="connsiteX2533" fmla="*/ 6358737 w 6530564"/>
              <a:gd name="connsiteY2533" fmla="*/ 2658789 h 6858000"/>
              <a:gd name="connsiteX2534" fmla="*/ 6349077 w 6530564"/>
              <a:gd name="connsiteY2534" fmla="*/ 2636431 h 6858000"/>
              <a:gd name="connsiteX2535" fmla="*/ 6353747 w 6530564"/>
              <a:gd name="connsiteY2535" fmla="*/ 2635434 h 6858000"/>
              <a:gd name="connsiteX2536" fmla="*/ 6355743 w 6530564"/>
              <a:gd name="connsiteY2536" fmla="*/ 2644776 h 6858000"/>
              <a:gd name="connsiteX2537" fmla="*/ 6356743 w 6530564"/>
              <a:gd name="connsiteY2537" fmla="*/ 2649446 h 6858000"/>
              <a:gd name="connsiteX2538" fmla="*/ 6364407 w 6530564"/>
              <a:gd name="connsiteY2538" fmla="*/ 2662461 h 6858000"/>
              <a:gd name="connsiteX2539" fmla="*/ 6368398 w 6530564"/>
              <a:gd name="connsiteY2539" fmla="*/ 2681145 h 6858000"/>
              <a:gd name="connsiteX2540" fmla="*/ 6362729 w 6530564"/>
              <a:gd name="connsiteY2540" fmla="*/ 2677473 h 6858000"/>
              <a:gd name="connsiteX2541" fmla="*/ 6364725 w 6530564"/>
              <a:gd name="connsiteY2541" fmla="*/ 2686814 h 6858000"/>
              <a:gd name="connsiteX2542" fmla="*/ 6366721 w 6530564"/>
              <a:gd name="connsiteY2542" fmla="*/ 2696158 h 6858000"/>
              <a:gd name="connsiteX2543" fmla="*/ 6374387 w 6530564"/>
              <a:gd name="connsiteY2543" fmla="*/ 2709173 h 6858000"/>
              <a:gd name="connsiteX2544" fmla="*/ 6376383 w 6530564"/>
              <a:gd name="connsiteY2544" fmla="*/ 2718513 h 6858000"/>
              <a:gd name="connsiteX2545" fmla="*/ 6382051 w 6530564"/>
              <a:gd name="connsiteY2545" fmla="*/ 2722187 h 6858000"/>
              <a:gd name="connsiteX2546" fmla="*/ 6389717 w 6530564"/>
              <a:gd name="connsiteY2546" fmla="*/ 2735202 h 6858000"/>
              <a:gd name="connsiteX2547" fmla="*/ 6391713 w 6530564"/>
              <a:gd name="connsiteY2547" fmla="*/ 2744545 h 6858000"/>
              <a:gd name="connsiteX2548" fmla="*/ 6388038 w 6530564"/>
              <a:gd name="connsiteY2548" fmla="*/ 2750212 h 6858000"/>
              <a:gd name="connsiteX2549" fmla="*/ 6393708 w 6530564"/>
              <a:gd name="connsiteY2549" fmla="*/ 2753886 h 6858000"/>
              <a:gd name="connsiteX2550" fmla="*/ 6391033 w 6530564"/>
              <a:gd name="connsiteY2550" fmla="*/ 2764226 h 6858000"/>
              <a:gd name="connsiteX2551" fmla="*/ 6397701 w 6530564"/>
              <a:gd name="connsiteY2551" fmla="*/ 2772572 h 6858000"/>
              <a:gd name="connsiteX2552" fmla="*/ 6401373 w 6530564"/>
              <a:gd name="connsiteY2552" fmla="*/ 2766901 h 6858000"/>
              <a:gd name="connsiteX2553" fmla="*/ 6404367 w 6530564"/>
              <a:gd name="connsiteY2553" fmla="*/ 2780914 h 6858000"/>
              <a:gd name="connsiteX2554" fmla="*/ 6405364 w 6530564"/>
              <a:gd name="connsiteY2554" fmla="*/ 2785585 h 6858000"/>
              <a:gd name="connsiteX2555" fmla="*/ 6414027 w 6530564"/>
              <a:gd name="connsiteY2555" fmla="*/ 2803272 h 6858000"/>
              <a:gd name="connsiteX2556" fmla="*/ 6418019 w 6530564"/>
              <a:gd name="connsiteY2556" fmla="*/ 2821954 h 6858000"/>
              <a:gd name="connsiteX2557" fmla="*/ 6421013 w 6530564"/>
              <a:gd name="connsiteY2557" fmla="*/ 2835968 h 6858000"/>
              <a:gd name="connsiteX2558" fmla="*/ 6427000 w 6530564"/>
              <a:gd name="connsiteY2558" fmla="*/ 2863995 h 6858000"/>
              <a:gd name="connsiteX2559" fmla="*/ 6425323 w 6530564"/>
              <a:gd name="connsiteY2559" fmla="*/ 2879006 h 6858000"/>
              <a:gd name="connsiteX2560" fmla="*/ 6419655 w 6530564"/>
              <a:gd name="connsiteY2560" fmla="*/ 2875334 h 6858000"/>
              <a:gd name="connsiteX2561" fmla="*/ 6413985 w 6530564"/>
              <a:gd name="connsiteY2561" fmla="*/ 2871660 h 6858000"/>
              <a:gd name="connsiteX2562" fmla="*/ 6414983 w 6530564"/>
              <a:gd name="connsiteY2562" fmla="*/ 2876331 h 6858000"/>
              <a:gd name="connsiteX2563" fmla="*/ 6415981 w 6530564"/>
              <a:gd name="connsiteY2563" fmla="*/ 2881001 h 6858000"/>
              <a:gd name="connsiteX2564" fmla="*/ 6421651 w 6530564"/>
              <a:gd name="connsiteY2564" fmla="*/ 2884673 h 6858000"/>
              <a:gd name="connsiteX2565" fmla="*/ 6427318 w 6530564"/>
              <a:gd name="connsiteY2565" fmla="*/ 2888347 h 6858000"/>
              <a:gd name="connsiteX2566" fmla="*/ 6431991 w 6530564"/>
              <a:gd name="connsiteY2566" fmla="*/ 2887350 h 6858000"/>
              <a:gd name="connsiteX2567" fmla="*/ 6431673 w 6530564"/>
              <a:gd name="connsiteY2567" fmla="*/ 2862996 h 6858000"/>
              <a:gd name="connsiteX2568" fmla="*/ 6430674 w 6530564"/>
              <a:gd name="connsiteY2568" fmla="*/ 2858326 h 6858000"/>
              <a:gd name="connsiteX2569" fmla="*/ 6426681 w 6530564"/>
              <a:gd name="connsiteY2569" fmla="*/ 2839641 h 6858000"/>
              <a:gd name="connsiteX2570" fmla="*/ 6424687 w 6530564"/>
              <a:gd name="connsiteY2570" fmla="*/ 2830300 h 6858000"/>
              <a:gd name="connsiteX2571" fmla="*/ 6434347 w 6530564"/>
              <a:gd name="connsiteY2571" fmla="*/ 2852656 h 6858000"/>
              <a:gd name="connsiteX2572" fmla="*/ 6445005 w 6530564"/>
              <a:gd name="connsiteY2572" fmla="*/ 2879684 h 6858000"/>
              <a:gd name="connsiteX2573" fmla="*/ 6442331 w 6530564"/>
              <a:gd name="connsiteY2573" fmla="*/ 2890025 h 6858000"/>
              <a:gd name="connsiteX2574" fmla="*/ 6444325 w 6530564"/>
              <a:gd name="connsiteY2574" fmla="*/ 2899366 h 6858000"/>
              <a:gd name="connsiteX2575" fmla="*/ 6449315 w 6530564"/>
              <a:gd name="connsiteY2575" fmla="*/ 2922721 h 6858000"/>
              <a:gd name="connsiteX2576" fmla="*/ 6443648 w 6530564"/>
              <a:gd name="connsiteY2576" fmla="*/ 2919049 h 6858000"/>
              <a:gd name="connsiteX2577" fmla="*/ 6438977 w 6530564"/>
              <a:gd name="connsiteY2577" fmla="*/ 2920046 h 6858000"/>
              <a:gd name="connsiteX2578" fmla="*/ 6439974 w 6530564"/>
              <a:gd name="connsiteY2578" fmla="*/ 2924716 h 6858000"/>
              <a:gd name="connsiteX2579" fmla="*/ 6440971 w 6530564"/>
              <a:gd name="connsiteY2579" fmla="*/ 2929388 h 6858000"/>
              <a:gd name="connsiteX2580" fmla="*/ 6446641 w 6530564"/>
              <a:gd name="connsiteY2580" fmla="*/ 2933062 h 6858000"/>
              <a:gd name="connsiteX2581" fmla="*/ 6447639 w 6530564"/>
              <a:gd name="connsiteY2581" fmla="*/ 2937733 h 6858000"/>
              <a:gd name="connsiteX2582" fmla="*/ 6448636 w 6530564"/>
              <a:gd name="connsiteY2582" fmla="*/ 2942403 h 6858000"/>
              <a:gd name="connsiteX2583" fmla="*/ 6457299 w 6530564"/>
              <a:gd name="connsiteY2583" fmla="*/ 2960089 h 6858000"/>
              <a:gd name="connsiteX2584" fmla="*/ 6462289 w 6530564"/>
              <a:gd name="connsiteY2584" fmla="*/ 2983446 h 6858000"/>
              <a:gd name="connsiteX2585" fmla="*/ 6458617 w 6530564"/>
              <a:gd name="connsiteY2585" fmla="*/ 2989113 h 6858000"/>
              <a:gd name="connsiteX2586" fmla="*/ 6452947 w 6530564"/>
              <a:gd name="connsiteY2586" fmla="*/ 2985442 h 6858000"/>
              <a:gd name="connsiteX2587" fmla="*/ 6436301 w 6530564"/>
              <a:gd name="connsiteY2587" fmla="*/ 2930386 h 6858000"/>
              <a:gd name="connsiteX2588" fmla="*/ 6435303 w 6530564"/>
              <a:gd name="connsiteY2588" fmla="*/ 2925715 h 6858000"/>
              <a:gd name="connsiteX2589" fmla="*/ 6431630 w 6530564"/>
              <a:gd name="connsiteY2589" fmla="*/ 2931384 h 6858000"/>
              <a:gd name="connsiteX2590" fmla="*/ 6448275 w 6530564"/>
              <a:gd name="connsiteY2590" fmla="*/ 2986439 h 6858000"/>
              <a:gd name="connsiteX2591" fmla="*/ 6436259 w 6530564"/>
              <a:gd name="connsiteY2591" fmla="*/ 2998774 h 6858000"/>
              <a:gd name="connsiteX2592" fmla="*/ 6437895 w 6530564"/>
              <a:gd name="connsiteY2592" fmla="*/ 3052152 h 6858000"/>
              <a:gd name="connsiteX2593" fmla="*/ 6440443 w 6530564"/>
              <a:gd name="connsiteY2593" fmla="*/ 3246975 h 6858000"/>
              <a:gd name="connsiteX2594" fmla="*/ 6441441 w 6530564"/>
              <a:gd name="connsiteY2594" fmla="*/ 3251646 h 6858000"/>
              <a:gd name="connsiteX2595" fmla="*/ 6442439 w 6530564"/>
              <a:gd name="connsiteY2595" fmla="*/ 3256318 h 6858000"/>
              <a:gd name="connsiteX2596" fmla="*/ 6446113 w 6530564"/>
              <a:gd name="connsiteY2596" fmla="*/ 3250648 h 6858000"/>
              <a:gd name="connsiteX2597" fmla="*/ 6444561 w 6530564"/>
              <a:gd name="connsiteY2597" fmla="*/ 3060496 h 6858000"/>
              <a:gd name="connsiteX2598" fmla="*/ 6445559 w 6530564"/>
              <a:gd name="connsiteY2598" fmla="*/ 3065167 h 6858000"/>
              <a:gd name="connsiteX2599" fmla="*/ 6452905 w 6530564"/>
              <a:gd name="connsiteY2599" fmla="*/ 3053828 h 6858000"/>
              <a:gd name="connsiteX2600" fmla="*/ 6455899 w 6530564"/>
              <a:gd name="connsiteY2600" fmla="*/ 3067841 h 6858000"/>
              <a:gd name="connsiteX2601" fmla="*/ 6451227 w 6530564"/>
              <a:gd name="connsiteY2601" fmla="*/ 3068840 h 6858000"/>
              <a:gd name="connsiteX2602" fmla="*/ 6452226 w 6530564"/>
              <a:gd name="connsiteY2602" fmla="*/ 3073511 h 6858000"/>
              <a:gd name="connsiteX2603" fmla="*/ 6453223 w 6530564"/>
              <a:gd name="connsiteY2603" fmla="*/ 3078181 h 6858000"/>
              <a:gd name="connsiteX2604" fmla="*/ 6457895 w 6530564"/>
              <a:gd name="connsiteY2604" fmla="*/ 3077183 h 6858000"/>
              <a:gd name="connsiteX2605" fmla="*/ 6458213 w 6530564"/>
              <a:gd name="connsiteY2605" fmla="*/ 3101536 h 6858000"/>
              <a:gd name="connsiteX2606" fmla="*/ 6460209 w 6530564"/>
              <a:gd name="connsiteY2606" fmla="*/ 3110879 h 6858000"/>
              <a:gd name="connsiteX2607" fmla="*/ 6463203 w 6530564"/>
              <a:gd name="connsiteY2607" fmla="*/ 3124891 h 6858000"/>
              <a:gd name="connsiteX2608" fmla="*/ 6464201 w 6530564"/>
              <a:gd name="connsiteY2608" fmla="*/ 3129561 h 6858000"/>
              <a:gd name="connsiteX2609" fmla="*/ 6460527 w 6530564"/>
              <a:gd name="connsiteY2609" fmla="*/ 3135231 h 6858000"/>
              <a:gd name="connsiteX2610" fmla="*/ 6462523 w 6530564"/>
              <a:gd name="connsiteY2610" fmla="*/ 3144574 h 6858000"/>
              <a:gd name="connsiteX2611" fmla="*/ 6468192 w 6530564"/>
              <a:gd name="connsiteY2611" fmla="*/ 3148246 h 6858000"/>
              <a:gd name="connsiteX2612" fmla="*/ 6492143 w 6530564"/>
              <a:gd name="connsiteY2612" fmla="*/ 3260351 h 6858000"/>
              <a:gd name="connsiteX2613" fmla="*/ 6493779 w 6530564"/>
              <a:gd name="connsiteY2613" fmla="*/ 3313728 h 6858000"/>
              <a:gd name="connsiteX2614" fmla="*/ 6497452 w 6530564"/>
              <a:gd name="connsiteY2614" fmla="*/ 3308059 h 6858000"/>
              <a:gd name="connsiteX2615" fmla="*/ 6508067 w 6530564"/>
              <a:gd name="connsiteY2615" fmla="*/ 3403475 h 6858000"/>
              <a:gd name="connsiteX2616" fmla="*/ 6513737 w 6530564"/>
              <a:gd name="connsiteY2616" fmla="*/ 3407147 h 6858000"/>
              <a:gd name="connsiteX2617" fmla="*/ 6514056 w 6530564"/>
              <a:gd name="connsiteY2617" fmla="*/ 3431501 h 6858000"/>
              <a:gd name="connsiteX2618" fmla="*/ 6510383 w 6530564"/>
              <a:gd name="connsiteY2618" fmla="*/ 3437170 h 6858000"/>
              <a:gd name="connsiteX2619" fmla="*/ 6517049 w 6530564"/>
              <a:gd name="connsiteY2619" fmla="*/ 3445513 h 6858000"/>
              <a:gd name="connsiteX2620" fmla="*/ 6518367 w 6530564"/>
              <a:gd name="connsiteY2620" fmla="*/ 3474537 h 6858000"/>
              <a:gd name="connsiteX2621" fmla="*/ 6519363 w 6530564"/>
              <a:gd name="connsiteY2621" fmla="*/ 3479209 h 6858000"/>
              <a:gd name="connsiteX2622" fmla="*/ 6517687 w 6530564"/>
              <a:gd name="connsiteY2622" fmla="*/ 3494220 h 6858000"/>
              <a:gd name="connsiteX2623" fmla="*/ 6518686 w 6530564"/>
              <a:gd name="connsiteY2623" fmla="*/ 3498890 h 6858000"/>
              <a:gd name="connsiteX2624" fmla="*/ 6519683 w 6530564"/>
              <a:gd name="connsiteY2624" fmla="*/ 3503561 h 6858000"/>
              <a:gd name="connsiteX2625" fmla="*/ 6517965 w 6530564"/>
              <a:gd name="connsiteY2625" fmla="*/ 3586960 h 6858000"/>
              <a:gd name="connsiteX2626" fmla="*/ 6520957 w 6530564"/>
              <a:gd name="connsiteY2626" fmla="*/ 3600973 h 6858000"/>
              <a:gd name="connsiteX2627" fmla="*/ 6521957 w 6530564"/>
              <a:gd name="connsiteY2627" fmla="*/ 3605644 h 6858000"/>
              <a:gd name="connsiteX2628" fmla="*/ 6525949 w 6530564"/>
              <a:gd name="connsiteY2628" fmla="*/ 3624328 h 6858000"/>
              <a:gd name="connsiteX2629" fmla="*/ 6518240 w 6530564"/>
              <a:gd name="connsiteY2629" fmla="*/ 3679702 h 6858000"/>
              <a:gd name="connsiteX2630" fmla="*/ 6499429 w 6530564"/>
              <a:gd name="connsiteY2630" fmla="*/ 3888856 h 6858000"/>
              <a:gd name="connsiteX2631" fmla="*/ 6500429 w 6530564"/>
              <a:gd name="connsiteY2631" fmla="*/ 3893529 h 6858000"/>
              <a:gd name="connsiteX2632" fmla="*/ 6496756 w 6530564"/>
              <a:gd name="connsiteY2632" fmla="*/ 3899196 h 6858000"/>
              <a:gd name="connsiteX2633" fmla="*/ 6474945 w 6530564"/>
              <a:gd name="connsiteY2633" fmla="*/ 3968571 h 6858000"/>
              <a:gd name="connsiteX2634" fmla="*/ 6456817 w 6530564"/>
              <a:gd name="connsiteY2634" fmla="*/ 4036740 h 6858000"/>
              <a:gd name="connsiteX2635" fmla="*/ 6457067 w 6530564"/>
              <a:gd name="connsiteY2635" fmla="*/ 4035275 h 6858000"/>
              <a:gd name="connsiteX2636" fmla="*/ 6458983 w 6530564"/>
              <a:gd name="connsiteY2636" fmla="*/ 4019603 h 6858000"/>
              <a:gd name="connsiteX2637" fmla="*/ 6461660 w 6530564"/>
              <a:gd name="connsiteY2637" fmla="*/ 4009263 h 6858000"/>
              <a:gd name="connsiteX2638" fmla="*/ 6468688 w 6530564"/>
              <a:gd name="connsiteY2638" fmla="*/ 3973572 h 6858000"/>
              <a:gd name="connsiteX2639" fmla="*/ 6480067 w 6530564"/>
              <a:gd name="connsiteY2639" fmla="*/ 3912531 h 6858000"/>
              <a:gd name="connsiteX2640" fmla="*/ 6482742 w 6530564"/>
              <a:gd name="connsiteY2640" fmla="*/ 3902189 h 6858000"/>
              <a:gd name="connsiteX2641" fmla="*/ 6485417 w 6530564"/>
              <a:gd name="connsiteY2641" fmla="*/ 3891851 h 6858000"/>
              <a:gd name="connsiteX2642" fmla="*/ 6479749 w 6530564"/>
              <a:gd name="connsiteY2642" fmla="*/ 3888177 h 6858000"/>
              <a:gd name="connsiteX2643" fmla="*/ 6469727 w 6530564"/>
              <a:gd name="connsiteY2643" fmla="*/ 3909856 h 6858000"/>
              <a:gd name="connsiteX2644" fmla="*/ 6470724 w 6530564"/>
              <a:gd name="connsiteY2644" fmla="*/ 3914527 h 6858000"/>
              <a:gd name="connsiteX2645" fmla="*/ 6451319 w 6530564"/>
              <a:gd name="connsiteY2645" fmla="*/ 4006588 h 6858000"/>
              <a:gd name="connsiteX2646" fmla="*/ 6452317 w 6530564"/>
              <a:gd name="connsiteY2646" fmla="*/ 4011259 h 6858000"/>
              <a:gd name="connsiteX2647" fmla="*/ 6438623 w 6530564"/>
              <a:gd name="connsiteY2647" fmla="*/ 4038605 h 6858000"/>
              <a:gd name="connsiteX2648" fmla="*/ 6430597 w 6530564"/>
              <a:gd name="connsiteY2648" fmla="*/ 4069625 h 6858000"/>
              <a:gd name="connsiteX2649" fmla="*/ 6417467 w 6530564"/>
              <a:gd name="connsiteY2649" fmla="*/ 4131042 h 6858000"/>
              <a:gd name="connsiteX2650" fmla="*/ 6397652 w 6530564"/>
              <a:gd name="connsiteY2650" fmla="*/ 4184394 h 6858000"/>
              <a:gd name="connsiteX2651" fmla="*/ 6395501 w 6530564"/>
              <a:gd name="connsiteY2651" fmla="*/ 4179691 h 6858000"/>
              <a:gd name="connsiteX2652" fmla="*/ 6310617 w 6530564"/>
              <a:gd name="connsiteY2652" fmla="*/ 4422501 h 6858000"/>
              <a:gd name="connsiteX2653" fmla="*/ 6305947 w 6530564"/>
              <a:gd name="connsiteY2653" fmla="*/ 4423498 h 6858000"/>
              <a:gd name="connsiteX2654" fmla="*/ 6306945 w 6530564"/>
              <a:gd name="connsiteY2654" fmla="*/ 4428171 h 6858000"/>
              <a:gd name="connsiteX2655" fmla="*/ 6307942 w 6530564"/>
              <a:gd name="connsiteY2655" fmla="*/ 4432841 h 6858000"/>
              <a:gd name="connsiteX2656" fmla="*/ 6292252 w 6530564"/>
              <a:gd name="connsiteY2656" fmla="*/ 4450844 h 6858000"/>
              <a:gd name="connsiteX2657" fmla="*/ 6268855 w 6530564"/>
              <a:gd name="connsiteY2657" fmla="*/ 4524223 h 6858000"/>
              <a:gd name="connsiteX2658" fmla="*/ 6265862 w 6530564"/>
              <a:gd name="connsiteY2658" fmla="*/ 4510210 h 6858000"/>
              <a:gd name="connsiteX2659" fmla="*/ 6258833 w 6530564"/>
              <a:gd name="connsiteY2659" fmla="*/ 4545902 h 6858000"/>
              <a:gd name="connsiteX2660" fmla="*/ 6253165 w 6530564"/>
              <a:gd name="connsiteY2660" fmla="*/ 4542228 h 6858000"/>
              <a:gd name="connsiteX2661" fmla="*/ 6214077 w 6530564"/>
              <a:gd name="connsiteY2661" fmla="*/ 4633610 h 6858000"/>
              <a:gd name="connsiteX2662" fmla="*/ 6209407 w 6530564"/>
              <a:gd name="connsiteY2662" fmla="*/ 4634608 h 6858000"/>
              <a:gd name="connsiteX2663" fmla="*/ 6170001 w 6530564"/>
              <a:gd name="connsiteY2663" fmla="*/ 4701637 h 6858000"/>
              <a:gd name="connsiteX2664" fmla="*/ 6124246 w 6530564"/>
              <a:gd name="connsiteY2664" fmla="*/ 4784676 h 6858000"/>
              <a:gd name="connsiteX2665" fmla="*/ 6094991 w 6530564"/>
              <a:gd name="connsiteY2665" fmla="*/ 4822064 h 6858000"/>
              <a:gd name="connsiteX2666" fmla="*/ 6068122 w 6530564"/>
              <a:gd name="connsiteY2666" fmla="*/ 4864900 h 6858000"/>
              <a:gd name="connsiteX2667" fmla="*/ 6067155 w 6530564"/>
              <a:gd name="connsiteY2667" fmla="*/ 4860368 h 6858000"/>
              <a:gd name="connsiteX2668" fmla="*/ 6063481 w 6530564"/>
              <a:gd name="connsiteY2668" fmla="*/ 4866038 h 6858000"/>
              <a:gd name="connsiteX2669" fmla="*/ 6060805 w 6530564"/>
              <a:gd name="connsiteY2669" fmla="*/ 4876378 h 6858000"/>
              <a:gd name="connsiteX2670" fmla="*/ 6059807 w 6530564"/>
              <a:gd name="connsiteY2670" fmla="*/ 4871705 h 6858000"/>
              <a:gd name="connsiteX2671" fmla="*/ 6037769 w 6530564"/>
              <a:gd name="connsiteY2671" fmla="*/ 4905720 h 6858000"/>
              <a:gd name="connsiteX2672" fmla="*/ 6038767 w 6530564"/>
              <a:gd name="connsiteY2672" fmla="*/ 4910391 h 6858000"/>
              <a:gd name="connsiteX2673" fmla="*/ 6036091 w 6530564"/>
              <a:gd name="connsiteY2673" fmla="*/ 4920731 h 6858000"/>
              <a:gd name="connsiteX2674" fmla="*/ 6034095 w 6530564"/>
              <a:gd name="connsiteY2674" fmla="*/ 4911389 h 6858000"/>
              <a:gd name="connsiteX2675" fmla="*/ 6023077 w 6530564"/>
              <a:gd name="connsiteY2675" fmla="*/ 4928396 h 6858000"/>
              <a:gd name="connsiteX2676" fmla="*/ 6022078 w 6530564"/>
              <a:gd name="connsiteY2676" fmla="*/ 4923723 h 6858000"/>
              <a:gd name="connsiteX2677" fmla="*/ 6021081 w 6530564"/>
              <a:gd name="connsiteY2677" fmla="*/ 4919054 h 6858000"/>
              <a:gd name="connsiteX2678" fmla="*/ 6016409 w 6530564"/>
              <a:gd name="connsiteY2678" fmla="*/ 4920052 h 6858000"/>
              <a:gd name="connsiteX2679" fmla="*/ 6018405 w 6530564"/>
              <a:gd name="connsiteY2679" fmla="*/ 4929393 h 6858000"/>
              <a:gd name="connsiteX2680" fmla="*/ 6019404 w 6530564"/>
              <a:gd name="connsiteY2680" fmla="*/ 4934065 h 6858000"/>
              <a:gd name="connsiteX2681" fmla="*/ 6015730 w 6530564"/>
              <a:gd name="connsiteY2681" fmla="*/ 4939735 h 6858000"/>
              <a:gd name="connsiteX2682" fmla="*/ 6011059 w 6530564"/>
              <a:gd name="connsiteY2682" fmla="*/ 4940732 h 6858000"/>
              <a:gd name="connsiteX2683" fmla="*/ 6006389 w 6530564"/>
              <a:gd name="connsiteY2683" fmla="*/ 4941731 h 6858000"/>
              <a:gd name="connsiteX2684" fmla="*/ 6007386 w 6530564"/>
              <a:gd name="connsiteY2684" fmla="*/ 4946401 h 6858000"/>
              <a:gd name="connsiteX2685" fmla="*/ 6008383 w 6530564"/>
              <a:gd name="connsiteY2685" fmla="*/ 4951071 h 6858000"/>
              <a:gd name="connsiteX2686" fmla="*/ 5996367 w 6530564"/>
              <a:gd name="connsiteY2686" fmla="*/ 4963407 h 6858000"/>
              <a:gd name="connsiteX2687" fmla="*/ 5995370 w 6530564"/>
              <a:gd name="connsiteY2687" fmla="*/ 4958737 h 6858000"/>
              <a:gd name="connsiteX2688" fmla="*/ 5991696 w 6530564"/>
              <a:gd name="connsiteY2688" fmla="*/ 4964406 h 6858000"/>
              <a:gd name="connsiteX2689" fmla="*/ 5988022 w 6530564"/>
              <a:gd name="connsiteY2689" fmla="*/ 4970074 h 6858000"/>
              <a:gd name="connsiteX2690" fmla="*/ 5985347 w 6530564"/>
              <a:gd name="connsiteY2690" fmla="*/ 4980414 h 6858000"/>
              <a:gd name="connsiteX2691" fmla="*/ 5984349 w 6530564"/>
              <a:gd name="connsiteY2691" fmla="*/ 4975743 h 6858000"/>
              <a:gd name="connsiteX2692" fmla="*/ 5967661 w 6530564"/>
              <a:gd name="connsiteY2692" fmla="*/ 4989076 h 6858000"/>
              <a:gd name="connsiteX2693" fmla="*/ 5965665 w 6530564"/>
              <a:gd name="connsiteY2693" fmla="*/ 4979735 h 6858000"/>
              <a:gd name="connsiteX2694" fmla="*/ 5949975 w 6530564"/>
              <a:gd name="connsiteY2694" fmla="*/ 4997740 h 6858000"/>
              <a:gd name="connsiteX2695" fmla="*/ 5948977 w 6530564"/>
              <a:gd name="connsiteY2695" fmla="*/ 4993069 h 6858000"/>
              <a:gd name="connsiteX2696" fmla="*/ 5952650 w 6530564"/>
              <a:gd name="connsiteY2696" fmla="*/ 4987400 h 6858000"/>
              <a:gd name="connsiteX2697" fmla="*/ 5951653 w 6530564"/>
              <a:gd name="connsiteY2697" fmla="*/ 4982729 h 6858000"/>
              <a:gd name="connsiteX2698" fmla="*/ 5947981 w 6530564"/>
              <a:gd name="connsiteY2698" fmla="*/ 4988397 h 6858000"/>
              <a:gd name="connsiteX2699" fmla="*/ 5944307 w 6530564"/>
              <a:gd name="connsiteY2699" fmla="*/ 4994067 h 6858000"/>
              <a:gd name="connsiteX2700" fmla="*/ 5941631 w 6530564"/>
              <a:gd name="connsiteY2700" fmla="*/ 5004407 h 6858000"/>
              <a:gd name="connsiteX2701" fmla="*/ 5950973 w 6530564"/>
              <a:gd name="connsiteY2701" fmla="*/ 5002410 h 6858000"/>
              <a:gd name="connsiteX2702" fmla="*/ 5947299 w 6530564"/>
              <a:gd name="connsiteY2702" fmla="*/ 5008080 h 6858000"/>
              <a:gd name="connsiteX2703" fmla="*/ 5929931 w 6530564"/>
              <a:gd name="connsiteY2703" fmla="*/ 5041095 h 6858000"/>
              <a:gd name="connsiteX2704" fmla="*/ 5947618 w 6530564"/>
              <a:gd name="connsiteY2704" fmla="*/ 5032434 h 6858000"/>
              <a:gd name="connsiteX2705" fmla="*/ 5931927 w 6530564"/>
              <a:gd name="connsiteY2705" fmla="*/ 5050439 h 6858000"/>
              <a:gd name="connsiteX2706" fmla="*/ 5920909 w 6530564"/>
              <a:gd name="connsiteY2706" fmla="*/ 5067445 h 6858000"/>
              <a:gd name="connsiteX2707" fmla="*/ 5912565 w 6530564"/>
              <a:gd name="connsiteY2707" fmla="*/ 5074111 h 6858000"/>
              <a:gd name="connsiteX2708" fmla="*/ 5910570 w 6530564"/>
              <a:gd name="connsiteY2708" fmla="*/ 5064770 h 6858000"/>
              <a:gd name="connsiteX2709" fmla="*/ 5895877 w 6530564"/>
              <a:gd name="connsiteY2709" fmla="*/ 5087444 h 6858000"/>
              <a:gd name="connsiteX2710" fmla="*/ 5890208 w 6530564"/>
              <a:gd name="connsiteY2710" fmla="*/ 5083772 h 6858000"/>
              <a:gd name="connsiteX2711" fmla="*/ 5893881 w 6530564"/>
              <a:gd name="connsiteY2711" fmla="*/ 5078103 h 6858000"/>
              <a:gd name="connsiteX2712" fmla="*/ 5892882 w 6530564"/>
              <a:gd name="connsiteY2712" fmla="*/ 5073432 h 6858000"/>
              <a:gd name="connsiteX2713" fmla="*/ 5888211 w 6530564"/>
              <a:gd name="connsiteY2713" fmla="*/ 5074430 h 6858000"/>
              <a:gd name="connsiteX2714" fmla="*/ 5884539 w 6530564"/>
              <a:gd name="connsiteY2714" fmla="*/ 5080098 h 6858000"/>
              <a:gd name="connsiteX2715" fmla="*/ 5885537 w 6530564"/>
              <a:gd name="connsiteY2715" fmla="*/ 5084770 h 6858000"/>
              <a:gd name="connsiteX2716" fmla="*/ 5881863 w 6530564"/>
              <a:gd name="connsiteY2716" fmla="*/ 5090439 h 6858000"/>
              <a:gd name="connsiteX2717" fmla="*/ 5878191 w 6530564"/>
              <a:gd name="connsiteY2717" fmla="*/ 5096109 h 6858000"/>
              <a:gd name="connsiteX2718" fmla="*/ 5873519 w 6530564"/>
              <a:gd name="connsiteY2718" fmla="*/ 5097107 h 6858000"/>
              <a:gd name="connsiteX2719" fmla="*/ 5874517 w 6530564"/>
              <a:gd name="connsiteY2719" fmla="*/ 5101778 h 6858000"/>
              <a:gd name="connsiteX2720" fmla="*/ 5869847 w 6530564"/>
              <a:gd name="connsiteY2720" fmla="*/ 5102775 h 6858000"/>
              <a:gd name="connsiteX2721" fmla="*/ 5868847 w 6530564"/>
              <a:gd name="connsiteY2721" fmla="*/ 5098105 h 6858000"/>
              <a:gd name="connsiteX2722" fmla="*/ 5871523 w 6530564"/>
              <a:gd name="connsiteY2722" fmla="*/ 5087764 h 6858000"/>
              <a:gd name="connsiteX2723" fmla="*/ 5878869 w 6530564"/>
              <a:gd name="connsiteY2723" fmla="*/ 5076427 h 6858000"/>
              <a:gd name="connsiteX2724" fmla="*/ 5874198 w 6530564"/>
              <a:gd name="connsiteY2724" fmla="*/ 5077424 h 6858000"/>
              <a:gd name="connsiteX2725" fmla="*/ 5870525 w 6530564"/>
              <a:gd name="connsiteY2725" fmla="*/ 5083093 h 6858000"/>
              <a:gd name="connsiteX2726" fmla="*/ 5859507 w 6530564"/>
              <a:gd name="connsiteY2726" fmla="*/ 5100100 h 6858000"/>
              <a:gd name="connsiteX2727" fmla="*/ 5860503 w 6530564"/>
              <a:gd name="connsiteY2727" fmla="*/ 5104770 h 6858000"/>
              <a:gd name="connsiteX2728" fmla="*/ 5854156 w 6530564"/>
              <a:gd name="connsiteY2728" fmla="*/ 5120780 h 6858000"/>
              <a:gd name="connsiteX2729" fmla="*/ 5803411 w 6530564"/>
              <a:gd name="connsiteY2729" fmla="*/ 5180463 h 6858000"/>
              <a:gd name="connsiteX2730" fmla="*/ 5798741 w 6530564"/>
              <a:gd name="connsiteY2730" fmla="*/ 5181460 h 6858000"/>
              <a:gd name="connsiteX2731" fmla="*/ 5795068 w 6530564"/>
              <a:gd name="connsiteY2731" fmla="*/ 5187130 h 6858000"/>
              <a:gd name="connsiteX2732" fmla="*/ 5783051 w 6530564"/>
              <a:gd name="connsiteY2732" fmla="*/ 5199465 h 6858000"/>
              <a:gd name="connsiteX2733" fmla="*/ 5779378 w 6530564"/>
              <a:gd name="connsiteY2733" fmla="*/ 5205135 h 6858000"/>
              <a:gd name="connsiteX2734" fmla="*/ 5767360 w 6530564"/>
              <a:gd name="connsiteY2734" fmla="*/ 5217470 h 6858000"/>
              <a:gd name="connsiteX2735" fmla="*/ 5755343 w 6530564"/>
              <a:gd name="connsiteY2735" fmla="*/ 5229806 h 6858000"/>
              <a:gd name="connsiteX2736" fmla="*/ 5718293 w 6530564"/>
              <a:gd name="connsiteY2736" fmla="*/ 5262142 h 6858000"/>
              <a:gd name="connsiteX2737" fmla="*/ 5680564 w 6530564"/>
              <a:gd name="connsiteY2737" fmla="*/ 5314161 h 6858000"/>
              <a:gd name="connsiteX2738" fmla="*/ 5668546 w 6530564"/>
              <a:gd name="connsiteY2738" fmla="*/ 5326497 h 6858000"/>
              <a:gd name="connsiteX2739" fmla="*/ 5679885 w 6530564"/>
              <a:gd name="connsiteY2739" fmla="*/ 5333842 h 6858000"/>
              <a:gd name="connsiteX2740" fmla="*/ 5712263 w 6530564"/>
              <a:gd name="connsiteY2740" fmla="*/ 5302506 h 6858000"/>
              <a:gd name="connsiteX2741" fmla="*/ 5746319 w 6530564"/>
              <a:gd name="connsiteY2741" fmla="*/ 5256155 h 6858000"/>
              <a:gd name="connsiteX2742" fmla="*/ 5762009 w 6530564"/>
              <a:gd name="connsiteY2742" fmla="*/ 5238151 h 6858000"/>
              <a:gd name="connsiteX2743" fmla="*/ 5763007 w 6530564"/>
              <a:gd name="connsiteY2743" fmla="*/ 5242821 h 6858000"/>
              <a:gd name="connsiteX2744" fmla="*/ 5758337 w 6530564"/>
              <a:gd name="connsiteY2744" fmla="*/ 5243820 h 6858000"/>
              <a:gd name="connsiteX2745" fmla="*/ 5759335 w 6530564"/>
              <a:gd name="connsiteY2745" fmla="*/ 5248491 h 6858000"/>
              <a:gd name="connsiteX2746" fmla="*/ 5764005 w 6530564"/>
              <a:gd name="connsiteY2746" fmla="*/ 5247493 h 6858000"/>
              <a:gd name="connsiteX2747" fmla="*/ 5767679 w 6530564"/>
              <a:gd name="connsiteY2747" fmla="*/ 5241824 h 6858000"/>
              <a:gd name="connsiteX2748" fmla="*/ 5764685 w 6530564"/>
              <a:gd name="connsiteY2748" fmla="*/ 5227811 h 6858000"/>
              <a:gd name="connsiteX2749" fmla="*/ 5776701 w 6530564"/>
              <a:gd name="connsiteY2749" fmla="*/ 5215474 h 6858000"/>
              <a:gd name="connsiteX2750" fmla="*/ 5786044 w 6530564"/>
              <a:gd name="connsiteY2750" fmla="*/ 5213479 h 6858000"/>
              <a:gd name="connsiteX2751" fmla="*/ 5787043 w 6530564"/>
              <a:gd name="connsiteY2751" fmla="*/ 5218150 h 6858000"/>
              <a:gd name="connsiteX2752" fmla="*/ 5790713 w 6530564"/>
              <a:gd name="connsiteY2752" fmla="*/ 5212480 h 6858000"/>
              <a:gd name="connsiteX2753" fmla="*/ 5789717 w 6530564"/>
              <a:gd name="connsiteY2753" fmla="*/ 5207810 h 6858000"/>
              <a:gd name="connsiteX2754" fmla="*/ 5792393 w 6530564"/>
              <a:gd name="connsiteY2754" fmla="*/ 5197469 h 6858000"/>
              <a:gd name="connsiteX2755" fmla="*/ 5800735 w 6530564"/>
              <a:gd name="connsiteY2755" fmla="*/ 5190803 h 6858000"/>
              <a:gd name="connsiteX2756" fmla="*/ 5805408 w 6530564"/>
              <a:gd name="connsiteY2756" fmla="*/ 5189806 h 6858000"/>
              <a:gd name="connsiteX2757" fmla="*/ 5804409 w 6530564"/>
              <a:gd name="connsiteY2757" fmla="*/ 5185134 h 6858000"/>
              <a:gd name="connsiteX2758" fmla="*/ 5808082 w 6530564"/>
              <a:gd name="connsiteY2758" fmla="*/ 5179466 h 6858000"/>
              <a:gd name="connsiteX2759" fmla="*/ 5859825 w 6530564"/>
              <a:gd name="connsiteY2759" fmla="*/ 5124453 h 6858000"/>
              <a:gd name="connsiteX2760" fmla="*/ 5863499 w 6530564"/>
              <a:gd name="connsiteY2760" fmla="*/ 5118782 h 6858000"/>
              <a:gd name="connsiteX2761" fmla="*/ 5862500 w 6530564"/>
              <a:gd name="connsiteY2761" fmla="*/ 5114113 h 6858000"/>
              <a:gd name="connsiteX2762" fmla="*/ 5867171 w 6530564"/>
              <a:gd name="connsiteY2762" fmla="*/ 5113115 h 6858000"/>
              <a:gd name="connsiteX2763" fmla="*/ 5868169 w 6530564"/>
              <a:gd name="connsiteY2763" fmla="*/ 5117785 h 6858000"/>
              <a:gd name="connsiteX2764" fmla="*/ 5889529 w 6530564"/>
              <a:gd name="connsiteY2764" fmla="*/ 5103454 h 6858000"/>
              <a:gd name="connsiteX2765" fmla="*/ 5888531 w 6530564"/>
              <a:gd name="connsiteY2765" fmla="*/ 5098783 h 6858000"/>
              <a:gd name="connsiteX2766" fmla="*/ 5886853 w 6530564"/>
              <a:gd name="connsiteY2766" fmla="*/ 5113794 h 6858000"/>
              <a:gd name="connsiteX2767" fmla="*/ 5918235 w 6530564"/>
              <a:gd name="connsiteY2767" fmla="*/ 5077785 h 6858000"/>
              <a:gd name="connsiteX2768" fmla="*/ 5937596 w 6530564"/>
              <a:gd name="connsiteY2768" fmla="*/ 5054110 h 6858000"/>
              <a:gd name="connsiteX2769" fmla="*/ 5956961 w 6530564"/>
              <a:gd name="connsiteY2769" fmla="*/ 5030438 h 6858000"/>
              <a:gd name="connsiteX2770" fmla="*/ 5991015 w 6530564"/>
              <a:gd name="connsiteY2770" fmla="*/ 4984087 h 6858000"/>
              <a:gd name="connsiteX2771" fmla="*/ 6003035 w 6530564"/>
              <a:gd name="connsiteY2771" fmla="*/ 4971752 h 6858000"/>
              <a:gd name="connsiteX2772" fmla="*/ 6010379 w 6530564"/>
              <a:gd name="connsiteY2772" fmla="*/ 4960413 h 6858000"/>
              <a:gd name="connsiteX2773" fmla="*/ 6018723 w 6530564"/>
              <a:gd name="connsiteY2773" fmla="*/ 4953747 h 6858000"/>
              <a:gd name="connsiteX2774" fmla="*/ 6029744 w 6530564"/>
              <a:gd name="connsiteY2774" fmla="*/ 4936740 h 6858000"/>
              <a:gd name="connsiteX2775" fmla="*/ 6041761 w 6530564"/>
              <a:gd name="connsiteY2775" fmla="*/ 4924404 h 6858000"/>
              <a:gd name="connsiteX2776" fmla="*/ 6048109 w 6530564"/>
              <a:gd name="connsiteY2776" fmla="*/ 4908395 h 6858000"/>
              <a:gd name="connsiteX2777" fmla="*/ 6052779 w 6530564"/>
              <a:gd name="connsiteY2777" fmla="*/ 4907398 h 6858000"/>
              <a:gd name="connsiteX2778" fmla="*/ 6166964 w 6530564"/>
              <a:gd name="connsiteY2778" fmla="*/ 4756012 h 6858000"/>
              <a:gd name="connsiteX2779" fmla="*/ 6171634 w 6530564"/>
              <a:gd name="connsiteY2779" fmla="*/ 4755014 h 6858000"/>
              <a:gd name="connsiteX2780" fmla="*/ 6176307 w 6530564"/>
              <a:gd name="connsiteY2780" fmla="*/ 4754017 h 6858000"/>
              <a:gd name="connsiteX2781" fmla="*/ 6168961 w 6530564"/>
              <a:gd name="connsiteY2781" fmla="*/ 4765354 h 6858000"/>
              <a:gd name="connsiteX2782" fmla="*/ 6161614 w 6530564"/>
              <a:gd name="connsiteY2782" fmla="*/ 4776693 h 6858000"/>
              <a:gd name="connsiteX2783" fmla="*/ 6154269 w 6530564"/>
              <a:gd name="connsiteY2783" fmla="*/ 4788031 h 6858000"/>
              <a:gd name="connsiteX2784" fmla="*/ 6155266 w 6530564"/>
              <a:gd name="connsiteY2784" fmla="*/ 4792702 h 6858000"/>
              <a:gd name="connsiteX2785" fmla="*/ 6136901 w 6530564"/>
              <a:gd name="connsiteY2785" fmla="*/ 4821047 h 6858000"/>
              <a:gd name="connsiteX2786" fmla="*/ 6137897 w 6530564"/>
              <a:gd name="connsiteY2786" fmla="*/ 4825717 h 6858000"/>
              <a:gd name="connsiteX2787" fmla="*/ 6142571 w 6530564"/>
              <a:gd name="connsiteY2787" fmla="*/ 4824719 h 6858000"/>
              <a:gd name="connsiteX2788" fmla="*/ 6146243 w 6530564"/>
              <a:gd name="connsiteY2788" fmla="*/ 4819049 h 6858000"/>
              <a:gd name="connsiteX2789" fmla="*/ 6149915 w 6530564"/>
              <a:gd name="connsiteY2789" fmla="*/ 4813382 h 6858000"/>
              <a:gd name="connsiteX2790" fmla="*/ 6153588 w 6530564"/>
              <a:gd name="connsiteY2790" fmla="*/ 4807712 h 6858000"/>
              <a:gd name="connsiteX2791" fmla="*/ 6160935 w 6530564"/>
              <a:gd name="connsiteY2791" fmla="*/ 4796376 h 6858000"/>
              <a:gd name="connsiteX2792" fmla="*/ 6149207 w 6530564"/>
              <a:gd name="connsiteY2792" fmla="*/ 4815058 h 6858000"/>
              <a:gd name="connsiteX2793" fmla="*/ 6138972 w 6530564"/>
              <a:gd name="connsiteY2793" fmla="*/ 4830325 h 6858000"/>
              <a:gd name="connsiteX2794" fmla="*/ 6138897 w 6530564"/>
              <a:gd name="connsiteY2794" fmla="*/ 4830389 h 6858000"/>
              <a:gd name="connsiteX2795" fmla="*/ 6138892 w 6530564"/>
              <a:gd name="connsiteY2795" fmla="*/ 4830440 h 6858000"/>
              <a:gd name="connsiteX2796" fmla="*/ 6137977 w 6530564"/>
              <a:gd name="connsiteY2796" fmla="*/ 4831806 h 6858000"/>
              <a:gd name="connsiteX2797" fmla="*/ 6128557 w 6530564"/>
              <a:gd name="connsiteY2797" fmla="*/ 4827713 h 6858000"/>
              <a:gd name="connsiteX2798" fmla="*/ 6092823 w 6530564"/>
              <a:gd name="connsiteY2798" fmla="*/ 4889075 h 6858000"/>
              <a:gd name="connsiteX2799" fmla="*/ 6097494 w 6530564"/>
              <a:gd name="connsiteY2799" fmla="*/ 4888076 h 6858000"/>
              <a:gd name="connsiteX2800" fmla="*/ 6086475 w 6530564"/>
              <a:gd name="connsiteY2800" fmla="*/ 4905082 h 6858000"/>
              <a:gd name="connsiteX2801" fmla="*/ 6081803 w 6530564"/>
              <a:gd name="connsiteY2801" fmla="*/ 4906081 h 6858000"/>
              <a:gd name="connsiteX2802" fmla="*/ 6082802 w 6530564"/>
              <a:gd name="connsiteY2802" fmla="*/ 4910751 h 6858000"/>
              <a:gd name="connsiteX2803" fmla="*/ 6078133 w 6530564"/>
              <a:gd name="connsiteY2803" fmla="*/ 4911750 h 6858000"/>
              <a:gd name="connsiteX2804" fmla="*/ 6070785 w 6530564"/>
              <a:gd name="connsiteY2804" fmla="*/ 4923087 h 6858000"/>
              <a:gd name="connsiteX2805" fmla="*/ 6068109 w 6530564"/>
              <a:gd name="connsiteY2805" fmla="*/ 4933427 h 6858000"/>
              <a:gd name="connsiteX2806" fmla="*/ 6064437 w 6530564"/>
              <a:gd name="connsiteY2806" fmla="*/ 4939097 h 6858000"/>
              <a:gd name="connsiteX2807" fmla="*/ 6053416 w 6530564"/>
              <a:gd name="connsiteY2807" fmla="*/ 4956103 h 6858000"/>
              <a:gd name="connsiteX2808" fmla="*/ 6054415 w 6530564"/>
              <a:gd name="connsiteY2808" fmla="*/ 4960774 h 6858000"/>
              <a:gd name="connsiteX2809" fmla="*/ 6050743 w 6530564"/>
              <a:gd name="connsiteY2809" fmla="*/ 4966443 h 6858000"/>
              <a:gd name="connsiteX2810" fmla="*/ 6016685 w 6530564"/>
              <a:gd name="connsiteY2810" fmla="*/ 5012793 h 6858000"/>
              <a:gd name="connsiteX2811" fmla="*/ 6011017 w 6530564"/>
              <a:gd name="connsiteY2811" fmla="*/ 5009120 h 6858000"/>
              <a:gd name="connsiteX2812" fmla="*/ 6014690 w 6530564"/>
              <a:gd name="connsiteY2812" fmla="*/ 5003451 h 6858000"/>
              <a:gd name="connsiteX2813" fmla="*/ 6018363 w 6530564"/>
              <a:gd name="connsiteY2813" fmla="*/ 4997783 h 6858000"/>
              <a:gd name="connsiteX2814" fmla="*/ 6013693 w 6530564"/>
              <a:gd name="connsiteY2814" fmla="*/ 4998780 h 6858000"/>
              <a:gd name="connsiteX2815" fmla="*/ 6010020 w 6530564"/>
              <a:gd name="connsiteY2815" fmla="*/ 5004450 h 6858000"/>
              <a:gd name="connsiteX2816" fmla="*/ 6006346 w 6530564"/>
              <a:gd name="connsiteY2816" fmla="*/ 5010117 h 6858000"/>
              <a:gd name="connsiteX2817" fmla="*/ 6007345 w 6530564"/>
              <a:gd name="connsiteY2817" fmla="*/ 5014789 h 6858000"/>
              <a:gd name="connsiteX2818" fmla="*/ 6008343 w 6530564"/>
              <a:gd name="connsiteY2818" fmla="*/ 5019460 h 6858000"/>
              <a:gd name="connsiteX2819" fmla="*/ 5973287 w 6530564"/>
              <a:gd name="connsiteY2819" fmla="*/ 5061138 h 6858000"/>
              <a:gd name="connsiteX2820" fmla="*/ 5974287 w 6530564"/>
              <a:gd name="connsiteY2820" fmla="*/ 5065808 h 6858000"/>
              <a:gd name="connsiteX2821" fmla="*/ 5894837 w 6530564"/>
              <a:gd name="connsiteY2821" fmla="*/ 5151162 h 6858000"/>
              <a:gd name="connsiteX2822" fmla="*/ 5783008 w 6530564"/>
              <a:gd name="connsiteY2822" fmla="*/ 5267853 h 6858000"/>
              <a:gd name="connsiteX2823" fmla="*/ 5758973 w 6530564"/>
              <a:gd name="connsiteY2823" fmla="*/ 5292525 h 6858000"/>
              <a:gd name="connsiteX2824" fmla="*/ 5754302 w 6530564"/>
              <a:gd name="connsiteY2824" fmla="*/ 5293524 h 6858000"/>
              <a:gd name="connsiteX2825" fmla="*/ 5741289 w 6530564"/>
              <a:gd name="connsiteY2825" fmla="*/ 5301187 h 6858000"/>
              <a:gd name="connsiteX2826" fmla="*/ 5737613 w 6530564"/>
              <a:gd name="connsiteY2826" fmla="*/ 5306857 h 6858000"/>
              <a:gd name="connsiteX2827" fmla="*/ 5742285 w 6530564"/>
              <a:gd name="connsiteY2827" fmla="*/ 5305858 h 6858000"/>
              <a:gd name="connsiteX2828" fmla="*/ 5681201 w 6530564"/>
              <a:gd name="connsiteY2828" fmla="*/ 5362868 h 6858000"/>
              <a:gd name="connsiteX2829" fmla="*/ 5632136 w 6530564"/>
              <a:gd name="connsiteY2829" fmla="*/ 5407539 h 6858000"/>
              <a:gd name="connsiteX2830" fmla="*/ 5615447 w 6530564"/>
              <a:gd name="connsiteY2830" fmla="*/ 5420874 h 6858000"/>
              <a:gd name="connsiteX2831" fmla="*/ 5569055 w 6530564"/>
              <a:gd name="connsiteY2831" fmla="*/ 5455206 h 6858000"/>
              <a:gd name="connsiteX2832" fmla="*/ 5536677 w 6530564"/>
              <a:gd name="connsiteY2832" fmla="*/ 5486546 h 6858000"/>
              <a:gd name="connsiteX2833" fmla="*/ 5347435 w 6530564"/>
              <a:gd name="connsiteY2833" fmla="*/ 5629544 h 6858000"/>
              <a:gd name="connsiteX2834" fmla="*/ 5192251 w 6530564"/>
              <a:gd name="connsiteY2834" fmla="*/ 5726192 h 6858000"/>
              <a:gd name="connsiteX2835" fmla="*/ 5029405 w 6530564"/>
              <a:gd name="connsiteY2835" fmla="*/ 5809826 h 6858000"/>
              <a:gd name="connsiteX2836" fmla="*/ 5011718 w 6530564"/>
              <a:gd name="connsiteY2836" fmla="*/ 5818489 h 6858000"/>
              <a:gd name="connsiteX2837" fmla="*/ 4685383 w 6530564"/>
              <a:gd name="connsiteY2837" fmla="*/ 5937051 h 6858000"/>
              <a:gd name="connsiteX2838" fmla="*/ 4514510 w 6530564"/>
              <a:gd name="connsiteY2838" fmla="*/ 5980274 h 6858000"/>
              <a:gd name="connsiteX2839" fmla="*/ 4434660 w 6530564"/>
              <a:gd name="connsiteY2839" fmla="*/ 5991919 h 6858000"/>
              <a:gd name="connsiteX2840" fmla="*/ 4450453 w 6530564"/>
              <a:gd name="connsiteY2840" fmla="*/ 5989074 h 6858000"/>
              <a:gd name="connsiteX2841" fmla="*/ 4493869 w 6530564"/>
              <a:gd name="connsiteY2841" fmla="*/ 5977967 h 6858000"/>
              <a:gd name="connsiteX2842" fmla="*/ 4498541 w 6530564"/>
              <a:gd name="connsiteY2842" fmla="*/ 5976969 h 6858000"/>
              <a:gd name="connsiteX2843" fmla="*/ 4637673 w 6530564"/>
              <a:gd name="connsiteY2843" fmla="*/ 5942359 h 6858000"/>
              <a:gd name="connsiteX2844" fmla="*/ 4642343 w 6530564"/>
              <a:gd name="connsiteY2844" fmla="*/ 5941362 h 6858000"/>
              <a:gd name="connsiteX2845" fmla="*/ 4646017 w 6530564"/>
              <a:gd name="connsiteY2845" fmla="*/ 5935692 h 6858000"/>
              <a:gd name="connsiteX2846" fmla="*/ 4636675 w 6530564"/>
              <a:gd name="connsiteY2846" fmla="*/ 5937688 h 6858000"/>
              <a:gd name="connsiteX2847" fmla="*/ 4637673 w 6530564"/>
              <a:gd name="connsiteY2847" fmla="*/ 5942359 h 6858000"/>
              <a:gd name="connsiteX2848" fmla="*/ 4497543 w 6530564"/>
              <a:gd name="connsiteY2848" fmla="*/ 5972298 h 6858000"/>
              <a:gd name="connsiteX2849" fmla="*/ 4490875 w 6530564"/>
              <a:gd name="connsiteY2849" fmla="*/ 5963954 h 6858000"/>
              <a:gd name="connsiteX2850" fmla="*/ 4486203 w 6530564"/>
              <a:gd name="connsiteY2850" fmla="*/ 5964951 h 6858000"/>
              <a:gd name="connsiteX2851" fmla="*/ 4487203 w 6530564"/>
              <a:gd name="connsiteY2851" fmla="*/ 5969623 h 6858000"/>
              <a:gd name="connsiteX2852" fmla="*/ 4389111 w 6530564"/>
              <a:gd name="connsiteY2852" fmla="*/ 5990578 h 6858000"/>
              <a:gd name="connsiteX2853" fmla="*/ 4390107 w 6530564"/>
              <a:gd name="connsiteY2853" fmla="*/ 5995251 h 6858000"/>
              <a:gd name="connsiteX2854" fmla="*/ 4370427 w 6530564"/>
              <a:gd name="connsiteY2854" fmla="*/ 5994571 h 6858000"/>
              <a:gd name="connsiteX2855" fmla="*/ 4361085 w 6530564"/>
              <a:gd name="connsiteY2855" fmla="*/ 5996567 h 6858000"/>
              <a:gd name="connsiteX2856" fmla="*/ 4361763 w 6530564"/>
              <a:gd name="connsiteY2856" fmla="*/ 5976885 h 6858000"/>
              <a:gd name="connsiteX2857" fmla="*/ 4380447 w 6530564"/>
              <a:gd name="connsiteY2857" fmla="*/ 5972893 h 6858000"/>
              <a:gd name="connsiteX2858" fmla="*/ 4408475 w 6530564"/>
              <a:gd name="connsiteY2858" fmla="*/ 5966906 h 6858000"/>
              <a:gd name="connsiteX2859" fmla="*/ 4413145 w 6530564"/>
              <a:gd name="connsiteY2859" fmla="*/ 5965908 h 6858000"/>
              <a:gd name="connsiteX2860" fmla="*/ 4417816 w 6530564"/>
              <a:gd name="connsiteY2860" fmla="*/ 5964910 h 6858000"/>
              <a:gd name="connsiteX2861" fmla="*/ 4427159 w 6530564"/>
              <a:gd name="connsiteY2861" fmla="*/ 5962914 h 6858000"/>
              <a:gd name="connsiteX2862" fmla="*/ 4431829 w 6530564"/>
              <a:gd name="connsiteY2862" fmla="*/ 5961917 h 6858000"/>
              <a:gd name="connsiteX2863" fmla="*/ 4426161 w 6530564"/>
              <a:gd name="connsiteY2863" fmla="*/ 5958243 h 6858000"/>
              <a:gd name="connsiteX2864" fmla="*/ 4416819 w 6530564"/>
              <a:gd name="connsiteY2864" fmla="*/ 5960239 h 6858000"/>
              <a:gd name="connsiteX2865" fmla="*/ 4412147 w 6530564"/>
              <a:gd name="connsiteY2865" fmla="*/ 5961238 h 6858000"/>
              <a:gd name="connsiteX2866" fmla="*/ 4411149 w 6530564"/>
              <a:gd name="connsiteY2866" fmla="*/ 5956566 h 6858000"/>
              <a:gd name="connsiteX2867" fmla="*/ 4406479 w 6530564"/>
              <a:gd name="connsiteY2867" fmla="*/ 5957564 h 6858000"/>
              <a:gd name="connsiteX2868" fmla="*/ 4401807 w 6530564"/>
              <a:gd name="connsiteY2868" fmla="*/ 5958561 h 6858000"/>
              <a:gd name="connsiteX2869" fmla="*/ 4402805 w 6530564"/>
              <a:gd name="connsiteY2869" fmla="*/ 5963232 h 6858000"/>
              <a:gd name="connsiteX2870" fmla="*/ 4379449 w 6530564"/>
              <a:gd name="connsiteY2870" fmla="*/ 5968223 h 6858000"/>
              <a:gd name="connsiteX2871" fmla="*/ 4360765 w 6530564"/>
              <a:gd name="connsiteY2871" fmla="*/ 5972214 h 6858000"/>
              <a:gd name="connsiteX2872" fmla="*/ 4332741 w 6530564"/>
              <a:gd name="connsiteY2872" fmla="*/ 5978202 h 6858000"/>
              <a:gd name="connsiteX2873" fmla="*/ 4328067 w 6530564"/>
              <a:gd name="connsiteY2873" fmla="*/ 5979200 h 6858000"/>
              <a:gd name="connsiteX2874" fmla="*/ 4333738 w 6530564"/>
              <a:gd name="connsiteY2874" fmla="*/ 5982874 h 6858000"/>
              <a:gd name="connsiteX2875" fmla="*/ 4352421 w 6530564"/>
              <a:gd name="connsiteY2875" fmla="*/ 5978882 h 6858000"/>
              <a:gd name="connsiteX2876" fmla="*/ 4347071 w 6530564"/>
              <a:gd name="connsiteY2876" fmla="*/ 5999562 h 6858000"/>
              <a:gd name="connsiteX2877" fmla="*/ 4337729 w 6530564"/>
              <a:gd name="connsiteY2877" fmla="*/ 6001556 h 6858000"/>
              <a:gd name="connsiteX2878" fmla="*/ 4333057 w 6530564"/>
              <a:gd name="connsiteY2878" fmla="*/ 6002555 h 6858000"/>
              <a:gd name="connsiteX2879" fmla="*/ 4336731 w 6530564"/>
              <a:gd name="connsiteY2879" fmla="*/ 5996886 h 6858000"/>
              <a:gd name="connsiteX2880" fmla="*/ 4331061 w 6530564"/>
              <a:gd name="connsiteY2880" fmla="*/ 5993214 h 6858000"/>
              <a:gd name="connsiteX2881" fmla="*/ 4322719 w 6530564"/>
              <a:gd name="connsiteY2881" fmla="*/ 5999880 h 6858000"/>
              <a:gd name="connsiteX2882" fmla="*/ 4318046 w 6530564"/>
              <a:gd name="connsiteY2882" fmla="*/ 6000879 h 6858000"/>
              <a:gd name="connsiteX2883" fmla="*/ 4298365 w 6530564"/>
              <a:gd name="connsiteY2883" fmla="*/ 6000199 h 6858000"/>
              <a:gd name="connsiteX2884" fmla="*/ 4287027 w 6530564"/>
              <a:gd name="connsiteY2884" fmla="*/ 5992853 h 6858000"/>
              <a:gd name="connsiteX2885" fmla="*/ 4253332 w 6530564"/>
              <a:gd name="connsiteY2885" fmla="*/ 5995167 h 6858000"/>
              <a:gd name="connsiteX2886" fmla="*/ 4250657 w 6530564"/>
              <a:gd name="connsiteY2886" fmla="*/ 6005506 h 6858000"/>
              <a:gd name="connsiteX2887" fmla="*/ 4243989 w 6530564"/>
              <a:gd name="connsiteY2887" fmla="*/ 5997163 h 6858000"/>
              <a:gd name="connsiteX2888" fmla="*/ 4216961 w 6530564"/>
              <a:gd name="connsiteY2888" fmla="*/ 6007822 h 6858000"/>
              <a:gd name="connsiteX2889" fmla="*/ 4183267 w 6530564"/>
              <a:gd name="connsiteY2889" fmla="*/ 6010136 h 6858000"/>
              <a:gd name="connsiteX2890" fmla="*/ 4178595 w 6530564"/>
              <a:gd name="connsiteY2890" fmla="*/ 6011135 h 6858000"/>
              <a:gd name="connsiteX2891" fmla="*/ 4162587 w 6530564"/>
              <a:gd name="connsiteY2891" fmla="*/ 6004786 h 6858000"/>
              <a:gd name="connsiteX2892" fmla="*/ 4126216 w 6530564"/>
              <a:gd name="connsiteY2892" fmla="*/ 6017440 h 6858000"/>
              <a:gd name="connsiteX2893" fmla="*/ 4086851 w 6530564"/>
              <a:gd name="connsiteY2893" fmla="*/ 6016083 h 6858000"/>
              <a:gd name="connsiteX2894" fmla="*/ 4067171 w 6530564"/>
              <a:gd name="connsiteY2894" fmla="*/ 6015403 h 6858000"/>
              <a:gd name="connsiteX2895" fmla="*/ 4040821 w 6530564"/>
              <a:gd name="connsiteY2895" fmla="*/ 6006380 h 6858000"/>
              <a:gd name="connsiteX2896" fmla="*/ 3944405 w 6530564"/>
              <a:gd name="connsiteY2896" fmla="*/ 6012325 h 6858000"/>
              <a:gd name="connsiteX2897" fmla="*/ 3925723 w 6530564"/>
              <a:gd name="connsiteY2897" fmla="*/ 6016317 h 6858000"/>
              <a:gd name="connsiteX2898" fmla="*/ 3911709 w 6530564"/>
              <a:gd name="connsiteY2898" fmla="*/ 6019311 h 6858000"/>
              <a:gd name="connsiteX2899" fmla="*/ 3784954 w 6530564"/>
              <a:gd name="connsiteY2899" fmla="*/ 5997550 h 6858000"/>
              <a:gd name="connsiteX2900" fmla="*/ 3731576 w 6530564"/>
              <a:gd name="connsiteY2900" fmla="*/ 5999185 h 6858000"/>
              <a:gd name="connsiteX2901" fmla="*/ 3701555 w 6530564"/>
              <a:gd name="connsiteY2901" fmla="*/ 5995831 h 6858000"/>
              <a:gd name="connsiteX2902" fmla="*/ 3706225 w 6530564"/>
              <a:gd name="connsiteY2902" fmla="*/ 5994832 h 6858000"/>
              <a:gd name="connsiteX2903" fmla="*/ 3591805 w 6530564"/>
              <a:gd name="connsiteY2903" fmla="*/ 5985087 h 6858000"/>
              <a:gd name="connsiteX2904" fmla="*/ 3573122 w 6530564"/>
              <a:gd name="connsiteY2904" fmla="*/ 5989079 h 6858000"/>
              <a:gd name="connsiteX2905" fmla="*/ 3537430 w 6530564"/>
              <a:gd name="connsiteY2905" fmla="*/ 5982053 h 6858000"/>
              <a:gd name="connsiteX2906" fmla="*/ 3541104 w 6530564"/>
              <a:gd name="connsiteY2906" fmla="*/ 5976384 h 6858000"/>
              <a:gd name="connsiteX2907" fmla="*/ 3465050 w 6530564"/>
              <a:gd name="connsiteY2907" fmla="*/ 5963328 h 6858000"/>
              <a:gd name="connsiteX2908" fmla="*/ 3430358 w 6530564"/>
              <a:gd name="connsiteY2908" fmla="*/ 5960971 h 6858000"/>
              <a:gd name="connsiteX2909" fmla="*/ 3439699 w 6530564"/>
              <a:gd name="connsiteY2909" fmla="*/ 5958974 h 6858000"/>
              <a:gd name="connsiteX2910" fmla="*/ 3363648 w 6530564"/>
              <a:gd name="connsiteY2910" fmla="*/ 5945918 h 6858000"/>
              <a:gd name="connsiteX2911" fmla="*/ 3280927 w 6530564"/>
              <a:gd name="connsiteY2911" fmla="*/ 5924516 h 6858000"/>
              <a:gd name="connsiteX2912" fmla="*/ 3275257 w 6530564"/>
              <a:gd name="connsiteY2912" fmla="*/ 5920844 h 6858000"/>
              <a:gd name="connsiteX2913" fmla="*/ 3261244 w 6530564"/>
              <a:gd name="connsiteY2913" fmla="*/ 5923839 h 6858000"/>
              <a:gd name="connsiteX2914" fmla="*/ 3215214 w 6530564"/>
              <a:gd name="connsiteY2914" fmla="*/ 5914135 h 6858000"/>
              <a:gd name="connsiteX2915" fmla="*/ 3201879 w 6530564"/>
              <a:gd name="connsiteY2915" fmla="*/ 5897447 h 6858000"/>
              <a:gd name="connsiteX2916" fmla="*/ 3172855 w 6530564"/>
              <a:gd name="connsiteY2916" fmla="*/ 5898763 h 6858000"/>
              <a:gd name="connsiteX2917" fmla="*/ 3171857 w 6530564"/>
              <a:gd name="connsiteY2917" fmla="*/ 5894093 h 6858000"/>
              <a:gd name="connsiteX2918" fmla="*/ 3099478 w 6530564"/>
              <a:gd name="connsiteY2918" fmla="*/ 5875367 h 6858000"/>
              <a:gd name="connsiteX2919" fmla="*/ 3119159 w 6530564"/>
              <a:gd name="connsiteY2919" fmla="*/ 5876046 h 6858000"/>
              <a:gd name="connsiteX2920" fmla="*/ 3059795 w 6530564"/>
              <a:gd name="connsiteY2920" fmla="*/ 5849654 h 6858000"/>
              <a:gd name="connsiteX2921" fmla="*/ 3056122 w 6530564"/>
              <a:gd name="connsiteY2921" fmla="*/ 5855324 h 6858000"/>
              <a:gd name="connsiteX2922" fmla="*/ 3039115 w 6530564"/>
              <a:gd name="connsiteY2922" fmla="*/ 5844305 h 6858000"/>
              <a:gd name="connsiteX2923" fmla="*/ 3003423 w 6530564"/>
              <a:gd name="connsiteY2923" fmla="*/ 5837278 h 6858000"/>
              <a:gd name="connsiteX2924" fmla="*/ 2986416 w 6530564"/>
              <a:gd name="connsiteY2924" fmla="*/ 5826258 h 6858000"/>
              <a:gd name="connsiteX2925" fmla="*/ 2981746 w 6530564"/>
              <a:gd name="connsiteY2925" fmla="*/ 5827257 h 6858000"/>
              <a:gd name="connsiteX2926" fmla="*/ 2993083 w 6530564"/>
              <a:gd name="connsiteY2926" fmla="*/ 5834603 h 6858000"/>
              <a:gd name="connsiteX2927" fmla="*/ 2953401 w 6530564"/>
              <a:gd name="connsiteY2927" fmla="*/ 5808891 h 6858000"/>
              <a:gd name="connsiteX2928" fmla="*/ 2937391 w 6530564"/>
              <a:gd name="connsiteY2928" fmla="*/ 5802543 h 6858000"/>
              <a:gd name="connsiteX2929" fmla="*/ 2940386 w 6530564"/>
              <a:gd name="connsiteY2929" fmla="*/ 5816557 h 6858000"/>
              <a:gd name="connsiteX2930" fmla="*/ 2935713 w 6530564"/>
              <a:gd name="connsiteY2930" fmla="*/ 5817555 h 6858000"/>
              <a:gd name="connsiteX2931" fmla="*/ 2902699 w 6530564"/>
              <a:gd name="connsiteY2931" fmla="*/ 5800186 h 6858000"/>
              <a:gd name="connsiteX2932" fmla="*/ 2901701 w 6530564"/>
              <a:gd name="connsiteY2932" fmla="*/ 5795516 h 6858000"/>
              <a:gd name="connsiteX2933" fmla="*/ 2912041 w 6530564"/>
              <a:gd name="connsiteY2933" fmla="*/ 5798190 h 6858000"/>
              <a:gd name="connsiteX2934" fmla="*/ 2917710 w 6530564"/>
              <a:gd name="connsiteY2934" fmla="*/ 5801864 h 6858000"/>
              <a:gd name="connsiteX2935" fmla="*/ 2916711 w 6530564"/>
              <a:gd name="connsiteY2935" fmla="*/ 5797193 h 6858000"/>
              <a:gd name="connsiteX2936" fmla="*/ 2900702 w 6530564"/>
              <a:gd name="connsiteY2936" fmla="*/ 5790845 h 6858000"/>
              <a:gd name="connsiteX2937" fmla="*/ 2878026 w 6530564"/>
              <a:gd name="connsiteY2937" fmla="*/ 5776152 h 6858000"/>
              <a:gd name="connsiteX2938" fmla="*/ 2830996 w 6530564"/>
              <a:gd name="connsiteY2938" fmla="*/ 5761779 h 6858000"/>
              <a:gd name="connsiteX2939" fmla="*/ 2802653 w 6530564"/>
              <a:gd name="connsiteY2939" fmla="*/ 5743413 h 6858000"/>
              <a:gd name="connsiteX2940" fmla="*/ 2796984 w 6530564"/>
              <a:gd name="connsiteY2940" fmla="*/ 5739740 h 6858000"/>
              <a:gd name="connsiteX2941" fmla="*/ 2792311 w 6530564"/>
              <a:gd name="connsiteY2941" fmla="*/ 5740738 h 6858000"/>
              <a:gd name="connsiteX2942" fmla="*/ 2707279 w 6530564"/>
              <a:gd name="connsiteY2942" fmla="*/ 5685642 h 6858000"/>
              <a:gd name="connsiteX2943" fmla="*/ 2676938 w 6530564"/>
              <a:gd name="connsiteY2943" fmla="*/ 5657935 h 6858000"/>
              <a:gd name="connsiteX2944" fmla="*/ 2520882 w 6530564"/>
              <a:gd name="connsiteY2944" fmla="*/ 5544750 h 6858000"/>
              <a:gd name="connsiteX2945" fmla="*/ 2389498 w 6530564"/>
              <a:gd name="connsiteY2945" fmla="*/ 5455598 h 6858000"/>
              <a:gd name="connsiteX2946" fmla="*/ 2399159 w 6530564"/>
              <a:gd name="connsiteY2946" fmla="*/ 5477954 h 6858000"/>
              <a:gd name="connsiteX2947" fmla="*/ 2364147 w 6530564"/>
              <a:gd name="connsiteY2947" fmla="*/ 5451245 h 6858000"/>
              <a:gd name="connsiteX2948" fmla="*/ 2347139 w 6530564"/>
              <a:gd name="connsiteY2948" fmla="*/ 5440226 h 6858000"/>
              <a:gd name="connsiteX2949" fmla="*/ 2345143 w 6530564"/>
              <a:gd name="connsiteY2949" fmla="*/ 5430885 h 6858000"/>
              <a:gd name="connsiteX2950" fmla="*/ 2340472 w 6530564"/>
              <a:gd name="connsiteY2950" fmla="*/ 5431882 h 6858000"/>
              <a:gd name="connsiteX2951" fmla="*/ 2322149 w 6530564"/>
              <a:gd name="connsiteY2951" fmla="*/ 5391840 h 6858000"/>
              <a:gd name="connsiteX2952" fmla="*/ 2315481 w 6530564"/>
              <a:gd name="connsiteY2952" fmla="*/ 5383495 h 6858000"/>
              <a:gd name="connsiteX2953" fmla="*/ 2309813 w 6530564"/>
              <a:gd name="connsiteY2953" fmla="*/ 5379823 h 6858000"/>
              <a:gd name="connsiteX2954" fmla="*/ 2304144 w 6530564"/>
              <a:gd name="connsiteY2954" fmla="*/ 5376149 h 6858000"/>
              <a:gd name="connsiteX2955" fmla="*/ 2280470 w 6530564"/>
              <a:gd name="connsiteY2955" fmla="*/ 5356786 h 6858000"/>
              <a:gd name="connsiteX2956" fmla="*/ 2274800 w 6530564"/>
              <a:gd name="connsiteY2956" fmla="*/ 5353113 h 6858000"/>
              <a:gd name="connsiteX2957" fmla="*/ 2275799 w 6530564"/>
              <a:gd name="connsiteY2957" fmla="*/ 5357784 h 6858000"/>
              <a:gd name="connsiteX2958" fmla="*/ 2282467 w 6530564"/>
              <a:gd name="connsiteY2958" fmla="*/ 5366128 h 6858000"/>
              <a:gd name="connsiteX2959" fmla="*/ 2258113 w 6530564"/>
              <a:gd name="connsiteY2959" fmla="*/ 5366446 h 6858000"/>
              <a:gd name="connsiteX2960" fmla="*/ 2257114 w 6530564"/>
              <a:gd name="connsiteY2960" fmla="*/ 5361775 h 6858000"/>
              <a:gd name="connsiteX2961" fmla="*/ 2230129 w 6530564"/>
              <a:gd name="connsiteY2961" fmla="*/ 5304046 h 6858000"/>
              <a:gd name="connsiteX2962" fmla="*/ 2224460 w 6530564"/>
              <a:gd name="connsiteY2962" fmla="*/ 5300373 h 6858000"/>
              <a:gd name="connsiteX2963" fmla="*/ 2223461 w 6530564"/>
              <a:gd name="connsiteY2963" fmla="*/ 5295703 h 6858000"/>
              <a:gd name="connsiteX2964" fmla="*/ 2184458 w 6530564"/>
              <a:gd name="connsiteY2964" fmla="*/ 5250308 h 6858000"/>
              <a:gd name="connsiteX2965" fmla="*/ 2156113 w 6530564"/>
              <a:gd name="connsiteY2965" fmla="*/ 5231944 h 6858000"/>
              <a:gd name="connsiteX2966" fmla="*/ 2155116 w 6530564"/>
              <a:gd name="connsiteY2966" fmla="*/ 5227273 h 6858000"/>
              <a:gd name="connsiteX2967" fmla="*/ 2150443 w 6530564"/>
              <a:gd name="connsiteY2967" fmla="*/ 5228270 h 6858000"/>
              <a:gd name="connsiteX2968" fmla="*/ 2139106 w 6530564"/>
              <a:gd name="connsiteY2968" fmla="*/ 5220925 h 6858000"/>
              <a:gd name="connsiteX2969" fmla="*/ 2140105 w 6530564"/>
              <a:gd name="connsiteY2969" fmla="*/ 5225596 h 6858000"/>
              <a:gd name="connsiteX2970" fmla="*/ 2146772 w 6530564"/>
              <a:gd name="connsiteY2970" fmla="*/ 5233939 h 6858000"/>
              <a:gd name="connsiteX2971" fmla="*/ 2129765 w 6530564"/>
              <a:gd name="connsiteY2971" fmla="*/ 5222920 h 6858000"/>
              <a:gd name="connsiteX2972" fmla="*/ 2109085 w 6530564"/>
              <a:gd name="connsiteY2972" fmla="*/ 5217571 h 6858000"/>
              <a:gd name="connsiteX2973" fmla="*/ 2093754 w 6530564"/>
              <a:gd name="connsiteY2973" fmla="*/ 5191540 h 6858000"/>
              <a:gd name="connsiteX2974" fmla="*/ 2098425 w 6530564"/>
              <a:gd name="connsiteY2974" fmla="*/ 5190542 h 6858000"/>
              <a:gd name="connsiteX2975" fmla="*/ 2097428 w 6530564"/>
              <a:gd name="connsiteY2975" fmla="*/ 5185872 h 6858000"/>
              <a:gd name="connsiteX2976" fmla="*/ 2091758 w 6530564"/>
              <a:gd name="connsiteY2976" fmla="*/ 5182198 h 6858000"/>
              <a:gd name="connsiteX2977" fmla="*/ 2084094 w 6530564"/>
              <a:gd name="connsiteY2977" fmla="*/ 5169184 h 6858000"/>
              <a:gd name="connsiteX2978" fmla="*/ 2078424 w 6530564"/>
              <a:gd name="connsiteY2978" fmla="*/ 5165510 h 6858000"/>
              <a:gd name="connsiteX2979" fmla="*/ 2074434 w 6530564"/>
              <a:gd name="connsiteY2979" fmla="*/ 5146826 h 6858000"/>
              <a:gd name="connsiteX2980" fmla="*/ 2093436 w 6530564"/>
              <a:gd name="connsiteY2980" fmla="*/ 5167188 h 6858000"/>
              <a:gd name="connsiteX2981" fmla="*/ 2090442 w 6530564"/>
              <a:gd name="connsiteY2981" fmla="*/ 5153174 h 6858000"/>
              <a:gd name="connsiteX2982" fmla="*/ 2078108 w 6530564"/>
              <a:gd name="connsiteY2982" fmla="*/ 5141157 h 6858000"/>
              <a:gd name="connsiteX2983" fmla="*/ 2013114 w 6530564"/>
              <a:gd name="connsiteY2983" fmla="*/ 5042706 h 6858000"/>
              <a:gd name="connsiteX2984" fmla="*/ 1971436 w 6530564"/>
              <a:gd name="connsiteY2984" fmla="*/ 5007652 h 6858000"/>
              <a:gd name="connsiteX2985" fmla="*/ 1975108 w 6530564"/>
              <a:gd name="connsiteY2985" fmla="*/ 5001984 h 6858000"/>
              <a:gd name="connsiteX2986" fmla="*/ 1968442 w 6530564"/>
              <a:gd name="connsiteY2986" fmla="*/ 4993638 h 6858000"/>
              <a:gd name="connsiteX2987" fmla="*/ 1962774 w 6530564"/>
              <a:gd name="connsiteY2987" fmla="*/ 4989966 h 6858000"/>
              <a:gd name="connsiteX2988" fmla="*/ 1963771 w 6530564"/>
              <a:gd name="connsiteY2988" fmla="*/ 4994637 h 6858000"/>
              <a:gd name="connsiteX2989" fmla="*/ 1951435 w 6530564"/>
              <a:gd name="connsiteY2989" fmla="*/ 4982619 h 6858000"/>
              <a:gd name="connsiteX2990" fmla="*/ 1955107 w 6530564"/>
              <a:gd name="connsiteY2990" fmla="*/ 4976952 h 6858000"/>
              <a:gd name="connsiteX2991" fmla="*/ 1923769 w 6530564"/>
              <a:gd name="connsiteY2991" fmla="*/ 4944572 h 6858000"/>
              <a:gd name="connsiteX2992" fmla="*/ 1922772 w 6530564"/>
              <a:gd name="connsiteY2992" fmla="*/ 4939901 h 6858000"/>
              <a:gd name="connsiteX2993" fmla="*/ 1918100 w 6530564"/>
              <a:gd name="connsiteY2993" fmla="*/ 4940898 h 6858000"/>
              <a:gd name="connsiteX2994" fmla="*/ 1913429 w 6530564"/>
              <a:gd name="connsiteY2994" fmla="*/ 4941897 h 6858000"/>
              <a:gd name="connsiteX2995" fmla="*/ 1912432 w 6530564"/>
              <a:gd name="connsiteY2995" fmla="*/ 4937227 h 6858000"/>
              <a:gd name="connsiteX2996" fmla="*/ 1902092 w 6530564"/>
              <a:gd name="connsiteY2996" fmla="*/ 4934551 h 6858000"/>
              <a:gd name="connsiteX2997" fmla="*/ 1904088 w 6530564"/>
              <a:gd name="connsiteY2997" fmla="*/ 4943893 h 6858000"/>
              <a:gd name="connsiteX2998" fmla="*/ 1898418 w 6530564"/>
              <a:gd name="connsiteY2998" fmla="*/ 4940221 h 6858000"/>
              <a:gd name="connsiteX2999" fmla="*/ 1873746 w 6530564"/>
              <a:gd name="connsiteY2999" fmla="*/ 4916186 h 6858000"/>
              <a:gd name="connsiteX3000" fmla="*/ 1855423 w 6530564"/>
              <a:gd name="connsiteY3000" fmla="*/ 4876142 h 6858000"/>
              <a:gd name="connsiteX3001" fmla="*/ 1845083 w 6530564"/>
              <a:gd name="connsiteY3001" fmla="*/ 4873468 h 6858000"/>
              <a:gd name="connsiteX3002" fmla="*/ 1840093 w 6530564"/>
              <a:gd name="connsiteY3002" fmla="*/ 4850113 h 6858000"/>
              <a:gd name="connsiteX3003" fmla="*/ 1831749 w 6530564"/>
              <a:gd name="connsiteY3003" fmla="*/ 4856779 h 6858000"/>
              <a:gd name="connsiteX3004" fmla="*/ 1828756 w 6530564"/>
              <a:gd name="connsiteY3004" fmla="*/ 4842767 h 6858000"/>
              <a:gd name="connsiteX3005" fmla="*/ 1767437 w 6530564"/>
              <a:gd name="connsiteY3005" fmla="*/ 4738646 h 6858000"/>
              <a:gd name="connsiteX3006" fmla="*/ 1759453 w 6530564"/>
              <a:gd name="connsiteY3006" fmla="*/ 4701279 h 6858000"/>
              <a:gd name="connsiteX3007" fmla="*/ 1748116 w 6530564"/>
              <a:gd name="connsiteY3007" fmla="*/ 4693932 h 6858000"/>
              <a:gd name="connsiteX3008" fmla="*/ 1730789 w 6530564"/>
              <a:gd name="connsiteY3008" fmla="*/ 4658560 h 6858000"/>
              <a:gd name="connsiteX3009" fmla="*/ 1720450 w 6530564"/>
              <a:gd name="connsiteY3009" fmla="*/ 4655885 h 6858000"/>
              <a:gd name="connsiteX3010" fmla="*/ 1724123 w 6530564"/>
              <a:gd name="connsiteY3010" fmla="*/ 4650215 h 6858000"/>
              <a:gd name="connsiteX3011" fmla="*/ 1694462 w 6530564"/>
              <a:gd name="connsiteY3011" fmla="*/ 4602826 h 6858000"/>
              <a:gd name="connsiteX3012" fmla="*/ 1686478 w 6530564"/>
              <a:gd name="connsiteY3012" fmla="*/ 4565458 h 6858000"/>
              <a:gd name="connsiteX3013" fmla="*/ 1667476 w 6530564"/>
              <a:gd name="connsiteY3013" fmla="*/ 4545098 h 6858000"/>
              <a:gd name="connsiteX3014" fmla="*/ 1666159 w 6530564"/>
              <a:gd name="connsiteY3014" fmla="*/ 4516074 h 6858000"/>
              <a:gd name="connsiteX3015" fmla="*/ 1643164 w 6530564"/>
              <a:gd name="connsiteY3015" fmla="*/ 4477028 h 6858000"/>
              <a:gd name="connsiteX3016" fmla="*/ 1647836 w 6530564"/>
              <a:gd name="connsiteY3016" fmla="*/ 4476029 h 6858000"/>
              <a:gd name="connsiteX3017" fmla="*/ 1625519 w 6530564"/>
              <a:gd name="connsiteY3017" fmla="*/ 4417302 h 6858000"/>
              <a:gd name="connsiteX3018" fmla="*/ 1636858 w 6530564"/>
              <a:gd name="connsiteY3018" fmla="*/ 4424649 h 6858000"/>
              <a:gd name="connsiteX3019" fmla="*/ 1643326 w 6530564"/>
              <a:gd name="connsiteY3019" fmla="*/ 4435630 h 6858000"/>
              <a:gd name="connsiteX3020" fmla="*/ 1642725 w 6530564"/>
              <a:gd name="connsiteY3020" fmla="*/ 4443543 h 6858000"/>
              <a:gd name="connsiteX3021" fmla="*/ 1636179 w 6530564"/>
              <a:gd name="connsiteY3021" fmla="*/ 4444330 h 6858000"/>
              <a:gd name="connsiteX3022" fmla="*/ 1649512 w 6530564"/>
              <a:gd name="connsiteY3022" fmla="*/ 4461018 h 6858000"/>
              <a:gd name="connsiteX3023" fmla="*/ 1665839 w 6530564"/>
              <a:gd name="connsiteY3023" fmla="*/ 4491720 h 6858000"/>
              <a:gd name="connsiteX3024" fmla="*/ 1666838 w 6530564"/>
              <a:gd name="connsiteY3024" fmla="*/ 4496392 h 6858000"/>
              <a:gd name="connsiteX3025" fmla="*/ 1667836 w 6530564"/>
              <a:gd name="connsiteY3025" fmla="*/ 4501062 h 6858000"/>
              <a:gd name="connsiteX3026" fmla="*/ 1672506 w 6530564"/>
              <a:gd name="connsiteY3026" fmla="*/ 4500064 h 6858000"/>
              <a:gd name="connsiteX3027" fmla="*/ 1672188 w 6530564"/>
              <a:gd name="connsiteY3027" fmla="*/ 4475711 h 6858000"/>
              <a:gd name="connsiteX3028" fmla="*/ 1666519 w 6530564"/>
              <a:gd name="connsiteY3028" fmla="*/ 4472037 h 6858000"/>
              <a:gd name="connsiteX3029" fmla="*/ 1665521 w 6530564"/>
              <a:gd name="connsiteY3029" fmla="*/ 4467367 h 6858000"/>
              <a:gd name="connsiteX3030" fmla="*/ 1659852 w 6530564"/>
              <a:gd name="connsiteY3030" fmla="*/ 4463695 h 6858000"/>
              <a:gd name="connsiteX3031" fmla="*/ 1652866 w 6530564"/>
              <a:gd name="connsiteY3031" fmla="*/ 4430997 h 6858000"/>
              <a:gd name="connsiteX3032" fmla="*/ 1664883 w 6530564"/>
              <a:gd name="connsiteY3032" fmla="*/ 4418662 h 6858000"/>
              <a:gd name="connsiteX3033" fmla="*/ 1653906 w 6530564"/>
              <a:gd name="connsiteY3033" fmla="*/ 4367280 h 6858000"/>
              <a:gd name="connsiteX3034" fmla="*/ 1626006 w 6530564"/>
              <a:gd name="connsiteY3034" fmla="*/ 4168104 h 6858000"/>
              <a:gd name="connsiteX3035" fmla="*/ 1620338 w 6530564"/>
              <a:gd name="connsiteY3035" fmla="*/ 4164430 h 6858000"/>
              <a:gd name="connsiteX3036" fmla="*/ 1616665 w 6530564"/>
              <a:gd name="connsiteY3036" fmla="*/ 4170100 h 6858000"/>
              <a:gd name="connsiteX3037" fmla="*/ 1646242 w 6530564"/>
              <a:gd name="connsiteY3037" fmla="*/ 4354265 h 6858000"/>
              <a:gd name="connsiteX3038" fmla="*/ 1641572 w 6530564"/>
              <a:gd name="connsiteY3038" fmla="*/ 4355264 h 6858000"/>
              <a:gd name="connsiteX3039" fmla="*/ 1634904 w 6530564"/>
              <a:gd name="connsiteY3039" fmla="*/ 4346919 h 6858000"/>
              <a:gd name="connsiteX3040" fmla="*/ 1642569 w 6530564"/>
              <a:gd name="connsiteY3040" fmla="*/ 4359934 h 6858000"/>
              <a:gd name="connsiteX3041" fmla="*/ 1638895 w 6530564"/>
              <a:gd name="connsiteY3041" fmla="*/ 4365602 h 6858000"/>
              <a:gd name="connsiteX3042" fmla="*/ 1623247 w 6530564"/>
              <a:gd name="connsiteY3042" fmla="*/ 4315219 h 6858000"/>
              <a:gd name="connsiteX3043" fmla="*/ 1621571 w 6530564"/>
              <a:gd name="connsiteY3043" fmla="*/ 4330231 h 6858000"/>
              <a:gd name="connsiteX3044" fmla="*/ 1605241 w 6530564"/>
              <a:gd name="connsiteY3044" fmla="*/ 4299529 h 6858000"/>
              <a:gd name="connsiteX3045" fmla="*/ 1595263 w 6530564"/>
              <a:gd name="connsiteY3045" fmla="*/ 4252820 h 6858000"/>
              <a:gd name="connsiteX3046" fmla="*/ 1584604 w 6530564"/>
              <a:gd name="connsiteY3046" fmla="*/ 4225791 h 6858000"/>
              <a:gd name="connsiteX3047" fmla="*/ 1560653 w 6530564"/>
              <a:gd name="connsiteY3047" fmla="*/ 4113688 h 6858000"/>
              <a:gd name="connsiteX3048" fmla="*/ 1557980 w 6530564"/>
              <a:gd name="connsiteY3048" fmla="*/ 4124028 h 6858000"/>
              <a:gd name="connsiteX3049" fmla="*/ 1556981 w 6530564"/>
              <a:gd name="connsiteY3049" fmla="*/ 4119356 h 6858000"/>
              <a:gd name="connsiteX3050" fmla="*/ 1555983 w 6530564"/>
              <a:gd name="connsiteY3050" fmla="*/ 4114685 h 6858000"/>
              <a:gd name="connsiteX3051" fmla="*/ 1553987 w 6530564"/>
              <a:gd name="connsiteY3051" fmla="*/ 4105344 h 6858000"/>
              <a:gd name="connsiteX3052" fmla="*/ 1535347 w 6530564"/>
              <a:gd name="connsiteY3052" fmla="*/ 4040947 h 6858000"/>
              <a:gd name="connsiteX3053" fmla="*/ 1533348 w 6530564"/>
              <a:gd name="connsiteY3053" fmla="*/ 4031606 h 6858000"/>
              <a:gd name="connsiteX3054" fmla="*/ 1530356 w 6530564"/>
              <a:gd name="connsiteY3054" fmla="*/ 4017592 h 6858000"/>
              <a:gd name="connsiteX3055" fmla="*/ 1524368 w 6530564"/>
              <a:gd name="connsiteY3055" fmla="*/ 3989566 h 6858000"/>
              <a:gd name="connsiteX3056" fmla="*/ 1523369 w 6530564"/>
              <a:gd name="connsiteY3056" fmla="*/ 3984895 h 6858000"/>
              <a:gd name="connsiteX3057" fmla="*/ 1522372 w 6530564"/>
              <a:gd name="connsiteY3057" fmla="*/ 3980224 h 6858000"/>
              <a:gd name="connsiteX3058" fmla="*/ 1517699 w 6530564"/>
              <a:gd name="connsiteY3058" fmla="*/ 3981221 h 6858000"/>
              <a:gd name="connsiteX3059" fmla="*/ 1526045 w 6530564"/>
              <a:gd name="connsiteY3059" fmla="*/ 3974555 h 6858000"/>
              <a:gd name="connsiteX3060" fmla="*/ 1518380 w 6530564"/>
              <a:gd name="connsiteY3060" fmla="*/ 3961540 h 6858000"/>
              <a:gd name="connsiteX3061" fmla="*/ 1514707 w 6530564"/>
              <a:gd name="connsiteY3061" fmla="*/ 3967209 h 6858000"/>
              <a:gd name="connsiteX3062" fmla="*/ 1512710 w 6530564"/>
              <a:gd name="connsiteY3062" fmla="*/ 3957867 h 6858000"/>
              <a:gd name="connsiteX3063" fmla="*/ 1504408 w 6530564"/>
              <a:gd name="connsiteY3063" fmla="*/ 3896146 h 6858000"/>
              <a:gd name="connsiteX3064" fmla="*/ 1505087 w 6530564"/>
              <a:gd name="connsiteY3064" fmla="*/ 3876464 h 6858000"/>
              <a:gd name="connsiteX3065" fmla="*/ 1503093 w 6530564"/>
              <a:gd name="connsiteY3065" fmla="*/ 3867123 h 6858000"/>
              <a:gd name="connsiteX3066" fmla="*/ 1505767 w 6530564"/>
              <a:gd name="connsiteY3066" fmla="*/ 3856782 h 6858000"/>
              <a:gd name="connsiteX3067" fmla="*/ 1511436 w 6530564"/>
              <a:gd name="connsiteY3067" fmla="*/ 3860456 h 6858000"/>
              <a:gd name="connsiteX3068" fmla="*/ 1517105 w 6530564"/>
              <a:gd name="connsiteY3068" fmla="*/ 3864128 h 6858000"/>
              <a:gd name="connsiteX3069" fmla="*/ 1516108 w 6530564"/>
              <a:gd name="connsiteY3069" fmla="*/ 3859457 h 6858000"/>
              <a:gd name="connsiteX3070" fmla="*/ 1520779 w 6530564"/>
              <a:gd name="connsiteY3070" fmla="*/ 3858458 h 6858000"/>
              <a:gd name="connsiteX3071" fmla="*/ 1514112 w 6530564"/>
              <a:gd name="connsiteY3071" fmla="*/ 3850114 h 6858000"/>
              <a:gd name="connsiteX3072" fmla="*/ 1502774 w 6530564"/>
              <a:gd name="connsiteY3072" fmla="*/ 3842769 h 6858000"/>
              <a:gd name="connsiteX3073" fmla="*/ 1499101 w 6530564"/>
              <a:gd name="connsiteY3073" fmla="*/ 3848438 h 6858000"/>
              <a:gd name="connsiteX3074" fmla="*/ 1491436 w 6530564"/>
              <a:gd name="connsiteY3074" fmla="*/ 3835424 h 6858000"/>
              <a:gd name="connsiteX3075" fmla="*/ 1491118 w 6530564"/>
              <a:gd name="connsiteY3075" fmla="*/ 3811070 h 6858000"/>
              <a:gd name="connsiteX3076" fmla="*/ 1496785 w 6530564"/>
              <a:gd name="connsiteY3076" fmla="*/ 3814743 h 6858000"/>
              <a:gd name="connsiteX3077" fmla="*/ 1495787 w 6530564"/>
              <a:gd name="connsiteY3077" fmla="*/ 3810073 h 6858000"/>
              <a:gd name="connsiteX3078" fmla="*/ 1493791 w 6530564"/>
              <a:gd name="connsiteY3078" fmla="*/ 3800730 h 6858000"/>
              <a:gd name="connsiteX3079" fmla="*/ 1492794 w 6530564"/>
              <a:gd name="connsiteY3079" fmla="*/ 3796059 h 6858000"/>
              <a:gd name="connsiteX3080" fmla="*/ 1491796 w 6530564"/>
              <a:gd name="connsiteY3080" fmla="*/ 3791389 h 6858000"/>
              <a:gd name="connsiteX3081" fmla="*/ 1487804 w 6530564"/>
              <a:gd name="connsiteY3081" fmla="*/ 3772705 h 6858000"/>
              <a:gd name="connsiteX3082" fmla="*/ 1484809 w 6530564"/>
              <a:gd name="connsiteY3082" fmla="*/ 3758693 h 6858000"/>
              <a:gd name="connsiteX3083" fmla="*/ 1486487 w 6530564"/>
              <a:gd name="connsiteY3083" fmla="*/ 3743680 h 6858000"/>
              <a:gd name="connsiteX3084" fmla="*/ 1484853 w 6530564"/>
              <a:gd name="connsiteY3084" fmla="*/ 3690303 h 6858000"/>
              <a:gd name="connsiteX3085" fmla="*/ 1480182 w 6530564"/>
              <a:gd name="connsiteY3085" fmla="*/ 3691301 h 6858000"/>
              <a:gd name="connsiteX3086" fmla="*/ 1478906 w 6530564"/>
              <a:gd name="connsiteY3086" fmla="*/ 3593889 h 6858000"/>
              <a:gd name="connsiteX3087" fmla="*/ 1481582 w 6530564"/>
              <a:gd name="connsiteY3087" fmla="*/ 3583549 h 6858000"/>
              <a:gd name="connsiteX3088" fmla="*/ 1480585 w 6530564"/>
              <a:gd name="connsiteY3088" fmla="*/ 3578879 h 6858000"/>
              <a:gd name="connsiteX3089" fmla="*/ 1476911 w 6530564"/>
              <a:gd name="connsiteY3089" fmla="*/ 3584548 h 6858000"/>
              <a:gd name="connsiteX3090" fmla="*/ 1476591 w 6530564"/>
              <a:gd name="connsiteY3090" fmla="*/ 3560194 h 6858000"/>
              <a:gd name="connsiteX3091" fmla="*/ 1480266 w 6530564"/>
              <a:gd name="connsiteY3091" fmla="*/ 3554525 h 6858000"/>
              <a:gd name="connsiteX3092" fmla="*/ 1474596 w 6530564"/>
              <a:gd name="connsiteY3092" fmla="*/ 3550853 h 6858000"/>
              <a:gd name="connsiteX3093" fmla="*/ 1477271 w 6530564"/>
              <a:gd name="connsiteY3093" fmla="*/ 3540513 h 6858000"/>
              <a:gd name="connsiteX3094" fmla="*/ 1477950 w 6530564"/>
              <a:gd name="connsiteY3094" fmla="*/ 3520831 h 6858000"/>
              <a:gd name="connsiteX3095" fmla="*/ 1476953 w 6530564"/>
              <a:gd name="connsiteY3095" fmla="*/ 3516159 h 6858000"/>
              <a:gd name="connsiteX3096" fmla="*/ 1473959 w 6530564"/>
              <a:gd name="connsiteY3096" fmla="*/ 3502146 h 6858000"/>
              <a:gd name="connsiteX3097" fmla="*/ 1478631 w 6530564"/>
              <a:gd name="connsiteY3097" fmla="*/ 3501149 h 6858000"/>
              <a:gd name="connsiteX3098" fmla="*/ 1485742 w 6530564"/>
              <a:gd name="connsiteY3098" fmla="*/ 3328682 h 6858000"/>
              <a:gd name="connsiteX3099" fmla="*/ 1490413 w 6530564"/>
              <a:gd name="connsiteY3099" fmla="*/ 3327685 h 6858000"/>
              <a:gd name="connsiteX3100" fmla="*/ 1490732 w 6530564"/>
              <a:gd name="connsiteY3100" fmla="*/ 3352037 h 6858000"/>
              <a:gd name="connsiteX3101" fmla="*/ 1492048 w 6530564"/>
              <a:gd name="connsiteY3101" fmla="*/ 3381061 h 6858000"/>
              <a:gd name="connsiteX3102" fmla="*/ 1488015 w 6530564"/>
              <a:gd name="connsiteY3102" fmla="*/ 3430765 h 6858000"/>
              <a:gd name="connsiteX3103" fmla="*/ 1496593 w 6530564"/>
              <a:gd name="connsiteY3103" fmla="*/ 3585226 h 6858000"/>
              <a:gd name="connsiteX3104" fmla="*/ 1492920 w 6530564"/>
              <a:gd name="connsiteY3104" fmla="*/ 3590896 h 6858000"/>
              <a:gd name="connsiteX3105" fmla="*/ 1494916 w 6530564"/>
              <a:gd name="connsiteY3105" fmla="*/ 3600237 h 6858000"/>
              <a:gd name="connsiteX3106" fmla="*/ 1493239 w 6530564"/>
              <a:gd name="connsiteY3106" fmla="*/ 3615248 h 6858000"/>
              <a:gd name="connsiteX3107" fmla="*/ 1496911 w 6530564"/>
              <a:gd name="connsiteY3107" fmla="*/ 3609580 h 6858000"/>
              <a:gd name="connsiteX3108" fmla="*/ 1495235 w 6530564"/>
              <a:gd name="connsiteY3108" fmla="*/ 3624591 h 6858000"/>
              <a:gd name="connsiteX3109" fmla="*/ 1498229 w 6530564"/>
              <a:gd name="connsiteY3109" fmla="*/ 3638603 h 6858000"/>
              <a:gd name="connsiteX3110" fmla="*/ 1501903 w 6530564"/>
              <a:gd name="connsiteY3110" fmla="*/ 3632933 h 6858000"/>
              <a:gd name="connsiteX3111" fmla="*/ 1504577 w 6530564"/>
              <a:gd name="connsiteY3111" fmla="*/ 3622595 h 6858000"/>
              <a:gd name="connsiteX3112" fmla="*/ 1500585 w 6530564"/>
              <a:gd name="connsiteY3112" fmla="*/ 3603911 h 6858000"/>
              <a:gd name="connsiteX3113" fmla="*/ 1504258 w 6530564"/>
              <a:gd name="connsiteY3113" fmla="*/ 3598241 h 6858000"/>
              <a:gd name="connsiteX3114" fmla="*/ 1508929 w 6530564"/>
              <a:gd name="connsiteY3114" fmla="*/ 3597243 h 6858000"/>
              <a:gd name="connsiteX3115" fmla="*/ 1507930 w 6530564"/>
              <a:gd name="connsiteY3115" fmla="*/ 3592574 h 6858000"/>
              <a:gd name="connsiteX3116" fmla="*/ 1506933 w 6530564"/>
              <a:gd name="connsiteY3116" fmla="*/ 3587901 h 6858000"/>
              <a:gd name="connsiteX3117" fmla="*/ 1500267 w 6530564"/>
              <a:gd name="connsiteY3117" fmla="*/ 3579558 h 6858000"/>
              <a:gd name="connsiteX3118" fmla="*/ 1499268 w 6530564"/>
              <a:gd name="connsiteY3118" fmla="*/ 3574887 h 6858000"/>
              <a:gd name="connsiteX3119" fmla="*/ 1498270 w 6530564"/>
              <a:gd name="connsiteY3119" fmla="*/ 3570216 h 6858000"/>
              <a:gd name="connsiteX3120" fmla="*/ 1497951 w 6530564"/>
              <a:gd name="connsiteY3120" fmla="*/ 3545863 h 6858000"/>
              <a:gd name="connsiteX3121" fmla="*/ 1502303 w 6530564"/>
              <a:gd name="connsiteY3121" fmla="*/ 3520512 h 6858000"/>
              <a:gd name="connsiteX3122" fmla="*/ 1503052 w 6530564"/>
              <a:gd name="connsiteY3122" fmla="*/ 3524015 h 6858000"/>
              <a:gd name="connsiteX3123" fmla="*/ 1503302 w 6530564"/>
              <a:gd name="connsiteY3123" fmla="*/ 3525183 h 6858000"/>
              <a:gd name="connsiteX3124" fmla="*/ 1504300 w 6530564"/>
              <a:gd name="connsiteY3124" fmla="*/ 3529853 h 6858000"/>
              <a:gd name="connsiteX3125" fmla="*/ 1507974 w 6530564"/>
              <a:gd name="connsiteY3125" fmla="*/ 3524184 h 6858000"/>
              <a:gd name="connsiteX3126" fmla="*/ 1504979 w 6530564"/>
              <a:gd name="connsiteY3126" fmla="*/ 3510172 h 6858000"/>
              <a:gd name="connsiteX3127" fmla="*/ 1502984 w 6530564"/>
              <a:gd name="connsiteY3127" fmla="*/ 3500831 h 6858000"/>
              <a:gd name="connsiteX3128" fmla="*/ 1505701 w 6530564"/>
              <a:gd name="connsiteY3128" fmla="*/ 3422101 h 6858000"/>
              <a:gd name="connsiteX3129" fmla="*/ 1504702 w 6530564"/>
              <a:gd name="connsiteY3129" fmla="*/ 3417432 h 6858000"/>
              <a:gd name="connsiteX3130" fmla="*/ 1513725 w 6530564"/>
              <a:gd name="connsiteY3130" fmla="*/ 3391082 h 6858000"/>
              <a:gd name="connsiteX3131" fmla="*/ 1517081 w 6530564"/>
              <a:gd name="connsiteY3131" fmla="*/ 3361059 h 6858000"/>
              <a:gd name="connsiteX3132" fmla="*/ 1537845 w 6530564"/>
              <a:gd name="connsiteY3132" fmla="*/ 3229635 h 6858000"/>
              <a:gd name="connsiteX3133" fmla="*/ 1537470 w 6530564"/>
              <a:gd name="connsiteY3133" fmla="*/ 3237096 h 6858000"/>
              <a:gd name="connsiteX3134" fmla="*/ 1536167 w 6530564"/>
              <a:gd name="connsiteY3134" fmla="*/ 3244645 h 6858000"/>
              <a:gd name="connsiteX3135" fmla="*/ 1537380 w 6530564"/>
              <a:gd name="connsiteY3135" fmla="*/ 3238891 h 6858000"/>
              <a:gd name="connsiteX3136" fmla="*/ 1537470 w 6530564"/>
              <a:gd name="connsiteY3136" fmla="*/ 3237096 h 6858000"/>
              <a:gd name="connsiteX3137" fmla="*/ 1547897 w 6530564"/>
              <a:gd name="connsiteY3137" fmla="*/ 3176681 h 6858000"/>
              <a:gd name="connsiteX3138" fmla="*/ 1545573 w 6530564"/>
              <a:gd name="connsiteY3138" fmla="*/ 3277555 h 6858000"/>
              <a:gd name="connsiteX3139" fmla="*/ 1597367 w 6530564"/>
              <a:gd name="connsiteY3139" fmla="*/ 3833692 h 6858000"/>
              <a:gd name="connsiteX3140" fmla="*/ 1601925 w 6530564"/>
              <a:gd name="connsiteY3140" fmla="*/ 3855026 h 6858000"/>
              <a:gd name="connsiteX3141" fmla="*/ 1610266 w 6530564"/>
              <a:gd name="connsiteY3141" fmla="*/ 3808629 h 6858000"/>
              <a:gd name="connsiteX3142" fmla="*/ 1591906 w 6530564"/>
              <a:gd name="connsiteY3142" fmla="*/ 3017877 h 6858000"/>
              <a:gd name="connsiteX3143" fmla="*/ 1617063 w 6530564"/>
              <a:gd name="connsiteY3143" fmla="*/ 2889971 h 6858000"/>
              <a:gd name="connsiteX3144" fmla="*/ 1617864 w 6530564"/>
              <a:gd name="connsiteY3144" fmla="*/ 2892622 h 6858000"/>
              <a:gd name="connsiteX3145" fmla="*/ 1623449 w 6530564"/>
              <a:gd name="connsiteY3145" fmla="*/ 2898755 h 6858000"/>
              <a:gd name="connsiteX3146" fmla="*/ 1621000 w 6530564"/>
              <a:gd name="connsiteY3146" fmla="*/ 2881573 h 6858000"/>
              <a:gd name="connsiteX3147" fmla="*/ 1619374 w 6530564"/>
              <a:gd name="connsiteY3147" fmla="*/ 2878224 h 6858000"/>
              <a:gd name="connsiteX3148" fmla="*/ 1620680 w 6530564"/>
              <a:gd name="connsiteY3148" fmla="*/ 2871580 h 6858000"/>
              <a:gd name="connsiteX3149" fmla="*/ 1624809 w 6530564"/>
              <a:gd name="connsiteY3149" fmla="*/ 2859392 h 6858000"/>
              <a:gd name="connsiteX3150" fmla="*/ 1626805 w 6530564"/>
              <a:gd name="connsiteY3150" fmla="*/ 2868734 h 6858000"/>
              <a:gd name="connsiteX3151" fmla="*/ 1653555 w 6530564"/>
              <a:gd name="connsiteY3151" fmla="*/ 2765334 h 6858000"/>
              <a:gd name="connsiteX3152" fmla="*/ 1659225 w 6530564"/>
              <a:gd name="connsiteY3152" fmla="*/ 2769008 h 6858000"/>
              <a:gd name="connsiteX3153" fmla="*/ 1687292 w 6530564"/>
              <a:gd name="connsiteY3153" fmla="*/ 2694632 h 6858000"/>
              <a:gd name="connsiteX3154" fmla="*/ 1721709 w 6530564"/>
              <a:gd name="connsiteY3154" fmla="*/ 2604247 h 6858000"/>
              <a:gd name="connsiteX3155" fmla="*/ 1765467 w 6530564"/>
              <a:gd name="connsiteY3155" fmla="*/ 2511867 h 6858000"/>
              <a:gd name="connsiteX3156" fmla="*/ 1770138 w 6530564"/>
              <a:gd name="connsiteY3156" fmla="*/ 2510869 h 6858000"/>
              <a:gd name="connsiteX3157" fmla="*/ 1767464 w 6530564"/>
              <a:gd name="connsiteY3157" fmla="*/ 2521209 h 6858000"/>
              <a:gd name="connsiteX3158" fmla="*/ 1772134 w 6530564"/>
              <a:gd name="connsiteY3158" fmla="*/ 2520212 h 6858000"/>
              <a:gd name="connsiteX3159" fmla="*/ 1771136 w 6530564"/>
              <a:gd name="connsiteY3159" fmla="*/ 2515541 h 6858000"/>
              <a:gd name="connsiteX3160" fmla="*/ 1774810 w 6530564"/>
              <a:gd name="connsiteY3160" fmla="*/ 2509871 h 6858000"/>
              <a:gd name="connsiteX3161" fmla="*/ 1792178 w 6530564"/>
              <a:gd name="connsiteY3161" fmla="*/ 2476856 h 6858000"/>
              <a:gd name="connsiteX3162" fmla="*/ 1790180 w 6530564"/>
              <a:gd name="connsiteY3162" fmla="*/ 2467514 h 6858000"/>
              <a:gd name="connsiteX3163" fmla="*/ 1793854 w 6530564"/>
              <a:gd name="connsiteY3163" fmla="*/ 2461845 h 6858000"/>
              <a:gd name="connsiteX3164" fmla="*/ 1795850 w 6530564"/>
              <a:gd name="connsiteY3164" fmla="*/ 2471187 h 6858000"/>
              <a:gd name="connsiteX3165" fmla="*/ 1801201 w 6530564"/>
              <a:gd name="connsiteY3165" fmla="*/ 2450507 h 6858000"/>
              <a:gd name="connsiteX3166" fmla="*/ 1802198 w 6530564"/>
              <a:gd name="connsiteY3166" fmla="*/ 2455177 h 6858000"/>
              <a:gd name="connsiteX3167" fmla="*/ 1803197 w 6530564"/>
              <a:gd name="connsiteY3167" fmla="*/ 2459849 h 6858000"/>
              <a:gd name="connsiteX3168" fmla="*/ 1807868 w 6530564"/>
              <a:gd name="connsiteY3168" fmla="*/ 2458850 h 6858000"/>
              <a:gd name="connsiteX3169" fmla="*/ 1806871 w 6530564"/>
              <a:gd name="connsiteY3169" fmla="*/ 2454180 h 6858000"/>
              <a:gd name="connsiteX3170" fmla="*/ 1804873 w 6530564"/>
              <a:gd name="connsiteY3170" fmla="*/ 2444837 h 6858000"/>
              <a:gd name="connsiteX3171" fmla="*/ 1807549 w 6530564"/>
              <a:gd name="connsiteY3171" fmla="*/ 2434499 h 6858000"/>
              <a:gd name="connsiteX3172" fmla="*/ 1812220 w 6530564"/>
              <a:gd name="connsiteY3172" fmla="*/ 2433500 h 6858000"/>
              <a:gd name="connsiteX3173" fmla="*/ 1815894 w 6530564"/>
              <a:gd name="connsiteY3173" fmla="*/ 2427831 h 6858000"/>
              <a:gd name="connsiteX3174" fmla="*/ 1814895 w 6530564"/>
              <a:gd name="connsiteY3174" fmla="*/ 2423160 h 6858000"/>
              <a:gd name="connsiteX3175" fmla="*/ 1822240 w 6530564"/>
              <a:gd name="connsiteY3175" fmla="*/ 2411823 h 6858000"/>
              <a:gd name="connsiteX3176" fmla="*/ 1825914 w 6530564"/>
              <a:gd name="connsiteY3176" fmla="*/ 2406152 h 6858000"/>
              <a:gd name="connsiteX3177" fmla="*/ 1826913 w 6530564"/>
              <a:gd name="connsiteY3177" fmla="*/ 2410824 h 6858000"/>
              <a:gd name="connsiteX3178" fmla="*/ 1830586 w 6530564"/>
              <a:gd name="connsiteY3178" fmla="*/ 2405155 h 6858000"/>
              <a:gd name="connsiteX3179" fmla="*/ 1833261 w 6530564"/>
              <a:gd name="connsiteY3179" fmla="*/ 2394815 h 6858000"/>
              <a:gd name="connsiteX3180" fmla="*/ 1845277 w 6530564"/>
              <a:gd name="connsiteY3180" fmla="*/ 2382479 h 6858000"/>
              <a:gd name="connsiteX3181" fmla="*/ 1851945 w 6530564"/>
              <a:gd name="connsiteY3181" fmla="*/ 2390824 h 6858000"/>
              <a:gd name="connsiteX3182" fmla="*/ 1861966 w 6530564"/>
              <a:gd name="connsiteY3182" fmla="*/ 2369146 h 6858000"/>
              <a:gd name="connsiteX3183" fmla="*/ 1866636 w 6530564"/>
              <a:gd name="connsiteY3183" fmla="*/ 2368147 h 6858000"/>
              <a:gd name="connsiteX3184" fmla="*/ 1867635 w 6530564"/>
              <a:gd name="connsiteY3184" fmla="*/ 2372820 h 6858000"/>
              <a:gd name="connsiteX3185" fmla="*/ 1863962 w 6530564"/>
              <a:gd name="connsiteY3185" fmla="*/ 2378487 h 6858000"/>
              <a:gd name="connsiteX3186" fmla="*/ 1864960 w 6530564"/>
              <a:gd name="connsiteY3186" fmla="*/ 2383159 h 6858000"/>
              <a:gd name="connsiteX3187" fmla="*/ 1869631 w 6530564"/>
              <a:gd name="connsiteY3187" fmla="*/ 2382161 h 6858000"/>
              <a:gd name="connsiteX3188" fmla="*/ 1868632 w 6530564"/>
              <a:gd name="connsiteY3188" fmla="*/ 2377489 h 6858000"/>
              <a:gd name="connsiteX3189" fmla="*/ 1872306 w 6530564"/>
              <a:gd name="connsiteY3189" fmla="*/ 2371821 h 6858000"/>
              <a:gd name="connsiteX3190" fmla="*/ 1870310 w 6530564"/>
              <a:gd name="connsiteY3190" fmla="*/ 2362478 h 6858000"/>
              <a:gd name="connsiteX3191" fmla="*/ 1865639 w 6530564"/>
              <a:gd name="connsiteY3191" fmla="*/ 2363477 h 6858000"/>
              <a:gd name="connsiteX3192" fmla="*/ 1877339 w 6530564"/>
              <a:gd name="connsiteY3192" fmla="*/ 2326787 h 6858000"/>
              <a:gd name="connsiteX3193" fmla="*/ 1864323 w 6530564"/>
              <a:gd name="connsiteY3193" fmla="*/ 2334453 h 6858000"/>
              <a:gd name="connsiteX3194" fmla="*/ 1875342 w 6530564"/>
              <a:gd name="connsiteY3194" fmla="*/ 2317445 h 6858000"/>
              <a:gd name="connsiteX3195" fmla="*/ 1886360 w 6530564"/>
              <a:gd name="connsiteY3195" fmla="*/ 2300440 h 6858000"/>
              <a:gd name="connsiteX3196" fmla="*/ 1893707 w 6530564"/>
              <a:gd name="connsiteY3196" fmla="*/ 2289102 h 6858000"/>
              <a:gd name="connsiteX3197" fmla="*/ 1895703 w 6530564"/>
              <a:gd name="connsiteY3197" fmla="*/ 2298443 h 6858000"/>
              <a:gd name="connsiteX3198" fmla="*/ 1905725 w 6530564"/>
              <a:gd name="connsiteY3198" fmla="*/ 2276764 h 6858000"/>
              <a:gd name="connsiteX3199" fmla="*/ 1910394 w 6530564"/>
              <a:gd name="connsiteY3199" fmla="*/ 2275767 h 6858000"/>
              <a:gd name="connsiteX3200" fmla="*/ 1912391 w 6530564"/>
              <a:gd name="connsiteY3200" fmla="*/ 2285110 h 6858000"/>
              <a:gd name="connsiteX3201" fmla="*/ 1917063 w 6530564"/>
              <a:gd name="connsiteY3201" fmla="*/ 2284111 h 6858000"/>
              <a:gd name="connsiteX3202" fmla="*/ 1916065 w 6530564"/>
              <a:gd name="connsiteY3202" fmla="*/ 2279441 h 6858000"/>
              <a:gd name="connsiteX3203" fmla="*/ 1920736 w 6530564"/>
              <a:gd name="connsiteY3203" fmla="*/ 2278443 h 6858000"/>
              <a:gd name="connsiteX3204" fmla="*/ 1918740 w 6530564"/>
              <a:gd name="connsiteY3204" fmla="*/ 2269100 h 6858000"/>
              <a:gd name="connsiteX3205" fmla="*/ 1922414 w 6530564"/>
              <a:gd name="connsiteY3205" fmla="*/ 2263431 h 6858000"/>
              <a:gd name="connsiteX3206" fmla="*/ 1926085 w 6530564"/>
              <a:gd name="connsiteY3206" fmla="*/ 2257763 h 6858000"/>
              <a:gd name="connsiteX3207" fmla="*/ 1930756 w 6530564"/>
              <a:gd name="connsiteY3207" fmla="*/ 2256764 h 6858000"/>
              <a:gd name="connsiteX3208" fmla="*/ 1931755 w 6530564"/>
              <a:gd name="connsiteY3208" fmla="*/ 2261436 h 6858000"/>
              <a:gd name="connsiteX3209" fmla="*/ 1929080 w 6530564"/>
              <a:gd name="connsiteY3209" fmla="*/ 2271775 h 6858000"/>
              <a:gd name="connsiteX3210" fmla="*/ 1926405 w 6530564"/>
              <a:gd name="connsiteY3210" fmla="*/ 2282115 h 6858000"/>
              <a:gd name="connsiteX3211" fmla="*/ 1934748 w 6530564"/>
              <a:gd name="connsiteY3211" fmla="*/ 2275449 h 6858000"/>
              <a:gd name="connsiteX3212" fmla="*/ 1940099 w 6530564"/>
              <a:gd name="connsiteY3212" fmla="*/ 2254769 h 6858000"/>
              <a:gd name="connsiteX3213" fmla="*/ 1939100 w 6530564"/>
              <a:gd name="connsiteY3213" fmla="*/ 2250098 h 6858000"/>
              <a:gd name="connsiteX3214" fmla="*/ 1940779 w 6530564"/>
              <a:gd name="connsiteY3214" fmla="*/ 2235086 h 6858000"/>
              <a:gd name="connsiteX3215" fmla="*/ 1945449 w 6530564"/>
              <a:gd name="connsiteY3215" fmla="*/ 2234089 h 6858000"/>
              <a:gd name="connsiteX3216" fmla="*/ 1985855 w 6530564"/>
              <a:gd name="connsiteY3216" fmla="*/ 2171731 h 6858000"/>
              <a:gd name="connsiteX3217" fmla="*/ 1989527 w 6530564"/>
              <a:gd name="connsiteY3217" fmla="*/ 2166061 h 6858000"/>
              <a:gd name="connsiteX3218" fmla="*/ 1993200 w 6530564"/>
              <a:gd name="connsiteY3218" fmla="*/ 2160392 h 6858000"/>
              <a:gd name="connsiteX3219" fmla="*/ 2000546 w 6530564"/>
              <a:gd name="connsiteY3219" fmla="*/ 2149055 h 6858000"/>
              <a:gd name="connsiteX3220" fmla="*/ 2004219 w 6530564"/>
              <a:gd name="connsiteY3220" fmla="*/ 2143386 h 6858000"/>
              <a:gd name="connsiteX3221" fmla="*/ 2015238 w 6530564"/>
              <a:gd name="connsiteY3221" fmla="*/ 2126379 h 6858000"/>
              <a:gd name="connsiteX3222" fmla="*/ 2022584 w 6530564"/>
              <a:gd name="connsiteY3222" fmla="*/ 2115041 h 6858000"/>
              <a:gd name="connsiteX3223" fmla="*/ 2027256 w 6530564"/>
              <a:gd name="connsiteY3223" fmla="*/ 2114043 h 6858000"/>
              <a:gd name="connsiteX3224" fmla="*/ 2057639 w 6530564"/>
              <a:gd name="connsiteY3224" fmla="*/ 2073362 h 6858000"/>
              <a:gd name="connsiteX3225" fmla="*/ 2070330 w 6530564"/>
              <a:gd name="connsiteY3225" fmla="*/ 2049893 h 6858000"/>
              <a:gd name="connsiteX3226" fmla="*/ 2084675 w 6530564"/>
              <a:gd name="connsiteY3226" fmla="*/ 2019414 h 6858000"/>
              <a:gd name="connsiteX3227" fmla="*/ 2085251 w 6530564"/>
              <a:gd name="connsiteY3227" fmla="*/ 2026039 h 6858000"/>
              <a:gd name="connsiteX3228" fmla="*/ 2069717 w 6530564"/>
              <a:gd name="connsiteY3228" fmla="*/ 2057748 h 6858000"/>
              <a:gd name="connsiteX3229" fmla="*/ 1934524 w 6530564"/>
              <a:gd name="connsiteY3229" fmla="*/ 2279281 h 6858000"/>
              <a:gd name="connsiteX3230" fmla="*/ 1942264 w 6530564"/>
              <a:gd name="connsiteY3230" fmla="*/ 2306017 h 6858000"/>
              <a:gd name="connsiteX3231" fmla="*/ 1939891 w 6530564"/>
              <a:gd name="connsiteY3231" fmla="*/ 2332886 h 6858000"/>
              <a:gd name="connsiteX3232" fmla="*/ 1744379 w 6530564"/>
              <a:gd name="connsiteY3232" fmla="*/ 2879600 h 6858000"/>
              <a:gd name="connsiteX3233" fmla="*/ 1717309 w 6530564"/>
              <a:gd name="connsiteY3233" fmla="*/ 3635697 h 6858000"/>
              <a:gd name="connsiteX3234" fmla="*/ 1724502 w 6530564"/>
              <a:gd name="connsiteY3234" fmla="*/ 3650384 h 6858000"/>
              <a:gd name="connsiteX3235" fmla="*/ 1738840 w 6530564"/>
              <a:gd name="connsiteY3235" fmla="*/ 3318804 h 6858000"/>
              <a:gd name="connsiteX3236" fmla="*/ 1762235 w 6530564"/>
              <a:gd name="connsiteY3236" fmla="*/ 3561205 h 6858000"/>
              <a:gd name="connsiteX3237" fmla="*/ 1759082 w 6530564"/>
              <a:gd name="connsiteY3237" fmla="*/ 3591538 h 6858000"/>
              <a:gd name="connsiteX3238" fmla="*/ 1769723 w 6530564"/>
              <a:gd name="connsiteY3238" fmla="*/ 3617611 h 6858000"/>
              <a:gd name="connsiteX3239" fmla="*/ 1769321 w 6530564"/>
              <a:gd name="connsiteY3239" fmla="*/ 3612476 h 6858000"/>
              <a:gd name="connsiteX3240" fmla="*/ 1833782 w 6530564"/>
              <a:gd name="connsiteY3240" fmla="*/ 2810787 h 6858000"/>
              <a:gd name="connsiteX3241" fmla="*/ 1970873 w 6530564"/>
              <a:gd name="connsiteY3241" fmla="*/ 2408113 h 6858000"/>
              <a:gd name="connsiteX3242" fmla="*/ 2031252 w 6530564"/>
              <a:gd name="connsiteY3242" fmla="*/ 2275389 h 6858000"/>
              <a:gd name="connsiteX3243" fmla="*/ 2065646 w 6530564"/>
              <a:gd name="connsiteY3243" fmla="*/ 2223293 h 6858000"/>
              <a:gd name="connsiteX3244" fmla="*/ 2102160 w 6530564"/>
              <a:gd name="connsiteY3244" fmla="*/ 2146947 h 6858000"/>
              <a:gd name="connsiteX3245" fmla="*/ 2129354 w 6530564"/>
              <a:gd name="connsiteY3245" fmla="*/ 2116277 h 6858000"/>
              <a:gd name="connsiteX3246" fmla="*/ 2168272 w 6530564"/>
              <a:gd name="connsiteY3246" fmla="*/ 2079992 h 6858000"/>
              <a:gd name="connsiteX3247" fmla="*/ 2217506 w 6530564"/>
              <a:gd name="connsiteY3247" fmla="*/ 1999754 h 6858000"/>
              <a:gd name="connsiteX3248" fmla="*/ 2332460 w 6530564"/>
              <a:gd name="connsiteY3248" fmla="*/ 1875815 h 6858000"/>
              <a:gd name="connsiteX3249" fmla="*/ 2704943 w 6530564"/>
              <a:gd name="connsiteY3249" fmla="*/ 1569790 h 6858000"/>
              <a:gd name="connsiteX3250" fmla="*/ 2964173 w 6530564"/>
              <a:gd name="connsiteY3250" fmla="*/ 1408599 h 6858000"/>
              <a:gd name="connsiteX3251" fmla="*/ 2984167 w 6530564"/>
              <a:gd name="connsiteY3251" fmla="*/ 1399357 h 6858000"/>
              <a:gd name="connsiteX3252" fmla="*/ 3008948 w 6530564"/>
              <a:gd name="connsiteY3252" fmla="*/ 1410376 h 6858000"/>
              <a:gd name="connsiteX3253" fmla="*/ 2995666 w 6530564"/>
              <a:gd name="connsiteY3253" fmla="*/ 1427255 h 6858000"/>
              <a:gd name="connsiteX3254" fmla="*/ 2856153 w 6530564"/>
              <a:gd name="connsiteY3254" fmla="*/ 1506659 h 6858000"/>
              <a:gd name="connsiteX3255" fmla="*/ 2836329 w 6530564"/>
              <a:gd name="connsiteY3255" fmla="*/ 1526166 h 6858000"/>
              <a:gd name="connsiteX3256" fmla="*/ 2834871 w 6530564"/>
              <a:gd name="connsiteY3256" fmla="*/ 1531611 h 6858000"/>
              <a:gd name="connsiteX3257" fmla="*/ 2839687 w 6530564"/>
              <a:gd name="connsiteY3257" fmla="*/ 1529983 h 6858000"/>
              <a:gd name="connsiteX3258" fmla="*/ 3105334 w 6530564"/>
              <a:gd name="connsiteY3258" fmla="*/ 1393869 h 6858000"/>
              <a:gd name="connsiteX3259" fmla="*/ 3190120 w 6530564"/>
              <a:gd name="connsiteY3259" fmla="*/ 1355273 h 6858000"/>
              <a:gd name="connsiteX3260" fmla="*/ 3200753 w 6530564"/>
              <a:gd name="connsiteY3260" fmla="*/ 1351005 h 6858000"/>
              <a:gd name="connsiteX3261" fmla="*/ 3205367 w 6530564"/>
              <a:gd name="connsiteY3261" fmla="*/ 1344182 h 6858000"/>
              <a:gd name="connsiteX3262" fmla="*/ 3191596 w 6530564"/>
              <a:gd name="connsiteY3262" fmla="*/ 1347596 h 6858000"/>
              <a:gd name="connsiteX3263" fmla="*/ 3208716 w 6530564"/>
              <a:gd name="connsiteY3263" fmla="*/ 1339231 h 6858000"/>
              <a:gd name="connsiteX3264" fmla="*/ 3209214 w 6530564"/>
              <a:gd name="connsiteY3264" fmla="*/ 1338493 h 6858000"/>
              <a:gd name="connsiteX3265" fmla="*/ 3058956 w 6530564"/>
              <a:gd name="connsiteY3265" fmla="*/ 1365383 h 6858000"/>
              <a:gd name="connsiteX3266" fmla="*/ 3207049 w 6530564"/>
              <a:gd name="connsiteY3266" fmla="*/ 1300185 h 6858000"/>
              <a:gd name="connsiteX3267" fmla="*/ 3244299 w 6530564"/>
              <a:gd name="connsiteY3267" fmla="*/ 1287715 h 6858000"/>
              <a:gd name="connsiteX3268" fmla="*/ 3186359 w 6530564"/>
              <a:gd name="connsiteY3268" fmla="*/ 1304100 h 6858000"/>
              <a:gd name="connsiteX3269" fmla="*/ 3018716 w 6530564"/>
              <a:gd name="connsiteY3269" fmla="*/ 1364251 h 6858000"/>
              <a:gd name="connsiteX3270" fmla="*/ 2856327 w 6530564"/>
              <a:gd name="connsiteY3270" fmla="*/ 1439503 h 6858000"/>
              <a:gd name="connsiteX3271" fmla="*/ 2869223 w 6530564"/>
              <a:gd name="connsiteY3271" fmla="*/ 1414441 h 6858000"/>
              <a:gd name="connsiteX3272" fmla="*/ 2862577 w 6530564"/>
              <a:gd name="connsiteY3272" fmla="*/ 1411805 h 6858000"/>
              <a:gd name="connsiteX3273" fmla="*/ 2756585 w 6530564"/>
              <a:gd name="connsiteY3273" fmla="*/ 1456757 h 6858000"/>
              <a:gd name="connsiteX3274" fmla="*/ 2462803 w 6530564"/>
              <a:gd name="connsiteY3274" fmla="*/ 1657418 h 6858000"/>
              <a:gd name="connsiteX3275" fmla="*/ 2392001 w 6530564"/>
              <a:gd name="connsiteY3275" fmla="*/ 1686740 h 6858000"/>
              <a:gd name="connsiteX3276" fmla="*/ 2329505 w 6530564"/>
              <a:gd name="connsiteY3276" fmla="*/ 1726455 h 6858000"/>
              <a:gd name="connsiteX3277" fmla="*/ 2277611 w 6530564"/>
              <a:gd name="connsiteY3277" fmla="*/ 1758833 h 6858000"/>
              <a:gd name="connsiteX3278" fmla="*/ 2266239 w 6530564"/>
              <a:gd name="connsiteY3278" fmla="*/ 1762069 h 6858000"/>
              <a:gd name="connsiteX3279" fmla="*/ 2282854 w 6530564"/>
              <a:gd name="connsiteY3279" fmla="*/ 1744404 h 6858000"/>
              <a:gd name="connsiteX3280" fmla="*/ 2374481 w 6530564"/>
              <a:gd name="connsiteY3280" fmla="*/ 1658891 h 6858000"/>
              <a:gd name="connsiteX3281" fmla="*/ 2515332 w 6530564"/>
              <a:gd name="connsiteY3281" fmla="*/ 1540883 h 6858000"/>
              <a:gd name="connsiteX3282" fmla="*/ 2663850 w 6530564"/>
              <a:gd name="connsiteY3282" fmla="*/ 1435891 h 6858000"/>
              <a:gd name="connsiteX3283" fmla="*/ 2681537 w 6530564"/>
              <a:gd name="connsiteY3283" fmla="*/ 1427227 h 6858000"/>
              <a:gd name="connsiteX3284" fmla="*/ 2987551 w 6530564"/>
              <a:gd name="connsiteY3284" fmla="*/ 1259281 h 6858000"/>
              <a:gd name="connsiteX3285" fmla="*/ 3149720 w 6530564"/>
              <a:gd name="connsiteY3285" fmla="*/ 1195329 h 6858000"/>
              <a:gd name="connsiteX3286" fmla="*/ 3259829 w 6530564"/>
              <a:gd name="connsiteY3286" fmla="*/ 1162036 h 6858000"/>
              <a:gd name="connsiteX3287" fmla="*/ 3210739 w 6530564"/>
              <a:gd name="connsiteY3287" fmla="*/ 1178017 h 6858000"/>
              <a:gd name="connsiteX3288" fmla="*/ 3169403 w 6530564"/>
              <a:gd name="connsiteY3288" fmla="*/ 1196006 h 6858000"/>
              <a:gd name="connsiteX3289" fmla="*/ 3164732 w 6530564"/>
              <a:gd name="connsiteY3289" fmla="*/ 1197005 h 6858000"/>
              <a:gd name="connsiteX3290" fmla="*/ 3029591 w 6530564"/>
              <a:gd name="connsiteY3290" fmla="*/ 1250298 h 6858000"/>
              <a:gd name="connsiteX3291" fmla="*/ 3024920 w 6530564"/>
              <a:gd name="connsiteY3291" fmla="*/ 1251297 h 6858000"/>
              <a:gd name="connsiteX3292" fmla="*/ 3025917 w 6530564"/>
              <a:gd name="connsiteY3292" fmla="*/ 1255966 h 6858000"/>
              <a:gd name="connsiteX3293" fmla="*/ 3035260 w 6530564"/>
              <a:gd name="connsiteY3293" fmla="*/ 1253970 h 6858000"/>
              <a:gd name="connsiteX3294" fmla="*/ 3165731 w 6530564"/>
              <a:gd name="connsiteY3294" fmla="*/ 1201677 h 6858000"/>
              <a:gd name="connsiteX3295" fmla="*/ 3171401 w 6530564"/>
              <a:gd name="connsiteY3295" fmla="*/ 1205351 h 6858000"/>
              <a:gd name="connsiteX3296" fmla="*/ 3176071 w 6530564"/>
              <a:gd name="connsiteY3296" fmla="*/ 1204352 h 6858000"/>
              <a:gd name="connsiteX3297" fmla="*/ 3175073 w 6530564"/>
              <a:gd name="connsiteY3297" fmla="*/ 1199680 h 6858000"/>
              <a:gd name="connsiteX3298" fmla="*/ 3270170 w 6530564"/>
              <a:gd name="connsiteY3298" fmla="*/ 1164711 h 6858000"/>
              <a:gd name="connsiteX3299" fmla="*/ 3288855 w 6530564"/>
              <a:gd name="connsiteY3299" fmla="*/ 1160719 h 6858000"/>
              <a:gd name="connsiteX3300" fmla="*/ 3298195 w 6530564"/>
              <a:gd name="connsiteY3300" fmla="*/ 1158724 h 6858000"/>
              <a:gd name="connsiteX3301" fmla="*/ 3297518 w 6530564"/>
              <a:gd name="connsiteY3301" fmla="*/ 1178405 h 6858000"/>
              <a:gd name="connsiteX3302" fmla="*/ 3283504 w 6530564"/>
              <a:gd name="connsiteY3302" fmla="*/ 1181399 h 6858000"/>
              <a:gd name="connsiteX3303" fmla="*/ 3251805 w 6530564"/>
              <a:gd name="connsiteY3303" fmla="*/ 1193056 h 6858000"/>
              <a:gd name="connsiteX3304" fmla="*/ 3247133 w 6530564"/>
              <a:gd name="connsiteY3304" fmla="*/ 1194053 h 6858000"/>
              <a:gd name="connsiteX3305" fmla="*/ 3234118 w 6530564"/>
              <a:gd name="connsiteY3305" fmla="*/ 1201718 h 6858000"/>
              <a:gd name="connsiteX3306" fmla="*/ 3229448 w 6530564"/>
              <a:gd name="connsiteY3306" fmla="*/ 1202715 h 6858000"/>
              <a:gd name="connsiteX3307" fmla="*/ 3235117 w 6530564"/>
              <a:gd name="connsiteY3307" fmla="*/ 1206389 h 6858000"/>
              <a:gd name="connsiteX3308" fmla="*/ 3248132 w 6530564"/>
              <a:gd name="connsiteY3308" fmla="*/ 1198724 h 6858000"/>
              <a:gd name="connsiteX3309" fmla="*/ 3252802 w 6530564"/>
              <a:gd name="connsiteY3309" fmla="*/ 1197727 h 6858000"/>
              <a:gd name="connsiteX3310" fmla="*/ 3249131 w 6530564"/>
              <a:gd name="connsiteY3310" fmla="*/ 1203396 h 6858000"/>
              <a:gd name="connsiteX3311" fmla="*/ 3253801 w 6530564"/>
              <a:gd name="connsiteY3311" fmla="*/ 1202397 h 6858000"/>
              <a:gd name="connsiteX3312" fmla="*/ 3263143 w 6530564"/>
              <a:gd name="connsiteY3312" fmla="*/ 1200401 h 6858000"/>
              <a:gd name="connsiteX3313" fmla="*/ 3262146 w 6530564"/>
              <a:gd name="connsiteY3313" fmla="*/ 1195729 h 6858000"/>
              <a:gd name="connsiteX3314" fmla="*/ 3279831 w 6530564"/>
              <a:gd name="connsiteY3314" fmla="*/ 1187067 h 6858000"/>
              <a:gd name="connsiteX3315" fmla="*/ 3303187 w 6530564"/>
              <a:gd name="connsiteY3315" fmla="*/ 1182078 h 6858000"/>
              <a:gd name="connsiteX3316" fmla="*/ 3326541 w 6530564"/>
              <a:gd name="connsiteY3316" fmla="*/ 1177088 h 6858000"/>
              <a:gd name="connsiteX3317" fmla="*/ 3334885 w 6530564"/>
              <a:gd name="connsiteY3317" fmla="*/ 1170421 h 6858000"/>
              <a:gd name="connsiteX3318" fmla="*/ 3325543 w 6530564"/>
              <a:gd name="connsiteY3318" fmla="*/ 1172418 h 6858000"/>
              <a:gd name="connsiteX3319" fmla="*/ 3306859 w 6530564"/>
              <a:gd name="connsiteY3319" fmla="*/ 1176409 h 6858000"/>
              <a:gd name="connsiteX3320" fmla="*/ 3312209 w 6530564"/>
              <a:gd name="connsiteY3320" fmla="*/ 1155729 h 6858000"/>
              <a:gd name="connsiteX3321" fmla="*/ 3311211 w 6530564"/>
              <a:gd name="connsiteY3321" fmla="*/ 1151058 h 6858000"/>
              <a:gd name="connsiteX3322" fmla="*/ 3320555 w 6530564"/>
              <a:gd name="connsiteY3322" fmla="*/ 1149062 h 6858000"/>
              <a:gd name="connsiteX3323" fmla="*/ 3324227 w 6530564"/>
              <a:gd name="connsiteY3323" fmla="*/ 1143393 h 6858000"/>
              <a:gd name="connsiteX3324" fmla="*/ 3318557 w 6530564"/>
              <a:gd name="connsiteY3324" fmla="*/ 1139720 h 6858000"/>
              <a:gd name="connsiteX3325" fmla="*/ 3323230 w 6530564"/>
              <a:gd name="connsiteY3325" fmla="*/ 1138722 h 6858000"/>
              <a:gd name="connsiteX3326" fmla="*/ 3402637 w 6530564"/>
              <a:gd name="connsiteY3326" fmla="*/ 1121757 h 6858000"/>
              <a:gd name="connsiteX3327" fmla="*/ 3348580 w 6530564"/>
              <a:gd name="connsiteY3327" fmla="*/ 1143073 h 6858000"/>
              <a:gd name="connsiteX3328" fmla="*/ 3343909 w 6530564"/>
              <a:gd name="connsiteY3328" fmla="*/ 1144072 h 6858000"/>
              <a:gd name="connsiteX3329" fmla="*/ 3325225 w 6530564"/>
              <a:gd name="connsiteY3329" fmla="*/ 1148063 h 6858000"/>
              <a:gd name="connsiteX3330" fmla="*/ 3321552 w 6530564"/>
              <a:gd name="connsiteY3330" fmla="*/ 1153733 h 6858000"/>
              <a:gd name="connsiteX3331" fmla="*/ 3327221 w 6530564"/>
              <a:gd name="connsiteY3331" fmla="*/ 1157406 h 6858000"/>
              <a:gd name="connsiteX3332" fmla="*/ 3331892 w 6530564"/>
              <a:gd name="connsiteY3332" fmla="*/ 1156408 h 6858000"/>
              <a:gd name="connsiteX3333" fmla="*/ 3335565 w 6530564"/>
              <a:gd name="connsiteY3333" fmla="*/ 1150740 h 6858000"/>
              <a:gd name="connsiteX3334" fmla="*/ 3340236 w 6530564"/>
              <a:gd name="connsiteY3334" fmla="*/ 1149741 h 6858000"/>
              <a:gd name="connsiteX3335" fmla="*/ 3358920 w 6530564"/>
              <a:gd name="connsiteY3335" fmla="*/ 1145750 h 6858000"/>
              <a:gd name="connsiteX3336" fmla="*/ 3369260 w 6530564"/>
              <a:gd name="connsiteY3336" fmla="*/ 1148425 h 6858000"/>
              <a:gd name="connsiteX3337" fmla="*/ 3402955 w 6530564"/>
              <a:gd name="connsiteY3337" fmla="*/ 1146109 h 6858000"/>
              <a:gd name="connsiteX3338" fmla="*/ 3405630 w 6530564"/>
              <a:gd name="connsiteY3338" fmla="*/ 1135769 h 6858000"/>
              <a:gd name="connsiteX3339" fmla="*/ 3415970 w 6530564"/>
              <a:gd name="connsiteY3339" fmla="*/ 1138446 h 6858000"/>
              <a:gd name="connsiteX3340" fmla="*/ 3438328 w 6530564"/>
              <a:gd name="connsiteY3340" fmla="*/ 1128784 h 6858000"/>
              <a:gd name="connsiteX3341" fmla="*/ 3471025 w 6530564"/>
              <a:gd name="connsiteY3341" fmla="*/ 1121798 h 6858000"/>
              <a:gd name="connsiteX3342" fmla="*/ 3474697 w 6530564"/>
              <a:gd name="connsiteY3342" fmla="*/ 1116129 h 6858000"/>
              <a:gd name="connsiteX3343" fmla="*/ 3490707 w 6530564"/>
              <a:gd name="connsiteY3343" fmla="*/ 1122479 h 6858000"/>
              <a:gd name="connsiteX3344" fmla="*/ 3526079 w 6530564"/>
              <a:gd name="connsiteY3344" fmla="*/ 1105153 h 6858000"/>
              <a:gd name="connsiteX3345" fmla="*/ 3569117 w 6530564"/>
              <a:gd name="connsiteY3345" fmla="*/ 1100842 h 6858000"/>
              <a:gd name="connsiteX3346" fmla="*/ 3583129 w 6530564"/>
              <a:gd name="connsiteY3346" fmla="*/ 1097849 h 6858000"/>
              <a:gd name="connsiteX3347" fmla="*/ 3613152 w 6530564"/>
              <a:gd name="connsiteY3347" fmla="*/ 1101202 h 6858000"/>
              <a:gd name="connsiteX3348" fmla="*/ 3706573 w 6530564"/>
              <a:gd name="connsiteY3348" fmla="*/ 1081242 h 6858000"/>
              <a:gd name="connsiteX3349" fmla="*/ 3708908 w 6530564"/>
              <a:gd name="connsiteY3349" fmla="*/ 1080744 h 6858000"/>
              <a:gd name="connsiteX3350" fmla="*/ 3725257 w 6530564"/>
              <a:gd name="connsiteY3350" fmla="*/ 1077251 h 6858000"/>
              <a:gd name="connsiteX3351" fmla="*/ 3729928 w 6530564"/>
              <a:gd name="connsiteY3351" fmla="*/ 1076254 h 6858000"/>
              <a:gd name="connsiteX3352" fmla="*/ 3739269 w 6530564"/>
              <a:gd name="connsiteY3352" fmla="*/ 1074258 h 6858000"/>
              <a:gd name="connsiteX3353" fmla="*/ 3866705 w 6530564"/>
              <a:gd name="connsiteY3353" fmla="*/ 1076336 h 6858000"/>
              <a:gd name="connsiteX3354" fmla="*/ 3919084 w 6530564"/>
              <a:gd name="connsiteY3354" fmla="*/ 1070031 h 6858000"/>
              <a:gd name="connsiteX3355" fmla="*/ 3951782 w 6530564"/>
              <a:gd name="connsiteY3355" fmla="*/ 1063046 h 6858000"/>
              <a:gd name="connsiteX3356" fmla="*/ 3943436 w 6530564"/>
              <a:gd name="connsiteY3356" fmla="*/ 1069713 h 6858000"/>
              <a:gd name="connsiteX3357" fmla="*/ 4000821 w 6530564"/>
              <a:gd name="connsiteY3357" fmla="*/ 1061115 h 6858000"/>
              <a:gd name="connsiteX3358" fmla="*/ 4059509 w 6530564"/>
              <a:gd name="connsiteY3358" fmla="*/ 1058914 h 6858000"/>
              <a:gd name="connsiteX3359" fmla="*/ 4065917 w 6530564"/>
              <a:gd name="connsiteY3359" fmla="*/ 1060029 h 6858000"/>
              <a:gd name="connsiteX3360" fmla="*/ 4081891 w 6530564"/>
              <a:gd name="connsiteY3360" fmla="*/ 1054786 h 6858000"/>
              <a:gd name="connsiteX3361" fmla="*/ 3073381 w 6530564"/>
              <a:gd name="connsiteY3361" fmla="*/ 1003429 h 6858000"/>
              <a:gd name="connsiteX3362" fmla="*/ 3075110 w 6530564"/>
              <a:gd name="connsiteY3362" fmla="*/ 1006131 h 6858000"/>
              <a:gd name="connsiteX3363" fmla="*/ 3070439 w 6530564"/>
              <a:gd name="connsiteY3363" fmla="*/ 1007129 h 6858000"/>
              <a:gd name="connsiteX3364" fmla="*/ 3062096 w 6530564"/>
              <a:gd name="connsiteY3364" fmla="*/ 1013796 h 6858000"/>
              <a:gd name="connsiteX3365" fmla="*/ 3066767 w 6530564"/>
              <a:gd name="connsiteY3365" fmla="*/ 1012799 h 6858000"/>
              <a:gd name="connsiteX3366" fmla="*/ 3071437 w 6530564"/>
              <a:gd name="connsiteY3366" fmla="*/ 1011800 h 6858000"/>
              <a:gd name="connsiteX3367" fmla="*/ 2960649 w 6530564"/>
              <a:gd name="connsiteY3367" fmla="*/ 1064775 h 6858000"/>
              <a:gd name="connsiteX3368" fmla="*/ 2925558 w 6530564"/>
              <a:gd name="connsiteY3368" fmla="*/ 1075554 h 6858000"/>
              <a:gd name="connsiteX3369" fmla="*/ 2899162 w 6530564"/>
              <a:gd name="connsiteY3369" fmla="*/ 1086428 h 6858000"/>
              <a:gd name="connsiteX3370" fmla="*/ 2903371 w 6530564"/>
              <a:gd name="connsiteY3370" fmla="*/ 1080657 h 6858000"/>
              <a:gd name="connsiteX3371" fmla="*/ 2939957 w 6530564"/>
              <a:gd name="connsiteY3371" fmla="*/ 1052562 h 6858000"/>
              <a:gd name="connsiteX3372" fmla="*/ 5800514 w 6530564"/>
              <a:gd name="connsiteY3372" fmla="*/ 966736 h 6858000"/>
              <a:gd name="connsiteX3373" fmla="*/ 5823561 w 6530564"/>
              <a:gd name="connsiteY3373" fmla="*/ 985857 h 6858000"/>
              <a:gd name="connsiteX3374" fmla="*/ 5812369 w 6530564"/>
              <a:gd name="connsiteY3374" fmla="*/ 974867 h 6858000"/>
              <a:gd name="connsiteX3375" fmla="*/ 4691065 w 6530564"/>
              <a:gd name="connsiteY3375" fmla="*/ 966665 h 6858000"/>
              <a:gd name="connsiteX3376" fmla="*/ 4697929 w 6530564"/>
              <a:gd name="connsiteY3376" fmla="*/ 967981 h 6858000"/>
              <a:gd name="connsiteX3377" fmla="*/ 4702739 w 6530564"/>
              <a:gd name="connsiteY3377" fmla="*/ 970365 h 6858000"/>
              <a:gd name="connsiteX3378" fmla="*/ 3242294 w 6530564"/>
              <a:gd name="connsiteY3378" fmla="*/ 953477 h 6858000"/>
              <a:gd name="connsiteX3379" fmla="*/ 3244945 w 6530564"/>
              <a:gd name="connsiteY3379" fmla="*/ 955193 h 6858000"/>
              <a:gd name="connsiteX3380" fmla="*/ 3222587 w 6530564"/>
              <a:gd name="connsiteY3380" fmla="*/ 964854 h 6858000"/>
              <a:gd name="connsiteX3381" fmla="*/ 3203904 w 6530564"/>
              <a:gd name="connsiteY3381" fmla="*/ 968846 h 6858000"/>
              <a:gd name="connsiteX3382" fmla="*/ 3166536 w 6530564"/>
              <a:gd name="connsiteY3382" fmla="*/ 976829 h 6858000"/>
              <a:gd name="connsiteX3383" fmla="*/ 3102137 w 6530564"/>
              <a:gd name="connsiteY3383" fmla="*/ 995473 h 6858000"/>
              <a:gd name="connsiteX3384" fmla="*/ 3102436 w 6530564"/>
              <a:gd name="connsiteY3384" fmla="*/ 994324 h 6858000"/>
              <a:gd name="connsiteX3385" fmla="*/ 3217427 w 6530564"/>
              <a:gd name="connsiteY3385" fmla="*/ 959472 h 6858000"/>
              <a:gd name="connsiteX3386" fmla="*/ 3376913 w 6530564"/>
              <a:gd name="connsiteY3386" fmla="*/ 922116 h 6858000"/>
              <a:gd name="connsiteX3387" fmla="*/ 3336954 w 6530564"/>
              <a:gd name="connsiteY3387" fmla="*/ 930653 h 6858000"/>
              <a:gd name="connsiteX3388" fmla="*/ 3358282 w 6530564"/>
              <a:gd name="connsiteY3388" fmla="*/ 925510 h 6858000"/>
              <a:gd name="connsiteX3389" fmla="*/ 3950309 w 6530564"/>
              <a:gd name="connsiteY3389" fmla="*/ 744665 h 6858000"/>
              <a:gd name="connsiteX3390" fmla="*/ 4826941 w 6530564"/>
              <a:gd name="connsiteY3390" fmla="*/ 861419 h 6858000"/>
              <a:gd name="connsiteX3391" fmla="*/ 4812928 w 6530564"/>
              <a:gd name="connsiteY3391" fmla="*/ 864412 h 6858000"/>
              <a:gd name="connsiteX3392" fmla="*/ 4895649 w 6530564"/>
              <a:gd name="connsiteY3392" fmla="*/ 885814 h 6858000"/>
              <a:gd name="connsiteX3393" fmla="*/ 4995377 w 6530564"/>
              <a:gd name="connsiteY3393" fmla="*/ 918233 h 6858000"/>
              <a:gd name="connsiteX3394" fmla="*/ 5053743 w 6530564"/>
              <a:gd name="connsiteY3394" fmla="*/ 939953 h 6858000"/>
              <a:gd name="connsiteX3395" fmla="*/ 5054740 w 6530564"/>
              <a:gd name="connsiteY3395" fmla="*/ 944624 h 6858000"/>
              <a:gd name="connsiteX3396" fmla="*/ 5059411 w 6530564"/>
              <a:gd name="connsiteY3396" fmla="*/ 943626 h 6858000"/>
              <a:gd name="connsiteX3397" fmla="*/ 5065081 w 6530564"/>
              <a:gd name="connsiteY3397" fmla="*/ 947300 h 6858000"/>
              <a:gd name="connsiteX3398" fmla="*/ 5075420 w 6530564"/>
              <a:gd name="connsiteY3398" fmla="*/ 949975 h 6858000"/>
              <a:gd name="connsiteX3399" fmla="*/ 5101770 w 6530564"/>
              <a:gd name="connsiteY3399" fmla="*/ 958998 h 6858000"/>
              <a:gd name="connsiteX3400" fmla="*/ 5187483 w 6530564"/>
              <a:gd name="connsiteY3400" fmla="*/ 994412 h 6858000"/>
              <a:gd name="connsiteX3401" fmla="*/ 5220499 w 6530564"/>
              <a:gd name="connsiteY3401" fmla="*/ 1011779 h 6858000"/>
              <a:gd name="connsiteX3402" fmla="*/ 5296871 w 6530564"/>
              <a:gd name="connsiteY3402" fmla="*/ 1049189 h 6858000"/>
              <a:gd name="connsiteX3403" fmla="*/ 5292201 w 6530564"/>
              <a:gd name="connsiteY3403" fmla="*/ 1050187 h 6858000"/>
              <a:gd name="connsiteX3404" fmla="*/ 5308209 w 6530564"/>
              <a:gd name="connsiteY3404" fmla="*/ 1056534 h 6858000"/>
              <a:gd name="connsiteX3405" fmla="*/ 6165817 w 6530564"/>
              <a:gd name="connsiteY3405" fmla="*/ 1732932 h 6858000"/>
              <a:gd name="connsiteX3406" fmla="*/ 6507308 w 6530564"/>
              <a:gd name="connsiteY3406" fmla="*/ 2262564 h 6858000"/>
              <a:gd name="connsiteX3407" fmla="*/ 6530564 w 6530564"/>
              <a:gd name="connsiteY3407" fmla="*/ 2317112 h 6858000"/>
              <a:gd name="connsiteX3408" fmla="*/ 6530564 w 6530564"/>
              <a:gd name="connsiteY3408" fmla="*/ 2701060 h 6858000"/>
              <a:gd name="connsiteX3409" fmla="*/ 6526175 w 6530564"/>
              <a:gd name="connsiteY3409" fmla="*/ 2710932 h 6858000"/>
              <a:gd name="connsiteX3410" fmla="*/ 6455513 w 6530564"/>
              <a:gd name="connsiteY3410" fmla="*/ 2608808 h 6858000"/>
              <a:gd name="connsiteX3411" fmla="*/ 6454515 w 6530564"/>
              <a:gd name="connsiteY3411" fmla="*/ 2604137 h 6858000"/>
              <a:gd name="connsiteX3412" fmla="*/ 6452519 w 6530564"/>
              <a:gd name="connsiteY3412" fmla="*/ 2594796 h 6858000"/>
              <a:gd name="connsiteX3413" fmla="*/ 6446850 w 6530564"/>
              <a:gd name="connsiteY3413" fmla="*/ 2591122 h 6858000"/>
              <a:gd name="connsiteX3414" fmla="*/ 6421859 w 6530564"/>
              <a:gd name="connsiteY3414" fmla="*/ 2542736 h 6858000"/>
              <a:gd name="connsiteX3415" fmla="*/ 6413197 w 6530564"/>
              <a:gd name="connsiteY3415" fmla="*/ 2525048 h 6858000"/>
              <a:gd name="connsiteX3416" fmla="*/ 6407529 w 6530564"/>
              <a:gd name="connsiteY3416" fmla="*/ 2521375 h 6858000"/>
              <a:gd name="connsiteX3417" fmla="*/ 6406530 w 6530564"/>
              <a:gd name="connsiteY3417" fmla="*/ 2516706 h 6858000"/>
              <a:gd name="connsiteX3418" fmla="*/ 6401861 w 6530564"/>
              <a:gd name="connsiteY3418" fmla="*/ 2517703 h 6858000"/>
              <a:gd name="connsiteX3419" fmla="*/ 6400861 w 6530564"/>
              <a:gd name="connsiteY3419" fmla="*/ 2513032 h 6858000"/>
              <a:gd name="connsiteX3420" fmla="*/ 6387528 w 6530564"/>
              <a:gd name="connsiteY3420" fmla="*/ 2496344 h 6858000"/>
              <a:gd name="connsiteX3421" fmla="*/ 6385850 w 6530564"/>
              <a:gd name="connsiteY3421" fmla="*/ 2511354 h 6858000"/>
              <a:gd name="connsiteX3422" fmla="*/ 6374513 w 6530564"/>
              <a:gd name="connsiteY3422" fmla="*/ 2504009 h 6858000"/>
              <a:gd name="connsiteX3423" fmla="*/ 6360859 w 6530564"/>
              <a:gd name="connsiteY3423" fmla="*/ 2462967 h 6858000"/>
              <a:gd name="connsiteX3424" fmla="*/ 6299541 w 6530564"/>
              <a:gd name="connsiteY3424" fmla="*/ 2358847 h 6858000"/>
              <a:gd name="connsiteX3425" fmla="*/ 6284212 w 6530564"/>
              <a:gd name="connsiteY3425" fmla="*/ 2332816 h 6858000"/>
              <a:gd name="connsiteX3426" fmla="*/ 6231556 w 6530564"/>
              <a:gd name="connsiteY3426" fmla="*/ 2246383 h 6858000"/>
              <a:gd name="connsiteX3427" fmla="*/ 6228563 w 6530564"/>
              <a:gd name="connsiteY3427" fmla="*/ 2232369 h 6858000"/>
              <a:gd name="connsiteX3428" fmla="*/ 6217223 w 6530564"/>
              <a:gd name="connsiteY3428" fmla="*/ 2225023 h 6858000"/>
              <a:gd name="connsiteX3429" fmla="*/ 6220897 w 6530564"/>
              <a:gd name="connsiteY3429" fmla="*/ 2219353 h 6858000"/>
              <a:gd name="connsiteX3430" fmla="*/ 6178901 w 6530564"/>
              <a:gd name="connsiteY3430" fmla="*/ 2159947 h 6858000"/>
              <a:gd name="connsiteX3431" fmla="*/ 6188241 w 6530564"/>
              <a:gd name="connsiteY3431" fmla="*/ 2157951 h 6858000"/>
              <a:gd name="connsiteX3432" fmla="*/ 6171235 w 6530564"/>
              <a:gd name="connsiteY3432" fmla="*/ 2146932 h 6858000"/>
              <a:gd name="connsiteX3433" fmla="*/ 6150235 w 6530564"/>
              <a:gd name="connsiteY3433" fmla="*/ 2117229 h 6858000"/>
              <a:gd name="connsiteX3434" fmla="*/ 6149238 w 6530564"/>
              <a:gd name="connsiteY3434" fmla="*/ 2112559 h 6858000"/>
              <a:gd name="connsiteX3435" fmla="*/ 6153909 w 6530564"/>
              <a:gd name="connsiteY3435" fmla="*/ 2111560 h 6858000"/>
              <a:gd name="connsiteX3436" fmla="*/ 6158581 w 6530564"/>
              <a:gd name="connsiteY3436" fmla="*/ 2110562 h 6858000"/>
              <a:gd name="connsiteX3437" fmla="*/ 6157582 w 6530564"/>
              <a:gd name="connsiteY3437" fmla="*/ 2105892 h 6858000"/>
              <a:gd name="connsiteX3438" fmla="*/ 6147921 w 6530564"/>
              <a:gd name="connsiteY3438" fmla="*/ 2083534 h 6858000"/>
              <a:gd name="connsiteX3439" fmla="*/ 6152592 w 6530564"/>
              <a:gd name="connsiteY3439" fmla="*/ 2082535 h 6858000"/>
              <a:gd name="connsiteX3440" fmla="*/ 6151595 w 6530564"/>
              <a:gd name="connsiteY3440" fmla="*/ 2077865 h 6858000"/>
              <a:gd name="connsiteX3441" fmla="*/ 6145926 w 6530564"/>
              <a:gd name="connsiteY3441" fmla="*/ 2074193 h 6858000"/>
              <a:gd name="connsiteX3442" fmla="*/ 6089597 w 6530564"/>
              <a:gd name="connsiteY3442" fmla="*/ 1993426 h 6858000"/>
              <a:gd name="connsiteX3443" fmla="*/ 6019255 w 6530564"/>
              <a:gd name="connsiteY3443" fmla="*/ 1915656 h 6858000"/>
              <a:gd name="connsiteX3444" fmla="*/ 5960249 w 6530564"/>
              <a:gd name="connsiteY3444" fmla="*/ 1845230 h 6858000"/>
              <a:gd name="connsiteX3445" fmla="*/ 5903921 w 6530564"/>
              <a:gd name="connsiteY3445" fmla="*/ 1764465 h 6858000"/>
              <a:gd name="connsiteX3446" fmla="*/ 5875576 w 6530564"/>
              <a:gd name="connsiteY3446" fmla="*/ 1746097 h 6858000"/>
              <a:gd name="connsiteX3447" fmla="*/ 5874577 w 6530564"/>
              <a:gd name="connsiteY3447" fmla="*/ 1741428 h 6858000"/>
              <a:gd name="connsiteX3448" fmla="*/ 5867911 w 6530564"/>
              <a:gd name="connsiteY3448" fmla="*/ 1733084 h 6858000"/>
              <a:gd name="connsiteX3449" fmla="*/ 5864239 w 6530564"/>
              <a:gd name="connsiteY3449" fmla="*/ 1738752 h 6858000"/>
              <a:gd name="connsiteX3450" fmla="*/ 5653531 w 6530564"/>
              <a:gd name="connsiteY3450" fmla="*/ 1529790 h 6858000"/>
              <a:gd name="connsiteX3451" fmla="*/ 5652531 w 6530564"/>
              <a:gd name="connsiteY3451" fmla="*/ 1525119 h 6858000"/>
              <a:gd name="connsiteX3452" fmla="*/ 5697884 w 6530564"/>
              <a:gd name="connsiteY3452" fmla="*/ 1554504 h 6858000"/>
              <a:gd name="connsiteX3453" fmla="*/ 5701875 w 6530564"/>
              <a:gd name="connsiteY3453" fmla="*/ 1573189 h 6858000"/>
              <a:gd name="connsiteX3454" fmla="*/ 5742557 w 6530564"/>
              <a:gd name="connsiteY3454" fmla="*/ 1603571 h 6858000"/>
              <a:gd name="connsiteX3455" fmla="*/ 5779564 w 6530564"/>
              <a:gd name="connsiteY3455" fmla="*/ 1639622 h 6858000"/>
              <a:gd name="connsiteX3456" fmla="*/ 5840245 w 6530564"/>
              <a:gd name="connsiteY3456" fmla="*/ 1695037 h 6858000"/>
              <a:gd name="connsiteX3457" fmla="*/ 5879249 w 6530564"/>
              <a:gd name="connsiteY3457" fmla="*/ 1740430 h 6858000"/>
              <a:gd name="connsiteX3458" fmla="*/ 5934262 w 6530564"/>
              <a:gd name="connsiteY3458" fmla="*/ 1792171 h 6858000"/>
              <a:gd name="connsiteX3459" fmla="*/ 5935261 w 6530564"/>
              <a:gd name="connsiteY3459" fmla="*/ 1796841 h 6858000"/>
              <a:gd name="connsiteX3460" fmla="*/ 5936258 w 6530564"/>
              <a:gd name="connsiteY3460" fmla="*/ 1801513 h 6858000"/>
              <a:gd name="connsiteX3461" fmla="*/ 5940929 w 6530564"/>
              <a:gd name="connsiteY3461" fmla="*/ 1800515 h 6858000"/>
              <a:gd name="connsiteX3462" fmla="*/ 5955260 w 6530564"/>
              <a:gd name="connsiteY3462" fmla="*/ 1821873 h 6858000"/>
              <a:gd name="connsiteX3463" fmla="*/ 5956259 w 6530564"/>
              <a:gd name="connsiteY3463" fmla="*/ 1826546 h 6858000"/>
              <a:gd name="connsiteX3464" fmla="*/ 5961927 w 6530564"/>
              <a:gd name="connsiteY3464" fmla="*/ 1830220 h 6858000"/>
              <a:gd name="connsiteX3465" fmla="*/ 5960930 w 6530564"/>
              <a:gd name="connsiteY3465" fmla="*/ 1825547 h 6858000"/>
              <a:gd name="connsiteX3466" fmla="*/ 6004605 w 6530564"/>
              <a:gd name="connsiteY3466" fmla="*/ 1869943 h 6858000"/>
              <a:gd name="connsiteX3467" fmla="*/ 5999933 w 6530564"/>
              <a:gd name="connsiteY3467" fmla="*/ 1870942 h 6858000"/>
              <a:gd name="connsiteX3468" fmla="*/ 6000931 w 6530564"/>
              <a:gd name="connsiteY3468" fmla="*/ 1875612 h 6858000"/>
              <a:gd name="connsiteX3469" fmla="*/ 6006601 w 6530564"/>
              <a:gd name="connsiteY3469" fmla="*/ 1879284 h 6858000"/>
              <a:gd name="connsiteX3470" fmla="*/ 6011271 w 6530564"/>
              <a:gd name="connsiteY3470" fmla="*/ 1878287 h 6858000"/>
              <a:gd name="connsiteX3471" fmla="*/ 6012269 w 6530564"/>
              <a:gd name="connsiteY3471" fmla="*/ 1882958 h 6858000"/>
              <a:gd name="connsiteX3472" fmla="*/ 6027599 w 6530564"/>
              <a:gd name="connsiteY3472" fmla="*/ 1908989 h 6858000"/>
              <a:gd name="connsiteX3473" fmla="*/ 6037939 w 6530564"/>
              <a:gd name="connsiteY3473" fmla="*/ 1911662 h 6858000"/>
              <a:gd name="connsiteX3474" fmla="*/ 6044605 w 6530564"/>
              <a:gd name="connsiteY3474" fmla="*/ 1920008 h 6858000"/>
              <a:gd name="connsiteX3475" fmla="*/ 6040933 w 6530564"/>
              <a:gd name="connsiteY3475" fmla="*/ 1925676 h 6858000"/>
              <a:gd name="connsiteX3476" fmla="*/ 6046601 w 6530564"/>
              <a:gd name="connsiteY3476" fmla="*/ 1929349 h 6858000"/>
              <a:gd name="connsiteX3477" fmla="*/ 6052271 w 6530564"/>
              <a:gd name="connsiteY3477" fmla="*/ 1933023 h 6858000"/>
              <a:gd name="connsiteX3478" fmla="*/ 6084607 w 6530564"/>
              <a:gd name="connsiteY3478" fmla="*/ 1970071 h 6858000"/>
              <a:gd name="connsiteX3479" fmla="*/ 6075945 w 6530564"/>
              <a:gd name="connsiteY3479" fmla="*/ 1952386 h 6858000"/>
              <a:gd name="connsiteX3480" fmla="*/ 6057939 w 6530564"/>
              <a:gd name="connsiteY3480" fmla="*/ 1936695 h 6858000"/>
              <a:gd name="connsiteX3481" fmla="*/ 6056941 w 6530564"/>
              <a:gd name="connsiteY3481" fmla="*/ 1932024 h 6858000"/>
              <a:gd name="connsiteX3482" fmla="*/ 6055943 w 6530564"/>
              <a:gd name="connsiteY3482" fmla="*/ 1927353 h 6858000"/>
              <a:gd name="connsiteX3483" fmla="*/ 6049276 w 6530564"/>
              <a:gd name="connsiteY3483" fmla="*/ 1919009 h 6858000"/>
              <a:gd name="connsiteX3484" fmla="*/ 6017937 w 6530564"/>
              <a:gd name="connsiteY3484" fmla="*/ 1886631 h 6858000"/>
              <a:gd name="connsiteX3485" fmla="*/ 6015942 w 6530564"/>
              <a:gd name="connsiteY3485" fmla="*/ 1877290 h 6858000"/>
              <a:gd name="connsiteX3486" fmla="*/ 6014943 w 6530564"/>
              <a:gd name="connsiteY3486" fmla="*/ 1872617 h 6858000"/>
              <a:gd name="connsiteX3487" fmla="*/ 6012949 w 6530564"/>
              <a:gd name="connsiteY3487" fmla="*/ 1863276 h 6858000"/>
              <a:gd name="connsiteX3488" fmla="*/ 6008279 w 6530564"/>
              <a:gd name="connsiteY3488" fmla="*/ 1864274 h 6858000"/>
              <a:gd name="connsiteX3489" fmla="*/ 6003605 w 6530564"/>
              <a:gd name="connsiteY3489" fmla="*/ 1865272 h 6858000"/>
              <a:gd name="connsiteX3490" fmla="*/ 5985601 w 6530564"/>
              <a:gd name="connsiteY3490" fmla="*/ 1849581 h 6858000"/>
              <a:gd name="connsiteX3491" fmla="*/ 5965600 w 6530564"/>
              <a:gd name="connsiteY3491" fmla="*/ 1824550 h 6858000"/>
              <a:gd name="connsiteX3492" fmla="*/ 5964603 w 6530564"/>
              <a:gd name="connsiteY3492" fmla="*/ 1819878 h 6858000"/>
              <a:gd name="connsiteX3493" fmla="*/ 5963605 w 6530564"/>
              <a:gd name="connsiteY3493" fmla="*/ 1815208 h 6858000"/>
              <a:gd name="connsiteX3494" fmla="*/ 5945599 w 6530564"/>
              <a:gd name="connsiteY3494" fmla="*/ 1799518 h 6858000"/>
              <a:gd name="connsiteX3495" fmla="*/ 5951268 w 6530564"/>
              <a:gd name="connsiteY3495" fmla="*/ 1803190 h 6858000"/>
              <a:gd name="connsiteX3496" fmla="*/ 5950271 w 6530564"/>
              <a:gd name="connsiteY3496" fmla="*/ 1798519 h 6858000"/>
              <a:gd name="connsiteX3497" fmla="*/ 5944601 w 6530564"/>
              <a:gd name="connsiteY3497" fmla="*/ 1794847 h 6858000"/>
              <a:gd name="connsiteX3498" fmla="*/ 5938933 w 6530564"/>
              <a:gd name="connsiteY3498" fmla="*/ 1791173 h 6858000"/>
              <a:gd name="connsiteX3499" fmla="*/ 5931269 w 6530564"/>
              <a:gd name="connsiteY3499" fmla="*/ 1778159 h 6858000"/>
              <a:gd name="connsiteX3500" fmla="*/ 5919929 w 6530564"/>
              <a:gd name="connsiteY3500" fmla="*/ 1770811 h 6858000"/>
              <a:gd name="connsiteX3501" fmla="*/ 5930269 w 6530564"/>
              <a:gd name="connsiteY3501" fmla="*/ 1773488 h 6858000"/>
              <a:gd name="connsiteX3502" fmla="*/ 5913263 w 6530564"/>
              <a:gd name="connsiteY3502" fmla="*/ 1762468 h 6858000"/>
              <a:gd name="connsiteX3503" fmla="*/ 5894260 w 6530564"/>
              <a:gd name="connsiteY3503" fmla="*/ 1742107 h 6858000"/>
              <a:gd name="connsiteX3504" fmla="*/ 5908274 w 6530564"/>
              <a:gd name="connsiteY3504" fmla="*/ 1739112 h 6858000"/>
              <a:gd name="connsiteX3505" fmla="*/ 5885598 w 6530564"/>
              <a:gd name="connsiteY3505" fmla="*/ 1724422 h 6858000"/>
              <a:gd name="connsiteX3506" fmla="*/ 5890269 w 6530564"/>
              <a:gd name="connsiteY3506" fmla="*/ 1723424 h 6858000"/>
              <a:gd name="connsiteX3507" fmla="*/ 5889272 w 6530564"/>
              <a:gd name="connsiteY3507" fmla="*/ 1718751 h 6858000"/>
              <a:gd name="connsiteX3508" fmla="*/ 5883602 w 6530564"/>
              <a:gd name="connsiteY3508" fmla="*/ 1715079 h 6858000"/>
              <a:gd name="connsiteX3509" fmla="*/ 5866595 w 6530564"/>
              <a:gd name="connsiteY3509" fmla="*/ 1704060 h 6858000"/>
              <a:gd name="connsiteX3510" fmla="*/ 5859927 w 6530564"/>
              <a:gd name="connsiteY3510" fmla="*/ 1695716 h 6858000"/>
              <a:gd name="connsiteX3511" fmla="*/ 5854258 w 6530564"/>
              <a:gd name="connsiteY3511" fmla="*/ 1692043 h 6858000"/>
              <a:gd name="connsiteX3512" fmla="*/ 5855257 w 6530564"/>
              <a:gd name="connsiteY3512" fmla="*/ 1696713 h 6858000"/>
              <a:gd name="connsiteX3513" fmla="*/ 5856255 w 6530564"/>
              <a:gd name="connsiteY3513" fmla="*/ 1701383 h 6858000"/>
              <a:gd name="connsiteX3514" fmla="*/ 5824917 w 6530564"/>
              <a:gd name="connsiteY3514" fmla="*/ 1669006 h 6858000"/>
              <a:gd name="connsiteX3515" fmla="*/ 5839927 w 6530564"/>
              <a:gd name="connsiteY3515" fmla="*/ 1670683 h 6858000"/>
              <a:gd name="connsiteX3516" fmla="*/ 5805913 w 6530564"/>
              <a:gd name="connsiteY3516" fmla="*/ 1648645 h 6858000"/>
              <a:gd name="connsiteX3517" fmla="*/ 5774575 w 6530564"/>
              <a:gd name="connsiteY3517" fmla="*/ 1616266 h 6858000"/>
              <a:gd name="connsiteX3518" fmla="*/ 5780245 w 6530564"/>
              <a:gd name="connsiteY3518" fmla="*/ 1619939 h 6858000"/>
              <a:gd name="connsiteX3519" fmla="*/ 5784915 w 6530564"/>
              <a:gd name="connsiteY3519" fmla="*/ 1618942 h 6858000"/>
              <a:gd name="connsiteX3520" fmla="*/ 5789585 w 6530564"/>
              <a:gd name="connsiteY3520" fmla="*/ 1617944 h 6858000"/>
              <a:gd name="connsiteX3521" fmla="*/ 5782919 w 6530564"/>
              <a:gd name="connsiteY3521" fmla="*/ 1609599 h 6858000"/>
              <a:gd name="connsiteX3522" fmla="*/ 5787589 w 6530564"/>
              <a:gd name="connsiteY3522" fmla="*/ 1608602 h 6858000"/>
              <a:gd name="connsiteX3523" fmla="*/ 5793259 w 6530564"/>
              <a:gd name="connsiteY3523" fmla="*/ 1612274 h 6858000"/>
              <a:gd name="connsiteX3524" fmla="*/ 5794257 w 6530564"/>
              <a:gd name="connsiteY3524" fmla="*/ 1616947 h 6858000"/>
              <a:gd name="connsiteX3525" fmla="*/ 5799925 w 6530564"/>
              <a:gd name="connsiteY3525" fmla="*/ 1620620 h 6858000"/>
              <a:gd name="connsiteX3526" fmla="*/ 5805595 w 6530564"/>
              <a:gd name="connsiteY3526" fmla="*/ 1624292 h 6858000"/>
              <a:gd name="connsiteX3527" fmla="*/ 5930950 w 6530564"/>
              <a:gd name="connsiteY3527" fmla="*/ 1753805 h 6858000"/>
              <a:gd name="connsiteX3528" fmla="*/ 5931947 w 6530564"/>
              <a:gd name="connsiteY3528" fmla="*/ 1758476 h 6858000"/>
              <a:gd name="connsiteX3529" fmla="*/ 5937615 w 6530564"/>
              <a:gd name="connsiteY3529" fmla="*/ 1762149 h 6858000"/>
              <a:gd name="connsiteX3530" fmla="*/ 5962289 w 6530564"/>
              <a:gd name="connsiteY3530" fmla="*/ 1786184 h 6858000"/>
              <a:gd name="connsiteX3531" fmla="*/ 5969953 w 6530564"/>
              <a:gd name="connsiteY3531" fmla="*/ 1799200 h 6858000"/>
              <a:gd name="connsiteX3532" fmla="*/ 5975622 w 6530564"/>
              <a:gd name="connsiteY3532" fmla="*/ 1802871 h 6858000"/>
              <a:gd name="connsiteX3533" fmla="*/ 6005963 w 6530564"/>
              <a:gd name="connsiteY3533" fmla="*/ 1830579 h 6858000"/>
              <a:gd name="connsiteX3534" fmla="*/ 6011631 w 6530564"/>
              <a:gd name="connsiteY3534" fmla="*/ 1834252 h 6858000"/>
              <a:gd name="connsiteX3535" fmla="*/ 6014625 w 6530564"/>
              <a:gd name="connsiteY3535" fmla="*/ 1848264 h 6858000"/>
              <a:gd name="connsiteX3536" fmla="*/ 6044965 w 6530564"/>
              <a:gd name="connsiteY3536" fmla="*/ 1875972 h 6858000"/>
              <a:gd name="connsiteX3537" fmla="*/ 6050635 w 6530564"/>
              <a:gd name="connsiteY3537" fmla="*/ 1879645 h 6858000"/>
              <a:gd name="connsiteX3538" fmla="*/ 6051633 w 6530564"/>
              <a:gd name="connsiteY3538" fmla="*/ 1884316 h 6858000"/>
              <a:gd name="connsiteX3539" fmla="*/ 6140299 w 6530564"/>
              <a:gd name="connsiteY3539" fmla="*/ 2002132 h 6858000"/>
              <a:gd name="connsiteX3540" fmla="*/ 6152635 w 6530564"/>
              <a:gd name="connsiteY3540" fmla="*/ 2014149 h 6858000"/>
              <a:gd name="connsiteX3541" fmla="*/ 6155629 w 6530564"/>
              <a:gd name="connsiteY3541" fmla="*/ 2028161 h 6858000"/>
              <a:gd name="connsiteX3542" fmla="*/ 6164971 w 6530564"/>
              <a:gd name="connsiteY3542" fmla="*/ 2026165 h 6858000"/>
              <a:gd name="connsiteX3543" fmla="*/ 6171637 w 6530564"/>
              <a:gd name="connsiteY3543" fmla="*/ 2034509 h 6858000"/>
              <a:gd name="connsiteX3544" fmla="*/ 6208963 w 6530564"/>
              <a:gd name="connsiteY3544" fmla="*/ 2094914 h 6858000"/>
              <a:gd name="connsiteX3545" fmla="*/ 6209963 w 6530564"/>
              <a:gd name="connsiteY3545" fmla="*/ 2099585 h 6858000"/>
              <a:gd name="connsiteX3546" fmla="*/ 6211957 w 6530564"/>
              <a:gd name="connsiteY3546" fmla="*/ 2108927 h 6858000"/>
              <a:gd name="connsiteX3547" fmla="*/ 6216629 w 6530564"/>
              <a:gd name="connsiteY3547" fmla="*/ 2107929 h 6858000"/>
              <a:gd name="connsiteX3548" fmla="*/ 6264295 w 6530564"/>
              <a:gd name="connsiteY3548" fmla="*/ 2171008 h 6858000"/>
              <a:gd name="connsiteX3549" fmla="*/ 6321623 w 6530564"/>
              <a:gd name="connsiteY3549" fmla="*/ 2256444 h 6858000"/>
              <a:gd name="connsiteX3550" fmla="*/ 6351284 w 6530564"/>
              <a:gd name="connsiteY3550" fmla="*/ 2303835 h 6858000"/>
              <a:gd name="connsiteX3551" fmla="*/ 6352281 w 6530564"/>
              <a:gd name="connsiteY3551" fmla="*/ 2308505 h 6858000"/>
              <a:gd name="connsiteX3552" fmla="*/ 6353279 w 6530564"/>
              <a:gd name="connsiteY3552" fmla="*/ 2313176 h 6858000"/>
              <a:gd name="connsiteX3553" fmla="*/ 6354277 w 6530564"/>
              <a:gd name="connsiteY3553" fmla="*/ 2317847 h 6858000"/>
              <a:gd name="connsiteX3554" fmla="*/ 6358947 w 6530564"/>
              <a:gd name="connsiteY3554" fmla="*/ 2316850 h 6858000"/>
              <a:gd name="connsiteX3555" fmla="*/ 6369289 w 6530564"/>
              <a:gd name="connsiteY3555" fmla="*/ 2319526 h 6858000"/>
              <a:gd name="connsiteX3556" fmla="*/ 6385616 w 6530564"/>
              <a:gd name="connsiteY3556" fmla="*/ 2350226 h 6858000"/>
              <a:gd name="connsiteX3557" fmla="*/ 6396955 w 6530564"/>
              <a:gd name="connsiteY3557" fmla="*/ 2357572 h 6858000"/>
              <a:gd name="connsiteX3558" fmla="*/ 6361624 w 6530564"/>
              <a:gd name="connsiteY3558" fmla="*/ 2306510 h 6858000"/>
              <a:gd name="connsiteX3559" fmla="*/ 6359627 w 6530564"/>
              <a:gd name="connsiteY3559" fmla="*/ 2297168 h 6858000"/>
              <a:gd name="connsiteX3560" fmla="*/ 6353959 w 6530564"/>
              <a:gd name="connsiteY3560" fmla="*/ 2293494 h 6858000"/>
              <a:gd name="connsiteX3561" fmla="*/ 6314637 w 6530564"/>
              <a:gd name="connsiteY3561" fmla="*/ 2223747 h 6858000"/>
              <a:gd name="connsiteX3562" fmla="*/ 6212319 w 6530564"/>
              <a:gd name="connsiteY3562" fmla="*/ 2064893 h 6858000"/>
              <a:gd name="connsiteX3563" fmla="*/ 6107325 w 6530564"/>
              <a:gd name="connsiteY3563" fmla="*/ 1916375 h 6858000"/>
              <a:gd name="connsiteX3564" fmla="*/ 6088323 w 6530564"/>
              <a:gd name="connsiteY3564" fmla="*/ 1896015 h 6858000"/>
              <a:gd name="connsiteX3565" fmla="*/ 6007323 w 6530564"/>
              <a:gd name="connsiteY3565" fmla="*/ 1791215 h 6858000"/>
              <a:gd name="connsiteX3566" fmla="*/ 5975983 w 6530564"/>
              <a:gd name="connsiteY3566" fmla="*/ 1758836 h 6858000"/>
              <a:gd name="connsiteX3567" fmla="*/ 5907636 w 6530564"/>
              <a:gd name="connsiteY3567" fmla="*/ 1690407 h 6858000"/>
              <a:gd name="connsiteX3568" fmla="*/ 5789947 w 6530564"/>
              <a:gd name="connsiteY3568" fmla="*/ 1573908 h 6858000"/>
              <a:gd name="connsiteX3569" fmla="*/ 5761602 w 6530564"/>
              <a:gd name="connsiteY3569" fmla="*/ 1555544 h 6858000"/>
              <a:gd name="connsiteX3570" fmla="*/ 5729265 w 6530564"/>
              <a:gd name="connsiteY3570" fmla="*/ 1518494 h 6858000"/>
              <a:gd name="connsiteX3571" fmla="*/ 5718925 w 6530564"/>
              <a:gd name="connsiteY3571" fmla="*/ 1515819 h 6858000"/>
              <a:gd name="connsiteX3572" fmla="*/ 5658243 w 6530564"/>
              <a:gd name="connsiteY3572" fmla="*/ 1460405 h 6858000"/>
              <a:gd name="connsiteX3573" fmla="*/ 5637563 w 6530564"/>
              <a:gd name="connsiteY3573" fmla="*/ 1455055 h 6858000"/>
              <a:gd name="connsiteX3574" fmla="*/ 5624228 w 6530564"/>
              <a:gd name="connsiteY3574" fmla="*/ 1438365 h 6858000"/>
              <a:gd name="connsiteX3575" fmla="*/ 5452165 w 6530564"/>
              <a:gd name="connsiteY3575" fmla="*/ 1318832 h 6858000"/>
              <a:gd name="connsiteX3576" fmla="*/ 5377469 w 6530564"/>
              <a:gd name="connsiteY3576" fmla="*/ 1266412 h 6858000"/>
              <a:gd name="connsiteX3577" fmla="*/ 5334113 w 6530564"/>
              <a:gd name="connsiteY3577" fmla="*/ 1246370 h 6858000"/>
              <a:gd name="connsiteX3578" fmla="*/ 5321779 w 6530564"/>
              <a:gd name="connsiteY3578" fmla="*/ 1234352 h 6858000"/>
              <a:gd name="connsiteX3579" fmla="*/ 5300101 w 6530564"/>
              <a:gd name="connsiteY3579" fmla="*/ 1224331 h 6858000"/>
              <a:gd name="connsiteX3580" fmla="*/ 5299103 w 6530564"/>
              <a:gd name="connsiteY3580" fmla="*/ 1219660 h 6858000"/>
              <a:gd name="connsiteX3581" fmla="*/ 5325451 w 6530564"/>
              <a:gd name="connsiteY3581" fmla="*/ 1228683 h 6858000"/>
              <a:gd name="connsiteX3582" fmla="*/ 5326449 w 6530564"/>
              <a:gd name="connsiteY3582" fmla="*/ 1233354 h 6858000"/>
              <a:gd name="connsiteX3583" fmla="*/ 5336789 w 6530564"/>
              <a:gd name="connsiteY3583" fmla="*/ 1236030 h 6858000"/>
              <a:gd name="connsiteX3584" fmla="*/ 5341461 w 6530564"/>
              <a:gd name="connsiteY3584" fmla="*/ 1235032 h 6858000"/>
              <a:gd name="connsiteX3585" fmla="*/ 5347129 w 6530564"/>
              <a:gd name="connsiteY3585" fmla="*/ 1238705 h 6858000"/>
              <a:gd name="connsiteX3586" fmla="*/ 5351799 w 6530564"/>
              <a:gd name="connsiteY3586" fmla="*/ 1237706 h 6858000"/>
              <a:gd name="connsiteX3587" fmla="*/ 5384815 w 6530564"/>
              <a:gd name="connsiteY3587" fmla="*/ 1255074 h 6858000"/>
              <a:gd name="connsiteX3588" fmla="*/ 5390485 w 6530564"/>
              <a:gd name="connsiteY3588" fmla="*/ 1258747 h 6858000"/>
              <a:gd name="connsiteX3589" fmla="*/ 5395155 w 6530564"/>
              <a:gd name="connsiteY3589" fmla="*/ 1257748 h 6858000"/>
              <a:gd name="connsiteX3590" fmla="*/ 5396153 w 6530564"/>
              <a:gd name="connsiteY3590" fmla="*/ 1262419 h 6858000"/>
              <a:gd name="connsiteX3591" fmla="*/ 5392481 w 6530564"/>
              <a:gd name="connsiteY3591" fmla="*/ 1268089 h 6858000"/>
              <a:gd name="connsiteX3592" fmla="*/ 5416835 w 6530564"/>
              <a:gd name="connsiteY3592" fmla="*/ 1267768 h 6858000"/>
              <a:gd name="connsiteX3593" fmla="*/ 5457515 w 6530564"/>
              <a:gd name="connsiteY3593" fmla="*/ 1298152 h 6858000"/>
              <a:gd name="connsiteX3594" fmla="*/ 5452843 w 6530564"/>
              <a:gd name="connsiteY3594" fmla="*/ 1299151 h 6858000"/>
              <a:gd name="connsiteX3595" fmla="*/ 5458513 w 6530564"/>
              <a:gd name="connsiteY3595" fmla="*/ 1302825 h 6858000"/>
              <a:gd name="connsiteX3596" fmla="*/ 5443501 w 6530564"/>
              <a:gd name="connsiteY3596" fmla="*/ 1301145 h 6858000"/>
              <a:gd name="connsiteX3597" fmla="*/ 5469850 w 6530564"/>
              <a:gd name="connsiteY3597" fmla="*/ 1310170 h 6858000"/>
              <a:gd name="connsiteX3598" fmla="*/ 5476517 w 6530564"/>
              <a:gd name="connsiteY3598" fmla="*/ 1318514 h 6858000"/>
              <a:gd name="connsiteX3599" fmla="*/ 5482186 w 6530564"/>
              <a:gd name="connsiteY3599" fmla="*/ 1322188 h 6858000"/>
              <a:gd name="connsiteX3600" fmla="*/ 5485860 w 6530564"/>
              <a:gd name="connsiteY3600" fmla="*/ 1316519 h 6858000"/>
              <a:gd name="connsiteX3601" fmla="*/ 5519873 w 6530564"/>
              <a:gd name="connsiteY3601" fmla="*/ 1338556 h 6858000"/>
              <a:gd name="connsiteX3602" fmla="*/ 5525542 w 6530564"/>
              <a:gd name="connsiteY3602" fmla="*/ 1342228 h 6858000"/>
              <a:gd name="connsiteX3603" fmla="*/ 5530213 w 6530564"/>
              <a:gd name="connsiteY3603" fmla="*/ 1341231 h 6858000"/>
              <a:gd name="connsiteX3604" fmla="*/ 5637924 w 6530564"/>
              <a:gd name="connsiteY3604" fmla="*/ 1411021 h 6858000"/>
              <a:gd name="connsiteX3605" fmla="*/ 5645589 w 6530564"/>
              <a:gd name="connsiteY3605" fmla="*/ 1424035 h 6858000"/>
              <a:gd name="connsiteX3606" fmla="*/ 5655929 w 6530564"/>
              <a:gd name="connsiteY3606" fmla="*/ 1426710 h 6858000"/>
              <a:gd name="connsiteX3607" fmla="*/ 5738288 w 6530564"/>
              <a:gd name="connsiteY3607" fmla="*/ 1492145 h 6858000"/>
              <a:gd name="connsiteX3608" fmla="*/ 5821645 w 6530564"/>
              <a:gd name="connsiteY3608" fmla="*/ 1562252 h 6858000"/>
              <a:gd name="connsiteX3609" fmla="*/ 5829311 w 6530564"/>
              <a:gd name="connsiteY3609" fmla="*/ 1575267 h 6858000"/>
              <a:gd name="connsiteX3610" fmla="*/ 5832983 w 6530564"/>
              <a:gd name="connsiteY3610" fmla="*/ 1569599 h 6858000"/>
              <a:gd name="connsiteX3611" fmla="*/ 5876659 w 6530564"/>
              <a:gd name="connsiteY3611" fmla="*/ 1613995 h 6858000"/>
              <a:gd name="connsiteX3612" fmla="*/ 5906998 w 6530564"/>
              <a:gd name="connsiteY3612" fmla="*/ 1641700 h 6858000"/>
              <a:gd name="connsiteX3613" fmla="*/ 5956341 w 6530564"/>
              <a:gd name="connsiteY3613" fmla="*/ 1689770 h 6858000"/>
              <a:gd name="connsiteX3614" fmla="*/ 6019021 w 6530564"/>
              <a:gd name="connsiteY3614" fmla="*/ 1754527 h 6858000"/>
              <a:gd name="connsiteX3615" fmla="*/ 6021017 w 6530564"/>
              <a:gd name="connsiteY3615" fmla="*/ 1763868 h 6858000"/>
              <a:gd name="connsiteX3616" fmla="*/ 6085689 w 6530564"/>
              <a:gd name="connsiteY3616" fmla="*/ 1837968 h 6858000"/>
              <a:gd name="connsiteX3617" fmla="*/ 6097027 w 6530564"/>
              <a:gd name="connsiteY3617" fmla="*/ 1845313 h 6858000"/>
              <a:gd name="connsiteX3618" fmla="*/ 6124692 w 6530564"/>
              <a:gd name="connsiteY3618" fmla="*/ 1883360 h 6858000"/>
              <a:gd name="connsiteX3619" fmla="*/ 6148365 w 6530564"/>
              <a:gd name="connsiteY3619" fmla="*/ 1902723 h 6858000"/>
              <a:gd name="connsiteX3620" fmla="*/ 6207689 w 6530564"/>
              <a:gd name="connsiteY3620" fmla="*/ 1997502 h 6858000"/>
              <a:gd name="connsiteX3621" fmla="*/ 6292683 w 6530564"/>
              <a:gd name="connsiteY3621" fmla="*/ 2120986 h 6858000"/>
              <a:gd name="connsiteX3622" fmla="*/ 6319349 w 6530564"/>
              <a:gd name="connsiteY3622" fmla="*/ 2154362 h 6858000"/>
              <a:gd name="connsiteX3623" fmla="*/ 6313681 w 6530564"/>
              <a:gd name="connsiteY3623" fmla="*/ 2150689 h 6858000"/>
              <a:gd name="connsiteX3624" fmla="*/ 6343343 w 6530564"/>
              <a:gd name="connsiteY3624" fmla="*/ 2198078 h 6858000"/>
              <a:gd name="connsiteX3625" fmla="*/ 6346335 w 6530564"/>
              <a:gd name="connsiteY3625" fmla="*/ 2212090 h 6858000"/>
              <a:gd name="connsiteX3626" fmla="*/ 6424979 w 6530564"/>
              <a:gd name="connsiteY3626" fmla="*/ 2351584 h 6858000"/>
              <a:gd name="connsiteX3627" fmla="*/ 6420309 w 6530564"/>
              <a:gd name="connsiteY3627" fmla="*/ 2352581 h 6858000"/>
              <a:gd name="connsiteX3628" fmla="*/ 6421307 w 6530564"/>
              <a:gd name="connsiteY3628" fmla="*/ 2357252 h 6858000"/>
              <a:gd name="connsiteX3629" fmla="*/ 6426975 w 6530564"/>
              <a:gd name="connsiteY3629" fmla="*/ 2360926 h 6858000"/>
              <a:gd name="connsiteX3630" fmla="*/ 6451966 w 6530564"/>
              <a:gd name="connsiteY3630" fmla="*/ 2409313 h 6858000"/>
              <a:gd name="connsiteX3631" fmla="*/ 6452965 w 6530564"/>
              <a:gd name="connsiteY3631" fmla="*/ 2413983 h 6858000"/>
              <a:gd name="connsiteX3632" fmla="*/ 6453963 w 6530564"/>
              <a:gd name="connsiteY3632" fmla="*/ 2418656 h 6858000"/>
              <a:gd name="connsiteX3633" fmla="*/ 6458633 w 6530564"/>
              <a:gd name="connsiteY3633" fmla="*/ 2417657 h 6858000"/>
              <a:gd name="connsiteX3634" fmla="*/ 6457635 w 6530564"/>
              <a:gd name="connsiteY3634" fmla="*/ 2412986 h 6858000"/>
              <a:gd name="connsiteX3635" fmla="*/ 6466299 w 6530564"/>
              <a:gd name="connsiteY3635" fmla="*/ 2430673 h 6858000"/>
              <a:gd name="connsiteX3636" fmla="*/ 6475639 w 6530564"/>
              <a:gd name="connsiteY3636" fmla="*/ 2428676 h 6858000"/>
              <a:gd name="connsiteX3637" fmla="*/ 6467975 w 6530564"/>
              <a:gd name="connsiteY3637" fmla="*/ 2415661 h 6858000"/>
              <a:gd name="connsiteX3638" fmla="*/ 6472646 w 6530564"/>
              <a:gd name="connsiteY3638" fmla="*/ 2414663 h 6858000"/>
              <a:gd name="connsiteX3639" fmla="*/ 6445979 w 6530564"/>
              <a:gd name="connsiteY3639" fmla="*/ 2381288 h 6858000"/>
              <a:gd name="connsiteX3640" fmla="*/ 6443981 w 6530564"/>
              <a:gd name="connsiteY3640" fmla="*/ 2371946 h 6858000"/>
              <a:gd name="connsiteX3641" fmla="*/ 6442985 w 6530564"/>
              <a:gd name="connsiteY3641" fmla="*/ 2367276 h 6858000"/>
              <a:gd name="connsiteX3642" fmla="*/ 6441987 w 6530564"/>
              <a:gd name="connsiteY3642" fmla="*/ 2362603 h 6858000"/>
              <a:gd name="connsiteX3643" fmla="*/ 6437315 w 6530564"/>
              <a:gd name="connsiteY3643" fmla="*/ 2363602 h 6858000"/>
              <a:gd name="connsiteX3644" fmla="*/ 6435319 w 6530564"/>
              <a:gd name="connsiteY3644" fmla="*/ 2354259 h 6858000"/>
              <a:gd name="connsiteX3645" fmla="*/ 6445659 w 6530564"/>
              <a:gd name="connsiteY3645" fmla="*/ 2356934 h 6858000"/>
              <a:gd name="connsiteX3646" fmla="*/ 6437995 w 6530564"/>
              <a:gd name="connsiteY3646" fmla="*/ 2343919 h 6858000"/>
              <a:gd name="connsiteX3647" fmla="*/ 6436996 w 6530564"/>
              <a:gd name="connsiteY3647" fmla="*/ 2339248 h 6858000"/>
              <a:gd name="connsiteX3648" fmla="*/ 6435999 w 6530564"/>
              <a:gd name="connsiteY3648" fmla="*/ 2334578 h 6858000"/>
              <a:gd name="connsiteX3649" fmla="*/ 6435001 w 6530564"/>
              <a:gd name="connsiteY3649" fmla="*/ 2329906 h 6858000"/>
              <a:gd name="connsiteX3650" fmla="*/ 6426338 w 6530564"/>
              <a:gd name="connsiteY3650" fmla="*/ 2312220 h 6858000"/>
              <a:gd name="connsiteX3651" fmla="*/ 6420669 w 6530564"/>
              <a:gd name="connsiteY3651" fmla="*/ 2308548 h 6858000"/>
              <a:gd name="connsiteX3652" fmla="*/ 6396677 w 6530564"/>
              <a:gd name="connsiteY3652" fmla="*/ 2264832 h 6858000"/>
              <a:gd name="connsiteX3653" fmla="*/ 6394681 w 6530564"/>
              <a:gd name="connsiteY3653" fmla="*/ 2255488 h 6858000"/>
              <a:gd name="connsiteX3654" fmla="*/ 6390010 w 6530564"/>
              <a:gd name="connsiteY3654" fmla="*/ 2256487 h 6858000"/>
              <a:gd name="connsiteX3655" fmla="*/ 6367015 w 6530564"/>
              <a:gd name="connsiteY3655" fmla="*/ 2217441 h 6858000"/>
              <a:gd name="connsiteX3656" fmla="*/ 6362345 w 6530564"/>
              <a:gd name="connsiteY3656" fmla="*/ 2218440 h 6858000"/>
              <a:gd name="connsiteX3657" fmla="*/ 6361347 w 6530564"/>
              <a:gd name="connsiteY3657" fmla="*/ 2213768 h 6858000"/>
              <a:gd name="connsiteX3658" fmla="*/ 6366017 w 6530564"/>
              <a:gd name="connsiteY3658" fmla="*/ 2212771 h 6858000"/>
              <a:gd name="connsiteX3659" fmla="*/ 6365019 w 6530564"/>
              <a:gd name="connsiteY3659" fmla="*/ 2208100 h 6858000"/>
              <a:gd name="connsiteX3660" fmla="*/ 6359351 w 6530564"/>
              <a:gd name="connsiteY3660" fmla="*/ 2204426 h 6858000"/>
              <a:gd name="connsiteX3661" fmla="*/ 6289369 w 6530564"/>
              <a:gd name="connsiteY3661" fmla="*/ 2082620 h 6858000"/>
              <a:gd name="connsiteX3662" fmla="*/ 6272043 w 6530564"/>
              <a:gd name="connsiteY3662" fmla="*/ 2047249 h 6858000"/>
              <a:gd name="connsiteX3663" fmla="*/ 6253041 w 6530564"/>
              <a:gd name="connsiteY3663" fmla="*/ 2026887 h 6858000"/>
              <a:gd name="connsiteX3664" fmla="*/ 6226373 w 6530564"/>
              <a:gd name="connsiteY3664" fmla="*/ 1993510 h 6858000"/>
              <a:gd name="connsiteX3665" fmla="*/ 6037705 w 6530564"/>
              <a:gd name="connsiteY3665" fmla="*/ 1750534 h 6858000"/>
              <a:gd name="connsiteX3666" fmla="*/ 6040378 w 6530564"/>
              <a:gd name="connsiteY3666" fmla="*/ 1740194 h 6858000"/>
              <a:gd name="connsiteX3667" fmla="*/ 6041377 w 6530564"/>
              <a:gd name="connsiteY3667" fmla="*/ 1744864 h 6858000"/>
              <a:gd name="connsiteX3668" fmla="*/ 6046048 w 6530564"/>
              <a:gd name="connsiteY3668" fmla="*/ 1743867 h 6858000"/>
              <a:gd name="connsiteX3669" fmla="*/ 6039381 w 6530564"/>
              <a:gd name="connsiteY3669" fmla="*/ 1735524 h 6858000"/>
              <a:gd name="connsiteX3670" fmla="*/ 6036386 w 6530564"/>
              <a:gd name="connsiteY3670" fmla="*/ 1721512 h 6858000"/>
              <a:gd name="connsiteX3671" fmla="*/ 6014709 w 6530564"/>
              <a:gd name="connsiteY3671" fmla="*/ 1711489 h 6858000"/>
              <a:gd name="connsiteX3672" fmla="*/ 6013711 w 6530564"/>
              <a:gd name="connsiteY3672" fmla="*/ 1706819 h 6858000"/>
              <a:gd name="connsiteX3673" fmla="*/ 6008043 w 6530564"/>
              <a:gd name="connsiteY3673" fmla="*/ 1703145 h 6858000"/>
              <a:gd name="connsiteX3674" fmla="*/ 6007045 w 6530564"/>
              <a:gd name="connsiteY3674" fmla="*/ 1698475 h 6858000"/>
              <a:gd name="connsiteX3675" fmla="*/ 6002374 w 6530564"/>
              <a:gd name="connsiteY3675" fmla="*/ 1699472 h 6858000"/>
              <a:gd name="connsiteX3676" fmla="*/ 5995707 w 6530564"/>
              <a:gd name="connsiteY3676" fmla="*/ 1691128 h 6858000"/>
              <a:gd name="connsiteX3677" fmla="*/ 5981375 w 6530564"/>
              <a:gd name="connsiteY3677" fmla="*/ 1669769 h 6858000"/>
              <a:gd name="connsiteX3678" fmla="*/ 5986045 w 6530564"/>
              <a:gd name="connsiteY3678" fmla="*/ 1668771 h 6858000"/>
              <a:gd name="connsiteX3679" fmla="*/ 5991715 w 6530564"/>
              <a:gd name="connsiteY3679" fmla="*/ 1672443 h 6858000"/>
              <a:gd name="connsiteX3680" fmla="*/ 5985048 w 6530564"/>
              <a:gd name="connsiteY3680" fmla="*/ 1664101 h 6858000"/>
              <a:gd name="connsiteX3681" fmla="*/ 5979379 w 6530564"/>
              <a:gd name="connsiteY3681" fmla="*/ 1660427 h 6858000"/>
              <a:gd name="connsiteX3682" fmla="*/ 5961375 w 6530564"/>
              <a:gd name="connsiteY3682" fmla="*/ 1644738 h 6858000"/>
              <a:gd name="connsiteX3683" fmla="*/ 5960376 w 6530564"/>
              <a:gd name="connsiteY3683" fmla="*/ 1640066 h 6858000"/>
              <a:gd name="connsiteX3684" fmla="*/ 5953710 w 6530564"/>
              <a:gd name="connsiteY3684" fmla="*/ 1631721 h 6858000"/>
              <a:gd name="connsiteX3685" fmla="*/ 5949037 w 6530564"/>
              <a:gd name="connsiteY3685" fmla="*/ 1632720 h 6858000"/>
              <a:gd name="connsiteX3686" fmla="*/ 5950036 w 6530564"/>
              <a:gd name="connsiteY3686" fmla="*/ 1637390 h 6858000"/>
              <a:gd name="connsiteX3687" fmla="*/ 5942371 w 6530564"/>
              <a:gd name="connsiteY3687" fmla="*/ 1624375 h 6858000"/>
              <a:gd name="connsiteX3688" fmla="*/ 5933029 w 6530564"/>
              <a:gd name="connsiteY3688" fmla="*/ 1626372 h 6858000"/>
              <a:gd name="connsiteX3689" fmla="*/ 5931033 w 6530564"/>
              <a:gd name="connsiteY3689" fmla="*/ 1617029 h 6858000"/>
              <a:gd name="connsiteX3690" fmla="*/ 5925364 w 6530564"/>
              <a:gd name="connsiteY3690" fmla="*/ 1613357 h 6858000"/>
              <a:gd name="connsiteX3691" fmla="*/ 5924365 w 6530564"/>
              <a:gd name="connsiteY3691" fmla="*/ 1608686 h 6858000"/>
              <a:gd name="connsiteX3692" fmla="*/ 5919695 w 6530564"/>
              <a:gd name="connsiteY3692" fmla="*/ 1609683 h 6858000"/>
              <a:gd name="connsiteX3693" fmla="*/ 5920694 w 6530564"/>
              <a:gd name="connsiteY3693" fmla="*/ 1614354 h 6858000"/>
              <a:gd name="connsiteX3694" fmla="*/ 5872349 w 6530564"/>
              <a:gd name="connsiteY3694" fmla="*/ 1570957 h 6858000"/>
              <a:gd name="connsiteX3695" fmla="*/ 5865681 w 6530564"/>
              <a:gd name="connsiteY3695" fmla="*/ 1562613 h 6858000"/>
              <a:gd name="connsiteX3696" fmla="*/ 5855341 w 6530564"/>
              <a:gd name="connsiteY3696" fmla="*/ 1559936 h 6858000"/>
              <a:gd name="connsiteX3697" fmla="*/ 5856125 w 6530564"/>
              <a:gd name="connsiteY3697" fmla="*/ 1563605 h 6858000"/>
              <a:gd name="connsiteX3698" fmla="*/ 5841049 w 6530564"/>
              <a:gd name="connsiteY3698" fmla="*/ 1551621 h 6858000"/>
              <a:gd name="connsiteX3699" fmla="*/ 5789989 w 6530564"/>
              <a:gd name="connsiteY3699" fmla="*/ 1505521 h 6858000"/>
              <a:gd name="connsiteX3700" fmla="*/ 5763639 w 6530564"/>
              <a:gd name="connsiteY3700" fmla="*/ 1496497 h 6858000"/>
              <a:gd name="connsiteX3701" fmla="*/ 5760645 w 6530564"/>
              <a:gd name="connsiteY3701" fmla="*/ 1482484 h 6858000"/>
              <a:gd name="connsiteX3702" fmla="*/ 5731302 w 6530564"/>
              <a:gd name="connsiteY3702" fmla="*/ 1459447 h 6858000"/>
              <a:gd name="connsiteX3703" fmla="*/ 5710622 w 6530564"/>
              <a:gd name="connsiteY3703" fmla="*/ 1454098 h 6858000"/>
              <a:gd name="connsiteX3704" fmla="*/ 5691620 w 6530564"/>
              <a:gd name="connsiteY3704" fmla="*/ 1433737 h 6858000"/>
              <a:gd name="connsiteX3705" fmla="*/ 5696290 w 6530564"/>
              <a:gd name="connsiteY3705" fmla="*/ 1432738 h 6858000"/>
              <a:gd name="connsiteX3706" fmla="*/ 5706631 w 6530564"/>
              <a:gd name="connsiteY3706" fmla="*/ 1435415 h 6858000"/>
              <a:gd name="connsiteX3707" fmla="*/ 5699964 w 6530564"/>
              <a:gd name="connsiteY3707" fmla="*/ 1427069 h 6858000"/>
              <a:gd name="connsiteX3708" fmla="*/ 5694295 w 6530564"/>
              <a:gd name="connsiteY3708" fmla="*/ 1423397 h 6858000"/>
              <a:gd name="connsiteX3709" fmla="*/ 5710304 w 6530564"/>
              <a:gd name="connsiteY3709" fmla="*/ 1429745 h 6858000"/>
              <a:gd name="connsiteX3710" fmla="*/ 5687628 w 6530564"/>
              <a:gd name="connsiteY3710" fmla="*/ 1415053 h 6858000"/>
              <a:gd name="connsiteX3711" fmla="*/ 5681959 w 6530564"/>
              <a:gd name="connsiteY3711" fmla="*/ 1411380 h 6858000"/>
              <a:gd name="connsiteX3712" fmla="*/ 5665951 w 6530564"/>
              <a:gd name="connsiteY3712" fmla="*/ 1405033 h 6858000"/>
              <a:gd name="connsiteX3713" fmla="*/ 5672618 w 6530564"/>
              <a:gd name="connsiteY3713" fmla="*/ 1413376 h 6858000"/>
              <a:gd name="connsiteX3714" fmla="*/ 5673615 w 6530564"/>
              <a:gd name="connsiteY3714" fmla="*/ 1418048 h 6858000"/>
              <a:gd name="connsiteX3715" fmla="*/ 5656608 w 6530564"/>
              <a:gd name="connsiteY3715" fmla="*/ 1407029 h 6858000"/>
              <a:gd name="connsiteX3716" fmla="*/ 5665271 w 6530564"/>
              <a:gd name="connsiteY3716" fmla="*/ 1424714 h 6858000"/>
              <a:gd name="connsiteX3717" fmla="*/ 5639602 w 6530564"/>
              <a:gd name="connsiteY3717" fmla="*/ 1396008 h 6858000"/>
              <a:gd name="connsiteX3718" fmla="*/ 5645271 w 6530564"/>
              <a:gd name="connsiteY3718" fmla="*/ 1399681 h 6858000"/>
              <a:gd name="connsiteX3719" fmla="*/ 5654611 w 6530564"/>
              <a:gd name="connsiteY3719" fmla="*/ 1397686 h 6858000"/>
              <a:gd name="connsiteX3720" fmla="*/ 5643275 w 6530564"/>
              <a:gd name="connsiteY3720" fmla="*/ 1390339 h 6858000"/>
              <a:gd name="connsiteX3721" fmla="*/ 5642277 w 6530564"/>
              <a:gd name="connsiteY3721" fmla="*/ 1385668 h 6858000"/>
              <a:gd name="connsiteX3722" fmla="*/ 5641279 w 6530564"/>
              <a:gd name="connsiteY3722" fmla="*/ 1380997 h 6858000"/>
              <a:gd name="connsiteX3723" fmla="*/ 5645949 w 6530564"/>
              <a:gd name="connsiteY3723" fmla="*/ 1379999 h 6858000"/>
              <a:gd name="connsiteX3724" fmla="*/ 5635609 w 6530564"/>
              <a:gd name="connsiteY3724" fmla="*/ 1377324 h 6858000"/>
              <a:gd name="connsiteX3725" fmla="*/ 5629939 w 6530564"/>
              <a:gd name="connsiteY3725" fmla="*/ 1373652 h 6858000"/>
              <a:gd name="connsiteX3726" fmla="*/ 5616607 w 6530564"/>
              <a:gd name="connsiteY3726" fmla="*/ 1356962 h 6858000"/>
              <a:gd name="connsiteX3727" fmla="*/ 5622275 w 6530564"/>
              <a:gd name="connsiteY3727" fmla="*/ 1360636 h 6858000"/>
              <a:gd name="connsiteX3728" fmla="*/ 5632616 w 6530564"/>
              <a:gd name="connsiteY3728" fmla="*/ 1363312 h 6858000"/>
              <a:gd name="connsiteX3729" fmla="*/ 5620280 w 6530564"/>
              <a:gd name="connsiteY3729" fmla="*/ 1351294 h 6858000"/>
              <a:gd name="connsiteX3730" fmla="*/ 5614611 w 6530564"/>
              <a:gd name="connsiteY3730" fmla="*/ 1347621 h 6858000"/>
              <a:gd name="connsiteX3731" fmla="*/ 5608941 w 6530564"/>
              <a:gd name="connsiteY3731" fmla="*/ 1343947 h 6858000"/>
              <a:gd name="connsiteX3732" fmla="*/ 5599600 w 6530564"/>
              <a:gd name="connsiteY3732" fmla="*/ 1345945 h 6858000"/>
              <a:gd name="connsiteX3733" fmla="*/ 5606266 w 6530564"/>
              <a:gd name="connsiteY3733" fmla="*/ 1354289 h 6858000"/>
              <a:gd name="connsiteX3734" fmla="*/ 5610937 w 6530564"/>
              <a:gd name="connsiteY3734" fmla="*/ 1353291 h 6858000"/>
              <a:gd name="connsiteX3735" fmla="*/ 5616607 w 6530564"/>
              <a:gd name="connsiteY3735" fmla="*/ 1356962 h 6858000"/>
              <a:gd name="connsiteX3736" fmla="*/ 5625269 w 6530564"/>
              <a:gd name="connsiteY3736" fmla="*/ 1374649 h 6858000"/>
              <a:gd name="connsiteX3737" fmla="*/ 5619601 w 6530564"/>
              <a:gd name="connsiteY3737" fmla="*/ 1370976 h 6858000"/>
              <a:gd name="connsiteX3738" fmla="*/ 5620599 w 6530564"/>
              <a:gd name="connsiteY3738" fmla="*/ 1375646 h 6858000"/>
              <a:gd name="connsiteX3739" fmla="*/ 5621597 w 6530564"/>
              <a:gd name="connsiteY3739" fmla="*/ 1380318 h 6858000"/>
              <a:gd name="connsiteX3740" fmla="*/ 5626267 w 6530564"/>
              <a:gd name="connsiteY3740" fmla="*/ 1379320 h 6858000"/>
              <a:gd name="connsiteX3741" fmla="*/ 5631935 w 6530564"/>
              <a:gd name="connsiteY3741" fmla="*/ 1382993 h 6858000"/>
              <a:gd name="connsiteX3742" fmla="*/ 5627265 w 6530564"/>
              <a:gd name="connsiteY3742" fmla="*/ 1383992 h 6858000"/>
              <a:gd name="connsiteX3743" fmla="*/ 5632935 w 6530564"/>
              <a:gd name="connsiteY3743" fmla="*/ 1387664 h 6858000"/>
              <a:gd name="connsiteX3744" fmla="*/ 5633931 w 6530564"/>
              <a:gd name="connsiteY3744" fmla="*/ 1392336 h 6858000"/>
              <a:gd name="connsiteX3745" fmla="*/ 5594249 w 6530564"/>
              <a:gd name="connsiteY3745" fmla="*/ 1366625 h 6858000"/>
              <a:gd name="connsiteX3746" fmla="*/ 5598919 w 6530564"/>
              <a:gd name="connsiteY3746" fmla="*/ 1365626 h 6858000"/>
              <a:gd name="connsiteX3747" fmla="*/ 5603592 w 6530564"/>
              <a:gd name="connsiteY3747" fmla="*/ 1364627 h 6858000"/>
              <a:gd name="connsiteX3748" fmla="*/ 5597922 w 6530564"/>
              <a:gd name="connsiteY3748" fmla="*/ 1360955 h 6858000"/>
              <a:gd name="connsiteX3749" fmla="*/ 5593251 w 6530564"/>
              <a:gd name="connsiteY3749" fmla="*/ 1361952 h 6858000"/>
              <a:gd name="connsiteX3750" fmla="*/ 5587582 w 6530564"/>
              <a:gd name="connsiteY3750" fmla="*/ 1358280 h 6858000"/>
              <a:gd name="connsiteX3751" fmla="*/ 5574249 w 6530564"/>
              <a:gd name="connsiteY3751" fmla="*/ 1341592 h 6858000"/>
              <a:gd name="connsiteX3752" fmla="*/ 5573250 w 6530564"/>
              <a:gd name="connsiteY3752" fmla="*/ 1336920 h 6858000"/>
              <a:gd name="connsiteX3753" fmla="*/ 5567581 w 6530564"/>
              <a:gd name="connsiteY3753" fmla="*/ 1333248 h 6858000"/>
              <a:gd name="connsiteX3754" fmla="*/ 5562910 w 6530564"/>
              <a:gd name="connsiteY3754" fmla="*/ 1334245 h 6858000"/>
              <a:gd name="connsiteX3755" fmla="*/ 5563907 w 6530564"/>
              <a:gd name="connsiteY3755" fmla="*/ 1338917 h 6858000"/>
              <a:gd name="connsiteX3756" fmla="*/ 5540235 w 6530564"/>
              <a:gd name="connsiteY3756" fmla="*/ 1319554 h 6858000"/>
              <a:gd name="connsiteX3757" fmla="*/ 5534565 w 6530564"/>
              <a:gd name="connsiteY3757" fmla="*/ 1315881 h 6858000"/>
              <a:gd name="connsiteX3758" fmla="*/ 5529895 w 6530564"/>
              <a:gd name="connsiteY3758" fmla="*/ 1316878 h 6858000"/>
              <a:gd name="connsiteX3759" fmla="*/ 5530893 w 6530564"/>
              <a:gd name="connsiteY3759" fmla="*/ 1321550 h 6858000"/>
              <a:gd name="connsiteX3760" fmla="*/ 5510213 w 6530564"/>
              <a:gd name="connsiteY3760" fmla="*/ 1316199 h 6858000"/>
              <a:gd name="connsiteX3761" fmla="*/ 5439193 w 6530564"/>
              <a:gd name="connsiteY3761" fmla="*/ 1258110 h 6858000"/>
              <a:gd name="connsiteX3762" fmla="*/ 5435519 w 6530564"/>
              <a:gd name="connsiteY3762" fmla="*/ 1263778 h 6858000"/>
              <a:gd name="connsiteX3763" fmla="*/ 5434519 w 6530564"/>
              <a:gd name="connsiteY3763" fmla="*/ 1259108 h 6858000"/>
              <a:gd name="connsiteX3764" fmla="*/ 5428851 w 6530564"/>
              <a:gd name="connsiteY3764" fmla="*/ 1255434 h 6858000"/>
              <a:gd name="connsiteX3765" fmla="*/ 5429849 w 6530564"/>
              <a:gd name="connsiteY3765" fmla="*/ 1260105 h 6858000"/>
              <a:gd name="connsiteX3766" fmla="*/ 5392843 w 6530564"/>
              <a:gd name="connsiteY3766" fmla="*/ 1224054 h 6858000"/>
              <a:gd name="connsiteX3767" fmla="*/ 5384497 w 6530564"/>
              <a:gd name="connsiteY3767" fmla="*/ 1230720 h 6858000"/>
              <a:gd name="connsiteX3768" fmla="*/ 5377830 w 6530564"/>
              <a:gd name="connsiteY3768" fmla="*/ 1222376 h 6858000"/>
              <a:gd name="connsiteX3769" fmla="*/ 5366493 w 6530564"/>
              <a:gd name="connsiteY3769" fmla="*/ 1215031 h 6858000"/>
              <a:gd name="connsiteX3770" fmla="*/ 5371164 w 6530564"/>
              <a:gd name="connsiteY3770" fmla="*/ 1214034 h 6858000"/>
              <a:gd name="connsiteX3771" fmla="*/ 5370165 w 6530564"/>
              <a:gd name="connsiteY3771" fmla="*/ 1209361 h 6858000"/>
              <a:gd name="connsiteX3772" fmla="*/ 5359825 w 6530564"/>
              <a:gd name="connsiteY3772" fmla="*/ 1206686 h 6858000"/>
              <a:gd name="connsiteX3773" fmla="*/ 5355155 w 6530564"/>
              <a:gd name="connsiteY3773" fmla="*/ 1207685 h 6858000"/>
              <a:gd name="connsiteX3774" fmla="*/ 5316471 w 6530564"/>
              <a:gd name="connsiteY3774" fmla="*/ 1186644 h 6858000"/>
              <a:gd name="connsiteX3775" fmla="*/ 5328805 w 6530564"/>
              <a:gd name="connsiteY3775" fmla="*/ 1198660 h 6858000"/>
              <a:gd name="connsiteX3776" fmla="*/ 5339148 w 6530564"/>
              <a:gd name="connsiteY3776" fmla="*/ 1201337 h 6858000"/>
              <a:gd name="connsiteX3777" fmla="*/ 5339145 w 6530564"/>
              <a:gd name="connsiteY3777" fmla="*/ 1201337 h 6858000"/>
              <a:gd name="connsiteX3778" fmla="*/ 5340143 w 6530564"/>
              <a:gd name="connsiteY3778" fmla="*/ 1206007 h 6858000"/>
              <a:gd name="connsiteX3779" fmla="*/ 5345813 w 6530564"/>
              <a:gd name="connsiteY3779" fmla="*/ 1209681 h 6858000"/>
              <a:gd name="connsiteX3780" fmla="*/ 5341141 w 6530564"/>
              <a:gd name="connsiteY3780" fmla="*/ 1210678 h 6858000"/>
              <a:gd name="connsiteX3781" fmla="*/ 5335473 w 6530564"/>
              <a:gd name="connsiteY3781" fmla="*/ 1207006 h 6858000"/>
              <a:gd name="connsiteX3782" fmla="*/ 5336470 w 6530564"/>
              <a:gd name="connsiteY3782" fmla="*/ 1211676 h 6858000"/>
              <a:gd name="connsiteX3783" fmla="*/ 5342139 w 6530564"/>
              <a:gd name="connsiteY3783" fmla="*/ 1215350 h 6858000"/>
              <a:gd name="connsiteX3784" fmla="*/ 5347809 w 6530564"/>
              <a:gd name="connsiteY3784" fmla="*/ 1219022 h 6858000"/>
              <a:gd name="connsiteX3785" fmla="*/ 5337469 w 6530564"/>
              <a:gd name="connsiteY3785" fmla="*/ 1216347 h 6858000"/>
              <a:gd name="connsiteX3786" fmla="*/ 5331799 w 6530564"/>
              <a:gd name="connsiteY3786" fmla="*/ 1212674 h 6858000"/>
              <a:gd name="connsiteX3787" fmla="*/ 5326130 w 6530564"/>
              <a:gd name="connsiteY3787" fmla="*/ 1209000 h 6858000"/>
              <a:gd name="connsiteX3788" fmla="*/ 5314793 w 6530564"/>
              <a:gd name="connsiteY3788" fmla="*/ 1201655 h 6858000"/>
              <a:gd name="connsiteX3789" fmla="*/ 5316787 w 6530564"/>
              <a:gd name="connsiteY3789" fmla="*/ 1210996 h 6858000"/>
              <a:gd name="connsiteX3790" fmla="*/ 5317786 w 6530564"/>
              <a:gd name="connsiteY3790" fmla="*/ 1215668 h 6858000"/>
              <a:gd name="connsiteX3791" fmla="*/ 5294113 w 6530564"/>
              <a:gd name="connsiteY3791" fmla="*/ 1196306 h 6858000"/>
              <a:gd name="connsiteX3792" fmla="*/ 5298783 w 6530564"/>
              <a:gd name="connsiteY3792" fmla="*/ 1195307 h 6858000"/>
              <a:gd name="connsiteX3793" fmla="*/ 5297785 w 6530564"/>
              <a:gd name="connsiteY3793" fmla="*/ 1190636 h 6858000"/>
              <a:gd name="connsiteX3794" fmla="*/ 5293114 w 6530564"/>
              <a:gd name="connsiteY3794" fmla="*/ 1191633 h 6858000"/>
              <a:gd name="connsiteX3795" fmla="*/ 5288443 w 6530564"/>
              <a:gd name="connsiteY3795" fmla="*/ 1192631 h 6858000"/>
              <a:gd name="connsiteX3796" fmla="*/ 5282775 w 6530564"/>
              <a:gd name="connsiteY3796" fmla="*/ 1188958 h 6858000"/>
              <a:gd name="connsiteX3797" fmla="*/ 5265767 w 6530564"/>
              <a:gd name="connsiteY3797" fmla="*/ 1177939 h 6858000"/>
              <a:gd name="connsiteX3798" fmla="*/ 5237741 w 6530564"/>
              <a:gd name="connsiteY3798" fmla="*/ 1183927 h 6858000"/>
              <a:gd name="connsiteX3799" fmla="*/ 5264090 w 6530564"/>
              <a:gd name="connsiteY3799" fmla="*/ 1192949 h 6858000"/>
              <a:gd name="connsiteX3800" fmla="*/ 5254749 w 6530564"/>
              <a:gd name="connsiteY3800" fmla="*/ 1194947 h 6858000"/>
              <a:gd name="connsiteX3801" fmla="*/ 5255746 w 6530564"/>
              <a:gd name="connsiteY3801" fmla="*/ 1199616 h 6858000"/>
              <a:gd name="connsiteX3802" fmla="*/ 5210394 w 6530564"/>
              <a:gd name="connsiteY3802" fmla="*/ 1170233 h 6858000"/>
              <a:gd name="connsiteX3803" fmla="*/ 5166041 w 6530564"/>
              <a:gd name="connsiteY3803" fmla="*/ 1145520 h 6858000"/>
              <a:gd name="connsiteX3804" fmla="*/ 5175383 w 6530564"/>
              <a:gd name="connsiteY3804" fmla="*/ 1143524 h 6858000"/>
              <a:gd name="connsiteX3805" fmla="*/ 5152707 w 6530564"/>
              <a:gd name="connsiteY3805" fmla="*/ 1128832 h 6858000"/>
              <a:gd name="connsiteX3806" fmla="*/ 5132025 w 6530564"/>
              <a:gd name="connsiteY3806" fmla="*/ 1123480 h 6858000"/>
              <a:gd name="connsiteX3807" fmla="*/ 5122685 w 6530564"/>
              <a:gd name="connsiteY3807" fmla="*/ 1125476 h 6858000"/>
              <a:gd name="connsiteX3808" fmla="*/ 5046313 w 6530564"/>
              <a:gd name="connsiteY3808" fmla="*/ 1088067 h 6858000"/>
              <a:gd name="connsiteX3809" fmla="*/ 5030303 w 6530564"/>
              <a:gd name="connsiteY3809" fmla="*/ 1081718 h 6858000"/>
              <a:gd name="connsiteX3810" fmla="*/ 5086675 w 6530564"/>
              <a:gd name="connsiteY3810" fmla="*/ 1094097 h 6858000"/>
              <a:gd name="connsiteX3811" fmla="*/ 5085676 w 6530564"/>
              <a:gd name="connsiteY3811" fmla="*/ 1089426 h 6858000"/>
              <a:gd name="connsiteX3812" fmla="*/ 5095019 w 6530564"/>
              <a:gd name="connsiteY3812" fmla="*/ 1087429 h 6858000"/>
              <a:gd name="connsiteX3813" fmla="*/ 5029307 w 6530564"/>
              <a:gd name="connsiteY3813" fmla="*/ 1077048 h 6858000"/>
              <a:gd name="connsiteX3814" fmla="*/ 5028309 w 6530564"/>
              <a:gd name="connsiteY3814" fmla="*/ 1072377 h 6858000"/>
              <a:gd name="connsiteX3815" fmla="*/ 5032979 w 6530564"/>
              <a:gd name="connsiteY3815" fmla="*/ 1071380 h 6858000"/>
              <a:gd name="connsiteX3816" fmla="*/ 5027310 w 6530564"/>
              <a:gd name="connsiteY3816" fmla="*/ 1067706 h 6858000"/>
              <a:gd name="connsiteX3817" fmla="*/ 5005631 w 6530564"/>
              <a:gd name="connsiteY3817" fmla="*/ 1057685 h 6858000"/>
              <a:gd name="connsiteX3818" fmla="*/ 5000961 w 6530564"/>
              <a:gd name="connsiteY3818" fmla="*/ 1058683 h 6858000"/>
              <a:gd name="connsiteX3819" fmla="*/ 4995291 w 6530564"/>
              <a:gd name="connsiteY3819" fmla="*/ 1055010 h 6858000"/>
              <a:gd name="connsiteX3820" fmla="*/ 4983954 w 6530564"/>
              <a:gd name="connsiteY3820" fmla="*/ 1047662 h 6858000"/>
              <a:gd name="connsiteX3821" fmla="*/ 4982957 w 6530564"/>
              <a:gd name="connsiteY3821" fmla="*/ 1042992 h 6858000"/>
              <a:gd name="connsiteX3822" fmla="*/ 4977287 w 6530564"/>
              <a:gd name="connsiteY3822" fmla="*/ 1039320 h 6858000"/>
              <a:gd name="connsiteX3823" fmla="*/ 4973614 w 6530564"/>
              <a:gd name="connsiteY3823" fmla="*/ 1044988 h 6858000"/>
              <a:gd name="connsiteX3824" fmla="*/ 4942594 w 6530564"/>
              <a:gd name="connsiteY3824" fmla="*/ 1036963 h 6858000"/>
              <a:gd name="connsiteX3825" fmla="*/ 4947265 w 6530564"/>
              <a:gd name="connsiteY3825" fmla="*/ 1035964 h 6858000"/>
              <a:gd name="connsiteX3826" fmla="*/ 4946267 w 6530564"/>
              <a:gd name="connsiteY3826" fmla="*/ 1031294 h 6858000"/>
              <a:gd name="connsiteX3827" fmla="*/ 4941597 w 6530564"/>
              <a:gd name="connsiteY3827" fmla="*/ 1032293 h 6858000"/>
              <a:gd name="connsiteX3828" fmla="*/ 4936925 w 6530564"/>
              <a:gd name="connsiteY3828" fmla="*/ 1033290 h 6858000"/>
              <a:gd name="connsiteX3829" fmla="*/ 4921914 w 6530564"/>
              <a:gd name="connsiteY3829" fmla="*/ 1031612 h 6858000"/>
              <a:gd name="connsiteX3830" fmla="*/ 4927583 w 6530564"/>
              <a:gd name="connsiteY3830" fmla="*/ 1035286 h 6858000"/>
              <a:gd name="connsiteX3831" fmla="*/ 4973614 w 6530564"/>
              <a:gd name="connsiteY3831" fmla="*/ 1044988 h 6858000"/>
              <a:gd name="connsiteX3832" fmla="*/ 4964271 w 6530564"/>
              <a:gd name="connsiteY3832" fmla="*/ 1046983 h 6858000"/>
              <a:gd name="connsiteX3833" fmla="*/ 4965270 w 6530564"/>
              <a:gd name="connsiteY3833" fmla="*/ 1051656 h 6858000"/>
              <a:gd name="connsiteX3834" fmla="*/ 4969940 w 6530564"/>
              <a:gd name="connsiteY3834" fmla="*/ 1050657 h 6858000"/>
              <a:gd name="connsiteX3835" fmla="*/ 4975610 w 6530564"/>
              <a:gd name="connsiteY3835" fmla="*/ 1054330 h 6858000"/>
              <a:gd name="connsiteX3836" fmla="*/ 4980281 w 6530564"/>
              <a:gd name="connsiteY3836" fmla="*/ 1053332 h 6858000"/>
              <a:gd name="connsiteX3837" fmla="*/ 4976607 w 6530564"/>
              <a:gd name="connsiteY3837" fmla="*/ 1059002 h 6858000"/>
              <a:gd name="connsiteX3838" fmla="*/ 4945587 w 6530564"/>
              <a:gd name="connsiteY3838" fmla="*/ 1050975 h 6858000"/>
              <a:gd name="connsiteX3839" fmla="*/ 4888638 w 6530564"/>
              <a:gd name="connsiteY3839" fmla="*/ 1030174 h 6858000"/>
              <a:gd name="connsiteX3840" fmla="*/ 4883576 w 6530564"/>
              <a:gd name="connsiteY3840" fmla="*/ 1028576 h 6858000"/>
              <a:gd name="connsiteX3841" fmla="*/ 4677737 w 6530564"/>
              <a:gd name="connsiteY3841" fmla="*/ 918554 h 6858000"/>
              <a:gd name="connsiteX3842" fmla="*/ 4486061 w 6530564"/>
              <a:gd name="connsiteY3842" fmla="*/ 866223 h 6858000"/>
              <a:gd name="connsiteX3843" fmla="*/ 4048372 w 6530564"/>
              <a:gd name="connsiteY3843" fmla="*/ 829950 h 6858000"/>
              <a:gd name="connsiteX3844" fmla="*/ 2878191 w 6530564"/>
              <a:gd name="connsiteY3844" fmla="*/ 1029255 h 6858000"/>
              <a:gd name="connsiteX3845" fmla="*/ 2628640 w 6530564"/>
              <a:gd name="connsiteY3845" fmla="*/ 1161658 h 6858000"/>
              <a:gd name="connsiteX3846" fmla="*/ 2250745 w 6530564"/>
              <a:gd name="connsiteY3846" fmla="*/ 1414763 h 6858000"/>
              <a:gd name="connsiteX3847" fmla="*/ 2208076 w 6530564"/>
              <a:gd name="connsiteY3847" fmla="*/ 1423878 h 6858000"/>
              <a:gd name="connsiteX3848" fmla="*/ 2202136 w 6530564"/>
              <a:gd name="connsiteY3848" fmla="*/ 1413869 h 6858000"/>
              <a:gd name="connsiteX3849" fmla="*/ 2202084 w 6530564"/>
              <a:gd name="connsiteY3849" fmla="*/ 1411629 h 6858000"/>
              <a:gd name="connsiteX3850" fmla="*/ 2206238 w 6530564"/>
              <a:gd name="connsiteY3850" fmla="*/ 1407817 h 6858000"/>
              <a:gd name="connsiteX3851" fmla="*/ 2786866 w 6530564"/>
              <a:gd name="connsiteY3851" fmla="*/ 1028640 h 6858000"/>
              <a:gd name="connsiteX3852" fmla="*/ 2792535 w 6530564"/>
              <a:gd name="connsiteY3852" fmla="*/ 1032314 h 6858000"/>
              <a:gd name="connsiteX3853" fmla="*/ 2797204 w 6530564"/>
              <a:gd name="connsiteY3853" fmla="*/ 1031315 h 6858000"/>
              <a:gd name="connsiteX3854" fmla="*/ 2802875 w 6530564"/>
              <a:gd name="connsiteY3854" fmla="*/ 1034988 h 6858000"/>
              <a:gd name="connsiteX3855" fmla="*/ 2794529 w 6530564"/>
              <a:gd name="connsiteY3855" fmla="*/ 1041655 h 6858000"/>
              <a:gd name="connsiteX3856" fmla="*/ 2795528 w 6530564"/>
              <a:gd name="connsiteY3856" fmla="*/ 1046327 h 6858000"/>
              <a:gd name="connsiteX3857" fmla="*/ 2800199 w 6530564"/>
              <a:gd name="connsiteY3857" fmla="*/ 1045328 h 6858000"/>
              <a:gd name="connsiteX3858" fmla="*/ 2804871 w 6530564"/>
              <a:gd name="connsiteY3858" fmla="*/ 1044330 h 6858000"/>
              <a:gd name="connsiteX3859" fmla="*/ 2808543 w 6530564"/>
              <a:gd name="connsiteY3859" fmla="*/ 1038660 h 6858000"/>
              <a:gd name="connsiteX3860" fmla="*/ 2813215 w 6530564"/>
              <a:gd name="connsiteY3860" fmla="*/ 1037663 h 6858000"/>
              <a:gd name="connsiteX3861" fmla="*/ 2829222 w 6530564"/>
              <a:gd name="connsiteY3861" fmla="*/ 1044011 h 6858000"/>
              <a:gd name="connsiteX3862" fmla="*/ 2830901 w 6530564"/>
              <a:gd name="connsiteY3862" fmla="*/ 1029001 h 6858000"/>
              <a:gd name="connsiteX3863" fmla="*/ 2826228 w 6530564"/>
              <a:gd name="connsiteY3863" fmla="*/ 1029998 h 6858000"/>
              <a:gd name="connsiteX3864" fmla="*/ 2825231 w 6530564"/>
              <a:gd name="connsiteY3864" fmla="*/ 1025328 h 6858000"/>
              <a:gd name="connsiteX3865" fmla="*/ 2811218 w 6530564"/>
              <a:gd name="connsiteY3865" fmla="*/ 1028322 h 6858000"/>
              <a:gd name="connsiteX3866" fmla="*/ 2807546 w 6530564"/>
              <a:gd name="connsiteY3866" fmla="*/ 1033990 h 6858000"/>
              <a:gd name="connsiteX3867" fmla="*/ 2810219 w 6530564"/>
              <a:gd name="connsiteY3867" fmla="*/ 1023650 h 6858000"/>
              <a:gd name="connsiteX3868" fmla="*/ 2814891 w 6530564"/>
              <a:gd name="connsiteY3868" fmla="*/ 1022653 h 6858000"/>
              <a:gd name="connsiteX3869" fmla="*/ 2823235 w 6530564"/>
              <a:gd name="connsiteY3869" fmla="*/ 1015986 h 6858000"/>
              <a:gd name="connsiteX3870" fmla="*/ 2818565 w 6530564"/>
              <a:gd name="connsiteY3870" fmla="*/ 1016983 h 6858000"/>
              <a:gd name="connsiteX3871" fmla="*/ 3037465 w 6530564"/>
              <a:gd name="connsiteY3871" fmla="*/ 921374 h 6858000"/>
              <a:gd name="connsiteX3872" fmla="*/ 3058147 w 6530564"/>
              <a:gd name="connsiteY3872" fmla="*/ 926725 h 6858000"/>
              <a:gd name="connsiteX3873" fmla="*/ 3046809 w 6530564"/>
              <a:gd name="connsiteY3873" fmla="*/ 919377 h 6858000"/>
              <a:gd name="connsiteX3874" fmla="*/ 3051479 w 6530564"/>
              <a:gd name="connsiteY3874" fmla="*/ 918379 h 6858000"/>
              <a:gd name="connsiteX3875" fmla="*/ 3499823 w 6530564"/>
              <a:gd name="connsiteY3875" fmla="*/ 793288 h 6858000"/>
              <a:gd name="connsiteX3876" fmla="*/ 3644023 w 6530564"/>
              <a:gd name="connsiteY3876" fmla="*/ 771778 h 6858000"/>
              <a:gd name="connsiteX3877" fmla="*/ 3664087 w 6530564"/>
              <a:gd name="connsiteY3877" fmla="*/ 769873 h 6858000"/>
              <a:gd name="connsiteX3878" fmla="*/ 3801298 w 6530564"/>
              <a:gd name="connsiteY3878" fmla="*/ 765118 h 6858000"/>
              <a:gd name="connsiteX3879" fmla="*/ 3849108 w 6530564"/>
              <a:gd name="connsiteY3879" fmla="*/ 758706 h 6858000"/>
              <a:gd name="connsiteX3880" fmla="*/ 3858639 w 6530564"/>
              <a:gd name="connsiteY3880" fmla="*/ 750773 h 6858000"/>
              <a:gd name="connsiteX3881" fmla="*/ 1876892 w 6530564"/>
              <a:gd name="connsiteY3881" fmla="*/ 560831 h 6858000"/>
              <a:gd name="connsiteX3882" fmla="*/ 1898421 w 6530564"/>
              <a:gd name="connsiteY3882" fmla="*/ 560831 h 6858000"/>
              <a:gd name="connsiteX3883" fmla="*/ 1793475 w 6530564"/>
              <a:gd name="connsiteY3883" fmla="*/ 681915 h 6858000"/>
              <a:gd name="connsiteX3884" fmla="*/ 776305 w 6530564"/>
              <a:gd name="connsiteY3884" fmla="*/ 2172579 h 6858000"/>
              <a:gd name="connsiteX3885" fmla="*/ 760159 w 6530564"/>
              <a:gd name="connsiteY3885" fmla="*/ 2226393 h 6858000"/>
              <a:gd name="connsiteX3886" fmla="*/ 674049 w 6530564"/>
              <a:gd name="connsiteY3886" fmla="*/ 2724179 h 6858000"/>
              <a:gd name="connsiteX3887" fmla="*/ 622922 w 6530564"/>
              <a:gd name="connsiteY3887" fmla="*/ 3181602 h 6858000"/>
              <a:gd name="connsiteX3888" fmla="*/ 668667 w 6530564"/>
              <a:gd name="connsiteY3888" fmla="*/ 3073973 h 6858000"/>
              <a:gd name="connsiteX3889" fmla="*/ 725177 w 6530564"/>
              <a:gd name="connsiteY3889" fmla="*/ 2664982 h 6858000"/>
              <a:gd name="connsiteX3890" fmla="*/ 1438272 w 6530564"/>
              <a:gd name="connsiteY3890" fmla="*/ 1155483 h 6858000"/>
              <a:gd name="connsiteX3891" fmla="*/ 1629328 w 6530564"/>
              <a:gd name="connsiteY3891" fmla="*/ 999420 h 6858000"/>
              <a:gd name="connsiteX3892" fmla="*/ 1669692 w 6530564"/>
              <a:gd name="connsiteY3892" fmla="*/ 929461 h 6858000"/>
              <a:gd name="connsiteX3893" fmla="*/ 1739655 w 6530564"/>
              <a:gd name="connsiteY3893" fmla="*/ 848740 h 6858000"/>
              <a:gd name="connsiteX3894" fmla="*/ 1817693 w 6530564"/>
              <a:gd name="connsiteY3894" fmla="*/ 837977 h 6858000"/>
              <a:gd name="connsiteX3895" fmla="*/ 1715438 w 6530564"/>
              <a:gd name="connsiteY3895" fmla="*/ 953679 h 6858000"/>
              <a:gd name="connsiteX3896" fmla="*/ 1403290 w 6530564"/>
              <a:gd name="connsiteY3896" fmla="*/ 1335761 h 6858000"/>
              <a:gd name="connsiteX3897" fmla="*/ 1352163 w 6530564"/>
              <a:gd name="connsiteY3897" fmla="*/ 1448772 h 6858000"/>
              <a:gd name="connsiteX3898" fmla="*/ 1314489 w 6530564"/>
              <a:gd name="connsiteY3898" fmla="*/ 1532185 h 6858000"/>
              <a:gd name="connsiteX3899" fmla="*/ 1072307 w 6530564"/>
              <a:gd name="connsiteY3899" fmla="*/ 1965393 h 6858000"/>
              <a:gd name="connsiteX3900" fmla="*/ 1069616 w 6530564"/>
              <a:gd name="connsiteY3900" fmla="*/ 1997681 h 6858000"/>
              <a:gd name="connsiteX3901" fmla="*/ 1099217 w 6530564"/>
              <a:gd name="connsiteY3901" fmla="*/ 1970774 h 6858000"/>
              <a:gd name="connsiteX3902" fmla="*/ 1494782 w 6530564"/>
              <a:gd name="connsiteY3902" fmla="*/ 1327690 h 6858000"/>
              <a:gd name="connsiteX3903" fmla="*/ 1510927 w 6530564"/>
              <a:gd name="connsiteY3903" fmla="*/ 1303472 h 6858000"/>
              <a:gd name="connsiteX3904" fmla="*/ 1540528 w 6530564"/>
              <a:gd name="connsiteY3904" fmla="*/ 1300782 h 6858000"/>
              <a:gd name="connsiteX3905" fmla="*/ 1540528 w 6530564"/>
              <a:gd name="connsiteY3905" fmla="*/ 1330381 h 6858000"/>
              <a:gd name="connsiteX3906" fmla="*/ 1217616 w 6530564"/>
              <a:gd name="connsiteY3906" fmla="*/ 1836238 h 6858000"/>
              <a:gd name="connsiteX3907" fmla="*/ 1201472 w 6530564"/>
              <a:gd name="connsiteY3907" fmla="*/ 1865836 h 6858000"/>
              <a:gd name="connsiteX3908" fmla="*/ 1034634 w 6530564"/>
              <a:gd name="connsiteY3908" fmla="*/ 2315188 h 6858000"/>
              <a:gd name="connsiteX3909" fmla="*/ 886633 w 6530564"/>
              <a:gd name="connsiteY3909" fmla="*/ 3316138 h 6858000"/>
              <a:gd name="connsiteX3910" fmla="*/ 886633 w 6530564"/>
              <a:gd name="connsiteY3910" fmla="*/ 3345737 h 6858000"/>
              <a:gd name="connsiteX3911" fmla="*/ 910852 w 6530564"/>
              <a:gd name="connsiteY3911" fmla="*/ 3286541 h 6858000"/>
              <a:gd name="connsiteX3912" fmla="*/ 912039 w 6530564"/>
              <a:gd name="connsiteY3912" fmla="*/ 3267394 h 6858000"/>
              <a:gd name="connsiteX3913" fmla="*/ 911945 w 6530564"/>
              <a:gd name="connsiteY3913" fmla="*/ 3235898 h 6858000"/>
              <a:gd name="connsiteX3914" fmla="*/ 932891 w 6530564"/>
              <a:gd name="connsiteY3914" fmla="*/ 2963742 h 6858000"/>
              <a:gd name="connsiteX3915" fmla="*/ 935203 w 6530564"/>
              <a:gd name="connsiteY3915" fmla="*/ 2950827 h 6858000"/>
              <a:gd name="connsiteX3916" fmla="*/ 936942 w 6530564"/>
              <a:gd name="connsiteY3916" fmla="*/ 2948948 h 6858000"/>
              <a:gd name="connsiteX3917" fmla="*/ 967110 w 6530564"/>
              <a:gd name="connsiteY3917" fmla="*/ 2742550 h 6858000"/>
              <a:gd name="connsiteX3918" fmla="*/ 1653547 w 6530564"/>
              <a:gd name="connsiteY3918" fmla="*/ 1308854 h 6858000"/>
              <a:gd name="connsiteX3919" fmla="*/ 2092167 w 6530564"/>
              <a:gd name="connsiteY3919" fmla="*/ 889101 h 6858000"/>
              <a:gd name="connsiteX3920" fmla="*/ 2137913 w 6530564"/>
              <a:gd name="connsiteY3920" fmla="*/ 856811 h 6858000"/>
              <a:gd name="connsiteX3921" fmla="*/ 2108312 w 6530564"/>
              <a:gd name="connsiteY3921" fmla="*/ 940224 h 6858000"/>
              <a:gd name="connsiteX3922" fmla="*/ 2046421 w 6530564"/>
              <a:gd name="connsiteY3922" fmla="*/ 1055926 h 6858000"/>
              <a:gd name="connsiteX3923" fmla="*/ 2016821 w 6530564"/>
              <a:gd name="connsiteY3923" fmla="*/ 1093597 h 6858000"/>
              <a:gd name="connsiteX3924" fmla="*/ 1774638 w 6530564"/>
              <a:gd name="connsiteY3924" fmla="*/ 1349215 h 6858000"/>
              <a:gd name="connsiteX3925" fmla="*/ 1777328 w 6530564"/>
              <a:gd name="connsiteY3925" fmla="*/ 1386886 h 6858000"/>
              <a:gd name="connsiteX3926" fmla="*/ 1766565 w 6530564"/>
              <a:gd name="connsiteY3926" fmla="*/ 1421865 h 6858000"/>
              <a:gd name="connsiteX3927" fmla="*/ 1352163 w 6530564"/>
              <a:gd name="connsiteY3927" fmla="*/ 2091856 h 6858000"/>
              <a:gd name="connsiteX3928" fmla="*/ 1101907 w 6530564"/>
              <a:gd name="connsiteY3928" fmla="*/ 3087427 h 6858000"/>
              <a:gd name="connsiteX3929" fmla="*/ 1102580 w 6530564"/>
              <a:gd name="connsiteY3929" fmla="*/ 3094154 h 6858000"/>
              <a:gd name="connsiteX3930" fmla="*/ 1104570 w 6530564"/>
              <a:gd name="connsiteY3930" fmla="*/ 3100406 h 6858000"/>
              <a:gd name="connsiteX3931" fmla="*/ 1113843 w 6530564"/>
              <a:gd name="connsiteY3931" fmla="*/ 2999101 h 6858000"/>
              <a:gd name="connsiteX3932" fmla="*/ 1236682 w 6530564"/>
              <a:gd name="connsiteY3932" fmla="*/ 2487179 h 6858000"/>
              <a:gd name="connsiteX3933" fmla="*/ 1249712 w 6530564"/>
              <a:gd name="connsiteY3933" fmla="*/ 2472227 h 6858000"/>
              <a:gd name="connsiteX3934" fmla="*/ 1144152 w 6530564"/>
              <a:gd name="connsiteY3934" fmla="*/ 2998820 h 6858000"/>
              <a:gd name="connsiteX3935" fmla="*/ 1143877 w 6530564"/>
              <a:gd name="connsiteY3935" fmla="*/ 3001792 h 6858000"/>
              <a:gd name="connsiteX3936" fmla="*/ 1144625 w 6530564"/>
              <a:gd name="connsiteY3936" fmla="*/ 2999599 h 6858000"/>
              <a:gd name="connsiteX3937" fmla="*/ 1220307 w 6530564"/>
              <a:gd name="connsiteY3937" fmla="*/ 2673054 h 6858000"/>
              <a:gd name="connsiteX3938" fmla="*/ 1182634 w 6530564"/>
              <a:gd name="connsiteY3938" fmla="*/ 3001323 h 6858000"/>
              <a:gd name="connsiteX3939" fmla="*/ 1177230 w 6530564"/>
              <a:gd name="connsiteY3939" fmla="*/ 3017964 h 6858000"/>
              <a:gd name="connsiteX3940" fmla="*/ 1193129 w 6530564"/>
              <a:gd name="connsiteY3940" fmla="*/ 3023733 h 6858000"/>
              <a:gd name="connsiteX3941" fmla="*/ 1207684 w 6530564"/>
              <a:gd name="connsiteY3941" fmla="*/ 3006427 h 6858000"/>
              <a:gd name="connsiteX3942" fmla="*/ 1314361 w 6530564"/>
              <a:gd name="connsiteY3942" fmla="*/ 2537505 h 6858000"/>
              <a:gd name="connsiteX3943" fmla="*/ 1324018 w 6530564"/>
              <a:gd name="connsiteY3943" fmla="*/ 2510631 h 6858000"/>
              <a:gd name="connsiteX3944" fmla="*/ 1336954 w 6530564"/>
              <a:gd name="connsiteY3944" fmla="*/ 2510369 h 6858000"/>
              <a:gd name="connsiteX3945" fmla="*/ 1346335 w 6530564"/>
              <a:gd name="connsiteY3945" fmla="*/ 2515455 h 6858000"/>
              <a:gd name="connsiteX3946" fmla="*/ 1341475 w 6530564"/>
              <a:gd name="connsiteY3946" fmla="*/ 2526822 h 6858000"/>
              <a:gd name="connsiteX3947" fmla="*/ 1206129 w 6530564"/>
              <a:gd name="connsiteY3947" fmla="*/ 3017246 h 6858000"/>
              <a:gd name="connsiteX3948" fmla="*/ 1190428 w 6530564"/>
              <a:gd name="connsiteY3948" fmla="*/ 3134619 h 6858000"/>
              <a:gd name="connsiteX3949" fmla="*/ 1188018 w 6530564"/>
              <a:gd name="connsiteY3949" fmla="*/ 3178911 h 6858000"/>
              <a:gd name="connsiteX3950" fmla="*/ 1189026 w 6530564"/>
              <a:gd name="connsiteY3950" fmla="*/ 3548551 h 6858000"/>
              <a:gd name="connsiteX3951" fmla="*/ 1205813 w 6530564"/>
              <a:gd name="connsiteY3951" fmla="*/ 3671558 h 6858000"/>
              <a:gd name="connsiteX3952" fmla="*/ 1210772 w 6530564"/>
              <a:gd name="connsiteY3952" fmla="*/ 3356381 h 6858000"/>
              <a:gd name="connsiteX3953" fmla="*/ 1341421 w 6530564"/>
              <a:gd name="connsiteY3953" fmla="*/ 2696971 h 6858000"/>
              <a:gd name="connsiteX3954" fmla="*/ 1356818 w 6530564"/>
              <a:gd name="connsiteY3954" fmla="*/ 2655264 h 6858000"/>
              <a:gd name="connsiteX3955" fmla="*/ 1364300 w 6530564"/>
              <a:gd name="connsiteY3955" fmla="*/ 2638368 h 6858000"/>
              <a:gd name="connsiteX3956" fmla="*/ 1403642 w 6530564"/>
              <a:gd name="connsiteY3956" fmla="*/ 2528432 h 6858000"/>
              <a:gd name="connsiteX3957" fmla="*/ 1418816 w 6530564"/>
              <a:gd name="connsiteY3957" fmla="*/ 2487337 h 6858000"/>
              <a:gd name="connsiteX3958" fmla="*/ 1885305 w 6530564"/>
              <a:gd name="connsiteY3958" fmla="*/ 1726888 h 6858000"/>
              <a:gd name="connsiteX3959" fmla="*/ 1887481 w 6530564"/>
              <a:gd name="connsiteY3959" fmla="*/ 1724542 h 6858000"/>
              <a:gd name="connsiteX3960" fmla="*/ 1876956 w 6530564"/>
              <a:gd name="connsiteY3960" fmla="*/ 1747601 h 6858000"/>
              <a:gd name="connsiteX3961" fmla="*/ 1845344 w 6530564"/>
              <a:gd name="connsiteY3961" fmla="*/ 1795419 h 6858000"/>
              <a:gd name="connsiteX3962" fmla="*/ 1341756 w 6530564"/>
              <a:gd name="connsiteY3962" fmla="*/ 3026454 h 6858000"/>
              <a:gd name="connsiteX3963" fmla="*/ 1338404 w 6530564"/>
              <a:gd name="connsiteY3963" fmla="*/ 3067727 h 6858000"/>
              <a:gd name="connsiteX3964" fmla="*/ 1352994 w 6530564"/>
              <a:gd name="connsiteY3964" fmla="*/ 3439768 h 6858000"/>
              <a:gd name="connsiteX3965" fmla="*/ 1386580 w 6530564"/>
              <a:gd name="connsiteY3965" fmla="*/ 3777331 h 6858000"/>
              <a:gd name="connsiteX3966" fmla="*/ 1402977 w 6530564"/>
              <a:gd name="connsiteY3966" fmla="*/ 3692713 h 6858000"/>
              <a:gd name="connsiteX3967" fmla="*/ 1380729 w 6530564"/>
              <a:gd name="connsiteY3967" fmla="*/ 3389229 h 6858000"/>
              <a:gd name="connsiteX3968" fmla="*/ 1662254 w 6530564"/>
              <a:gd name="connsiteY3968" fmla="*/ 2191442 h 6858000"/>
              <a:gd name="connsiteX3969" fmla="*/ 1775928 w 6530564"/>
              <a:gd name="connsiteY3969" fmla="*/ 2049539 h 6858000"/>
              <a:gd name="connsiteX3970" fmla="*/ 1794248 w 6530564"/>
              <a:gd name="connsiteY3970" fmla="*/ 1992901 h 6858000"/>
              <a:gd name="connsiteX3971" fmla="*/ 1832245 w 6530564"/>
              <a:gd name="connsiteY3971" fmla="*/ 1923946 h 6858000"/>
              <a:gd name="connsiteX3972" fmla="*/ 1886833 w 6530564"/>
              <a:gd name="connsiteY3972" fmla="*/ 1904172 h 6858000"/>
              <a:gd name="connsiteX3973" fmla="*/ 1830946 w 6530564"/>
              <a:gd name="connsiteY3973" fmla="*/ 2003310 h 6858000"/>
              <a:gd name="connsiteX3974" fmla="*/ 1664800 w 6530564"/>
              <a:gd name="connsiteY3974" fmla="*/ 2326766 h 6858000"/>
              <a:gd name="connsiteX3975" fmla="*/ 1645352 w 6530564"/>
              <a:gd name="connsiteY3975" fmla="*/ 2416092 h 6858000"/>
              <a:gd name="connsiteX3976" fmla="*/ 1631044 w 6530564"/>
              <a:gd name="connsiteY3976" fmla="*/ 2482013 h 6858000"/>
              <a:gd name="connsiteX3977" fmla="*/ 1523196 w 6530564"/>
              <a:gd name="connsiteY3977" fmla="*/ 2831542 h 6858000"/>
              <a:gd name="connsiteX3978" fmla="*/ 1526229 w 6530564"/>
              <a:gd name="connsiteY3978" fmla="*/ 2855229 h 6858000"/>
              <a:gd name="connsiteX3979" fmla="*/ 1534614 w 6530564"/>
              <a:gd name="connsiteY3979" fmla="*/ 2850072 h 6858000"/>
              <a:gd name="connsiteX3980" fmla="*/ 1531478 w 6530564"/>
              <a:gd name="connsiteY3980" fmla="*/ 2868343 h 6858000"/>
              <a:gd name="connsiteX3981" fmla="*/ 1530525 w 6530564"/>
              <a:gd name="connsiteY3981" fmla="*/ 2870743 h 6858000"/>
              <a:gd name="connsiteX3982" fmla="*/ 1530643 w 6530564"/>
              <a:gd name="connsiteY3982" fmla="*/ 2867299 h 6858000"/>
              <a:gd name="connsiteX3983" fmla="*/ 1527396 w 6530564"/>
              <a:gd name="connsiteY3983" fmla="*/ 2860667 h 6858000"/>
              <a:gd name="connsiteX3984" fmla="*/ 1520049 w 6530564"/>
              <a:gd name="connsiteY3984" fmla="*/ 2872005 h 6858000"/>
              <a:gd name="connsiteX3985" fmla="*/ 1521048 w 6530564"/>
              <a:gd name="connsiteY3985" fmla="*/ 2876676 h 6858000"/>
              <a:gd name="connsiteX3986" fmla="*/ 1521727 w 6530564"/>
              <a:gd name="connsiteY3986" fmla="*/ 2856995 h 6858000"/>
              <a:gd name="connsiteX3987" fmla="*/ 1511385 w 6530564"/>
              <a:gd name="connsiteY3987" fmla="*/ 2854318 h 6858000"/>
              <a:gd name="connsiteX3988" fmla="*/ 1498690 w 6530564"/>
              <a:gd name="connsiteY3988" fmla="*/ 2886335 h 6858000"/>
              <a:gd name="connsiteX3989" fmla="*/ 1499687 w 6530564"/>
              <a:gd name="connsiteY3989" fmla="*/ 2891007 h 6858000"/>
              <a:gd name="connsiteX3990" fmla="*/ 1495017 w 6530564"/>
              <a:gd name="connsiteY3990" fmla="*/ 2892005 h 6858000"/>
              <a:gd name="connsiteX3991" fmla="*/ 1496015 w 6530564"/>
              <a:gd name="connsiteY3991" fmla="*/ 2896677 h 6858000"/>
              <a:gd name="connsiteX3992" fmla="*/ 1497013 w 6530564"/>
              <a:gd name="connsiteY3992" fmla="*/ 2901348 h 6858000"/>
              <a:gd name="connsiteX3993" fmla="*/ 1500687 w 6530564"/>
              <a:gd name="connsiteY3993" fmla="*/ 2895679 h 6858000"/>
              <a:gd name="connsiteX3994" fmla="*/ 1500005 w 6530564"/>
              <a:gd name="connsiteY3994" fmla="*/ 2915361 h 6858000"/>
              <a:gd name="connsiteX3995" fmla="*/ 1504677 w 6530564"/>
              <a:gd name="connsiteY3995" fmla="*/ 2914363 h 6858000"/>
              <a:gd name="connsiteX3996" fmla="*/ 1514701 w 6530564"/>
              <a:gd name="connsiteY3996" fmla="*/ 2892685 h 6858000"/>
              <a:gd name="connsiteX3997" fmla="*/ 1519370 w 6530564"/>
              <a:gd name="connsiteY3997" fmla="*/ 2891687 h 6858000"/>
              <a:gd name="connsiteX3998" fmla="*/ 1515697 w 6530564"/>
              <a:gd name="connsiteY3998" fmla="*/ 2897355 h 6858000"/>
              <a:gd name="connsiteX3999" fmla="*/ 1522365 w 6530564"/>
              <a:gd name="connsiteY3999" fmla="*/ 2905700 h 6858000"/>
              <a:gd name="connsiteX4000" fmla="*/ 1525039 w 6530564"/>
              <a:gd name="connsiteY4000" fmla="*/ 2895360 h 6858000"/>
              <a:gd name="connsiteX4001" fmla="*/ 1524041 w 6530564"/>
              <a:gd name="connsiteY4001" fmla="*/ 2890688 h 6858000"/>
              <a:gd name="connsiteX4002" fmla="*/ 1527714 w 6530564"/>
              <a:gd name="connsiteY4002" fmla="*/ 2885020 h 6858000"/>
              <a:gd name="connsiteX4003" fmla="*/ 1518010 w 6530564"/>
              <a:gd name="connsiteY4003" fmla="*/ 2931050 h 6858000"/>
              <a:gd name="connsiteX4004" fmla="*/ 1529349 w 6530564"/>
              <a:gd name="connsiteY4004" fmla="*/ 2938396 h 6858000"/>
              <a:gd name="connsiteX4005" fmla="*/ 1530348 w 6530564"/>
              <a:gd name="connsiteY4005" fmla="*/ 2943068 h 6858000"/>
              <a:gd name="connsiteX4006" fmla="*/ 1524678 w 6530564"/>
              <a:gd name="connsiteY4006" fmla="*/ 2939395 h 6858000"/>
              <a:gd name="connsiteX4007" fmla="*/ 1523680 w 6530564"/>
              <a:gd name="connsiteY4007" fmla="*/ 2934724 h 6858000"/>
              <a:gd name="connsiteX4008" fmla="*/ 1519008 w 6530564"/>
              <a:gd name="connsiteY4008" fmla="*/ 2935721 h 6858000"/>
              <a:gd name="connsiteX4009" fmla="*/ 1516334 w 6530564"/>
              <a:gd name="connsiteY4009" fmla="*/ 2946061 h 6858000"/>
              <a:gd name="connsiteX4010" fmla="*/ 1517333 w 6530564"/>
              <a:gd name="connsiteY4010" fmla="*/ 2950732 h 6858000"/>
              <a:gd name="connsiteX4011" fmla="*/ 1509986 w 6530564"/>
              <a:gd name="connsiteY4011" fmla="*/ 2962070 h 6858000"/>
              <a:gd name="connsiteX4012" fmla="*/ 1507991 w 6530564"/>
              <a:gd name="connsiteY4012" fmla="*/ 2952728 h 6858000"/>
              <a:gd name="connsiteX4013" fmla="*/ 1503320 w 6530564"/>
              <a:gd name="connsiteY4013" fmla="*/ 2953726 h 6858000"/>
              <a:gd name="connsiteX4014" fmla="*/ 1500643 w 6530564"/>
              <a:gd name="connsiteY4014" fmla="*/ 2964066 h 6858000"/>
              <a:gd name="connsiteX4015" fmla="*/ 1502641 w 6530564"/>
              <a:gd name="connsiteY4015" fmla="*/ 2973409 h 6858000"/>
              <a:gd name="connsiteX4016" fmla="*/ 1514976 w 6530564"/>
              <a:gd name="connsiteY4016" fmla="*/ 2985426 h 6858000"/>
              <a:gd name="connsiteX4017" fmla="*/ 1513299 w 6530564"/>
              <a:gd name="connsiteY4017" fmla="*/ 3000436 h 6858000"/>
              <a:gd name="connsiteX4018" fmla="*/ 1495570 w 6530564"/>
              <a:gd name="connsiteY4018" fmla="*/ 3077486 h 6858000"/>
              <a:gd name="connsiteX4019" fmla="*/ 1489902 w 6530564"/>
              <a:gd name="connsiteY4019" fmla="*/ 3073814 h 6858000"/>
              <a:gd name="connsiteX4020" fmla="*/ 1490900 w 6530564"/>
              <a:gd name="connsiteY4020" fmla="*/ 3078485 h 6858000"/>
              <a:gd name="connsiteX4021" fmla="*/ 1486228 w 6530564"/>
              <a:gd name="connsiteY4021" fmla="*/ 3079482 h 6858000"/>
              <a:gd name="connsiteX4022" fmla="*/ 1480559 w 6530564"/>
              <a:gd name="connsiteY4022" fmla="*/ 3075811 h 6858000"/>
              <a:gd name="connsiteX4023" fmla="*/ 1485591 w 6530564"/>
              <a:gd name="connsiteY4023" fmla="*/ 3030777 h 6858000"/>
              <a:gd name="connsiteX4024" fmla="*/ 1491260 w 6530564"/>
              <a:gd name="connsiteY4024" fmla="*/ 3034450 h 6858000"/>
              <a:gd name="connsiteX4025" fmla="*/ 1496610 w 6530564"/>
              <a:gd name="connsiteY4025" fmla="*/ 3013770 h 6858000"/>
              <a:gd name="connsiteX4026" fmla="*/ 1489264 w 6530564"/>
              <a:gd name="connsiteY4026" fmla="*/ 3025108 h 6858000"/>
              <a:gd name="connsiteX4027" fmla="*/ 1489944 w 6530564"/>
              <a:gd name="connsiteY4027" fmla="*/ 3005426 h 6858000"/>
              <a:gd name="connsiteX4028" fmla="*/ 1488945 w 6530564"/>
              <a:gd name="connsiteY4028" fmla="*/ 3000755 h 6858000"/>
              <a:gd name="connsiteX4029" fmla="*/ 1492619 w 6530564"/>
              <a:gd name="connsiteY4029" fmla="*/ 2995087 h 6858000"/>
              <a:gd name="connsiteX4030" fmla="*/ 1491621 w 6530564"/>
              <a:gd name="connsiteY4030" fmla="*/ 2990414 h 6858000"/>
              <a:gd name="connsiteX4031" fmla="*/ 1490623 w 6530564"/>
              <a:gd name="connsiteY4031" fmla="*/ 2985745 h 6858000"/>
              <a:gd name="connsiteX4032" fmla="*/ 1482279 w 6530564"/>
              <a:gd name="connsiteY4032" fmla="*/ 2992412 h 6858000"/>
              <a:gd name="connsiteX4033" fmla="*/ 1479604 w 6530564"/>
              <a:gd name="connsiteY4033" fmla="*/ 3002751 h 6858000"/>
              <a:gd name="connsiteX4034" fmla="*/ 1480602 w 6530564"/>
              <a:gd name="connsiteY4034" fmla="*/ 3007422 h 6858000"/>
              <a:gd name="connsiteX4035" fmla="*/ 1485271 w 6530564"/>
              <a:gd name="connsiteY4035" fmla="*/ 3006424 h 6858000"/>
              <a:gd name="connsiteX4036" fmla="*/ 1475889 w 6530564"/>
              <a:gd name="connsiteY4036" fmla="*/ 3076809 h 6858000"/>
              <a:gd name="connsiteX4037" fmla="*/ 1472215 w 6530564"/>
              <a:gd name="connsiteY4037" fmla="*/ 3082477 h 6858000"/>
              <a:gd name="connsiteX4038" fmla="*/ 1469540 w 6530564"/>
              <a:gd name="connsiteY4038" fmla="*/ 3092817 h 6858000"/>
              <a:gd name="connsiteX4039" fmla="*/ 1474211 w 6530564"/>
              <a:gd name="connsiteY4039" fmla="*/ 3091818 h 6858000"/>
              <a:gd name="connsiteX4040" fmla="*/ 1466185 w 6530564"/>
              <a:gd name="connsiteY4040" fmla="*/ 3122840 h 6858000"/>
              <a:gd name="connsiteX4041" fmla="*/ 1463510 w 6530564"/>
              <a:gd name="connsiteY4041" fmla="*/ 3133178 h 6858000"/>
              <a:gd name="connsiteX4042" fmla="*/ 1464509 w 6530564"/>
              <a:gd name="connsiteY4042" fmla="*/ 3137850 h 6858000"/>
              <a:gd name="connsiteX4043" fmla="*/ 1469179 w 6530564"/>
              <a:gd name="connsiteY4043" fmla="*/ 3136851 h 6858000"/>
              <a:gd name="connsiteX4044" fmla="*/ 1458437 w 6530564"/>
              <a:gd name="connsiteY4044" fmla="*/ 3246598 h 6858000"/>
              <a:gd name="connsiteX4045" fmla="*/ 1454763 w 6530564"/>
              <a:gd name="connsiteY4045" fmla="*/ 3252269 h 6858000"/>
              <a:gd name="connsiteX4046" fmla="*/ 1455762 w 6530564"/>
              <a:gd name="connsiteY4046" fmla="*/ 3256940 h 6858000"/>
              <a:gd name="connsiteX4047" fmla="*/ 1456759 w 6530564"/>
              <a:gd name="connsiteY4047" fmla="*/ 3261610 h 6858000"/>
              <a:gd name="connsiteX4048" fmla="*/ 1452407 w 6530564"/>
              <a:gd name="connsiteY4048" fmla="*/ 3286961 h 6858000"/>
              <a:gd name="connsiteX4049" fmla="*/ 1448735 w 6530564"/>
              <a:gd name="connsiteY4049" fmla="*/ 3292631 h 6858000"/>
              <a:gd name="connsiteX4050" fmla="*/ 1450729 w 6530564"/>
              <a:gd name="connsiteY4050" fmla="*/ 3301973 h 6858000"/>
              <a:gd name="connsiteX4051" fmla="*/ 1451728 w 6530564"/>
              <a:gd name="connsiteY4051" fmla="*/ 3306644 h 6858000"/>
              <a:gd name="connsiteX4052" fmla="*/ 1448054 w 6530564"/>
              <a:gd name="connsiteY4052" fmla="*/ 3312312 h 6858000"/>
              <a:gd name="connsiteX4053" fmla="*/ 1449053 w 6530564"/>
              <a:gd name="connsiteY4053" fmla="*/ 3316984 h 6858000"/>
              <a:gd name="connsiteX4054" fmla="*/ 1455040 w 6530564"/>
              <a:gd name="connsiteY4054" fmla="*/ 3345009 h 6858000"/>
              <a:gd name="connsiteX4055" fmla="*/ 1451367 w 6530564"/>
              <a:gd name="connsiteY4055" fmla="*/ 3350678 h 6858000"/>
              <a:gd name="connsiteX4056" fmla="*/ 1452366 w 6530564"/>
              <a:gd name="connsiteY4056" fmla="*/ 3355351 h 6858000"/>
              <a:gd name="connsiteX4057" fmla="*/ 1450688 w 6530564"/>
              <a:gd name="connsiteY4057" fmla="*/ 3370360 h 6858000"/>
              <a:gd name="connsiteX4058" fmla="*/ 1451686 w 6530564"/>
              <a:gd name="connsiteY4058" fmla="*/ 3375030 h 6858000"/>
              <a:gd name="connsiteX4059" fmla="*/ 1445656 w 6530564"/>
              <a:gd name="connsiteY4059" fmla="*/ 3415393 h 6858000"/>
              <a:gd name="connsiteX4060" fmla="*/ 1446653 w 6530564"/>
              <a:gd name="connsiteY4060" fmla="*/ 3420063 h 6858000"/>
              <a:gd name="connsiteX4061" fmla="*/ 1441983 w 6530564"/>
              <a:gd name="connsiteY4061" fmla="*/ 3421062 h 6858000"/>
              <a:gd name="connsiteX4062" fmla="*/ 1442981 w 6530564"/>
              <a:gd name="connsiteY4062" fmla="*/ 3425733 h 6858000"/>
              <a:gd name="connsiteX4063" fmla="*/ 1443979 w 6530564"/>
              <a:gd name="connsiteY4063" fmla="*/ 3430404 h 6858000"/>
              <a:gd name="connsiteX4064" fmla="*/ 1448650 w 6530564"/>
              <a:gd name="connsiteY4064" fmla="*/ 3429407 h 6858000"/>
              <a:gd name="connsiteX4065" fmla="*/ 1446973 w 6530564"/>
              <a:gd name="connsiteY4065" fmla="*/ 3444417 h 6858000"/>
              <a:gd name="connsiteX4066" fmla="*/ 1445976 w 6530564"/>
              <a:gd name="connsiteY4066" fmla="*/ 3439745 h 6858000"/>
              <a:gd name="connsiteX4067" fmla="*/ 1445295 w 6530564"/>
              <a:gd name="connsiteY4067" fmla="*/ 3459428 h 6858000"/>
              <a:gd name="connsiteX4068" fmla="*/ 1448290 w 6530564"/>
              <a:gd name="connsiteY4068" fmla="*/ 3473441 h 6858000"/>
              <a:gd name="connsiteX4069" fmla="*/ 1444616 w 6530564"/>
              <a:gd name="connsiteY4069" fmla="*/ 3479111 h 6858000"/>
              <a:gd name="connsiteX4070" fmla="*/ 1445615 w 6530564"/>
              <a:gd name="connsiteY4070" fmla="*/ 3483781 h 6858000"/>
              <a:gd name="connsiteX4071" fmla="*/ 1441943 w 6530564"/>
              <a:gd name="connsiteY4071" fmla="*/ 3489449 h 6858000"/>
              <a:gd name="connsiteX4072" fmla="*/ 1442939 w 6530564"/>
              <a:gd name="connsiteY4072" fmla="*/ 3494121 h 6858000"/>
              <a:gd name="connsiteX4073" fmla="*/ 1447611 w 6530564"/>
              <a:gd name="connsiteY4073" fmla="*/ 3493123 h 6858000"/>
              <a:gd name="connsiteX4074" fmla="*/ 1456592 w 6530564"/>
              <a:gd name="connsiteY4074" fmla="*/ 3535162 h 6858000"/>
              <a:gd name="connsiteX4075" fmla="*/ 1450922 w 6530564"/>
              <a:gd name="connsiteY4075" fmla="*/ 3531488 h 6858000"/>
              <a:gd name="connsiteX4076" fmla="*/ 1446252 w 6530564"/>
              <a:gd name="connsiteY4076" fmla="*/ 3532487 h 6858000"/>
              <a:gd name="connsiteX4077" fmla="*/ 1448249 w 6530564"/>
              <a:gd name="connsiteY4077" fmla="*/ 3541828 h 6858000"/>
              <a:gd name="connsiteX4078" fmla="*/ 1449247 w 6530564"/>
              <a:gd name="connsiteY4078" fmla="*/ 3546500 h 6858000"/>
              <a:gd name="connsiteX4079" fmla="*/ 1449883 w 6530564"/>
              <a:gd name="connsiteY4079" fmla="*/ 3595205 h 6858000"/>
              <a:gd name="connsiteX4080" fmla="*/ 1454554 w 6530564"/>
              <a:gd name="connsiteY4080" fmla="*/ 3594207 h 6858000"/>
              <a:gd name="connsiteX4081" fmla="*/ 1450880 w 6530564"/>
              <a:gd name="connsiteY4081" fmla="*/ 3599876 h 6858000"/>
              <a:gd name="connsiteX4082" fmla="*/ 1451878 w 6530564"/>
              <a:gd name="connsiteY4082" fmla="*/ 3604549 h 6858000"/>
              <a:gd name="connsiteX4083" fmla="*/ 1457866 w 6530564"/>
              <a:gd name="connsiteY4083" fmla="*/ 3632574 h 6858000"/>
              <a:gd name="connsiteX4084" fmla="*/ 1461993 w 6530564"/>
              <a:gd name="connsiteY4084" fmla="*/ 3635813 h 6858000"/>
              <a:gd name="connsiteX4085" fmla="*/ 1465432 w 6530564"/>
              <a:gd name="connsiteY4085" fmla="*/ 3645315 h 6858000"/>
              <a:gd name="connsiteX4086" fmla="*/ 1464828 w 6530564"/>
              <a:gd name="connsiteY4086" fmla="*/ 3645610 h 6858000"/>
              <a:gd name="connsiteX4087" fmla="*/ 1458859 w 6530564"/>
              <a:gd name="connsiteY4087" fmla="*/ 3645794 h 6858000"/>
              <a:gd name="connsiteX4088" fmla="*/ 1457188 w 6530564"/>
              <a:gd name="connsiteY4088" fmla="*/ 3652257 h 6858000"/>
              <a:gd name="connsiteX4089" fmla="*/ 1464365 w 6530564"/>
              <a:gd name="connsiteY4089" fmla="*/ 3645838 h 6858000"/>
              <a:gd name="connsiteX4090" fmla="*/ 1464828 w 6530564"/>
              <a:gd name="connsiteY4090" fmla="*/ 3645610 h 6858000"/>
              <a:gd name="connsiteX4091" fmla="*/ 1465530 w 6530564"/>
              <a:gd name="connsiteY4091" fmla="*/ 3645589 h 6858000"/>
              <a:gd name="connsiteX4092" fmla="*/ 1465432 w 6530564"/>
              <a:gd name="connsiteY4092" fmla="*/ 3645315 h 6858000"/>
              <a:gd name="connsiteX4093" fmla="*/ 1466575 w 6530564"/>
              <a:gd name="connsiteY4093" fmla="*/ 3644755 h 6858000"/>
              <a:gd name="connsiteX4094" fmla="*/ 1467526 w 6530564"/>
              <a:gd name="connsiteY4094" fmla="*/ 3654930 h 6858000"/>
              <a:gd name="connsiteX4095" fmla="*/ 1463852 w 6530564"/>
              <a:gd name="connsiteY4095" fmla="*/ 3660600 h 6858000"/>
              <a:gd name="connsiteX4096" fmla="*/ 1464851 w 6530564"/>
              <a:gd name="connsiteY4096" fmla="*/ 3665270 h 6858000"/>
              <a:gd name="connsiteX4097" fmla="*/ 1461179 w 6530564"/>
              <a:gd name="connsiteY4097" fmla="*/ 3670939 h 6858000"/>
              <a:gd name="connsiteX4098" fmla="*/ 1462178 w 6530564"/>
              <a:gd name="connsiteY4098" fmla="*/ 3675610 h 6858000"/>
              <a:gd name="connsiteX4099" fmla="*/ 1464173 w 6530564"/>
              <a:gd name="connsiteY4099" fmla="*/ 3684953 h 6858000"/>
              <a:gd name="connsiteX4100" fmla="*/ 1466168 w 6530564"/>
              <a:gd name="connsiteY4100" fmla="*/ 3694296 h 6858000"/>
              <a:gd name="connsiteX4101" fmla="*/ 1463494 w 6530564"/>
              <a:gd name="connsiteY4101" fmla="*/ 3704634 h 6858000"/>
              <a:gd name="connsiteX4102" fmla="*/ 1460818 w 6530564"/>
              <a:gd name="connsiteY4102" fmla="*/ 3714976 h 6858000"/>
              <a:gd name="connsiteX4103" fmla="*/ 1461815 w 6530564"/>
              <a:gd name="connsiteY4103" fmla="*/ 3719645 h 6858000"/>
              <a:gd name="connsiteX4104" fmla="*/ 1462814 w 6530564"/>
              <a:gd name="connsiteY4104" fmla="*/ 3724317 h 6858000"/>
              <a:gd name="connsiteX4105" fmla="*/ 1458143 w 6530564"/>
              <a:gd name="connsiteY4105" fmla="*/ 3725314 h 6858000"/>
              <a:gd name="connsiteX4106" fmla="*/ 1454470 w 6530564"/>
              <a:gd name="connsiteY4106" fmla="*/ 3730983 h 6858000"/>
              <a:gd name="connsiteX4107" fmla="*/ 1455467 w 6530564"/>
              <a:gd name="connsiteY4107" fmla="*/ 3735654 h 6858000"/>
              <a:gd name="connsiteX4108" fmla="*/ 1461137 w 6530564"/>
              <a:gd name="connsiteY4108" fmla="*/ 3739328 h 6858000"/>
              <a:gd name="connsiteX4109" fmla="*/ 1462135 w 6530564"/>
              <a:gd name="connsiteY4109" fmla="*/ 3743998 h 6858000"/>
              <a:gd name="connsiteX4110" fmla="*/ 1463132 w 6530564"/>
              <a:gd name="connsiteY4110" fmla="*/ 3748671 h 6858000"/>
              <a:gd name="connsiteX4111" fmla="*/ 1466126 w 6530564"/>
              <a:gd name="connsiteY4111" fmla="*/ 3762683 h 6858000"/>
              <a:gd name="connsiteX4112" fmla="*/ 1464449 w 6530564"/>
              <a:gd name="connsiteY4112" fmla="*/ 3777695 h 6858000"/>
              <a:gd name="connsiteX4113" fmla="*/ 1465447 w 6530564"/>
              <a:gd name="connsiteY4113" fmla="*/ 3782365 h 6858000"/>
              <a:gd name="connsiteX4114" fmla="*/ 1467443 w 6530564"/>
              <a:gd name="connsiteY4114" fmla="*/ 3791707 h 6858000"/>
              <a:gd name="connsiteX4115" fmla="*/ 1472113 w 6530564"/>
              <a:gd name="connsiteY4115" fmla="*/ 3790710 h 6858000"/>
              <a:gd name="connsiteX4116" fmla="*/ 1468442 w 6530564"/>
              <a:gd name="connsiteY4116" fmla="*/ 3796379 h 6858000"/>
              <a:gd name="connsiteX4117" fmla="*/ 1470437 w 6530564"/>
              <a:gd name="connsiteY4117" fmla="*/ 3805720 h 6858000"/>
              <a:gd name="connsiteX4118" fmla="*/ 1479418 w 6530564"/>
              <a:gd name="connsiteY4118" fmla="*/ 3847759 h 6858000"/>
              <a:gd name="connsiteX4119" fmla="*/ 1475745 w 6530564"/>
              <a:gd name="connsiteY4119" fmla="*/ 3853428 h 6858000"/>
              <a:gd name="connsiteX4120" fmla="*/ 1476743 w 6530564"/>
              <a:gd name="connsiteY4120" fmla="*/ 3858097 h 6858000"/>
              <a:gd name="connsiteX4121" fmla="*/ 1481415 w 6530564"/>
              <a:gd name="connsiteY4121" fmla="*/ 3857100 h 6858000"/>
              <a:gd name="connsiteX4122" fmla="*/ 1481734 w 6530564"/>
              <a:gd name="connsiteY4122" fmla="*/ 3881454 h 6858000"/>
              <a:gd name="connsiteX4123" fmla="*/ 1482731 w 6530564"/>
              <a:gd name="connsiteY4123" fmla="*/ 3886125 h 6858000"/>
              <a:gd name="connsiteX4124" fmla="*/ 1488400 w 6530564"/>
              <a:gd name="connsiteY4124" fmla="*/ 3889796 h 6858000"/>
              <a:gd name="connsiteX4125" fmla="*/ 1490714 w 6530564"/>
              <a:gd name="connsiteY4125" fmla="*/ 3923492 h 6858000"/>
              <a:gd name="connsiteX4126" fmla="*/ 1495385 w 6530564"/>
              <a:gd name="connsiteY4126" fmla="*/ 3922494 h 6858000"/>
              <a:gd name="connsiteX4127" fmla="*/ 1499376 w 6530564"/>
              <a:gd name="connsiteY4127" fmla="*/ 3941178 h 6858000"/>
              <a:gd name="connsiteX4128" fmla="*/ 1495705 w 6530564"/>
              <a:gd name="connsiteY4128" fmla="*/ 3946848 h 6858000"/>
              <a:gd name="connsiteX4129" fmla="*/ 1485365 w 6530564"/>
              <a:gd name="connsiteY4129" fmla="*/ 3944173 h 6858000"/>
              <a:gd name="connsiteX4130" fmla="*/ 1498697 w 6530564"/>
              <a:gd name="connsiteY4130" fmla="*/ 3960861 h 6858000"/>
              <a:gd name="connsiteX4131" fmla="*/ 1519336 w 6530564"/>
              <a:gd name="connsiteY4131" fmla="*/ 4034599 h 6858000"/>
              <a:gd name="connsiteX4132" fmla="*/ 1514664 w 6530564"/>
              <a:gd name="connsiteY4132" fmla="*/ 4035598 h 6858000"/>
              <a:gd name="connsiteX4133" fmla="*/ 1516661 w 6530564"/>
              <a:gd name="connsiteY4133" fmla="*/ 4044938 h 6858000"/>
              <a:gd name="connsiteX4134" fmla="*/ 1528636 w 6530564"/>
              <a:gd name="connsiteY4134" fmla="*/ 4100992 h 6858000"/>
              <a:gd name="connsiteX4135" fmla="*/ 1529635 w 6530564"/>
              <a:gd name="connsiteY4135" fmla="*/ 4105662 h 6858000"/>
              <a:gd name="connsiteX4136" fmla="*/ 1530632 w 6530564"/>
              <a:gd name="connsiteY4136" fmla="*/ 4110333 h 6858000"/>
              <a:gd name="connsiteX4137" fmla="*/ 1543966 w 6530564"/>
              <a:gd name="connsiteY4137" fmla="*/ 4127021 h 6858000"/>
              <a:gd name="connsiteX4138" fmla="*/ 1541290 w 6530564"/>
              <a:gd name="connsiteY4138" fmla="*/ 4137361 h 6858000"/>
              <a:gd name="connsiteX4139" fmla="*/ 1542289 w 6530564"/>
              <a:gd name="connsiteY4139" fmla="*/ 4142032 h 6858000"/>
              <a:gd name="connsiteX4140" fmla="*/ 1543286 w 6530564"/>
              <a:gd name="connsiteY4140" fmla="*/ 4146702 h 6858000"/>
              <a:gd name="connsiteX4141" fmla="*/ 1544284 w 6530564"/>
              <a:gd name="connsiteY4141" fmla="*/ 4151374 h 6858000"/>
              <a:gd name="connsiteX4142" fmla="*/ 1538933 w 6530564"/>
              <a:gd name="connsiteY4142" fmla="*/ 4172054 h 6858000"/>
              <a:gd name="connsiteX4143" fmla="*/ 1550590 w 6530564"/>
              <a:gd name="connsiteY4143" fmla="*/ 4203753 h 6858000"/>
              <a:gd name="connsiteX4144" fmla="*/ 1569592 w 6530564"/>
              <a:gd name="connsiteY4144" fmla="*/ 4224113 h 6858000"/>
              <a:gd name="connsiteX4145" fmla="*/ 1565241 w 6530564"/>
              <a:gd name="connsiteY4145" fmla="*/ 4249466 h 6858000"/>
              <a:gd name="connsiteX4146" fmla="*/ 1574902 w 6530564"/>
              <a:gd name="connsiteY4146" fmla="*/ 4271822 h 6858000"/>
              <a:gd name="connsiteX4147" fmla="*/ 1587238 w 6530564"/>
              <a:gd name="connsiteY4147" fmla="*/ 4283840 h 6858000"/>
              <a:gd name="connsiteX4148" fmla="*/ 1604882 w 6530564"/>
              <a:gd name="connsiteY4148" fmla="*/ 4343564 h 6858000"/>
              <a:gd name="connsiteX4149" fmla="*/ 1595539 w 6530564"/>
              <a:gd name="connsiteY4149" fmla="*/ 4345560 h 6858000"/>
              <a:gd name="connsiteX4150" fmla="*/ 1607875 w 6530564"/>
              <a:gd name="connsiteY4150" fmla="*/ 4357577 h 6858000"/>
              <a:gd name="connsiteX4151" fmla="*/ 1607196 w 6530564"/>
              <a:gd name="connsiteY4151" fmla="*/ 4377259 h 6858000"/>
              <a:gd name="connsiteX4152" fmla="*/ 1622525 w 6530564"/>
              <a:gd name="connsiteY4152" fmla="*/ 4403290 h 6858000"/>
              <a:gd name="connsiteX4153" fmla="*/ 1618736 w 6530564"/>
              <a:gd name="connsiteY4153" fmla="*/ 4400103 h 6858000"/>
              <a:gd name="connsiteX4154" fmla="*/ 1614862 w 6530564"/>
              <a:gd name="connsiteY4154" fmla="*/ 4390275 h 6858000"/>
              <a:gd name="connsiteX4155" fmla="*/ 1617316 w 6530564"/>
              <a:gd name="connsiteY4155" fmla="*/ 4398908 h 6858000"/>
              <a:gd name="connsiteX4156" fmla="*/ 1618736 w 6530564"/>
              <a:gd name="connsiteY4156" fmla="*/ 4400103 h 6858000"/>
              <a:gd name="connsiteX4157" fmla="*/ 1625519 w 6530564"/>
              <a:gd name="connsiteY4157" fmla="*/ 4417302 h 6858000"/>
              <a:gd name="connsiteX4158" fmla="*/ 1611506 w 6530564"/>
              <a:gd name="connsiteY4158" fmla="*/ 4420296 h 6858000"/>
              <a:gd name="connsiteX4159" fmla="*/ 1580528 w 6530564"/>
              <a:gd name="connsiteY4159" fmla="*/ 4343884 h 6858000"/>
              <a:gd name="connsiteX4160" fmla="*/ 1553861 w 6530564"/>
              <a:gd name="connsiteY4160" fmla="*/ 4310507 h 6858000"/>
              <a:gd name="connsiteX4161" fmla="*/ 1544200 w 6530564"/>
              <a:gd name="connsiteY4161" fmla="*/ 4288151 h 6858000"/>
              <a:gd name="connsiteX4162" fmla="*/ 1540208 w 6530564"/>
              <a:gd name="connsiteY4162" fmla="*/ 4269467 h 6858000"/>
              <a:gd name="connsiteX4163" fmla="*/ 1526874 w 6530564"/>
              <a:gd name="connsiteY4163" fmla="*/ 4252779 h 6858000"/>
              <a:gd name="connsiteX4164" fmla="*/ 1519888 w 6530564"/>
              <a:gd name="connsiteY4164" fmla="*/ 4220081 h 6858000"/>
              <a:gd name="connsiteX4165" fmla="*/ 1521566 w 6530564"/>
              <a:gd name="connsiteY4165" fmla="*/ 4205070 h 6858000"/>
              <a:gd name="connsiteX4166" fmla="*/ 1518573 w 6530564"/>
              <a:gd name="connsiteY4166" fmla="*/ 4191057 h 6858000"/>
              <a:gd name="connsiteX4167" fmla="*/ 1517576 w 6530564"/>
              <a:gd name="connsiteY4167" fmla="*/ 4186384 h 6858000"/>
              <a:gd name="connsiteX4168" fmla="*/ 1516577 w 6530564"/>
              <a:gd name="connsiteY4168" fmla="*/ 4181714 h 6858000"/>
              <a:gd name="connsiteX4169" fmla="*/ 1522245 w 6530564"/>
              <a:gd name="connsiteY4169" fmla="*/ 4185387 h 6858000"/>
              <a:gd name="connsiteX4170" fmla="*/ 1513583 w 6530564"/>
              <a:gd name="connsiteY4170" fmla="*/ 4167702 h 6858000"/>
              <a:gd name="connsiteX4171" fmla="*/ 1517256 w 6530564"/>
              <a:gd name="connsiteY4171" fmla="*/ 4162033 h 6858000"/>
              <a:gd name="connsiteX4172" fmla="*/ 1516257 w 6530564"/>
              <a:gd name="connsiteY4172" fmla="*/ 4157362 h 6858000"/>
              <a:gd name="connsiteX4173" fmla="*/ 1515260 w 6530564"/>
              <a:gd name="connsiteY4173" fmla="*/ 4152691 h 6858000"/>
              <a:gd name="connsiteX4174" fmla="*/ 1509591 w 6530564"/>
              <a:gd name="connsiteY4174" fmla="*/ 4149018 h 6858000"/>
              <a:gd name="connsiteX4175" fmla="*/ 1503605 w 6530564"/>
              <a:gd name="connsiteY4175" fmla="*/ 4120992 h 6858000"/>
              <a:gd name="connsiteX4176" fmla="*/ 1497934 w 6530564"/>
              <a:gd name="connsiteY4176" fmla="*/ 4117319 h 6858000"/>
              <a:gd name="connsiteX4177" fmla="*/ 1491948 w 6530564"/>
              <a:gd name="connsiteY4177" fmla="*/ 4089292 h 6858000"/>
              <a:gd name="connsiteX4178" fmla="*/ 1490948 w 6530564"/>
              <a:gd name="connsiteY4178" fmla="*/ 4084621 h 6858000"/>
              <a:gd name="connsiteX4179" fmla="*/ 1489951 w 6530564"/>
              <a:gd name="connsiteY4179" fmla="*/ 4079950 h 6858000"/>
              <a:gd name="connsiteX4180" fmla="*/ 1486277 w 6530564"/>
              <a:gd name="connsiteY4180" fmla="*/ 4085620 h 6858000"/>
              <a:gd name="connsiteX4181" fmla="*/ 1475301 w 6530564"/>
              <a:gd name="connsiteY4181" fmla="*/ 4034238 h 6858000"/>
              <a:gd name="connsiteX4182" fmla="*/ 1478294 w 6530564"/>
              <a:gd name="connsiteY4182" fmla="*/ 4048252 h 6858000"/>
              <a:gd name="connsiteX4183" fmla="*/ 1470629 w 6530564"/>
              <a:gd name="connsiteY4183" fmla="*/ 4035237 h 6858000"/>
              <a:gd name="connsiteX4184" fmla="*/ 1473623 w 6530564"/>
              <a:gd name="connsiteY4184" fmla="*/ 4049251 h 6858000"/>
              <a:gd name="connsiteX4185" fmla="*/ 1467954 w 6530564"/>
              <a:gd name="connsiteY4185" fmla="*/ 4045576 h 6858000"/>
              <a:gd name="connsiteX4186" fmla="*/ 1469951 w 6530564"/>
              <a:gd name="connsiteY4186" fmla="*/ 4054918 h 6858000"/>
              <a:gd name="connsiteX4187" fmla="*/ 1470949 w 6530564"/>
              <a:gd name="connsiteY4187" fmla="*/ 4059589 h 6858000"/>
              <a:gd name="connsiteX4188" fmla="*/ 1463242 w 6530564"/>
              <a:gd name="connsiteY4188" fmla="*/ 4114962 h 6858000"/>
              <a:gd name="connsiteX4189" fmla="*/ 1465238 w 6530564"/>
              <a:gd name="connsiteY4189" fmla="*/ 4124305 h 6858000"/>
              <a:gd name="connsiteX4190" fmla="*/ 1454896 w 6530564"/>
              <a:gd name="connsiteY4190" fmla="*/ 4121629 h 6858000"/>
              <a:gd name="connsiteX4191" fmla="*/ 1452901 w 6530564"/>
              <a:gd name="connsiteY4191" fmla="*/ 4112288 h 6858000"/>
              <a:gd name="connsiteX4192" fmla="*/ 1448230 w 6530564"/>
              <a:gd name="connsiteY4192" fmla="*/ 4113286 h 6858000"/>
              <a:gd name="connsiteX4193" fmla="*/ 1449228 w 6530564"/>
              <a:gd name="connsiteY4193" fmla="*/ 4117957 h 6858000"/>
              <a:gd name="connsiteX4194" fmla="*/ 1426595 w 6530564"/>
              <a:gd name="connsiteY4194" fmla="*/ 4034876 h 6858000"/>
              <a:gd name="connsiteX4195" fmla="*/ 1432264 w 6530564"/>
              <a:gd name="connsiteY4195" fmla="*/ 4038549 h 6858000"/>
              <a:gd name="connsiteX4196" fmla="*/ 1435937 w 6530564"/>
              <a:gd name="connsiteY4196" fmla="*/ 4032880 h 6858000"/>
              <a:gd name="connsiteX4197" fmla="*/ 1437931 w 6530564"/>
              <a:gd name="connsiteY4197" fmla="*/ 4042221 h 6858000"/>
              <a:gd name="connsiteX4198" fmla="*/ 1426954 w 6530564"/>
              <a:gd name="connsiteY4198" fmla="*/ 3990842 h 6858000"/>
              <a:gd name="connsiteX4199" fmla="*/ 1431626 w 6530564"/>
              <a:gd name="connsiteY4199" fmla="*/ 3989844 h 6858000"/>
              <a:gd name="connsiteX4200" fmla="*/ 1430629 w 6530564"/>
              <a:gd name="connsiteY4200" fmla="*/ 3985172 h 6858000"/>
              <a:gd name="connsiteX4201" fmla="*/ 1428631 w 6530564"/>
              <a:gd name="connsiteY4201" fmla="*/ 3975830 h 6858000"/>
              <a:gd name="connsiteX4202" fmla="*/ 1421646 w 6530564"/>
              <a:gd name="connsiteY4202" fmla="*/ 3943133 h 6858000"/>
              <a:gd name="connsiteX4203" fmla="*/ 1420648 w 6530564"/>
              <a:gd name="connsiteY4203" fmla="*/ 3938462 h 6858000"/>
              <a:gd name="connsiteX4204" fmla="*/ 1419652 w 6530564"/>
              <a:gd name="connsiteY4204" fmla="*/ 3933790 h 6858000"/>
              <a:gd name="connsiteX4205" fmla="*/ 1405000 w 6530564"/>
              <a:gd name="connsiteY4205" fmla="*/ 3888080 h 6858000"/>
              <a:gd name="connsiteX4206" fmla="*/ 1404002 w 6530564"/>
              <a:gd name="connsiteY4206" fmla="*/ 3883408 h 6858000"/>
              <a:gd name="connsiteX4207" fmla="*/ 1403004 w 6530564"/>
              <a:gd name="connsiteY4207" fmla="*/ 3878736 h 6858000"/>
              <a:gd name="connsiteX4208" fmla="*/ 1401007 w 6530564"/>
              <a:gd name="connsiteY4208" fmla="*/ 3869395 h 6858000"/>
              <a:gd name="connsiteX4209" fmla="*/ 1398335 w 6530564"/>
              <a:gd name="connsiteY4209" fmla="*/ 3879735 h 6858000"/>
              <a:gd name="connsiteX4210" fmla="*/ 1394660 w 6530564"/>
              <a:gd name="connsiteY4210" fmla="*/ 3885404 h 6858000"/>
              <a:gd name="connsiteX4211" fmla="*/ 1390668 w 6530564"/>
              <a:gd name="connsiteY4211" fmla="*/ 3866720 h 6858000"/>
              <a:gd name="connsiteX4212" fmla="*/ 1395340 w 6530564"/>
              <a:gd name="connsiteY4212" fmla="*/ 3865721 h 6858000"/>
              <a:gd name="connsiteX4213" fmla="*/ 1394342 w 6530564"/>
              <a:gd name="connsiteY4213" fmla="*/ 3861051 h 6858000"/>
              <a:gd name="connsiteX4214" fmla="*/ 1393344 w 6530564"/>
              <a:gd name="connsiteY4214" fmla="*/ 3856381 h 6858000"/>
              <a:gd name="connsiteX4215" fmla="*/ 1388672 w 6530564"/>
              <a:gd name="connsiteY4215" fmla="*/ 3857379 h 6858000"/>
              <a:gd name="connsiteX4216" fmla="*/ 1393024 w 6530564"/>
              <a:gd name="connsiteY4216" fmla="*/ 3832027 h 6858000"/>
              <a:gd name="connsiteX4217" fmla="*/ 1380689 w 6530564"/>
              <a:gd name="connsiteY4217" fmla="*/ 3820009 h 6858000"/>
              <a:gd name="connsiteX4218" fmla="*/ 1383004 w 6530564"/>
              <a:gd name="connsiteY4218" fmla="*/ 3853705 h 6858000"/>
              <a:gd name="connsiteX4219" fmla="*/ 1388672 w 6530564"/>
              <a:gd name="connsiteY4219" fmla="*/ 3857379 h 6858000"/>
              <a:gd name="connsiteX4220" fmla="*/ 1384002 w 6530564"/>
              <a:gd name="connsiteY4220" fmla="*/ 3858376 h 6858000"/>
              <a:gd name="connsiteX4221" fmla="*/ 1385000 w 6530564"/>
              <a:gd name="connsiteY4221" fmla="*/ 3863047 h 6858000"/>
              <a:gd name="connsiteX4222" fmla="*/ 1385998 w 6530564"/>
              <a:gd name="connsiteY4222" fmla="*/ 3867719 h 6858000"/>
              <a:gd name="connsiteX4223" fmla="*/ 1390668 w 6530564"/>
              <a:gd name="connsiteY4223" fmla="*/ 3866720 h 6858000"/>
              <a:gd name="connsiteX4224" fmla="*/ 1393163 w 6530564"/>
              <a:gd name="connsiteY4224" fmla="*/ 3878397 h 6858000"/>
              <a:gd name="connsiteX4225" fmla="*/ 1394660 w 6530564"/>
              <a:gd name="connsiteY4225" fmla="*/ 3885404 h 6858000"/>
              <a:gd name="connsiteX4226" fmla="*/ 1395658 w 6530564"/>
              <a:gd name="connsiteY4226" fmla="*/ 3890075 h 6858000"/>
              <a:gd name="connsiteX4227" fmla="*/ 1390987 w 6530564"/>
              <a:gd name="connsiteY4227" fmla="*/ 3891074 h 6858000"/>
              <a:gd name="connsiteX4228" fmla="*/ 1391984 w 6530564"/>
              <a:gd name="connsiteY4228" fmla="*/ 3895744 h 6858000"/>
              <a:gd name="connsiteX4229" fmla="*/ 1392983 w 6530564"/>
              <a:gd name="connsiteY4229" fmla="*/ 3900415 h 6858000"/>
              <a:gd name="connsiteX4230" fmla="*/ 1420606 w 6530564"/>
              <a:gd name="connsiteY4230" fmla="*/ 4006850 h 6858000"/>
              <a:gd name="connsiteX4231" fmla="*/ 1415936 w 6530564"/>
              <a:gd name="connsiteY4231" fmla="*/ 4007847 h 6858000"/>
              <a:gd name="connsiteX4232" fmla="*/ 1417931 w 6530564"/>
              <a:gd name="connsiteY4232" fmla="*/ 4017190 h 6858000"/>
              <a:gd name="connsiteX4233" fmla="*/ 1421923 w 6530564"/>
              <a:gd name="connsiteY4233" fmla="*/ 4035875 h 6858000"/>
              <a:gd name="connsiteX4234" fmla="*/ 1437890 w 6530564"/>
              <a:gd name="connsiteY4234" fmla="*/ 4110609 h 6858000"/>
              <a:gd name="connsiteX4235" fmla="*/ 1458528 w 6530564"/>
              <a:gd name="connsiteY4235" fmla="*/ 4184349 h 6858000"/>
              <a:gd name="connsiteX4236" fmla="*/ 1462839 w 6530564"/>
              <a:gd name="connsiteY4236" fmla="*/ 4227385 h 6858000"/>
              <a:gd name="connsiteX4237" fmla="*/ 1456490 w 6530564"/>
              <a:gd name="connsiteY4237" fmla="*/ 4243395 h 6858000"/>
              <a:gd name="connsiteX4238" fmla="*/ 1468105 w 6530564"/>
              <a:gd name="connsiteY4238" fmla="*/ 4343482 h 6858000"/>
              <a:gd name="connsiteX4239" fmla="*/ 1461439 w 6530564"/>
              <a:gd name="connsiteY4239" fmla="*/ 4335137 h 6858000"/>
              <a:gd name="connsiteX4240" fmla="*/ 1454730 w 6530564"/>
              <a:gd name="connsiteY4240" fmla="*/ 4395182 h 6858000"/>
              <a:gd name="connsiteX4241" fmla="*/ 1448063 w 6530564"/>
              <a:gd name="connsiteY4241" fmla="*/ 4386836 h 6858000"/>
              <a:gd name="connsiteX4242" fmla="*/ 1450058 w 6530564"/>
              <a:gd name="connsiteY4242" fmla="*/ 4396179 h 6858000"/>
              <a:gd name="connsiteX4243" fmla="*/ 1422075 w 6530564"/>
              <a:gd name="connsiteY4243" fmla="*/ 4333778 h 6858000"/>
              <a:gd name="connsiteX4244" fmla="*/ 1413412 w 6530564"/>
              <a:gd name="connsiteY4244" fmla="*/ 4316093 h 6858000"/>
              <a:gd name="connsiteX4245" fmla="*/ 1412414 w 6530564"/>
              <a:gd name="connsiteY4245" fmla="*/ 4311422 h 6858000"/>
              <a:gd name="connsiteX4246" fmla="*/ 1407741 w 6530564"/>
              <a:gd name="connsiteY4246" fmla="*/ 4312421 h 6858000"/>
              <a:gd name="connsiteX4247" fmla="*/ 1402752 w 6530564"/>
              <a:gd name="connsiteY4247" fmla="*/ 4289064 h 6858000"/>
              <a:gd name="connsiteX4248" fmla="*/ 1393410 w 6530564"/>
              <a:gd name="connsiteY4248" fmla="*/ 4291060 h 6858000"/>
              <a:gd name="connsiteX4249" fmla="*/ 1396404 w 6530564"/>
              <a:gd name="connsiteY4249" fmla="*/ 4305073 h 6858000"/>
              <a:gd name="connsiteX4250" fmla="*/ 1407063 w 6530564"/>
              <a:gd name="connsiteY4250" fmla="*/ 4332102 h 6858000"/>
              <a:gd name="connsiteX4251" fmla="*/ 1419993 w 6530564"/>
              <a:gd name="connsiteY4251" fmla="*/ 4461213 h 6858000"/>
              <a:gd name="connsiteX4252" fmla="*/ 1412648 w 6530564"/>
              <a:gd name="connsiteY4252" fmla="*/ 4472550 h 6858000"/>
              <a:gd name="connsiteX4253" fmla="*/ 1404983 w 6530564"/>
              <a:gd name="connsiteY4253" fmla="*/ 4459535 h 6858000"/>
              <a:gd name="connsiteX4254" fmla="*/ 1403985 w 6530564"/>
              <a:gd name="connsiteY4254" fmla="*/ 4454865 h 6858000"/>
              <a:gd name="connsiteX4255" fmla="*/ 1398316 w 6530564"/>
              <a:gd name="connsiteY4255" fmla="*/ 4451189 h 6858000"/>
              <a:gd name="connsiteX4256" fmla="*/ 1399315 w 6530564"/>
              <a:gd name="connsiteY4256" fmla="*/ 4455862 h 6858000"/>
              <a:gd name="connsiteX4257" fmla="*/ 1400312 w 6530564"/>
              <a:gd name="connsiteY4257" fmla="*/ 4460533 h 6858000"/>
              <a:gd name="connsiteX4258" fmla="*/ 1393645 w 6530564"/>
              <a:gd name="connsiteY4258" fmla="*/ 4452188 h 6858000"/>
              <a:gd name="connsiteX4259" fmla="*/ 1388655 w 6530564"/>
              <a:gd name="connsiteY4259" fmla="*/ 4428834 h 6858000"/>
              <a:gd name="connsiteX4260" fmla="*/ 1396421 w 6530564"/>
              <a:gd name="connsiteY4260" fmla="*/ 4442316 h 6858000"/>
              <a:gd name="connsiteX4261" fmla="*/ 1397319 w 6530564"/>
              <a:gd name="connsiteY4261" fmla="*/ 4446519 h 6858000"/>
              <a:gd name="connsiteX4262" fmla="*/ 1398362 w 6530564"/>
              <a:gd name="connsiteY4262" fmla="*/ 4445687 h 6858000"/>
              <a:gd name="connsiteX4263" fmla="*/ 1396421 w 6530564"/>
              <a:gd name="connsiteY4263" fmla="*/ 4442316 h 6858000"/>
              <a:gd name="connsiteX4264" fmla="*/ 1394700 w 6530564"/>
              <a:gd name="connsiteY4264" fmla="*/ 4434259 h 6858000"/>
              <a:gd name="connsiteX4265" fmla="*/ 1394325 w 6530564"/>
              <a:gd name="connsiteY4265" fmla="*/ 4432507 h 6858000"/>
              <a:gd name="connsiteX4266" fmla="*/ 1398995 w 6530564"/>
              <a:gd name="connsiteY4266" fmla="*/ 4431508 h 6858000"/>
              <a:gd name="connsiteX4267" fmla="*/ 1397996 w 6530564"/>
              <a:gd name="connsiteY4267" fmla="*/ 4426838 h 6858000"/>
              <a:gd name="connsiteX4268" fmla="*/ 1397000 w 6530564"/>
              <a:gd name="connsiteY4268" fmla="*/ 4422167 h 6858000"/>
              <a:gd name="connsiteX4269" fmla="*/ 1392329 w 6530564"/>
              <a:gd name="connsiteY4269" fmla="*/ 4423164 h 6858000"/>
              <a:gd name="connsiteX4270" fmla="*/ 1385662 w 6530564"/>
              <a:gd name="connsiteY4270" fmla="*/ 4414822 h 6858000"/>
              <a:gd name="connsiteX4271" fmla="*/ 1384664 w 6530564"/>
              <a:gd name="connsiteY4271" fmla="*/ 4410150 h 6858000"/>
              <a:gd name="connsiteX4272" fmla="*/ 1383666 w 6530564"/>
              <a:gd name="connsiteY4272" fmla="*/ 4405478 h 6858000"/>
              <a:gd name="connsiteX4273" fmla="*/ 1378801 w 6530564"/>
              <a:gd name="connsiteY4273" fmla="*/ 4382708 h 6858000"/>
              <a:gd name="connsiteX4274" fmla="*/ 1377677 w 6530564"/>
              <a:gd name="connsiteY4274" fmla="*/ 4377453 h 6858000"/>
              <a:gd name="connsiteX4275" fmla="*/ 1377996 w 6530564"/>
              <a:gd name="connsiteY4275" fmla="*/ 4401807 h 6858000"/>
              <a:gd name="connsiteX4276" fmla="*/ 1364344 w 6530564"/>
              <a:gd name="connsiteY4276" fmla="*/ 4360763 h 6858000"/>
              <a:gd name="connsiteX4277" fmla="*/ 1349899 w 6530564"/>
              <a:gd name="connsiteY4277" fmla="*/ 4354235 h 6858000"/>
              <a:gd name="connsiteX4278" fmla="*/ 1345078 w 6530564"/>
              <a:gd name="connsiteY4278" fmla="*/ 4351907 h 6858000"/>
              <a:gd name="connsiteX4279" fmla="*/ 1348800 w 6530564"/>
              <a:gd name="connsiteY4279" fmla="*/ 4372250 h 6858000"/>
              <a:gd name="connsiteX4280" fmla="*/ 1379072 w 6530564"/>
              <a:gd name="connsiteY4280" fmla="*/ 4419338 h 6858000"/>
              <a:gd name="connsiteX4281" fmla="*/ 1389836 w 6530564"/>
              <a:gd name="connsiteY4281" fmla="*/ 4454318 h 6858000"/>
              <a:gd name="connsiteX4282" fmla="*/ 1411363 w 6530564"/>
              <a:gd name="connsiteY4282" fmla="*/ 4524275 h 6858000"/>
              <a:gd name="connsiteX4283" fmla="*/ 1509583 w 6530564"/>
              <a:gd name="connsiteY4283" fmla="*/ 4667558 h 6858000"/>
              <a:gd name="connsiteX4284" fmla="*/ 1577273 w 6530564"/>
              <a:gd name="connsiteY4284" fmla="*/ 4795718 h 6858000"/>
              <a:gd name="connsiteX4285" fmla="*/ 1579917 w 6530564"/>
              <a:gd name="connsiteY4285" fmla="*/ 4798245 h 6858000"/>
              <a:gd name="connsiteX4286" fmla="*/ 1576604 w 6530564"/>
              <a:gd name="connsiteY4286" fmla="*/ 4759879 h 6858000"/>
              <a:gd name="connsiteX4287" fmla="*/ 1731897 w 6530564"/>
              <a:gd name="connsiteY4287" fmla="*/ 5029523 h 6858000"/>
              <a:gd name="connsiteX4288" fmla="*/ 1728521 w 6530564"/>
              <a:gd name="connsiteY4288" fmla="*/ 5034733 h 6858000"/>
              <a:gd name="connsiteX4289" fmla="*/ 1864742 w 6530564"/>
              <a:gd name="connsiteY4289" fmla="*/ 5210497 h 6858000"/>
              <a:gd name="connsiteX4290" fmla="*/ 1960966 w 6530564"/>
              <a:gd name="connsiteY4290" fmla="*/ 5314141 h 6858000"/>
              <a:gd name="connsiteX4291" fmla="*/ 1964240 w 6530564"/>
              <a:gd name="connsiteY4291" fmla="*/ 5316895 h 6858000"/>
              <a:gd name="connsiteX4292" fmla="*/ 1966833 w 6530564"/>
              <a:gd name="connsiteY4292" fmla="*/ 5320459 h 6858000"/>
              <a:gd name="connsiteX4293" fmla="*/ 2003292 w 6530564"/>
              <a:gd name="connsiteY4293" fmla="*/ 5359731 h 6858000"/>
              <a:gd name="connsiteX4294" fmla="*/ 2005134 w 6530564"/>
              <a:gd name="connsiteY4294" fmla="*/ 5358985 h 6858000"/>
              <a:gd name="connsiteX4295" fmla="*/ 2013584 w 6530564"/>
              <a:gd name="connsiteY4295" fmla="*/ 5364962 h 6858000"/>
              <a:gd name="connsiteX4296" fmla="*/ 2011996 w 6530564"/>
              <a:gd name="connsiteY4296" fmla="*/ 5368965 h 6858000"/>
              <a:gd name="connsiteX4297" fmla="*/ 2012621 w 6530564"/>
              <a:gd name="connsiteY4297" fmla="*/ 5369779 h 6858000"/>
              <a:gd name="connsiteX4298" fmla="*/ 2021956 w 6530564"/>
              <a:gd name="connsiteY4298" fmla="*/ 5379834 h 6858000"/>
              <a:gd name="connsiteX4299" fmla="*/ 2059336 w 6530564"/>
              <a:gd name="connsiteY4299" fmla="*/ 5413704 h 6858000"/>
              <a:gd name="connsiteX4300" fmla="*/ 2059384 w 6530564"/>
              <a:gd name="connsiteY4300" fmla="*/ 5410736 h 6858000"/>
              <a:gd name="connsiteX4301" fmla="*/ 2055262 w 6530564"/>
              <a:gd name="connsiteY4301" fmla="*/ 5400017 h 6858000"/>
              <a:gd name="connsiteX4302" fmla="*/ 2068636 w 6530564"/>
              <a:gd name="connsiteY4302" fmla="*/ 5419749 h 6858000"/>
              <a:gd name="connsiteX4303" fmla="*/ 2074568 w 6530564"/>
              <a:gd name="connsiteY4303" fmla="*/ 5427506 h 6858000"/>
              <a:gd name="connsiteX4304" fmla="*/ 2093075 w 6530564"/>
              <a:gd name="connsiteY4304" fmla="*/ 5444275 h 6858000"/>
              <a:gd name="connsiteX4305" fmla="*/ 2096976 w 6530564"/>
              <a:gd name="connsiteY4305" fmla="*/ 5446663 h 6858000"/>
              <a:gd name="connsiteX4306" fmla="*/ 2101272 w 6530564"/>
              <a:gd name="connsiteY4306" fmla="*/ 5451702 h 6858000"/>
              <a:gd name="connsiteX4307" fmla="*/ 2190614 w 6530564"/>
              <a:gd name="connsiteY4307" fmla="*/ 5532655 h 6858000"/>
              <a:gd name="connsiteX4308" fmla="*/ 2190957 w 6530564"/>
              <a:gd name="connsiteY4308" fmla="*/ 5532205 h 6858000"/>
              <a:gd name="connsiteX4309" fmla="*/ 2192913 w 6530564"/>
              <a:gd name="connsiteY4309" fmla="*/ 5534621 h 6858000"/>
              <a:gd name="connsiteX4310" fmla="*/ 2345065 w 6530564"/>
              <a:gd name="connsiteY4310" fmla="*/ 5651238 h 6858000"/>
              <a:gd name="connsiteX4311" fmla="*/ 2345801 w 6530564"/>
              <a:gd name="connsiteY4311" fmla="*/ 5651144 h 6858000"/>
              <a:gd name="connsiteX4312" fmla="*/ 2353680 w 6530564"/>
              <a:gd name="connsiteY4312" fmla="*/ 5653734 h 6858000"/>
              <a:gd name="connsiteX4313" fmla="*/ 2354677 w 6530564"/>
              <a:gd name="connsiteY4313" fmla="*/ 5658406 h 6858000"/>
              <a:gd name="connsiteX4314" fmla="*/ 2354729 w 6530564"/>
              <a:gd name="connsiteY4314" fmla="*/ 5658644 h 6858000"/>
              <a:gd name="connsiteX4315" fmla="*/ 2365695 w 6530564"/>
              <a:gd name="connsiteY4315" fmla="*/ 5667049 h 6858000"/>
              <a:gd name="connsiteX4316" fmla="*/ 2371685 w 6530564"/>
              <a:gd name="connsiteY4316" fmla="*/ 5669425 h 6858000"/>
              <a:gd name="connsiteX4317" fmla="*/ 2370688 w 6530564"/>
              <a:gd name="connsiteY4317" fmla="*/ 5664753 h 6858000"/>
              <a:gd name="connsiteX4318" fmla="*/ 2369689 w 6530564"/>
              <a:gd name="connsiteY4318" fmla="*/ 5660084 h 6858000"/>
              <a:gd name="connsiteX4319" fmla="*/ 2387695 w 6530564"/>
              <a:gd name="connsiteY4319" fmla="*/ 5675773 h 6858000"/>
              <a:gd name="connsiteX4320" fmla="*/ 2388692 w 6530564"/>
              <a:gd name="connsiteY4320" fmla="*/ 5680444 h 6858000"/>
              <a:gd name="connsiteX4321" fmla="*/ 2394361 w 6530564"/>
              <a:gd name="connsiteY4321" fmla="*/ 5684116 h 6858000"/>
              <a:gd name="connsiteX4322" fmla="*/ 2400030 w 6530564"/>
              <a:gd name="connsiteY4322" fmla="*/ 5687790 h 6858000"/>
              <a:gd name="connsiteX4323" fmla="*/ 2405825 w 6530564"/>
              <a:gd name="connsiteY4323" fmla="*/ 5692047 h 6858000"/>
              <a:gd name="connsiteX4324" fmla="*/ 2409797 w 6530564"/>
              <a:gd name="connsiteY4324" fmla="*/ 5696759 h 6858000"/>
              <a:gd name="connsiteX4325" fmla="*/ 2414794 w 6530564"/>
              <a:gd name="connsiteY4325" fmla="*/ 5700011 h 6858000"/>
              <a:gd name="connsiteX4326" fmla="*/ 2432881 w 6530564"/>
              <a:gd name="connsiteY4326" fmla="*/ 5701530 h 6858000"/>
              <a:gd name="connsiteX4327" fmla="*/ 2441390 w 6530564"/>
              <a:gd name="connsiteY4327" fmla="*/ 5698491 h 6858000"/>
              <a:gd name="connsiteX4328" fmla="*/ 2430801 w 6530564"/>
              <a:gd name="connsiteY4328" fmla="*/ 5694648 h 6858000"/>
              <a:gd name="connsiteX4329" fmla="*/ 2423109 w 6530564"/>
              <a:gd name="connsiteY4329" fmla="*/ 5687744 h 6858000"/>
              <a:gd name="connsiteX4330" fmla="*/ 2429054 w 6530564"/>
              <a:gd name="connsiteY4330" fmla="*/ 5686473 h 6858000"/>
              <a:gd name="connsiteX4331" fmla="*/ 2503749 w 6530564"/>
              <a:gd name="connsiteY4331" fmla="*/ 5738894 h 6858000"/>
              <a:gd name="connsiteX4332" fmla="*/ 2509419 w 6530564"/>
              <a:gd name="connsiteY4332" fmla="*/ 5742568 h 6858000"/>
              <a:gd name="connsiteX4333" fmla="*/ 2500075 w 6530564"/>
              <a:gd name="connsiteY4333" fmla="*/ 5744562 h 6858000"/>
              <a:gd name="connsiteX4334" fmla="*/ 2519077 w 6530564"/>
              <a:gd name="connsiteY4334" fmla="*/ 5764924 h 6858000"/>
              <a:gd name="connsiteX4335" fmla="*/ 2540756 w 6530564"/>
              <a:gd name="connsiteY4335" fmla="*/ 5774946 h 6858000"/>
              <a:gd name="connsiteX4336" fmla="*/ 2545427 w 6530564"/>
              <a:gd name="connsiteY4336" fmla="*/ 5773948 h 6858000"/>
              <a:gd name="connsiteX4337" fmla="*/ 2550097 w 6530564"/>
              <a:gd name="connsiteY4337" fmla="*/ 5772950 h 6858000"/>
              <a:gd name="connsiteX4338" fmla="*/ 2572773 w 6530564"/>
              <a:gd name="connsiteY4338" fmla="*/ 5787641 h 6858000"/>
              <a:gd name="connsiteX4339" fmla="*/ 2582118 w 6530564"/>
              <a:gd name="connsiteY4339" fmla="*/ 5785645 h 6858000"/>
              <a:gd name="connsiteX4340" fmla="*/ 2650143 w 6530564"/>
              <a:gd name="connsiteY4340" fmla="*/ 5829723 h 6858000"/>
              <a:gd name="connsiteX4341" fmla="*/ 2670824 w 6530564"/>
              <a:gd name="connsiteY4341" fmla="*/ 5835072 h 6858000"/>
              <a:gd name="connsiteX4342" fmla="*/ 2684158 w 6530564"/>
              <a:gd name="connsiteY4342" fmla="*/ 5851761 h 6858000"/>
              <a:gd name="connsiteX4343" fmla="*/ 2874588 w 6530564"/>
              <a:gd name="connsiteY4343" fmla="*/ 5942950 h 6858000"/>
              <a:gd name="connsiteX4344" fmla="*/ 2956629 w 6530564"/>
              <a:gd name="connsiteY4344" fmla="*/ 5984033 h 6858000"/>
              <a:gd name="connsiteX4345" fmla="*/ 3003657 w 6530564"/>
              <a:gd name="connsiteY4345" fmla="*/ 5998405 h 6858000"/>
              <a:gd name="connsiteX4346" fmla="*/ 3010325 w 6530564"/>
              <a:gd name="connsiteY4346" fmla="*/ 6006750 h 6858000"/>
              <a:gd name="connsiteX4347" fmla="*/ 3052682 w 6530564"/>
              <a:gd name="connsiteY4347" fmla="*/ 6022121 h 6858000"/>
              <a:gd name="connsiteX4348" fmla="*/ 3132727 w 6530564"/>
              <a:gd name="connsiteY4348" fmla="*/ 6053863 h 6858000"/>
              <a:gd name="connsiteX4349" fmla="*/ 3306831 w 6530564"/>
              <a:gd name="connsiteY4349" fmla="*/ 6114351 h 6858000"/>
              <a:gd name="connsiteX4350" fmla="*/ 3409233 w 6530564"/>
              <a:gd name="connsiteY4350" fmla="*/ 6136431 h 6858000"/>
              <a:gd name="connsiteX4351" fmla="*/ 3520977 w 6530564"/>
              <a:gd name="connsiteY4351" fmla="*/ 6156515 h 6858000"/>
              <a:gd name="connsiteX4352" fmla="*/ 3704103 w 6530564"/>
              <a:gd name="connsiteY4352" fmla="*/ 6190654 h 6858000"/>
              <a:gd name="connsiteX4353" fmla="*/ 3841878 w 6530564"/>
              <a:gd name="connsiteY4353" fmla="*/ 6195409 h 6858000"/>
              <a:gd name="connsiteX4354" fmla="*/ 3935617 w 6530564"/>
              <a:gd name="connsiteY4354" fmla="*/ 6199803 h 6858000"/>
              <a:gd name="connsiteX4355" fmla="*/ 4050037 w 6530564"/>
              <a:gd name="connsiteY4355" fmla="*/ 6209548 h 6858000"/>
              <a:gd name="connsiteX4356" fmla="*/ 4164456 w 6530564"/>
              <a:gd name="connsiteY4356" fmla="*/ 6219291 h 6858000"/>
              <a:gd name="connsiteX4357" fmla="*/ 4208491 w 6530564"/>
              <a:gd name="connsiteY4357" fmla="*/ 6219652 h 6858000"/>
              <a:gd name="connsiteX4358" fmla="*/ 4280553 w 6530564"/>
              <a:gd name="connsiteY4358" fmla="*/ 6214026 h 6858000"/>
              <a:gd name="connsiteX4359" fmla="*/ 4299237 w 6530564"/>
              <a:gd name="connsiteY4359" fmla="*/ 6210033 h 6858000"/>
              <a:gd name="connsiteX4360" fmla="*/ 4376966 w 6530564"/>
              <a:gd name="connsiteY4360" fmla="*/ 6208079 h 6858000"/>
              <a:gd name="connsiteX4361" fmla="*/ 4381639 w 6530564"/>
              <a:gd name="connsiteY4361" fmla="*/ 6207082 h 6858000"/>
              <a:gd name="connsiteX4362" fmla="*/ 4382636 w 6530564"/>
              <a:gd name="connsiteY4362" fmla="*/ 6211752 h 6858000"/>
              <a:gd name="connsiteX4363" fmla="*/ 4391979 w 6530564"/>
              <a:gd name="connsiteY4363" fmla="*/ 6209755 h 6858000"/>
              <a:gd name="connsiteX4364" fmla="*/ 4390980 w 6530564"/>
              <a:gd name="connsiteY4364" fmla="*/ 6205086 h 6858000"/>
              <a:gd name="connsiteX4365" fmla="*/ 4386310 w 6530564"/>
              <a:gd name="connsiteY4365" fmla="*/ 6206084 h 6858000"/>
              <a:gd name="connsiteX4366" fmla="*/ 4408667 w 6530564"/>
              <a:gd name="connsiteY4366" fmla="*/ 6196422 h 6858000"/>
              <a:gd name="connsiteX4367" fmla="*/ 4653556 w 6530564"/>
              <a:gd name="connsiteY4367" fmla="*/ 6153870 h 6858000"/>
              <a:gd name="connsiteX4368" fmla="*/ 4745978 w 6530564"/>
              <a:gd name="connsiteY4368" fmla="*/ 6129242 h 6858000"/>
              <a:gd name="connsiteX4369" fmla="*/ 4900802 w 6530564"/>
              <a:gd name="connsiteY4369" fmla="*/ 6076627 h 6858000"/>
              <a:gd name="connsiteX4370" fmla="*/ 5058301 w 6530564"/>
              <a:gd name="connsiteY4370" fmla="*/ 6013674 h 6858000"/>
              <a:gd name="connsiteX4371" fmla="*/ 5152401 w 6530564"/>
              <a:gd name="connsiteY4371" fmla="*/ 5974033 h 6858000"/>
              <a:gd name="connsiteX4372" fmla="*/ 5184101 w 6530564"/>
              <a:gd name="connsiteY4372" fmla="*/ 5962374 h 6858000"/>
              <a:gd name="connsiteX4373" fmla="*/ 5245504 w 6530564"/>
              <a:gd name="connsiteY4373" fmla="*/ 5929720 h 6858000"/>
              <a:gd name="connsiteX4374" fmla="*/ 5246501 w 6530564"/>
              <a:gd name="connsiteY4374" fmla="*/ 5934392 h 6858000"/>
              <a:gd name="connsiteX4375" fmla="*/ 5251173 w 6530564"/>
              <a:gd name="connsiteY4375" fmla="*/ 5933393 h 6858000"/>
              <a:gd name="connsiteX4376" fmla="*/ 5260514 w 6530564"/>
              <a:gd name="connsiteY4376" fmla="*/ 5931398 h 6858000"/>
              <a:gd name="connsiteX4377" fmla="*/ 5264188 w 6530564"/>
              <a:gd name="connsiteY4377" fmla="*/ 5925730 h 6858000"/>
              <a:gd name="connsiteX4378" fmla="*/ 5274527 w 6530564"/>
              <a:gd name="connsiteY4378" fmla="*/ 5928403 h 6858000"/>
              <a:gd name="connsiteX4379" fmla="*/ 5272531 w 6530564"/>
              <a:gd name="connsiteY4379" fmla="*/ 5919062 h 6858000"/>
              <a:gd name="connsiteX4380" fmla="*/ 5277203 w 6530564"/>
              <a:gd name="connsiteY4380" fmla="*/ 5918063 h 6858000"/>
              <a:gd name="connsiteX4381" fmla="*/ 5285546 w 6530564"/>
              <a:gd name="connsiteY4381" fmla="*/ 5911397 h 6858000"/>
              <a:gd name="connsiteX4382" fmla="*/ 5275207 w 6530564"/>
              <a:gd name="connsiteY4382" fmla="*/ 5908722 h 6858000"/>
              <a:gd name="connsiteX4383" fmla="*/ 5276205 w 6530564"/>
              <a:gd name="connsiteY4383" fmla="*/ 5913393 h 6858000"/>
              <a:gd name="connsiteX4384" fmla="*/ 5270536 w 6530564"/>
              <a:gd name="connsiteY4384" fmla="*/ 5909721 h 6858000"/>
              <a:gd name="connsiteX4385" fmla="*/ 5379329 w 6530564"/>
              <a:gd name="connsiteY4385" fmla="*/ 5847404 h 6858000"/>
              <a:gd name="connsiteX4386" fmla="*/ 5542857 w 6530564"/>
              <a:gd name="connsiteY4386" fmla="*/ 5744086 h 6858000"/>
              <a:gd name="connsiteX4387" fmla="*/ 5543855 w 6530564"/>
              <a:gd name="connsiteY4387" fmla="*/ 5748759 h 6858000"/>
              <a:gd name="connsiteX4388" fmla="*/ 5539183 w 6530564"/>
              <a:gd name="connsiteY4388" fmla="*/ 5749756 h 6858000"/>
              <a:gd name="connsiteX4389" fmla="*/ 5536507 w 6530564"/>
              <a:gd name="connsiteY4389" fmla="*/ 5760095 h 6858000"/>
              <a:gd name="connsiteX4390" fmla="*/ 5544853 w 6530564"/>
              <a:gd name="connsiteY4390" fmla="*/ 5753429 h 6858000"/>
              <a:gd name="connsiteX4391" fmla="*/ 5553195 w 6530564"/>
              <a:gd name="connsiteY4391" fmla="*/ 5746762 h 6858000"/>
              <a:gd name="connsiteX4392" fmla="*/ 5568208 w 6530564"/>
              <a:gd name="connsiteY4392" fmla="*/ 5748439 h 6858000"/>
              <a:gd name="connsiteX4393" fmla="*/ 5565793 w 6530564"/>
              <a:gd name="connsiteY4393" fmla="*/ 5742849 h 6858000"/>
              <a:gd name="connsiteX4394" fmla="*/ 5563150 w 6530564"/>
              <a:gd name="connsiteY4394" fmla="*/ 5743821 h 6858000"/>
              <a:gd name="connsiteX4395" fmla="*/ 5569884 w 6530564"/>
              <a:gd name="connsiteY4395" fmla="*/ 5733428 h 6858000"/>
              <a:gd name="connsiteX4396" fmla="*/ 5555871 w 6530564"/>
              <a:gd name="connsiteY4396" fmla="*/ 5736423 h 6858000"/>
              <a:gd name="connsiteX4397" fmla="*/ 5595597 w 6530564"/>
              <a:gd name="connsiteY4397" fmla="*/ 5693746 h 6858000"/>
              <a:gd name="connsiteX4398" fmla="*/ 5601265 w 6530564"/>
              <a:gd name="connsiteY4398" fmla="*/ 5697419 h 6858000"/>
              <a:gd name="connsiteX4399" fmla="*/ 5654005 w 6530564"/>
              <a:gd name="connsiteY4399" fmla="*/ 5647078 h 6858000"/>
              <a:gd name="connsiteX4400" fmla="*/ 5650333 w 6530564"/>
              <a:gd name="connsiteY4400" fmla="*/ 5652747 h 6858000"/>
              <a:gd name="connsiteX4401" fmla="*/ 5713411 w 6530564"/>
              <a:gd name="connsiteY4401" fmla="*/ 5605080 h 6858000"/>
              <a:gd name="connsiteX4402" fmla="*/ 5717085 w 6530564"/>
              <a:gd name="connsiteY4402" fmla="*/ 5599412 h 6858000"/>
              <a:gd name="connsiteX4403" fmla="*/ 5698401 w 6530564"/>
              <a:gd name="connsiteY4403" fmla="*/ 5603403 h 6858000"/>
              <a:gd name="connsiteX4404" fmla="*/ 5739123 w 6530564"/>
              <a:gd name="connsiteY4404" fmla="*/ 5565397 h 6858000"/>
              <a:gd name="connsiteX4405" fmla="*/ 5749465 w 6530564"/>
              <a:gd name="connsiteY4405" fmla="*/ 5568074 h 6858000"/>
              <a:gd name="connsiteX4406" fmla="*/ 5755813 w 6530564"/>
              <a:gd name="connsiteY4406" fmla="*/ 5552065 h 6858000"/>
              <a:gd name="connsiteX4407" fmla="*/ 5759485 w 6530564"/>
              <a:gd name="connsiteY4407" fmla="*/ 5546395 h 6858000"/>
              <a:gd name="connsiteX4408" fmla="*/ 5766831 w 6530564"/>
              <a:gd name="connsiteY4408" fmla="*/ 5535057 h 6858000"/>
              <a:gd name="connsiteX4409" fmla="*/ 5757489 w 6530564"/>
              <a:gd name="connsiteY4409" fmla="*/ 5537052 h 6858000"/>
              <a:gd name="connsiteX4410" fmla="*/ 5752817 w 6530564"/>
              <a:gd name="connsiteY4410" fmla="*/ 5538051 h 6858000"/>
              <a:gd name="connsiteX4411" fmla="*/ 5840612 w 6530564"/>
              <a:gd name="connsiteY4411" fmla="*/ 5446031 h 6858000"/>
              <a:gd name="connsiteX4412" fmla="*/ 5875984 w 6530564"/>
              <a:gd name="connsiteY4412" fmla="*/ 5428705 h 6858000"/>
              <a:gd name="connsiteX4413" fmla="*/ 5876981 w 6530564"/>
              <a:gd name="connsiteY4413" fmla="*/ 5433377 h 6858000"/>
              <a:gd name="connsiteX4414" fmla="*/ 5881654 w 6530564"/>
              <a:gd name="connsiteY4414" fmla="*/ 5432378 h 6858000"/>
              <a:gd name="connsiteX4415" fmla="*/ 5888999 w 6530564"/>
              <a:gd name="connsiteY4415" fmla="*/ 5421040 h 6858000"/>
              <a:gd name="connsiteX4416" fmla="*/ 5892673 w 6530564"/>
              <a:gd name="connsiteY4416" fmla="*/ 5415372 h 6858000"/>
              <a:gd name="connsiteX4417" fmla="*/ 5894349 w 6530564"/>
              <a:gd name="connsiteY4417" fmla="*/ 5400360 h 6858000"/>
              <a:gd name="connsiteX4418" fmla="*/ 5910040 w 6530564"/>
              <a:gd name="connsiteY4418" fmla="*/ 5382356 h 6858000"/>
              <a:gd name="connsiteX4419" fmla="*/ 5885009 w 6530564"/>
              <a:gd name="connsiteY4419" fmla="*/ 5402357 h 6858000"/>
              <a:gd name="connsiteX4420" fmla="*/ 5887003 w 6530564"/>
              <a:gd name="connsiteY4420" fmla="*/ 5411699 h 6858000"/>
              <a:gd name="connsiteX4421" fmla="*/ 5883331 w 6530564"/>
              <a:gd name="connsiteY4421" fmla="*/ 5417368 h 6858000"/>
              <a:gd name="connsiteX4422" fmla="*/ 5878661 w 6530564"/>
              <a:gd name="connsiteY4422" fmla="*/ 5418365 h 6858000"/>
              <a:gd name="connsiteX4423" fmla="*/ 5875984 w 6530564"/>
              <a:gd name="connsiteY4423" fmla="*/ 5428705 h 6858000"/>
              <a:gd name="connsiteX4424" fmla="*/ 5797893 w 6530564"/>
              <a:gd name="connsiteY4424" fmla="*/ 5474694 h 6858000"/>
              <a:gd name="connsiteX4425" fmla="*/ 5788553 w 6530564"/>
              <a:gd name="connsiteY4425" fmla="*/ 5476691 h 6858000"/>
              <a:gd name="connsiteX4426" fmla="*/ 5787554 w 6530564"/>
              <a:gd name="connsiteY4426" fmla="*/ 5472019 h 6858000"/>
              <a:gd name="connsiteX4427" fmla="*/ 5783880 w 6530564"/>
              <a:gd name="connsiteY4427" fmla="*/ 5477689 h 6858000"/>
              <a:gd name="connsiteX4428" fmla="*/ 5779209 w 6530564"/>
              <a:gd name="connsiteY4428" fmla="*/ 5478686 h 6858000"/>
              <a:gd name="connsiteX4429" fmla="*/ 5809467 w 6530564"/>
              <a:gd name="connsiteY4429" fmla="*/ 5437421 h 6858000"/>
              <a:gd name="connsiteX4430" fmla="*/ 5851753 w 6530564"/>
              <a:gd name="connsiteY4430" fmla="*/ 5406742 h 6858000"/>
              <a:gd name="connsiteX4431" fmla="*/ 5852311 w 6530564"/>
              <a:gd name="connsiteY4431" fmla="*/ 5409342 h 6858000"/>
              <a:gd name="connsiteX4432" fmla="*/ 5855983 w 6530564"/>
              <a:gd name="connsiteY4432" fmla="*/ 5403674 h 6858000"/>
              <a:gd name="connsiteX4433" fmla="*/ 5872672 w 6530564"/>
              <a:gd name="connsiteY4433" fmla="*/ 5390339 h 6858000"/>
              <a:gd name="connsiteX4434" fmla="*/ 5868998 w 6530564"/>
              <a:gd name="connsiteY4434" fmla="*/ 5396009 h 6858000"/>
              <a:gd name="connsiteX4435" fmla="*/ 5873671 w 6530564"/>
              <a:gd name="connsiteY4435" fmla="*/ 5395010 h 6858000"/>
              <a:gd name="connsiteX4436" fmla="*/ 5877343 w 6530564"/>
              <a:gd name="connsiteY4436" fmla="*/ 5389341 h 6858000"/>
              <a:gd name="connsiteX4437" fmla="*/ 5944096 w 6530564"/>
              <a:gd name="connsiteY4437" fmla="*/ 5336008 h 6858000"/>
              <a:gd name="connsiteX4438" fmla="*/ 5954436 w 6530564"/>
              <a:gd name="connsiteY4438" fmla="*/ 5338681 h 6858000"/>
              <a:gd name="connsiteX4439" fmla="*/ 5936071 w 6530564"/>
              <a:gd name="connsiteY4439" fmla="*/ 5367026 h 6858000"/>
              <a:gd name="connsiteX4440" fmla="*/ 6011847 w 6530564"/>
              <a:gd name="connsiteY4440" fmla="*/ 5287342 h 6858000"/>
              <a:gd name="connsiteX4441" fmla="*/ 6021190 w 6530564"/>
              <a:gd name="connsiteY4441" fmla="*/ 5285346 h 6858000"/>
              <a:gd name="connsiteX4442" fmla="*/ 6023863 w 6530564"/>
              <a:gd name="connsiteY4442" fmla="*/ 5275006 h 6858000"/>
              <a:gd name="connsiteX4443" fmla="*/ 6041233 w 6530564"/>
              <a:gd name="connsiteY4443" fmla="*/ 5241991 h 6858000"/>
              <a:gd name="connsiteX4444" fmla="*/ 6047899 w 6530564"/>
              <a:gd name="connsiteY4444" fmla="*/ 5250335 h 6858000"/>
              <a:gd name="connsiteX4445" fmla="*/ 6054247 w 6530564"/>
              <a:gd name="connsiteY4445" fmla="*/ 5234325 h 6858000"/>
              <a:gd name="connsiteX4446" fmla="*/ 6057920 w 6530564"/>
              <a:gd name="connsiteY4446" fmla="*/ 5228658 h 6858000"/>
              <a:gd name="connsiteX4447" fmla="*/ 6062591 w 6530564"/>
              <a:gd name="connsiteY4447" fmla="*/ 5227659 h 6858000"/>
              <a:gd name="connsiteX4448" fmla="*/ 6061593 w 6530564"/>
              <a:gd name="connsiteY4448" fmla="*/ 5222988 h 6858000"/>
              <a:gd name="connsiteX4449" fmla="*/ 6057920 w 6530564"/>
              <a:gd name="connsiteY4449" fmla="*/ 5228658 h 6858000"/>
              <a:gd name="connsiteX4450" fmla="*/ 6053250 w 6530564"/>
              <a:gd name="connsiteY4450" fmla="*/ 5229655 h 6858000"/>
              <a:gd name="connsiteX4451" fmla="*/ 6068941 w 6530564"/>
              <a:gd name="connsiteY4451" fmla="*/ 5211651 h 6858000"/>
              <a:gd name="connsiteX4452" fmla="*/ 6069937 w 6530564"/>
              <a:gd name="connsiteY4452" fmla="*/ 5216321 h 6858000"/>
              <a:gd name="connsiteX4453" fmla="*/ 6153103 w 6530564"/>
              <a:gd name="connsiteY4453" fmla="*/ 5056910 h 6858000"/>
              <a:gd name="connsiteX4454" fmla="*/ 6220259 w 6530564"/>
              <a:gd name="connsiteY4454" fmla="*/ 4891153 h 6858000"/>
              <a:gd name="connsiteX4455" fmla="*/ 6232593 w 6530564"/>
              <a:gd name="connsiteY4455" fmla="*/ 4903170 h 6858000"/>
              <a:gd name="connsiteX4456" fmla="*/ 6266691 w 6530564"/>
              <a:gd name="connsiteY4456" fmla="*/ 4788433 h 6858000"/>
              <a:gd name="connsiteX4457" fmla="*/ 6282822 w 6530564"/>
              <a:gd name="connsiteY4457" fmla="*/ 4732481 h 6858000"/>
              <a:gd name="connsiteX4458" fmla="*/ 6302855 w 6530564"/>
              <a:gd name="connsiteY4458" fmla="*/ 4672815 h 6858000"/>
              <a:gd name="connsiteX4459" fmla="*/ 6305460 w 6530564"/>
              <a:gd name="connsiteY4459" fmla="*/ 4672697 h 6858000"/>
              <a:gd name="connsiteX4460" fmla="*/ 6313804 w 6530564"/>
              <a:gd name="connsiteY4460" fmla="*/ 4666031 h 6858000"/>
              <a:gd name="connsiteX4461" fmla="*/ 6318475 w 6530564"/>
              <a:gd name="connsiteY4461" fmla="*/ 4665033 h 6858000"/>
              <a:gd name="connsiteX4462" fmla="*/ 6322827 w 6530564"/>
              <a:gd name="connsiteY4462" fmla="*/ 4639682 h 6858000"/>
              <a:gd name="connsiteX4463" fmla="*/ 6330175 w 6530564"/>
              <a:gd name="connsiteY4463" fmla="*/ 4628345 h 6858000"/>
              <a:gd name="connsiteX4464" fmla="*/ 6329177 w 6530564"/>
              <a:gd name="connsiteY4464" fmla="*/ 4623672 h 6858000"/>
              <a:gd name="connsiteX4465" fmla="*/ 6324505 w 6530564"/>
              <a:gd name="connsiteY4465" fmla="*/ 4624671 h 6858000"/>
              <a:gd name="connsiteX4466" fmla="*/ 6348900 w 6530564"/>
              <a:gd name="connsiteY4466" fmla="*/ 4555965 h 6858000"/>
              <a:gd name="connsiteX4467" fmla="*/ 6345907 w 6530564"/>
              <a:gd name="connsiteY4467" fmla="*/ 4541951 h 6858000"/>
              <a:gd name="connsiteX4468" fmla="*/ 6330216 w 6530564"/>
              <a:gd name="connsiteY4468" fmla="*/ 4559955 h 6858000"/>
              <a:gd name="connsiteX4469" fmla="*/ 6336883 w 6530564"/>
              <a:gd name="connsiteY4469" fmla="*/ 4568299 h 6858000"/>
              <a:gd name="connsiteX4470" fmla="*/ 6314844 w 6530564"/>
              <a:gd name="connsiteY4470" fmla="*/ 4602314 h 6858000"/>
              <a:gd name="connsiteX4471" fmla="*/ 6321192 w 6530564"/>
              <a:gd name="connsiteY4471" fmla="*/ 4586304 h 6858000"/>
              <a:gd name="connsiteX4472" fmla="*/ 6273761 w 6530564"/>
              <a:gd name="connsiteY4472" fmla="*/ 4684354 h 6858000"/>
              <a:gd name="connsiteX4473" fmla="*/ 6228327 w 6530564"/>
              <a:gd name="connsiteY4473" fmla="*/ 4791746 h 6858000"/>
              <a:gd name="connsiteX4474" fmla="*/ 6218983 w 6530564"/>
              <a:gd name="connsiteY4474" fmla="*/ 4793740 h 6858000"/>
              <a:gd name="connsiteX4475" fmla="*/ 6164885 w 6530564"/>
              <a:gd name="connsiteY4475" fmla="*/ 4883446 h 6858000"/>
              <a:gd name="connsiteX4476" fmla="*/ 6142846 w 6530564"/>
              <a:gd name="connsiteY4476" fmla="*/ 4917459 h 6858000"/>
              <a:gd name="connsiteX4477" fmla="*/ 6136497 w 6530564"/>
              <a:gd name="connsiteY4477" fmla="*/ 4933470 h 6858000"/>
              <a:gd name="connsiteX4478" fmla="*/ 6117135 w 6530564"/>
              <a:gd name="connsiteY4478" fmla="*/ 4957143 h 6858000"/>
              <a:gd name="connsiteX4479" fmla="*/ 6085074 w 6530564"/>
              <a:gd name="connsiteY4479" fmla="*/ 5012834 h 6858000"/>
              <a:gd name="connsiteX4480" fmla="*/ 6052017 w 6530564"/>
              <a:gd name="connsiteY4480" fmla="*/ 5063855 h 6858000"/>
              <a:gd name="connsiteX4481" fmla="*/ 5949849 w 6530564"/>
              <a:gd name="connsiteY4481" fmla="*/ 5202903 h 6858000"/>
              <a:gd name="connsiteX4482" fmla="*/ 5919467 w 6530564"/>
              <a:gd name="connsiteY4482" fmla="*/ 5243586 h 6858000"/>
              <a:gd name="connsiteX4483" fmla="*/ 5913797 w 6530564"/>
              <a:gd name="connsiteY4483" fmla="*/ 5239912 h 6858000"/>
              <a:gd name="connsiteX4484" fmla="*/ 5798296 w 6530564"/>
              <a:gd name="connsiteY4484" fmla="*/ 5362272 h 6858000"/>
              <a:gd name="connsiteX4485" fmla="*/ 5770589 w 6530564"/>
              <a:gd name="connsiteY4485" fmla="*/ 5392612 h 6858000"/>
              <a:gd name="connsiteX4486" fmla="*/ 5726193 w 6530564"/>
              <a:gd name="connsiteY4486" fmla="*/ 5436286 h 6858000"/>
              <a:gd name="connsiteX4487" fmla="*/ 5560309 w 6530564"/>
              <a:gd name="connsiteY4487" fmla="*/ 5574296 h 6858000"/>
              <a:gd name="connsiteX4488" fmla="*/ 5511241 w 6530564"/>
              <a:gd name="connsiteY4488" fmla="*/ 5618968 h 6858000"/>
              <a:gd name="connsiteX4489" fmla="*/ 5501899 w 6530564"/>
              <a:gd name="connsiteY4489" fmla="*/ 5620964 h 6858000"/>
              <a:gd name="connsiteX4490" fmla="*/ 5462853 w 6530564"/>
              <a:gd name="connsiteY4490" fmla="*/ 5643958 h 6858000"/>
              <a:gd name="connsiteX4491" fmla="*/ 5434147 w 6530564"/>
              <a:gd name="connsiteY4491" fmla="*/ 5669628 h 6858000"/>
              <a:gd name="connsiteX4492" fmla="*/ 5335695 w 6530564"/>
              <a:gd name="connsiteY4492" fmla="*/ 5734620 h 6858000"/>
              <a:gd name="connsiteX4493" fmla="*/ 5279961 w 6530564"/>
              <a:gd name="connsiteY4493" fmla="*/ 5770948 h 6858000"/>
              <a:gd name="connsiteX4494" fmla="*/ 5196201 w 6530564"/>
              <a:gd name="connsiteY4494" fmla="*/ 5813264 h 6858000"/>
              <a:gd name="connsiteX4495" fmla="*/ 5184185 w 6530564"/>
              <a:gd name="connsiteY4495" fmla="*/ 5825600 h 6858000"/>
              <a:gd name="connsiteX4496" fmla="*/ 5148811 w 6530564"/>
              <a:gd name="connsiteY4496" fmla="*/ 5842926 h 6858000"/>
              <a:gd name="connsiteX4497" fmla="*/ 5098429 w 6530564"/>
              <a:gd name="connsiteY4497" fmla="*/ 5858574 h 6858000"/>
              <a:gd name="connsiteX4498" fmla="*/ 5093078 w 6530564"/>
              <a:gd name="connsiteY4498" fmla="*/ 5879254 h 6858000"/>
              <a:gd name="connsiteX4499" fmla="*/ 5071717 w 6530564"/>
              <a:gd name="connsiteY4499" fmla="*/ 5893584 h 6858000"/>
              <a:gd name="connsiteX4500" fmla="*/ 4963607 w 6530564"/>
              <a:gd name="connsiteY4500" fmla="*/ 5936220 h 6858000"/>
              <a:gd name="connsiteX4501" fmla="*/ 4943924 w 6530564"/>
              <a:gd name="connsiteY4501" fmla="*/ 5935541 h 6858000"/>
              <a:gd name="connsiteX4502" fmla="*/ 4931907 w 6530564"/>
              <a:gd name="connsiteY4502" fmla="*/ 5947877 h 6858000"/>
              <a:gd name="connsiteX4503" fmla="*/ 4927236 w 6530564"/>
              <a:gd name="connsiteY4503" fmla="*/ 5948876 h 6858000"/>
              <a:gd name="connsiteX4504" fmla="*/ 4813453 w 6530564"/>
              <a:gd name="connsiteY4504" fmla="*/ 5987836 h 6858000"/>
              <a:gd name="connsiteX4505" fmla="*/ 4812455 w 6530564"/>
              <a:gd name="connsiteY4505" fmla="*/ 5983165 h 6858000"/>
              <a:gd name="connsiteX4506" fmla="*/ 4789099 w 6530564"/>
              <a:gd name="connsiteY4506" fmla="*/ 5988156 h 6858000"/>
              <a:gd name="connsiteX4507" fmla="*/ 4763071 w 6530564"/>
              <a:gd name="connsiteY4507" fmla="*/ 6003484 h 6858000"/>
              <a:gd name="connsiteX4508" fmla="*/ 4747061 w 6530564"/>
              <a:gd name="connsiteY4508" fmla="*/ 5997136 h 6858000"/>
              <a:gd name="connsiteX4509" fmla="*/ 4687335 w 6530564"/>
              <a:gd name="connsiteY4509" fmla="*/ 6014782 h 6858000"/>
              <a:gd name="connsiteX4510" fmla="*/ 4642621 w 6530564"/>
              <a:gd name="connsiteY4510" fmla="*/ 6034102 h 6858000"/>
              <a:gd name="connsiteX4511" fmla="*/ 4636952 w 6530564"/>
              <a:gd name="connsiteY4511" fmla="*/ 6030429 h 6858000"/>
              <a:gd name="connsiteX4512" fmla="*/ 4563214 w 6530564"/>
              <a:gd name="connsiteY4512" fmla="*/ 6051067 h 6858000"/>
              <a:gd name="connsiteX4513" fmla="*/ 4553871 w 6530564"/>
              <a:gd name="connsiteY4513" fmla="*/ 6053063 h 6858000"/>
              <a:gd name="connsiteX4514" fmla="*/ 4552873 w 6530564"/>
              <a:gd name="connsiteY4514" fmla="*/ 6048393 h 6858000"/>
              <a:gd name="connsiteX4515" fmla="*/ 4547205 w 6530564"/>
              <a:gd name="connsiteY4515" fmla="*/ 6044719 h 6858000"/>
              <a:gd name="connsiteX4516" fmla="*/ 4543531 w 6530564"/>
              <a:gd name="connsiteY4516" fmla="*/ 6050388 h 6858000"/>
              <a:gd name="connsiteX4517" fmla="*/ 4494145 w 6530564"/>
              <a:gd name="connsiteY4517" fmla="*/ 6070708 h 6858000"/>
              <a:gd name="connsiteX4518" fmla="*/ 4478137 w 6530564"/>
              <a:gd name="connsiteY4518" fmla="*/ 6064359 h 6858000"/>
              <a:gd name="connsiteX4519" fmla="*/ 4479134 w 6530564"/>
              <a:gd name="connsiteY4519" fmla="*/ 6069030 h 6858000"/>
              <a:gd name="connsiteX4520" fmla="*/ 4459453 w 6530564"/>
              <a:gd name="connsiteY4520" fmla="*/ 6068351 h 6858000"/>
              <a:gd name="connsiteX4521" fmla="*/ 4432425 w 6530564"/>
              <a:gd name="connsiteY4521" fmla="*/ 6079010 h 6858000"/>
              <a:gd name="connsiteX4522" fmla="*/ 4404399 w 6530564"/>
              <a:gd name="connsiteY4522" fmla="*/ 6084998 h 6858000"/>
              <a:gd name="connsiteX4523" fmla="*/ 4394059 w 6530564"/>
              <a:gd name="connsiteY4523" fmla="*/ 6082323 h 6858000"/>
              <a:gd name="connsiteX4524" fmla="*/ 4379047 w 6530564"/>
              <a:gd name="connsiteY4524" fmla="*/ 6080645 h 6858000"/>
              <a:gd name="connsiteX4525" fmla="*/ 4374376 w 6530564"/>
              <a:gd name="connsiteY4525" fmla="*/ 6081644 h 6858000"/>
              <a:gd name="connsiteX4526" fmla="*/ 4292971 w 6530564"/>
              <a:gd name="connsiteY4526" fmla="*/ 6089266 h 6858000"/>
              <a:gd name="connsiteX4527" fmla="*/ 4193882 w 6530564"/>
              <a:gd name="connsiteY4527" fmla="*/ 6105553 h 6858000"/>
              <a:gd name="connsiteX4528" fmla="*/ 4184541 w 6530564"/>
              <a:gd name="connsiteY4528" fmla="*/ 6107549 h 6858000"/>
              <a:gd name="connsiteX4529" fmla="*/ 4178872 w 6530564"/>
              <a:gd name="connsiteY4529" fmla="*/ 6103875 h 6858000"/>
              <a:gd name="connsiteX4530" fmla="*/ 4174201 w 6530564"/>
              <a:gd name="connsiteY4530" fmla="*/ 6104874 h 6858000"/>
              <a:gd name="connsiteX4531" fmla="*/ 4146175 w 6530564"/>
              <a:gd name="connsiteY4531" fmla="*/ 6110861 h 6858000"/>
              <a:gd name="connsiteX4532" fmla="*/ 4141503 w 6530564"/>
              <a:gd name="connsiteY4532" fmla="*/ 6111859 h 6858000"/>
              <a:gd name="connsiteX4533" fmla="*/ 4135835 w 6530564"/>
              <a:gd name="connsiteY4533" fmla="*/ 6108185 h 6858000"/>
              <a:gd name="connsiteX4534" fmla="*/ 4131163 w 6530564"/>
              <a:gd name="connsiteY4534" fmla="*/ 6109183 h 6858000"/>
              <a:gd name="connsiteX4535" fmla="*/ 4092798 w 6530564"/>
              <a:gd name="connsiteY4535" fmla="*/ 6112497 h 6858000"/>
              <a:gd name="connsiteX4536" fmla="*/ 4082458 w 6530564"/>
              <a:gd name="connsiteY4536" fmla="*/ 6109821 h 6858000"/>
              <a:gd name="connsiteX4537" fmla="*/ 4052435 w 6530564"/>
              <a:gd name="connsiteY4537" fmla="*/ 6106468 h 6858000"/>
              <a:gd name="connsiteX4538" fmla="*/ 4053433 w 6530564"/>
              <a:gd name="connsiteY4538" fmla="*/ 6111138 h 6858000"/>
              <a:gd name="connsiteX4539" fmla="*/ 4043093 w 6530564"/>
              <a:gd name="connsiteY4539" fmla="*/ 6108462 h 6858000"/>
              <a:gd name="connsiteX4540" fmla="*/ 4049935 w 6530564"/>
              <a:gd name="connsiteY4540" fmla="*/ 6103338 h 6858000"/>
              <a:gd name="connsiteX4541" fmla="*/ 4045742 w 6530564"/>
              <a:gd name="connsiteY4541" fmla="*/ 6095312 h 6858000"/>
              <a:gd name="connsiteX4542" fmla="*/ 4059782 w 6530564"/>
              <a:gd name="connsiteY4542" fmla="*/ 6095129 h 6858000"/>
              <a:gd name="connsiteX4543" fmla="*/ 4208575 w 6530564"/>
              <a:gd name="connsiteY4543" fmla="*/ 6082877 h 6858000"/>
              <a:gd name="connsiteX4544" fmla="*/ 4574233 w 6530564"/>
              <a:gd name="connsiteY4544" fmla="*/ 6034059 h 6858000"/>
              <a:gd name="connsiteX4545" fmla="*/ 4653639 w 6530564"/>
              <a:gd name="connsiteY4545" fmla="*/ 6017096 h 6858000"/>
              <a:gd name="connsiteX4546" fmla="*/ 4666657 w 6530564"/>
              <a:gd name="connsiteY4546" fmla="*/ 6009430 h 6858000"/>
              <a:gd name="connsiteX4547" fmla="*/ 4671326 w 6530564"/>
              <a:gd name="connsiteY4547" fmla="*/ 6008432 h 6858000"/>
              <a:gd name="connsiteX4548" fmla="*/ 4680669 w 6530564"/>
              <a:gd name="connsiteY4548" fmla="*/ 6006436 h 6858000"/>
              <a:gd name="connsiteX4549" fmla="*/ 4777762 w 6530564"/>
              <a:gd name="connsiteY4549" fmla="*/ 5980809 h 6858000"/>
              <a:gd name="connsiteX4550" fmla="*/ 4917575 w 6530564"/>
              <a:gd name="connsiteY4550" fmla="*/ 5926517 h 6858000"/>
              <a:gd name="connsiteX4551" fmla="*/ 5024691 w 6530564"/>
              <a:gd name="connsiteY4551" fmla="*/ 5879212 h 6858000"/>
              <a:gd name="connsiteX4552" fmla="*/ 5063735 w 6530564"/>
              <a:gd name="connsiteY4552" fmla="*/ 5856218 h 6858000"/>
              <a:gd name="connsiteX4553" fmla="*/ 5078746 w 6530564"/>
              <a:gd name="connsiteY4553" fmla="*/ 5857895 h 6858000"/>
              <a:gd name="connsiteX4554" fmla="*/ 5094437 w 6530564"/>
              <a:gd name="connsiteY4554" fmla="*/ 5839890 h 6858000"/>
              <a:gd name="connsiteX4555" fmla="*/ 5130807 w 6530564"/>
              <a:gd name="connsiteY4555" fmla="*/ 5827235 h 6858000"/>
              <a:gd name="connsiteX4556" fmla="*/ 5253613 w 6530564"/>
              <a:gd name="connsiteY4556" fmla="*/ 5761925 h 6858000"/>
              <a:gd name="connsiteX4557" fmla="*/ 5273974 w 6530564"/>
              <a:gd name="connsiteY4557" fmla="*/ 5742921 h 6858000"/>
              <a:gd name="connsiteX4558" fmla="*/ 5398457 w 6530564"/>
              <a:gd name="connsiteY4558" fmla="*/ 5662600 h 6858000"/>
              <a:gd name="connsiteX4559" fmla="*/ 5508927 w 6530564"/>
              <a:gd name="connsiteY4559" fmla="*/ 5585273 h 6858000"/>
              <a:gd name="connsiteX4560" fmla="*/ 5516272 w 6530564"/>
              <a:gd name="connsiteY4560" fmla="*/ 5573935 h 6858000"/>
              <a:gd name="connsiteX4561" fmla="*/ 5517271 w 6530564"/>
              <a:gd name="connsiteY4561" fmla="*/ 5578605 h 6858000"/>
              <a:gd name="connsiteX4562" fmla="*/ 5566338 w 6530564"/>
              <a:gd name="connsiteY4562" fmla="*/ 5533934 h 6858000"/>
              <a:gd name="connsiteX4563" fmla="*/ 5597039 w 6530564"/>
              <a:gd name="connsiteY4563" fmla="*/ 5517607 h 6858000"/>
              <a:gd name="connsiteX4564" fmla="*/ 5590371 w 6530564"/>
              <a:gd name="connsiteY4564" fmla="*/ 5509261 h 6858000"/>
              <a:gd name="connsiteX4565" fmla="*/ 5610733 w 6530564"/>
              <a:gd name="connsiteY4565" fmla="*/ 5490259 h 6858000"/>
              <a:gd name="connsiteX4566" fmla="*/ 5625744 w 6530564"/>
              <a:gd name="connsiteY4566" fmla="*/ 5491937 h 6858000"/>
              <a:gd name="connsiteX4567" fmla="*/ 5718210 w 6530564"/>
              <a:gd name="connsiteY4567" fmla="*/ 5398918 h 6858000"/>
              <a:gd name="connsiteX4568" fmla="*/ 5726553 w 6530564"/>
              <a:gd name="connsiteY4568" fmla="*/ 5392252 h 6858000"/>
              <a:gd name="connsiteX4569" fmla="*/ 5730227 w 6530564"/>
              <a:gd name="connsiteY4569" fmla="*/ 5386582 h 6858000"/>
              <a:gd name="connsiteX4570" fmla="*/ 5725555 w 6530564"/>
              <a:gd name="connsiteY4570" fmla="*/ 5387581 h 6858000"/>
              <a:gd name="connsiteX4571" fmla="*/ 5720884 w 6530564"/>
              <a:gd name="connsiteY4571" fmla="*/ 5388578 h 6858000"/>
              <a:gd name="connsiteX4572" fmla="*/ 5821693 w 6530564"/>
              <a:gd name="connsiteY4572" fmla="*/ 5288895 h 6858000"/>
              <a:gd name="connsiteX4573" fmla="*/ 5836704 w 6530564"/>
              <a:gd name="connsiteY4573" fmla="*/ 5290572 h 6858000"/>
              <a:gd name="connsiteX4574" fmla="*/ 5981591 w 6530564"/>
              <a:gd name="connsiteY4574" fmla="*/ 5122858 h 6858000"/>
              <a:gd name="connsiteX4575" fmla="*/ 6118812 w 6530564"/>
              <a:gd name="connsiteY4575" fmla="*/ 4942132 h 6858000"/>
              <a:gd name="connsiteX4576" fmla="*/ 6076412 w 6530564"/>
              <a:gd name="connsiteY4576" fmla="*/ 4995149 h 6858000"/>
              <a:gd name="connsiteX4577" fmla="*/ 6063397 w 6530564"/>
              <a:gd name="connsiteY4577" fmla="*/ 5002813 h 6858000"/>
              <a:gd name="connsiteX4578" fmla="*/ 5966579 w 6530564"/>
              <a:gd name="connsiteY4578" fmla="*/ 5121182 h 6858000"/>
              <a:gd name="connsiteX4579" fmla="*/ 5844729 w 6530564"/>
              <a:gd name="connsiteY4579" fmla="*/ 5259552 h 6858000"/>
              <a:gd name="connsiteX4580" fmla="*/ 5827043 w 6530564"/>
              <a:gd name="connsiteY4580" fmla="*/ 5268214 h 6858000"/>
              <a:gd name="connsiteX4581" fmla="*/ 5759611 w 6530564"/>
              <a:gd name="connsiteY4581" fmla="*/ 5341232 h 6858000"/>
              <a:gd name="connsiteX4582" fmla="*/ 5750269 w 6530564"/>
              <a:gd name="connsiteY4582" fmla="*/ 5343228 h 6858000"/>
              <a:gd name="connsiteX4583" fmla="*/ 5752265 w 6530564"/>
              <a:gd name="connsiteY4583" fmla="*/ 5352569 h 6858000"/>
              <a:gd name="connsiteX4584" fmla="*/ 5656807 w 6530564"/>
              <a:gd name="connsiteY4584" fmla="*/ 5431574 h 6858000"/>
              <a:gd name="connsiteX4585" fmla="*/ 5668823 w 6530564"/>
              <a:gd name="connsiteY4585" fmla="*/ 5419239 h 6858000"/>
              <a:gd name="connsiteX4586" fmla="*/ 5700204 w 6530564"/>
              <a:gd name="connsiteY4586" fmla="*/ 5383229 h 6858000"/>
              <a:gd name="connsiteX4587" fmla="*/ 5759291 w 6530564"/>
              <a:gd name="connsiteY4587" fmla="*/ 5316879 h 6858000"/>
              <a:gd name="connsiteX4588" fmla="*/ 5767637 w 6530564"/>
              <a:gd name="connsiteY4588" fmla="*/ 5310212 h 6858000"/>
              <a:gd name="connsiteX4589" fmla="*/ 5776978 w 6530564"/>
              <a:gd name="connsiteY4589" fmla="*/ 5308215 h 6858000"/>
              <a:gd name="connsiteX4590" fmla="*/ 5795344 w 6530564"/>
              <a:gd name="connsiteY4590" fmla="*/ 5279871 h 6858000"/>
              <a:gd name="connsiteX4591" fmla="*/ 5823052 w 6530564"/>
              <a:gd name="connsiteY4591" fmla="*/ 5249530 h 6858000"/>
              <a:gd name="connsiteX4592" fmla="*/ 5876789 w 6530564"/>
              <a:gd name="connsiteY4592" fmla="*/ 5203859 h 6858000"/>
              <a:gd name="connsiteX4593" fmla="*/ 5875791 w 6530564"/>
              <a:gd name="connsiteY4593" fmla="*/ 5199189 h 6858000"/>
              <a:gd name="connsiteX4594" fmla="*/ 5891483 w 6530564"/>
              <a:gd name="connsiteY4594" fmla="*/ 5181185 h 6858000"/>
              <a:gd name="connsiteX4595" fmla="*/ 5895155 w 6530564"/>
              <a:gd name="connsiteY4595" fmla="*/ 5175515 h 6858000"/>
              <a:gd name="connsiteX4596" fmla="*/ 5926536 w 6530564"/>
              <a:gd name="connsiteY4596" fmla="*/ 5139505 h 6858000"/>
              <a:gd name="connsiteX4597" fmla="*/ 5942227 w 6530564"/>
              <a:gd name="connsiteY4597" fmla="*/ 5121500 h 6858000"/>
              <a:gd name="connsiteX4598" fmla="*/ 5989296 w 6530564"/>
              <a:gd name="connsiteY4598" fmla="*/ 5067486 h 6858000"/>
              <a:gd name="connsiteX4599" fmla="*/ 6008661 w 6530564"/>
              <a:gd name="connsiteY4599" fmla="*/ 5043813 h 6858000"/>
              <a:gd name="connsiteX4600" fmla="*/ 6013332 w 6530564"/>
              <a:gd name="connsiteY4600" fmla="*/ 5042815 h 6858000"/>
              <a:gd name="connsiteX4601" fmla="*/ 6017005 w 6530564"/>
              <a:gd name="connsiteY4601" fmla="*/ 5037145 h 6858000"/>
              <a:gd name="connsiteX4602" fmla="*/ 6016007 w 6530564"/>
              <a:gd name="connsiteY4602" fmla="*/ 5032475 h 6858000"/>
              <a:gd name="connsiteX4603" fmla="*/ 6020679 w 6530564"/>
              <a:gd name="connsiteY4603" fmla="*/ 5031478 h 6858000"/>
              <a:gd name="connsiteX4604" fmla="*/ 6092463 w 6530564"/>
              <a:gd name="connsiteY4604" fmla="*/ 4933109 h 6858000"/>
              <a:gd name="connsiteX4605" fmla="*/ 6100805 w 6530564"/>
              <a:gd name="connsiteY4605" fmla="*/ 4926443 h 6858000"/>
              <a:gd name="connsiteX4606" fmla="*/ 6105477 w 6530564"/>
              <a:gd name="connsiteY4606" fmla="*/ 4925444 h 6858000"/>
              <a:gd name="connsiteX4607" fmla="*/ 6109151 w 6530564"/>
              <a:gd name="connsiteY4607" fmla="*/ 4919775 h 6858000"/>
              <a:gd name="connsiteX4608" fmla="*/ 6108152 w 6530564"/>
              <a:gd name="connsiteY4608" fmla="*/ 4915104 h 6858000"/>
              <a:gd name="connsiteX4609" fmla="*/ 6132867 w 6530564"/>
              <a:gd name="connsiteY4609" fmla="*/ 4870749 h 6858000"/>
              <a:gd name="connsiteX4610" fmla="*/ 6136541 w 6530564"/>
              <a:gd name="connsiteY4610" fmla="*/ 4865082 h 6858000"/>
              <a:gd name="connsiteX4611" fmla="*/ 6139215 w 6530564"/>
              <a:gd name="connsiteY4611" fmla="*/ 4854742 h 6858000"/>
              <a:gd name="connsiteX4612" fmla="*/ 6130068 w 6530564"/>
              <a:gd name="connsiteY4612" fmla="*/ 4856695 h 6858000"/>
              <a:gd name="connsiteX4613" fmla="*/ 6137803 w 6530564"/>
              <a:gd name="connsiteY4613" fmla="*/ 4845276 h 6858000"/>
              <a:gd name="connsiteX4614" fmla="*/ 6138892 w 6530564"/>
              <a:gd name="connsiteY4614" fmla="*/ 4830440 h 6858000"/>
              <a:gd name="connsiteX4615" fmla="*/ 6138972 w 6530564"/>
              <a:gd name="connsiteY4615" fmla="*/ 4830325 h 6858000"/>
              <a:gd name="connsiteX4616" fmla="*/ 6153373 w 6530564"/>
              <a:gd name="connsiteY4616" fmla="*/ 4818137 h 6858000"/>
              <a:gd name="connsiteX4617" fmla="*/ 6165606 w 6530564"/>
              <a:gd name="connsiteY4617" fmla="*/ 4795377 h 6858000"/>
              <a:gd name="connsiteX4618" fmla="*/ 6170277 w 6530564"/>
              <a:gd name="connsiteY4618" fmla="*/ 4794378 h 6858000"/>
              <a:gd name="connsiteX4619" fmla="*/ 6169280 w 6530564"/>
              <a:gd name="connsiteY4619" fmla="*/ 4789708 h 6858000"/>
              <a:gd name="connsiteX4620" fmla="*/ 6168281 w 6530564"/>
              <a:gd name="connsiteY4620" fmla="*/ 4785037 h 6858000"/>
              <a:gd name="connsiteX4621" fmla="*/ 6181297 w 6530564"/>
              <a:gd name="connsiteY4621" fmla="*/ 4777372 h 6858000"/>
              <a:gd name="connsiteX4622" fmla="*/ 6177623 w 6530564"/>
              <a:gd name="connsiteY4622" fmla="*/ 4783041 h 6858000"/>
              <a:gd name="connsiteX4623" fmla="*/ 6174949 w 6530564"/>
              <a:gd name="connsiteY4623" fmla="*/ 4793381 h 6858000"/>
              <a:gd name="connsiteX4624" fmla="*/ 6183293 w 6530564"/>
              <a:gd name="connsiteY4624" fmla="*/ 4786714 h 6858000"/>
              <a:gd name="connsiteX4625" fmla="*/ 6187964 w 6530564"/>
              <a:gd name="connsiteY4625" fmla="*/ 4785716 h 6858000"/>
              <a:gd name="connsiteX4626" fmla="*/ 6174269 w 6530564"/>
              <a:gd name="connsiteY4626" fmla="*/ 4813062 h 6858000"/>
              <a:gd name="connsiteX4627" fmla="*/ 6287136 w 6530564"/>
              <a:gd name="connsiteY4627" fmla="*/ 4632654 h 6858000"/>
              <a:gd name="connsiteX4628" fmla="*/ 6297159 w 6530564"/>
              <a:gd name="connsiteY4628" fmla="*/ 4610975 h 6858000"/>
              <a:gd name="connsiteX4629" fmla="*/ 6300830 w 6530564"/>
              <a:gd name="connsiteY4629" fmla="*/ 4605308 h 6858000"/>
              <a:gd name="connsiteX4630" fmla="*/ 6383677 w 6530564"/>
              <a:gd name="connsiteY4630" fmla="*/ 4421545 h 6858000"/>
              <a:gd name="connsiteX4631" fmla="*/ 6391023 w 6530564"/>
              <a:gd name="connsiteY4631" fmla="*/ 4410207 h 6858000"/>
              <a:gd name="connsiteX4632" fmla="*/ 6384674 w 6530564"/>
              <a:gd name="connsiteY4632" fmla="*/ 4426216 h 6858000"/>
              <a:gd name="connsiteX4633" fmla="*/ 6386671 w 6530564"/>
              <a:gd name="connsiteY4633" fmla="*/ 4435557 h 6858000"/>
              <a:gd name="connsiteX4634" fmla="*/ 6381321 w 6530564"/>
              <a:gd name="connsiteY4634" fmla="*/ 4456237 h 6858000"/>
              <a:gd name="connsiteX4635" fmla="*/ 6377647 w 6530564"/>
              <a:gd name="connsiteY4635" fmla="*/ 4461907 h 6858000"/>
              <a:gd name="connsiteX4636" fmla="*/ 6378645 w 6530564"/>
              <a:gd name="connsiteY4636" fmla="*/ 4466577 h 6858000"/>
              <a:gd name="connsiteX4637" fmla="*/ 6368942 w 6530564"/>
              <a:gd name="connsiteY4637" fmla="*/ 4512608 h 6858000"/>
              <a:gd name="connsiteX4638" fmla="*/ 6371617 w 6530564"/>
              <a:gd name="connsiteY4638" fmla="*/ 4502267 h 6858000"/>
              <a:gd name="connsiteX4639" fmla="*/ 6373613 w 6530564"/>
              <a:gd name="connsiteY4639" fmla="*/ 4511611 h 6858000"/>
              <a:gd name="connsiteX4640" fmla="*/ 6381957 w 6530564"/>
              <a:gd name="connsiteY4640" fmla="*/ 4504944 h 6858000"/>
              <a:gd name="connsiteX4641" fmla="*/ 6382956 w 6530564"/>
              <a:gd name="connsiteY4641" fmla="*/ 4509615 h 6858000"/>
              <a:gd name="connsiteX4642" fmla="*/ 6379282 w 6530564"/>
              <a:gd name="connsiteY4642" fmla="*/ 4515282 h 6858000"/>
              <a:gd name="connsiteX4643" fmla="*/ 6380281 w 6530564"/>
              <a:gd name="connsiteY4643" fmla="*/ 4519954 h 6858000"/>
              <a:gd name="connsiteX4644" fmla="*/ 6372255 w 6530564"/>
              <a:gd name="connsiteY4644" fmla="*/ 4550974 h 6858000"/>
              <a:gd name="connsiteX4645" fmla="*/ 6373253 w 6530564"/>
              <a:gd name="connsiteY4645" fmla="*/ 4555646 h 6858000"/>
              <a:gd name="connsiteX4646" fmla="*/ 6376927 w 6530564"/>
              <a:gd name="connsiteY4646" fmla="*/ 4549976 h 6858000"/>
              <a:gd name="connsiteX4647" fmla="*/ 6381598 w 6530564"/>
              <a:gd name="connsiteY4647" fmla="*/ 4548979 h 6858000"/>
              <a:gd name="connsiteX4648" fmla="*/ 6352849 w 6530564"/>
              <a:gd name="connsiteY4648" fmla="*/ 4643036 h 6858000"/>
              <a:gd name="connsiteX4649" fmla="*/ 6318434 w 6530564"/>
              <a:gd name="connsiteY4649" fmla="*/ 4733420 h 6858000"/>
              <a:gd name="connsiteX4650" fmla="*/ 6319431 w 6530564"/>
              <a:gd name="connsiteY4650" fmla="*/ 4738091 h 6858000"/>
              <a:gd name="connsiteX4651" fmla="*/ 6314760 w 6530564"/>
              <a:gd name="connsiteY4651" fmla="*/ 4739090 h 6858000"/>
              <a:gd name="connsiteX4652" fmla="*/ 6315757 w 6530564"/>
              <a:gd name="connsiteY4652" fmla="*/ 4743761 h 6858000"/>
              <a:gd name="connsiteX4653" fmla="*/ 6312085 w 6530564"/>
              <a:gd name="connsiteY4653" fmla="*/ 4749430 h 6858000"/>
              <a:gd name="connsiteX4654" fmla="*/ 6305737 w 6530564"/>
              <a:gd name="connsiteY4654" fmla="*/ 4765438 h 6858000"/>
              <a:gd name="connsiteX4655" fmla="*/ 6307733 w 6530564"/>
              <a:gd name="connsiteY4655" fmla="*/ 4774781 h 6858000"/>
              <a:gd name="connsiteX4656" fmla="*/ 6313083 w 6530564"/>
              <a:gd name="connsiteY4656" fmla="*/ 4754099 h 6858000"/>
              <a:gd name="connsiteX4657" fmla="*/ 6317755 w 6530564"/>
              <a:gd name="connsiteY4657" fmla="*/ 4753102 h 6858000"/>
              <a:gd name="connsiteX4658" fmla="*/ 6318753 w 6530564"/>
              <a:gd name="connsiteY4658" fmla="*/ 4757773 h 6858000"/>
              <a:gd name="connsiteX4659" fmla="*/ 6322425 w 6530564"/>
              <a:gd name="connsiteY4659" fmla="*/ 4752103 h 6858000"/>
              <a:gd name="connsiteX4660" fmla="*/ 6321427 w 6530564"/>
              <a:gd name="connsiteY4660" fmla="*/ 4747433 h 6858000"/>
              <a:gd name="connsiteX4661" fmla="*/ 6325101 w 6530564"/>
              <a:gd name="connsiteY4661" fmla="*/ 4741765 h 6858000"/>
              <a:gd name="connsiteX4662" fmla="*/ 6331449 w 6530564"/>
              <a:gd name="connsiteY4662" fmla="*/ 4725756 h 6858000"/>
              <a:gd name="connsiteX4663" fmla="*/ 6329453 w 6530564"/>
              <a:gd name="connsiteY4663" fmla="*/ 4716413 h 6858000"/>
              <a:gd name="connsiteX4664" fmla="*/ 6338795 w 6530564"/>
              <a:gd name="connsiteY4664" fmla="*/ 4714417 h 6858000"/>
              <a:gd name="connsiteX4665" fmla="*/ 6345823 w 6530564"/>
              <a:gd name="connsiteY4665" fmla="*/ 4678727 h 6858000"/>
              <a:gd name="connsiteX4666" fmla="*/ 6371215 w 6530564"/>
              <a:gd name="connsiteY4666" fmla="*/ 4614691 h 6858000"/>
              <a:gd name="connsiteX4667" fmla="*/ 6366544 w 6530564"/>
              <a:gd name="connsiteY4667" fmla="*/ 4615689 h 6858000"/>
              <a:gd name="connsiteX4668" fmla="*/ 6373891 w 6530564"/>
              <a:gd name="connsiteY4668" fmla="*/ 4604351 h 6858000"/>
              <a:gd name="connsiteX4669" fmla="*/ 6371895 w 6530564"/>
              <a:gd name="connsiteY4669" fmla="*/ 4595009 h 6858000"/>
              <a:gd name="connsiteX4670" fmla="*/ 6376566 w 6530564"/>
              <a:gd name="connsiteY4670" fmla="*/ 4594011 h 6858000"/>
              <a:gd name="connsiteX4671" fmla="*/ 6383911 w 6530564"/>
              <a:gd name="connsiteY4671" fmla="*/ 4582674 h 6858000"/>
              <a:gd name="connsiteX4672" fmla="*/ 6402637 w 6530564"/>
              <a:gd name="connsiteY4672" fmla="*/ 4510294 h 6858000"/>
              <a:gd name="connsiteX4673" fmla="*/ 6393296 w 6530564"/>
              <a:gd name="connsiteY4673" fmla="*/ 4512289 h 6858000"/>
              <a:gd name="connsiteX4674" fmla="*/ 6427395 w 6530564"/>
              <a:gd name="connsiteY4674" fmla="*/ 4397552 h 6858000"/>
              <a:gd name="connsiteX4675" fmla="*/ 6451471 w 6530564"/>
              <a:gd name="connsiteY4675" fmla="*/ 4304493 h 6858000"/>
              <a:gd name="connsiteX4676" fmla="*/ 6456141 w 6530564"/>
              <a:gd name="connsiteY4676" fmla="*/ 4303494 h 6858000"/>
              <a:gd name="connsiteX4677" fmla="*/ 6472191 w 6530564"/>
              <a:gd name="connsiteY4677" fmla="*/ 4241454 h 6858000"/>
              <a:gd name="connsiteX4678" fmla="*/ 6475185 w 6530564"/>
              <a:gd name="connsiteY4678" fmla="*/ 4255467 h 6858000"/>
              <a:gd name="connsiteX4679" fmla="*/ 6466523 w 6530564"/>
              <a:gd name="connsiteY4679" fmla="*/ 4237782 h 6858000"/>
              <a:gd name="connsiteX4680" fmla="*/ 6490918 w 6530564"/>
              <a:gd name="connsiteY4680" fmla="*/ 4169076 h 6858000"/>
              <a:gd name="connsiteX4681" fmla="*/ 6494591 w 6530564"/>
              <a:gd name="connsiteY4681" fmla="*/ 4163407 h 6858000"/>
              <a:gd name="connsiteX4682" fmla="*/ 6493593 w 6530564"/>
              <a:gd name="connsiteY4682" fmla="*/ 4158734 h 6858000"/>
              <a:gd name="connsiteX4683" fmla="*/ 6488922 w 6530564"/>
              <a:gd name="connsiteY4683" fmla="*/ 4159733 h 6858000"/>
              <a:gd name="connsiteX4684" fmla="*/ 6491597 w 6530564"/>
              <a:gd name="connsiteY4684" fmla="*/ 4149395 h 6858000"/>
              <a:gd name="connsiteX4685" fmla="*/ 6492596 w 6530564"/>
              <a:gd name="connsiteY4685" fmla="*/ 4154064 h 6858000"/>
              <a:gd name="connsiteX4686" fmla="*/ 6497267 w 6530564"/>
              <a:gd name="connsiteY4686" fmla="*/ 4153066 h 6858000"/>
              <a:gd name="connsiteX4687" fmla="*/ 6495271 w 6530564"/>
              <a:gd name="connsiteY4687" fmla="*/ 4143724 h 6858000"/>
              <a:gd name="connsiteX4688" fmla="*/ 6498943 w 6530564"/>
              <a:gd name="connsiteY4688" fmla="*/ 4138054 h 6858000"/>
              <a:gd name="connsiteX4689" fmla="*/ 6495950 w 6530564"/>
              <a:gd name="connsiteY4689" fmla="*/ 4124042 h 6858000"/>
              <a:gd name="connsiteX4690" fmla="*/ 6498625 w 6530564"/>
              <a:gd name="connsiteY4690" fmla="*/ 4113702 h 6858000"/>
              <a:gd name="connsiteX4691" fmla="*/ 6494951 w 6530564"/>
              <a:gd name="connsiteY4691" fmla="*/ 4119372 h 6858000"/>
              <a:gd name="connsiteX4692" fmla="*/ 6491279 w 6530564"/>
              <a:gd name="connsiteY4692" fmla="*/ 4125039 h 6858000"/>
              <a:gd name="connsiteX4693" fmla="*/ 6489284 w 6530564"/>
              <a:gd name="connsiteY4693" fmla="*/ 4115698 h 6858000"/>
              <a:gd name="connsiteX4694" fmla="*/ 6497309 w 6530564"/>
              <a:gd name="connsiteY4694" fmla="*/ 4084679 h 6858000"/>
              <a:gd name="connsiteX4695" fmla="*/ 6509686 w 6530564"/>
              <a:gd name="connsiteY4695" fmla="*/ 4028308 h 6858000"/>
              <a:gd name="connsiteX4696" fmla="*/ 6513359 w 6530564"/>
              <a:gd name="connsiteY4696" fmla="*/ 4022638 h 6858000"/>
              <a:gd name="connsiteX4697" fmla="*/ 6512361 w 6530564"/>
              <a:gd name="connsiteY4697" fmla="*/ 4017968 h 6858000"/>
              <a:gd name="connsiteX4698" fmla="*/ 6516714 w 6530564"/>
              <a:gd name="connsiteY4698" fmla="*/ 3992617 h 6858000"/>
              <a:gd name="connsiteX4699" fmla="*/ 6517393 w 6530564"/>
              <a:gd name="connsiteY4699" fmla="*/ 3972936 h 6858000"/>
              <a:gd name="connsiteX4700" fmla="*/ 6529091 w 6530564"/>
              <a:gd name="connsiteY4700" fmla="*/ 3936247 h 6858000"/>
              <a:gd name="connsiteX4701" fmla="*/ 6530564 w 6530564"/>
              <a:gd name="connsiteY4701" fmla="*/ 3935932 h 6858000"/>
              <a:gd name="connsiteX4702" fmla="*/ 6530564 w 6530564"/>
              <a:gd name="connsiteY4702" fmla="*/ 4704434 h 6858000"/>
              <a:gd name="connsiteX4703" fmla="*/ 6484646 w 6530564"/>
              <a:gd name="connsiteY4703" fmla="*/ 4808415 h 6858000"/>
              <a:gd name="connsiteX4704" fmla="*/ 5551795 w 6530564"/>
              <a:gd name="connsiteY4704" fmla="*/ 5854513 h 6858000"/>
              <a:gd name="connsiteX4705" fmla="*/ 5547125 w 6530564"/>
              <a:gd name="connsiteY4705" fmla="*/ 5855512 h 6858000"/>
              <a:gd name="connsiteX4706" fmla="*/ 5542455 w 6530564"/>
              <a:gd name="connsiteY4706" fmla="*/ 5856509 h 6858000"/>
              <a:gd name="connsiteX4707" fmla="*/ 5536785 w 6530564"/>
              <a:gd name="connsiteY4707" fmla="*/ 5852838 h 6858000"/>
              <a:gd name="connsiteX4708" fmla="*/ 5545129 w 6530564"/>
              <a:gd name="connsiteY4708" fmla="*/ 5846171 h 6858000"/>
              <a:gd name="connsiteX4709" fmla="*/ 5543133 w 6530564"/>
              <a:gd name="connsiteY4709" fmla="*/ 5836827 h 6858000"/>
              <a:gd name="connsiteX4710" fmla="*/ 5534788 w 6530564"/>
              <a:gd name="connsiteY4710" fmla="*/ 5843494 h 6858000"/>
              <a:gd name="connsiteX4711" fmla="*/ 5531117 w 6530564"/>
              <a:gd name="connsiteY4711" fmla="*/ 5849164 h 6858000"/>
              <a:gd name="connsiteX4712" fmla="*/ 5526445 w 6530564"/>
              <a:gd name="connsiteY4712" fmla="*/ 5850162 h 6858000"/>
              <a:gd name="connsiteX4713" fmla="*/ 5511435 w 6530564"/>
              <a:gd name="connsiteY4713" fmla="*/ 5848485 h 6858000"/>
              <a:gd name="connsiteX4714" fmla="*/ 5509757 w 6530564"/>
              <a:gd name="connsiteY4714" fmla="*/ 5863495 h 6858000"/>
              <a:gd name="connsiteX4715" fmla="*/ 5518102 w 6530564"/>
              <a:gd name="connsiteY4715" fmla="*/ 5856829 h 6858000"/>
              <a:gd name="connsiteX4716" fmla="*/ 5515425 w 6530564"/>
              <a:gd name="connsiteY4716" fmla="*/ 5867169 h 6858000"/>
              <a:gd name="connsiteX4717" fmla="*/ 5528441 w 6530564"/>
              <a:gd name="connsiteY4717" fmla="*/ 5859504 h 6858000"/>
              <a:gd name="connsiteX4718" fmla="*/ 5532115 w 6530564"/>
              <a:gd name="connsiteY4718" fmla="*/ 5853836 h 6858000"/>
              <a:gd name="connsiteX4719" fmla="*/ 5529439 w 6530564"/>
              <a:gd name="connsiteY4719" fmla="*/ 5864176 h 6858000"/>
              <a:gd name="connsiteX4720" fmla="*/ 5524768 w 6530564"/>
              <a:gd name="connsiteY4720" fmla="*/ 5865173 h 6858000"/>
              <a:gd name="connsiteX4721" fmla="*/ 5521095 w 6530564"/>
              <a:gd name="connsiteY4721" fmla="*/ 5870842 h 6858000"/>
              <a:gd name="connsiteX4722" fmla="*/ 5522093 w 6530564"/>
              <a:gd name="connsiteY4722" fmla="*/ 5875511 h 6858000"/>
              <a:gd name="connsiteX4723" fmla="*/ 5336527 w 6530564"/>
              <a:gd name="connsiteY4723" fmla="*/ 5986393 h 6858000"/>
              <a:gd name="connsiteX4724" fmla="*/ 5474406 w 6530564"/>
              <a:gd name="connsiteY4724" fmla="*/ 5921652 h 6858000"/>
              <a:gd name="connsiteX4725" fmla="*/ 5743583 w 6530564"/>
              <a:gd name="connsiteY4725" fmla="*/ 5764408 h 6858000"/>
              <a:gd name="connsiteX4726" fmla="*/ 5973095 w 6530564"/>
              <a:gd name="connsiteY4726" fmla="*/ 5598350 h 6858000"/>
              <a:gd name="connsiteX4727" fmla="*/ 5987645 w 6530564"/>
              <a:gd name="connsiteY4727" fmla="*/ 5585565 h 6858000"/>
              <a:gd name="connsiteX4728" fmla="*/ 6396010 w 6530564"/>
              <a:gd name="connsiteY4728" fmla="*/ 5084383 h 6858000"/>
              <a:gd name="connsiteX4729" fmla="*/ 6530564 w 6530564"/>
              <a:gd name="connsiteY4729" fmla="*/ 4845456 h 6858000"/>
              <a:gd name="connsiteX4730" fmla="*/ 6530564 w 6530564"/>
              <a:gd name="connsiteY4730" fmla="*/ 6858000 h 6858000"/>
              <a:gd name="connsiteX4731" fmla="*/ 1733020 w 6530564"/>
              <a:gd name="connsiteY4731" fmla="*/ 6858000 h 6858000"/>
              <a:gd name="connsiteX4732" fmla="*/ 1622264 w 6530564"/>
              <a:gd name="connsiteY4732" fmla="*/ 6769480 h 6858000"/>
              <a:gd name="connsiteX4733" fmla="*/ 1446345 w 6530564"/>
              <a:gd name="connsiteY4733" fmla="*/ 6620355 h 6858000"/>
              <a:gd name="connsiteX4734" fmla="*/ 1021180 w 6530564"/>
              <a:gd name="connsiteY4734" fmla="*/ 6222127 h 6858000"/>
              <a:gd name="connsiteX4735" fmla="*/ 994270 w 6530564"/>
              <a:gd name="connsiteY4735" fmla="*/ 6189838 h 6858000"/>
              <a:gd name="connsiteX4736" fmla="*/ 1002343 w 6530564"/>
              <a:gd name="connsiteY4736" fmla="*/ 6138714 h 6858000"/>
              <a:gd name="connsiteX4737" fmla="*/ 1040015 w 6530564"/>
              <a:gd name="connsiteY4737" fmla="*/ 6154859 h 6858000"/>
              <a:gd name="connsiteX4738" fmla="*/ 1255290 w 6530564"/>
              <a:gd name="connsiteY4738" fmla="*/ 6372807 h 6858000"/>
              <a:gd name="connsiteX4739" fmla="*/ 1301035 w 6530564"/>
              <a:gd name="connsiteY4739" fmla="*/ 6399714 h 6858000"/>
              <a:gd name="connsiteX4740" fmla="*/ 1311799 w 6530564"/>
              <a:gd name="connsiteY4740" fmla="*/ 6399714 h 6858000"/>
              <a:gd name="connsiteX4741" fmla="*/ 1306417 w 6530564"/>
              <a:gd name="connsiteY4741" fmla="*/ 6391643 h 6858000"/>
              <a:gd name="connsiteX4742" fmla="*/ 924306 w 6530564"/>
              <a:gd name="connsiteY4742" fmla="*/ 5969198 h 6858000"/>
              <a:gd name="connsiteX4743" fmla="*/ 811288 w 6530564"/>
              <a:gd name="connsiteY4743" fmla="*/ 5831971 h 6858000"/>
              <a:gd name="connsiteX4744" fmla="*/ 770924 w 6530564"/>
              <a:gd name="connsiteY4744" fmla="*/ 5805064 h 6858000"/>
              <a:gd name="connsiteX4745" fmla="*/ 894705 w 6530564"/>
              <a:gd name="connsiteY4745" fmla="*/ 6068755 h 6858000"/>
              <a:gd name="connsiteX4746" fmla="*/ 267721 w 6530564"/>
              <a:gd name="connsiteY4746" fmla="*/ 5019370 h 6858000"/>
              <a:gd name="connsiteX4747" fmla="*/ 326921 w 6530564"/>
              <a:gd name="connsiteY4747" fmla="*/ 5086639 h 6858000"/>
              <a:gd name="connsiteX4748" fmla="*/ 375357 w 6530564"/>
              <a:gd name="connsiteY4748" fmla="*/ 5167361 h 6858000"/>
              <a:gd name="connsiteX4749" fmla="*/ 493757 w 6530564"/>
              <a:gd name="connsiteY4749" fmla="*/ 5385309 h 6858000"/>
              <a:gd name="connsiteX4750" fmla="*/ 509903 w 6530564"/>
              <a:gd name="connsiteY4750" fmla="*/ 5377237 h 6858000"/>
              <a:gd name="connsiteX4751" fmla="*/ 386121 w 6530564"/>
              <a:gd name="connsiteY4751" fmla="*/ 5159289 h 6858000"/>
              <a:gd name="connsiteX4752" fmla="*/ 87429 w 6530564"/>
              <a:gd name="connsiteY4752" fmla="*/ 4255203 h 6858000"/>
              <a:gd name="connsiteX4753" fmla="*/ 146628 w 6530564"/>
              <a:gd name="connsiteY4753" fmla="*/ 2328641 h 6858000"/>
              <a:gd name="connsiteX4754" fmla="*/ 251574 w 6530564"/>
              <a:gd name="connsiteY4754" fmla="*/ 1973465 h 6858000"/>
              <a:gd name="connsiteX4755" fmla="*/ 273102 w 6530564"/>
              <a:gd name="connsiteY4755" fmla="*/ 1946557 h 6858000"/>
              <a:gd name="connsiteX4756" fmla="*/ 281175 w 6530564"/>
              <a:gd name="connsiteY4756" fmla="*/ 1965393 h 6858000"/>
              <a:gd name="connsiteX4757" fmla="*/ 65900 w 6530564"/>
              <a:gd name="connsiteY4757" fmla="*/ 3133169 h 6858000"/>
              <a:gd name="connsiteX4758" fmla="*/ 76665 w 6530564"/>
              <a:gd name="connsiteY4758" fmla="*/ 3754727 h 6858000"/>
              <a:gd name="connsiteX4759" fmla="*/ 79356 w 6530564"/>
              <a:gd name="connsiteY4759" fmla="*/ 3830068 h 6858000"/>
              <a:gd name="connsiteX4760" fmla="*/ 95501 w 6530564"/>
              <a:gd name="connsiteY4760" fmla="*/ 3862357 h 6858000"/>
              <a:gd name="connsiteX4761" fmla="*/ 117029 w 6530564"/>
              <a:gd name="connsiteY4761" fmla="*/ 3827377 h 6858000"/>
              <a:gd name="connsiteX4762" fmla="*/ 95501 w 6530564"/>
              <a:gd name="connsiteY4762" fmla="*/ 3534088 h 6858000"/>
              <a:gd name="connsiteX4763" fmla="*/ 711722 w 6530564"/>
              <a:gd name="connsiteY4763" fmla="*/ 1290020 h 6858000"/>
              <a:gd name="connsiteX4764" fmla="*/ 722486 w 6530564"/>
              <a:gd name="connsiteY4764" fmla="*/ 1273875 h 6858000"/>
              <a:gd name="connsiteX4765" fmla="*/ 741323 w 6530564"/>
              <a:gd name="connsiteY4765" fmla="*/ 1268493 h 6858000"/>
              <a:gd name="connsiteX4766" fmla="*/ 671359 w 6530564"/>
              <a:gd name="connsiteY4766" fmla="*/ 1411102 h 6858000"/>
              <a:gd name="connsiteX4767" fmla="*/ 238121 w 6530564"/>
              <a:gd name="connsiteY4767" fmla="*/ 2506229 h 6858000"/>
              <a:gd name="connsiteX4768" fmla="*/ 219284 w 6530564"/>
              <a:gd name="connsiteY4768" fmla="*/ 2638075 h 6858000"/>
              <a:gd name="connsiteX4769" fmla="*/ 230049 w 6530564"/>
              <a:gd name="connsiteY4769" fmla="*/ 2667673 h 6858000"/>
              <a:gd name="connsiteX4770" fmla="*/ 259647 w 6530564"/>
              <a:gd name="connsiteY4770" fmla="*/ 2648838 h 6858000"/>
              <a:gd name="connsiteX4771" fmla="*/ 289247 w 6530564"/>
              <a:gd name="connsiteY4771" fmla="*/ 2608477 h 6858000"/>
              <a:gd name="connsiteX4772" fmla="*/ 240811 w 6530564"/>
              <a:gd name="connsiteY4772" fmla="*/ 3528707 h 6858000"/>
              <a:gd name="connsiteX4773" fmla="*/ 256956 w 6530564"/>
              <a:gd name="connsiteY4773" fmla="*/ 3674006 h 6858000"/>
              <a:gd name="connsiteX4774" fmla="*/ 251574 w 6530564"/>
              <a:gd name="connsiteY4774" fmla="*/ 3528707 h 6858000"/>
              <a:gd name="connsiteX4775" fmla="*/ 302703 w 6530564"/>
              <a:gd name="connsiteY4775" fmla="*/ 2764539 h 6858000"/>
              <a:gd name="connsiteX4776" fmla="*/ 789760 w 6530564"/>
              <a:gd name="connsiteY4776" fmla="*/ 1427247 h 6858000"/>
              <a:gd name="connsiteX4777" fmla="*/ 811288 w 6530564"/>
              <a:gd name="connsiteY4777" fmla="*/ 1411102 h 6858000"/>
              <a:gd name="connsiteX4778" fmla="*/ 329611 w 6530564"/>
              <a:gd name="connsiteY4778" fmla="*/ 3267706 h 6858000"/>
              <a:gd name="connsiteX4779" fmla="*/ 353829 w 6530564"/>
              <a:gd name="connsiteY4779" fmla="*/ 3017468 h 6858000"/>
              <a:gd name="connsiteX4780" fmla="*/ 480303 w 6530564"/>
              <a:gd name="connsiteY4780" fmla="*/ 2377074 h 6858000"/>
              <a:gd name="connsiteX4781" fmla="*/ 536812 w 6530564"/>
              <a:gd name="connsiteY4781" fmla="*/ 2148363 h 6858000"/>
              <a:gd name="connsiteX4782" fmla="*/ 579867 w 6530564"/>
              <a:gd name="connsiteY4782" fmla="*/ 2126836 h 6858000"/>
              <a:gd name="connsiteX4783" fmla="*/ 604086 w 6530564"/>
              <a:gd name="connsiteY4783" fmla="*/ 2108002 h 6858000"/>
              <a:gd name="connsiteX4784" fmla="*/ 878561 w 6530564"/>
              <a:gd name="connsiteY4784" fmla="*/ 1516040 h 6858000"/>
              <a:gd name="connsiteX4785" fmla="*/ 916234 w 6530564"/>
              <a:gd name="connsiteY4785" fmla="*/ 1486443 h 6858000"/>
              <a:gd name="connsiteX4786" fmla="*/ 921615 w 6530564"/>
              <a:gd name="connsiteY4786" fmla="*/ 1537567 h 6858000"/>
              <a:gd name="connsiteX4787" fmla="*/ 813979 w 6530564"/>
              <a:gd name="connsiteY4787" fmla="*/ 1747443 h 6858000"/>
              <a:gd name="connsiteX4788" fmla="*/ 811288 w 6530564"/>
              <a:gd name="connsiteY4788" fmla="*/ 1763588 h 6858000"/>
              <a:gd name="connsiteX4789" fmla="*/ 822051 w 6530564"/>
              <a:gd name="connsiteY4789" fmla="*/ 1755515 h 6858000"/>
              <a:gd name="connsiteX4790" fmla="*/ 916234 w 6530564"/>
              <a:gd name="connsiteY4790" fmla="*/ 1664031 h 6858000"/>
              <a:gd name="connsiteX4791" fmla="*/ 1408672 w 6530564"/>
              <a:gd name="connsiteY4791" fmla="*/ 961751 h 6858000"/>
              <a:gd name="connsiteX4792" fmla="*/ 1849984 w 6530564"/>
              <a:gd name="connsiteY4792" fmla="*/ 576976 h 6858000"/>
              <a:gd name="connsiteX4793" fmla="*/ 1876892 w 6530564"/>
              <a:gd name="connsiteY4793" fmla="*/ 560831 h 6858000"/>
              <a:gd name="connsiteX4794" fmla="*/ 3989439 w 6530564"/>
              <a:gd name="connsiteY4794" fmla="*/ 394434 h 6858000"/>
              <a:gd name="connsiteX4795" fmla="*/ 4081738 w 6530564"/>
              <a:gd name="connsiteY4795" fmla="*/ 396538 h 6858000"/>
              <a:gd name="connsiteX4796" fmla="*/ 4080500 w 6530564"/>
              <a:gd name="connsiteY4796" fmla="*/ 396329 h 6858000"/>
              <a:gd name="connsiteX4797" fmla="*/ 4071877 w 6530564"/>
              <a:gd name="connsiteY4797" fmla="*/ 395619 h 6858000"/>
              <a:gd name="connsiteX4798" fmla="*/ 3502109 w 6530564"/>
              <a:gd name="connsiteY4798" fmla="*/ 0 h 6858000"/>
              <a:gd name="connsiteX4799" fmla="*/ 4589616 w 6530564"/>
              <a:gd name="connsiteY4799" fmla="*/ 0 h 6858000"/>
              <a:gd name="connsiteX4800" fmla="*/ 4634080 w 6530564"/>
              <a:gd name="connsiteY4800" fmla="*/ 6163 h 6858000"/>
              <a:gd name="connsiteX4801" fmla="*/ 5022582 w 6530564"/>
              <a:gd name="connsiteY4801" fmla="*/ 89954 h 6858000"/>
              <a:gd name="connsiteX4802" fmla="*/ 5418149 w 6530564"/>
              <a:gd name="connsiteY4802" fmla="*/ 216418 h 6858000"/>
              <a:gd name="connsiteX4803" fmla="*/ 5515022 w 6530564"/>
              <a:gd name="connsiteY4803" fmla="*/ 278306 h 6858000"/>
              <a:gd name="connsiteX4804" fmla="*/ 5679169 w 6530564"/>
              <a:gd name="connsiteY4804" fmla="*/ 353645 h 6858000"/>
              <a:gd name="connsiteX4805" fmla="*/ 5910587 w 6530564"/>
              <a:gd name="connsiteY4805" fmla="*/ 496254 h 6858000"/>
              <a:gd name="connsiteX4806" fmla="*/ 5940187 w 6530564"/>
              <a:gd name="connsiteY4806" fmla="*/ 531233 h 6858000"/>
              <a:gd name="connsiteX4807" fmla="*/ 6314226 w 6530564"/>
              <a:gd name="connsiteY4807" fmla="*/ 835286 h 6858000"/>
              <a:gd name="connsiteX4808" fmla="*/ 6400336 w 6530564"/>
              <a:gd name="connsiteY4808" fmla="*/ 878338 h 6858000"/>
              <a:gd name="connsiteX4809" fmla="*/ 6330373 w 6530564"/>
              <a:gd name="connsiteY4809" fmla="*/ 786854 h 6858000"/>
              <a:gd name="connsiteX4810" fmla="*/ 6136625 w 6530564"/>
              <a:gd name="connsiteY4810" fmla="*/ 638863 h 6858000"/>
              <a:gd name="connsiteX4811" fmla="*/ 6096262 w 6530564"/>
              <a:gd name="connsiteY4811" fmla="*/ 593120 h 6858000"/>
              <a:gd name="connsiteX4812" fmla="*/ 6077425 w 6530564"/>
              <a:gd name="connsiteY4812" fmla="*/ 555450 h 6858000"/>
              <a:gd name="connsiteX4813" fmla="*/ 5800259 w 6530564"/>
              <a:gd name="connsiteY4813" fmla="*/ 321356 h 6858000"/>
              <a:gd name="connsiteX4814" fmla="*/ 5560767 w 6530564"/>
              <a:gd name="connsiteY4814" fmla="*/ 197583 h 6858000"/>
              <a:gd name="connsiteX4815" fmla="*/ 4990292 w 6530564"/>
              <a:gd name="connsiteY4815" fmla="*/ 25376 h 6858000"/>
              <a:gd name="connsiteX4816" fmla="*/ 4858639 w 6530564"/>
              <a:gd name="connsiteY4816" fmla="*/ 0 h 6858000"/>
              <a:gd name="connsiteX4817" fmla="*/ 5574004 w 6530564"/>
              <a:gd name="connsiteY4817" fmla="*/ 0 h 6858000"/>
              <a:gd name="connsiteX4818" fmla="*/ 5574348 w 6530564"/>
              <a:gd name="connsiteY4818" fmla="*/ 150 h 6858000"/>
              <a:gd name="connsiteX4819" fmla="*/ 5641495 w 6530564"/>
              <a:gd name="connsiteY4819" fmla="*/ 17304 h 6858000"/>
              <a:gd name="connsiteX4820" fmla="*/ 5693716 w 6530564"/>
              <a:gd name="connsiteY4820" fmla="*/ 15413 h 6858000"/>
              <a:gd name="connsiteX4821" fmla="*/ 5701308 w 6530564"/>
              <a:gd name="connsiteY4821" fmla="*/ 0 h 6858000"/>
              <a:gd name="connsiteX4822" fmla="*/ 5893094 w 6530564"/>
              <a:gd name="connsiteY4822" fmla="*/ 0 h 6858000"/>
              <a:gd name="connsiteX4823" fmla="*/ 5928120 w 6530564"/>
              <a:gd name="connsiteY4823" fmla="*/ 15497 h 6858000"/>
              <a:gd name="connsiteX4824" fmla="*/ 6037061 w 6530564"/>
              <a:gd name="connsiteY4824" fmla="*/ 65738 h 6858000"/>
              <a:gd name="connsiteX4825" fmla="*/ 6287317 w 6530564"/>
              <a:gd name="connsiteY4825" fmla="*/ 211037 h 6858000"/>
              <a:gd name="connsiteX4826" fmla="*/ 6050517 w 6530564"/>
              <a:gd name="connsiteY4826" fmla="*/ 54974 h 6858000"/>
              <a:gd name="connsiteX4827" fmla="*/ 5964995 w 6530564"/>
              <a:gd name="connsiteY4827" fmla="*/ 3094 h 6858000"/>
              <a:gd name="connsiteX4828" fmla="*/ 5958708 w 6530564"/>
              <a:gd name="connsiteY4828" fmla="*/ 0 h 6858000"/>
              <a:gd name="connsiteX4829" fmla="*/ 6034737 w 6530564"/>
              <a:gd name="connsiteY4829" fmla="*/ 0 h 6858000"/>
              <a:gd name="connsiteX4830" fmla="*/ 6100298 w 6530564"/>
              <a:gd name="connsiteY4830" fmla="*/ 33785 h 6858000"/>
              <a:gd name="connsiteX4831" fmla="*/ 6333063 w 6530564"/>
              <a:gd name="connsiteY4831" fmla="*/ 176056 h 6858000"/>
              <a:gd name="connsiteX4832" fmla="*/ 6349209 w 6530564"/>
              <a:gd name="connsiteY4832" fmla="*/ 178747 h 6858000"/>
              <a:gd name="connsiteX4833" fmla="*/ 6319607 w 6530564"/>
              <a:gd name="connsiteY4833" fmla="*/ 100717 h 6858000"/>
              <a:gd name="connsiteX4834" fmla="*/ 6159296 w 6530564"/>
              <a:gd name="connsiteY4834" fmla="*/ 0 h 6858000"/>
              <a:gd name="connsiteX4835" fmla="*/ 6494412 w 6530564"/>
              <a:gd name="connsiteY4835" fmla="*/ 0 h 6858000"/>
              <a:gd name="connsiteX4836" fmla="*/ 6530564 w 6530564"/>
              <a:gd name="connsiteY4836" fmla="*/ 24963 h 6858000"/>
              <a:gd name="connsiteX4837" fmla="*/ 6530564 w 6530564"/>
              <a:gd name="connsiteY4837" fmla="*/ 2283869 h 6858000"/>
              <a:gd name="connsiteX4838" fmla="*/ 6452592 w 6530564"/>
              <a:gd name="connsiteY4838" fmla="*/ 2135053 h 6858000"/>
              <a:gd name="connsiteX4839" fmla="*/ 6165817 w 6530564"/>
              <a:gd name="connsiteY4839" fmla="*/ 1732932 h 6858000"/>
              <a:gd name="connsiteX4840" fmla="*/ 5773745 w 6530564"/>
              <a:gd name="connsiteY4840" fmla="*/ 1338044 h 6858000"/>
              <a:gd name="connsiteX4841" fmla="*/ 5784085 w 6530564"/>
              <a:gd name="connsiteY4841" fmla="*/ 1340719 h 6858000"/>
              <a:gd name="connsiteX4842" fmla="*/ 5718731 w 6530564"/>
              <a:gd name="connsiteY4842" fmla="*/ 1286303 h 6858000"/>
              <a:gd name="connsiteX4843" fmla="*/ 5679049 w 6530564"/>
              <a:gd name="connsiteY4843" fmla="*/ 1260591 h 6858000"/>
              <a:gd name="connsiteX4844" fmla="*/ 5559003 w 6530564"/>
              <a:gd name="connsiteY4844" fmla="*/ 1178786 h 6858000"/>
              <a:gd name="connsiteX4845" fmla="*/ 5513651 w 6530564"/>
              <a:gd name="connsiteY4845" fmla="*/ 1149403 h 6858000"/>
              <a:gd name="connsiteX4846" fmla="*/ 5089115 w 6530564"/>
              <a:gd name="connsiteY4846" fmla="*/ 922629 h 6858000"/>
              <a:gd name="connsiteX4847" fmla="*/ 5219861 w 6530564"/>
              <a:gd name="connsiteY4847" fmla="*/ 963072 h 6858000"/>
              <a:gd name="connsiteX4848" fmla="*/ 5243535 w 6530564"/>
              <a:gd name="connsiteY4848" fmla="*/ 982437 h 6858000"/>
              <a:gd name="connsiteX4849" fmla="*/ 5376279 w 6530564"/>
              <a:gd name="connsiteY4849" fmla="*/ 1032223 h 6858000"/>
              <a:gd name="connsiteX4850" fmla="*/ 5339271 w 6530564"/>
              <a:gd name="connsiteY4850" fmla="*/ 996174 h 6858000"/>
              <a:gd name="connsiteX4851" fmla="*/ 5227209 w 6530564"/>
              <a:gd name="connsiteY4851" fmla="*/ 951735 h 6858000"/>
              <a:gd name="connsiteX4852" fmla="*/ 5203535 w 6530564"/>
              <a:gd name="connsiteY4852" fmla="*/ 932372 h 6858000"/>
              <a:gd name="connsiteX4853" fmla="*/ 5115146 w 6530564"/>
              <a:gd name="connsiteY4853" fmla="*/ 907298 h 6858000"/>
              <a:gd name="connsiteX4854" fmla="*/ 5028434 w 6530564"/>
              <a:gd name="connsiteY4854" fmla="*/ 867212 h 6858000"/>
              <a:gd name="connsiteX4855" fmla="*/ 5004080 w 6530564"/>
              <a:gd name="connsiteY4855" fmla="*/ 867531 h 6858000"/>
              <a:gd name="connsiteX4856" fmla="*/ 4965395 w 6530564"/>
              <a:gd name="connsiteY4856" fmla="*/ 846491 h 6858000"/>
              <a:gd name="connsiteX4857" fmla="*/ 4917369 w 6530564"/>
              <a:gd name="connsiteY4857" fmla="*/ 827446 h 6858000"/>
              <a:gd name="connsiteX4858" fmla="*/ 4859320 w 6530564"/>
              <a:gd name="connsiteY4858" fmla="*/ 830080 h 6858000"/>
              <a:gd name="connsiteX4859" fmla="*/ 4876327 w 6530564"/>
              <a:gd name="connsiteY4859" fmla="*/ 841099 h 6858000"/>
              <a:gd name="connsiteX4860" fmla="*/ 3393185 w 6530564"/>
              <a:gd name="connsiteY4860" fmla="*/ 757460 h 6858000"/>
              <a:gd name="connsiteX4861" fmla="*/ 3342975 w 6530564"/>
              <a:gd name="connsiteY4861" fmla="*/ 770687 h 6858000"/>
              <a:gd name="connsiteX4862" fmla="*/ 3291917 w 6530564"/>
              <a:gd name="connsiteY4862" fmla="*/ 780409 h 6858000"/>
              <a:gd name="connsiteX4863" fmla="*/ 2400079 w 6530564"/>
              <a:gd name="connsiteY4863" fmla="*/ 1173988 h 6858000"/>
              <a:gd name="connsiteX4864" fmla="*/ 2269683 w 6530564"/>
              <a:gd name="connsiteY4864" fmla="*/ 1256599 h 6858000"/>
              <a:gd name="connsiteX4865" fmla="*/ 2246824 w 6530564"/>
              <a:gd name="connsiteY4865" fmla="*/ 1263510 h 6858000"/>
              <a:gd name="connsiteX4866" fmla="*/ 2244901 w 6530564"/>
              <a:gd name="connsiteY4866" fmla="*/ 1235531 h 6858000"/>
              <a:gd name="connsiteX4867" fmla="*/ 2297569 w 6530564"/>
              <a:gd name="connsiteY4867" fmla="*/ 1187778 h 6858000"/>
              <a:gd name="connsiteX4868" fmla="*/ 2654790 w 6530564"/>
              <a:gd name="connsiteY4868" fmla="*/ 989786 h 6858000"/>
              <a:gd name="connsiteX4869" fmla="*/ 2604795 w 6530564"/>
              <a:gd name="connsiteY4869" fmla="*/ 974104 h 6858000"/>
              <a:gd name="connsiteX4870" fmla="*/ 2728393 w 6530564"/>
              <a:gd name="connsiteY4870" fmla="*/ 907142 h 6858000"/>
              <a:gd name="connsiteX4871" fmla="*/ 3647056 w 6530564"/>
              <a:gd name="connsiteY4871" fmla="*/ 660175 h 6858000"/>
              <a:gd name="connsiteX4872" fmla="*/ 4318016 w 6530564"/>
              <a:gd name="connsiteY4872" fmla="*/ 687170 h 6858000"/>
              <a:gd name="connsiteX4873" fmla="*/ 4516487 w 6530564"/>
              <a:gd name="connsiteY4873" fmla="*/ 723856 h 6858000"/>
              <a:gd name="connsiteX4874" fmla="*/ 4557781 w 6530564"/>
              <a:gd name="connsiteY4874" fmla="*/ 698810 h 6858000"/>
              <a:gd name="connsiteX4875" fmla="*/ 4518180 w 6530564"/>
              <a:gd name="connsiteY4875" fmla="*/ 674824 h 6858000"/>
              <a:gd name="connsiteX4876" fmla="*/ 4454063 w 6530564"/>
              <a:gd name="connsiteY4876" fmla="*/ 649993 h 6858000"/>
              <a:gd name="connsiteX4877" fmla="*/ 4809052 w 6530564"/>
              <a:gd name="connsiteY4877" fmla="*/ 697851 h 6858000"/>
              <a:gd name="connsiteX4878" fmla="*/ 5011799 w 6530564"/>
              <a:gd name="connsiteY4878" fmla="*/ 764041 h 6858000"/>
              <a:gd name="connsiteX4879" fmla="*/ 4817092 w 6530564"/>
              <a:gd name="connsiteY4879" fmla="*/ 688021 h 6858000"/>
              <a:gd name="connsiteX4880" fmla="*/ 4528741 w 6530564"/>
              <a:gd name="connsiteY4880" fmla="*/ 619842 h 6858000"/>
              <a:gd name="connsiteX4881" fmla="*/ 3716648 w 6530564"/>
              <a:gd name="connsiteY4881" fmla="*/ 568249 h 6858000"/>
              <a:gd name="connsiteX4882" fmla="*/ 3612199 w 6530564"/>
              <a:gd name="connsiteY4882" fmla="*/ 582452 h 6858000"/>
              <a:gd name="connsiteX4883" fmla="*/ 3645435 w 6530564"/>
              <a:gd name="connsiteY4883" fmla="*/ 595629 h 6858000"/>
              <a:gd name="connsiteX4884" fmla="*/ 4335789 w 6530564"/>
              <a:gd name="connsiteY4884" fmla="*/ 618481 h 6858000"/>
              <a:gd name="connsiteX4885" fmla="*/ 4369439 w 6530564"/>
              <a:gd name="connsiteY4885" fmla="*/ 633599 h 6858000"/>
              <a:gd name="connsiteX4886" fmla="*/ 4330367 w 6530564"/>
              <a:gd name="connsiteY4886" fmla="*/ 650057 h 6858000"/>
              <a:gd name="connsiteX4887" fmla="*/ 4109450 w 6530564"/>
              <a:gd name="connsiteY4887" fmla="*/ 622223 h 6858000"/>
              <a:gd name="connsiteX4888" fmla="*/ 3144894 w 6530564"/>
              <a:gd name="connsiteY4888" fmla="*/ 720819 h 6858000"/>
              <a:gd name="connsiteX4889" fmla="*/ 2449900 w 6530564"/>
              <a:gd name="connsiteY4889" fmla="*/ 1027476 h 6858000"/>
              <a:gd name="connsiteX4890" fmla="*/ 2308845 w 6530564"/>
              <a:gd name="connsiteY4890" fmla="*/ 1098169 h 6858000"/>
              <a:gd name="connsiteX4891" fmla="*/ 3399136 w 6530564"/>
              <a:gd name="connsiteY4891" fmla="*/ 619861 h 6858000"/>
              <a:gd name="connsiteX4892" fmla="*/ 3330855 w 6530564"/>
              <a:gd name="connsiteY4892" fmla="*/ 604030 h 6858000"/>
              <a:gd name="connsiteX4893" fmla="*/ 3520230 w 6530564"/>
              <a:gd name="connsiteY4893" fmla="*/ 569654 h 6858000"/>
              <a:gd name="connsiteX4894" fmla="*/ 3790217 w 6530564"/>
              <a:gd name="connsiteY4894" fmla="*/ 542392 h 6858000"/>
              <a:gd name="connsiteX4895" fmla="*/ 3810723 w 6530564"/>
              <a:gd name="connsiteY4895" fmla="*/ 533954 h 6858000"/>
              <a:gd name="connsiteX4896" fmla="*/ 3790368 w 6530564"/>
              <a:gd name="connsiteY4896" fmla="*/ 524109 h 6858000"/>
              <a:gd name="connsiteX4897" fmla="*/ 3455830 w 6530564"/>
              <a:gd name="connsiteY4897" fmla="*/ 552995 h 6858000"/>
              <a:gd name="connsiteX4898" fmla="*/ 3373410 w 6530564"/>
              <a:gd name="connsiteY4898" fmla="*/ 556409 h 6858000"/>
              <a:gd name="connsiteX4899" fmla="*/ 3041191 w 6530564"/>
              <a:gd name="connsiteY4899" fmla="*/ 643608 h 6858000"/>
              <a:gd name="connsiteX4900" fmla="*/ 2341622 w 6530564"/>
              <a:gd name="connsiteY4900" fmla="*/ 957326 h 6858000"/>
              <a:gd name="connsiteX4901" fmla="*/ 1953599 w 6530564"/>
              <a:gd name="connsiteY4901" fmla="*/ 1238958 h 6858000"/>
              <a:gd name="connsiteX4902" fmla="*/ 1914658 w 6530564"/>
              <a:gd name="connsiteY4902" fmla="*/ 1265528 h 6858000"/>
              <a:gd name="connsiteX4903" fmla="*/ 1953768 w 6530564"/>
              <a:gd name="connsiteY4903" fmla="*/ 1192281 h 6858000"/>
              <a:gd name="connsiteX4904" fmla="*/ 2273195 w 6530564"/>
              <a:gd name="connsiteY4904" fmla="*/ 959778 h 6858000"/>
              <a:gd name="connsiteX4905" fmla="*/ 3429259 w 6530564"/>
              <a:gd name="connsiteY4905" fmla="*/ 514058 h 6858000"/>
              <a:gd name="connsiteX4906" fmla="*/ 3947467 w 6530564"/>
              <a:gd name="connsiteY4906" fmla="*/ 490544 h 6858000"/>
              <a:gd name="connsiteX4907" fmla="*/ 4596509 w 6530564"/>
              <a:gd name="connsiteY4907" fmla="*/ 566835 h 6858000"/>
              <a:gd name="connsiteX4908" fmla="*/ 4640121 w 6530564"/>
              <a:gd name="connsiteY4908" fmla="*/ 600103 h 6858000"/>
              <a:gd name="connsiteX4909" fmla="*/ 4657014 w 6530564"/>
              <a:gd name="connsiteY4909" fmla="*/ 612717 h 6858000"/>
              <a:gd name="connsiteX4910" fmla="*/ 5039385 w 6530564"/>
              <a:gd name="connsiteY4910" fmla="*/ 731785 h 6858000"/>
              <a:gd name="connsiteX4911" fmla="*/ 5051435 w 6530564"/>
              <a:gd name="connsiteY4911" fmla="*/ 731238 h 6858000"/>
              <a:gd name="connsiteX4912" fmla="*/ 5018085 w 6530564"/>
              <a:gd name="connsiteY4912" fmla="*/ 679555 h 6858000"/>
              <a:gd name="connsiteX4913" fmla="*/ 4427845 w 6530564"/>
              <a:gd name="connsiteY4913" fmla="*/ 489308 h 6858000"/>
              <a:gd name="connsiteX4914" fmla="*/ 4310509 w 6530564"/>
              <a:gd name="connsiteY4914" fmla="*/ 471335 h 6858000"/>
              <a:gd name="connsiteX4915" fmla="*/ 4176892 w 6530564"/>
              <a:gd name="connsiteY4915" fmla="*/ 462604 h 6858000"/>
              <a:gd name="connsiteX4916" fmla="*/ 3954287 w 6530564"/>
              <a:gd name="connsiteY4916" fmla="*/ 461274 h 6858000"/>
              <a:gd name="connsiteX4917" fmla="*/ 3706721 w 6530564"/>
              <a:gd name="connsiteY4917" fmla="*/ 469347 h 6858000"/>
              <a:gd name="connsiteX4918" fmla="*/ 3819638 w 6530564"/>
              <a:gd name="connsiteY4918" fmla="*/ 441228 h 6858000"/>
              <a:gd name="connsiteX4919" fmla="*/ 3678438 w 6530564"/>
              <a:gd name="connsiteY4919" fmla="*/ 446944 h 6858000"/>
              <a:gd name="connsiteX4920" fmla="*/ 3428450 w 6530564"/>
              <a:gd name="connsiteY4920" fmla="*/ 481785 h 6858000"/>
              <a:gd name="connsiteX4921" fmla="*/ 2876370 w 6530564"/>
              <a:gd name="connsiteY4921" fmla="*/ 622042 h 6858000"/>
              <a:gd name="connsiteX4922" fmla="*/ 2659974 w 6530564"/>
              <a:gd name="connsiteY4922" fmla="*/ 672328 h 6858000"/>
              <a:gd name="connsiteX4923" fmla="*/ 3002779 w 6530564"/>
              <a:gd name="connsiteY4923" fmla="*/ 546873 h 6858000"/>
              <a:gd name="connsiteX4924" fmla="*/ 3243522 w 6530564"/>
              <a:gd name="connsiteY4924" fmla="*/ 482631 h 6858000"/>
              <a:gd name="connsiteX4925" fmla="*/ 3245900 w 6530564"/>
              <a:gd name="connsiteY4925" fmla="*/ 478428 h 6858000"/>
              <a:gd name="connsiteX4926" fmla="*/ 3260028 w 6530564"/>
              <a:gd name="connsiteY4926" fmla="*/ 466656 h 6858000"/>
              <a:gd name="connsiteX4927" fmla="*/ 3251955 w 6530564"/>
              <a:gd name="connsiteY4927" fmla="*/ 461274 h 6858000"/>
              <a:gd name="connsiteX4928" fmla="*/ 3098571 w 6530564"/>
              <a:gd name="connsiteY4928" fmla="*/ 490872 h 6858000"/>
              <a:gd name="connsiteX4929" fmla="*/ 2651879 w 6530564"/>
              <a:gd name="connsiteY4929" fmla="*/ 673842 h 6858000"/>
              <a:gd name="connsiteX4930" fmla="*/ 2549624 w 6530564"/>
              <a:gd name="connsiteY4930" fmla="*/ 692677 h 6858000"/>
              <a:gd name="connsiteX4931" fmla="*/ 2455442 w 6530564"/>
              <a:gd name="connsiteY4931" fmla="*/ 727656 h 6858000"/>
              <a:gd name="connsiteX4932" fmla="*/ 2291295 w 6530564"/>
              <a:gd name="connsiteY4932" fmla="*/ 751874 h 6858000"/>
              <a:gd name="connsiteX4933" fmla="*/ 3763231 w 6530564"/>
              <a:gd name="connsiteY4933" fmla="*/ 200274 h 6858000"/>
              <a:gd name="connsiteX4934" fmla="*/ 2579224 w 6530564"/>
              <a:gd name="connsiteY4934" fmla="*/ 507017 h 6858000"/>
              <a:gd name="connsiteX4935" fmla="*/ 3604465 w 6530564"/>
              <a:gd name="connsiteY4935" fmla="*/ 146459 h 6858000"/>
              <a:gd name="connsiteX4936" fmla="*/ 4702363 w 6530564"/>
              <a:gd name="connsiteY4936" fmla="*/ 165295 h 6858000"/>
              <a:gd name="connsiteX4937" fmla="*/ 4632399 w 6530564"/>
              <a:gd name="connsiteY4937" fmla="*/ 133006 h 6858000"/>
              <a:gd name="connsiteX4938" fmla="*/ 3854723 w 6530564"/>
              <a:gd name="connsiteY4938" fmla="*/ 89954 h 6858000"/>
              <a:gd name="connsiteX4939" fmla="*/ 3763231 w 6530564"/>
              <a:gd name="connsiteY4939" fmla="*/ 76501 h 6858000"/>
              <a:gd name="connsiteX4940" fmla="*/ 3728249 w 6530564"/>
              <a:gd name="connsiteY4940" fmla="*/ 73810 h 6858000"/>
              <a:gd name="connsiteX4941" fmla="*/ 3356901 w 6530564"/>
              <a:gd name="connsiteY4941" fmla="*/ 157222 h 6858000"/>
              <a:gd name="connsiteX4942" fmla="*/ 2633042 w 6530564"/>
              <a:gd name="connsiteY4942" fmla="*/ 383243 h 6858000"/>
              <a:gd name="connsiteX4943" fmla="*/ 2565769 w 6530564"/>
              <a:gd name="connsiteY4943" fmla="*/ 396697 h 6858000"/>
              <a:gd name="connsiteX4944" fmla="*/ 3141627 w 6530564"/>
              <a:gd name="connsiteY4944" fmla="*/ 151840 h 6858000"/>
              <a:gd name="connsiteX4945" fmla="*/ 2756825 w 6530564"/>
              <a:gd name="connsiteY4945" fmla="*/ 229872 h 6858000"/>
              <a:gd name="connsiteX4946" fmla="*/ 2861770 w 6530564"/>
              <a:gd name="connsiteY4946" fmla="*/ 170676 h 6858000"/>
              <a:gd name="connsiteX4947" fmla="*/ 3120100 w 6530564"/>
              <a:gd name="connsiteY4947" fmla="*/ 103408 h 6858000"/>
              <a:gd name="connsiteX4948" fmla="*/ 3319228 w 6530564"/>
              <a:gd name="connsiteY4948" fmla="*/ 76501 h 6858000"/>
              <a:gd name="connsiteX4949" fmla="*/ 3399956 w 6530564"/>
              <a:gd name="connsiteY4949" fmla="*/ 33449 h 6858000"/>
              <a:gd name="connsiteX4950" fmla="*/ 3456465 w 6530564"/>
              <a:gd name="connsiteY4950" fmla="*/ 6542 h 6858000"/>
              <a:gd name="connsiteX4951" fmla="*/ 2942330 w 6530564"/>
              <a:gd name="connsiteY4951" fmla="*/ 0 h 6858000"/>
              <a:gd name="connsiteX4952" fmla="*/ 3174123 w 6530564"/>
              <a:gd name="connsiteY4952" fmla="*/ 0 h 6858000"/>
              <a:gd name="connsiteX4953" fmla="*/ 3100717 w 6530564"/>
              <a:gd name="connsiteY4953" fmla="*/ 23190 h 6858000"/>
              <a:gd name="connsiteX4954" fmla="*/ 3012463 w 6530564"/>
              <a:gd name="connsiteY4954" fmla="*/ 63047 h 6858000"/>
              <a:gd name="connsiteX4955" fmla="*/ 2439295 w 6530564"/>
              <a:gd name="connsiteY4955" fmla="*/ 291759 h 6858000"/>
              <a:gd name="connsiteX4956" fmla="*/ 2380096 w 6530564"/>
              <a:gd name="connsiteY4956" fmla="*/ 291759 h 6858000"/>
              <a:gd name="connsiteX4957" fmla="*/ 2396241 w 6530564"/>
              <a:gd name="connsiteY4957" fmla="*/ 229872 h 6858000"/>
              <a:gd name="connsiteX4958" fmla="*/ 2452751 w 6530564"/>
              <a:gd name="connsiteY4958" fmla="*/ 189511 h 6858000"/>
              <a:gd name="connsiteX4959" fmla="*/ 2834861 w 6530564"/>
              <a:gd name="connsiteY4959" fmla="*/ 39503 h 6858000"/>
              <a:gd name="connsiteX4960" fmla="*/ 2576296 w 6530564"/>
              <a:gd name="connsiteY4960" fmla="*/ 0 h 6858000"/>
              <a:gd name="connsiteX4961" fmla="*/ 2746997 w 6530564"/>
              <a:gd name="connsiteY4961" fmla="*/ 0 h 6858000"/>
              <a:gd name="connsiteX4962" fmla="*/ 2705697 w 6530564"/>
              <a:gd name="connsiteY4962" fmla="*/ 14613 h 6858000"/>
              <a:gd name="connsiteX4963" fmla="*/ 2509260 w 6530564"/>
              <a:gd name="connsiteY4963" fmla="*/ 87263 h 6858000"/>
              <a:gd name="connsiteX4964" fmla="*/ 2476969 w 6530564"/>
              <a:gd name="connsiteY4964" fmla="*/ 89954 h 6858000"/>
              <a:gd name="connsiteX4965" fmla="*/ 2482350 w 6530564"/>
              <a:gd name="connsiteY4965" fmla="*/ 52283 h 6858000"/>
              <a:gd name="connsiteX4966" fmla="*/ 2565769 w 6530564"/>
              <a:gd name="connsiteY4966" fmla="*/ 38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  <a:cxn ang="0">
                <a:pos x="connsiteX2082" y="connsiteY2082"/>
              </a:cxn>
              <a:cxn ang="0">
                <a:pos x="connsiteX2083" y="connsiteY2083"/>
              </a:cxn>
              <a:cxn ang="0">
                <a:pos x="connsiteX2084" y="connsiteY2084"/>
              </a:cxn>
              <a:cxn ang="0">
                <a:pos x="connsiteX2085" y="connsiteY2085"/>
              </a:cxn>
              <a:cxn ang="0">
                <a:pos x="connsiteX2086" y="connsiteY2086"/>
              </a:cxn>
              <a:cxn ang="0">
                <a:pos x="connsiteX2087" y="connsiteY2087"/>
              </a:cxn>
              <a:cxn ang="0">
                <a:pos x="connsiteX2088" y="connsiteY2088"/>
              </a:cxn>
              <a:cxn ang="0">
                <a:pos x="connsiteX2089" y="connsiteY2089"/>
              </a:cxn>
              <a:cxn ang="0">
                <a:pos x="connsiteX2090" y="connsiteY2090"/>
              </a:cxn>
              <a:cxn ang="0">
                <a:pos x="connsiteX2091" y="connsiteY2091"/>
              </a:cxn>
              <a:cxn ang="0">
                <a:pos x="connsiteX2092" y="connsiteY2092"/>
              </a:cxn>
              <a:cxn ang="0">
                <a:pos x="connsiteX2093" y="connsiteY2093"/>
              </a:cxn>
              <a:cxn ang="0">
                <a:pos x="connsiteX2094" y="connsiteY2094"/>
              </a:cxn>
              <a:cxn ang="0">
                <a:pos x="connsiteX2095" y="connsiteY2095"/>
              </a:cxn>
              <a:cxn ang="0">
                <a:pos x="connsiteX2096" y="connsiteY2096"/>
              </a:cxn>
              <a:cxn ang="0">
                <a:pos x="connsiteX2097" y="connsiteY2097"/>
              </a:cxn>
              <a:cxn ang="0">
                <a:pos x="connsiteX2098" y="connsiteY2098"/>
              </a:cxn>
              <a:cxn ang="0">
                <a:pos x="connsiteX2099" y="connsiteY2099"/>
              </a:cxn>
              <a:cxn ang="0">
                <a:pos x="connsiteX2100" y="connsiteY2100"/>
              </a:cxn>
              <a:cxn ang="0">
                <a:pos x="connsiteX2101" y="connsiteY2101"/>
              </a:cxn>
              <a:cxn ang="0">
                <a:pos x="connsiteX2102" y="connsiteY2102"/>
              </a:cxn>
              <a:cxn ang="0">
                <a:pos x="connsiteX2103" y="connsiteY2103"/>
              </a:cxn>
              <a:cxn ang="0">
                <a:pos x="connsiteX2104" y="connsiteY2104"/>
              </a:cxn>
              <a:cxn ang="0">
                <a:pos x="connsiteX2105" y="connsiteY2105"/>
              </a:cxn>
              <a:cxn ang="0">
                <a:pos x="connsiteX2106" y="connsiteY2106"/>
              </a:cxn>
              <a:cxn ang="0">
                <a:pos x="connsiteX2107" y="connsiteY2107"/>
              </a:cxn>
              <a:cxn ang="0">
                <a:pos x="connsiteX2108" y="connsiteY2108"/>
              </a:cxn>
              <a:cxn ang="0">
                <a:pos x="connsiteX2109" y="connsiteY2109"/>
              </a:cxn>
              <a:cxn ang="0">
                <a:pos x="connsiteX2110" y="connsiteY2110"/>
              </a:cxn>
              <a:cxn ang="0">
                <a:pos x="connsiteX2111" y="connsiteY2111"/>
              </a:cxn>
              <a:cxn ang="0">
                <a:pos x="connsiteX2112" y="connsiteY2112"/>
              </a:cxn>
              <a:cxn ang="0">
                <a:pos x="connsiteX2113" y="connsiteY2113"/>
              </a:cxn>
              <a:cxn ang="0">
                <a:pos x="connsiteX2114" y="connsiteY2114"/>
              </a:cxn>
              <a:cxn ang="0">
                <a:pos x="connsiteX2115" y="connsiteY2115"/>
              </a:cxn>
              <a:cxn ang="0">
                <a:pos x="connsiteX2116" y="connsiteY2116"/>
              </a:cxn>
              <a:cxn ang="0">
                <a:pos x="connsiteX2117" y="connsiteY2117"/>
              </a:cxn>
              <a:cxn ang="0">
                <a:pos x="connsiteX2118" y="connsiteY2118"/>
              </a:cxn>
              <a:cxn ang="0">
                <a:pos x="connsiteX2119" y="connsiteY2119"/>
              </a:cxn>
              <a:cxn ang="0">
                <a:pos x="connsiteX2120" y="connsiteY2120"/>
              </a:cxn>
              <a:cxn ang="0">
                <a:pos x="connsiteX2121" y="connsiteY2121"/>
              </a:cxn>
              <a:cxn ang="0">
                <a:pos x="connsiteX2122" y="connsiteY2122"/>
              </a:cxn>
              <a:cxn ang="0">
                <a:pos x="connsiteX2123" y="connsiteY2123"/>
              </a:cxn>
              <a:cxn ang="0">
                <a:pos x="connsiteX2124" y="connsiteY2124"/>
              </a:cxn>
              <a:cxn ang="0">
                <a:pos x="connsiteX2125" y="connsiteY2125"/>
              </a:cxn>
              <a:cxn ang="0">
                <a:pos x="connsiteX2126" y="connsiteY2126"/>
              </a:cxn>
              <a:cxn ang="0">
                <a:pos x="connsiteX2127" y="connsiteY2127"/>
              </a:cxn>
              <a:cxn ang="0">
                <a:pos x="connsiteX2128" y="connsiteY2128"/>
              </a:cxn>
              <a:cxn ang="0">
                <a:pos x="connsiteX2129" y="connsiteY2129"/>
              </a:cxn>
              <a:cxn ang="0">
                <a:pos x="connsiteX2130" y="connsiteY2130"/>
              </a:cxn>
              <a:cxn ang="0">
                <a:pos x="connsiteX2131" y="connsiteY2131"/>
              </a:cxn>
              <a:cxn ang="0">
                <a:pos x="connsiteX2132" y="connsiteY2132"/>
              </a:cxn>
              <a:cxn ang="0">
                <a:pos x="connsiteX2133" y="connsiteY2133"/>
              </a:cxn>
              <a:cxn ang="0">
                <a:pos x="connsiteX2134" y="connsiteY2134"/>
              </a:cxn>
              <a:cxn ang="0">
                <a:pos x="connsiteX2135" y="connsiteY2135"/>
              </a:cxn>
              <a:cxn ang="0">
                <a:pos x="connsiteX2136" y="connsiteY2136"/>
              </a:cxn>
              <a:cxn ang="0">
                <a:pos x="connsiteX2137" y="connsiteY2137"/>
              </a:cxn>
              <a:cxn ang="0">
                <a:pos x="connsiteX2138" y="connsiteY2138"/>
              </a:cxn>
              <a:cxn ang="0">
                <a:pos x="connsiteX2139" y="connsiteY2139"/>
              </a:cxn>
              <a:cxn ang="0">
                <a:pos x="connsiteX2140" y="connsiteY2140"/>
              </a:cxn>
              <a:cxn ang="0">
                <a:pos x="connsiteX2141" y="connsiteY2141"/>
              </a:cxn>
              <a:cxn ang="0">
                <a:pos x="connsiteX2142" y="connsiteY2142"/>
              </a:cxn>
              <a:cxn ang="0">
                <a:pos x="connsiteX2143" y="connsiteY2143"/>
              </a:cxn>
              <a:cxn ang="0">
                <a:pos x="connsiteX2144" y="connsiteY2144"/>
              </a:cxn>
              <a:cxn ang="0">
                <a:pos x="connsiteX2145" y="connsiteY2145"/>
              </a:cxn>
              <a:cxn ang="0">
                <a:pos x="connsiteX2146" y="connsiteY2146"/>
              </a:cxn>
              <a:cxn ang="0">
                <a:pos x="connsiteX2147" y="connsiteY2147"/>
              </a:cxn>
              <a:cxn ang="0">
                <a:pos x="connsiteX2148" y="connsiteY2148"/>
              </a:cxn>
              <a:cxn ang="0">
                <a:pos x="connsiteX2149" y="connsiteY2149"/>
              </a:cxn>
              <a:cxn ang="0">
                <a:pos x="connsiteX2150" y="connsiteY2150"/>
              </a:cxn>
              <a:cxn ang="0">
                <a:pos x="connsiteX2151" y="connsiteY2151"/>
              </a:cxn>
              <a:cxn ang="0">
                <a:pos x="connsiteX2152" y="connsiteY2152"/>
              </a:cxn>
              <a:cxn ang="0">
                <a:pos x="connsiteX2153" y="connsiteY2153"/>
              </a:cxn>
              <a:cxn ang="0">
                <a:pos x="connsiteX2154" y="connsiteY2154"/>
              </a:cxn>
              <a:cxn ang="0">
                <a:pos x="connsiteX2155" y="connsiteY2155"/>
              </a:cxn>
              <a:cxn ang="0">
                <a:pos x="connsiteX2156" y="connsiteY2156"/>
              </a:cxn>
              <a:cxn ang="0">
                <a:pos x="connsiteX2157" y="connsiteY2157"/>
              </a:cxn>
              <a:cxn ang="0">
                <a:pos x="connsiteX2158" y="connsiteY2158"/>
              </a:cxn>
              <a:cxn ang="0">
                <a:pos x="connsiteX2159" y="connsiteY2159"/>
              </a:cxn>
              <a:cxn ang="0">
                <a:pos x="connsiteX2160" y="connsiteY2160"/>
              </a:cxn>
              <a:cxn ang="0">
                <a:pos x="connsiteX2161" y="connsiteY2161"/>
              </a:cxn>
              <a:cxn ang="0">
                <a:pos x="connsiteX2162" y="connsiteY2162"/>
              </a:cxn>
              <a:cxn ang="0">
                <a:pos x="connsiteX2163" y="connsiteY2163"/>
              </a:cxn>
              <a:cxn ang="0">
                <a:pos x="connsiteX2164" y="connsiteY2164"/>
              </a:cxn>
              <a:cxn ang="0">
                <a:pos x="connsiteX2165" y="connsiteY2165"/>
              </a:cxn>
              <a:cxn ang="0">
                <a:pos x="connsiteX2166" y="connsiteY2166"/>
              </a:cxn>
              <a:cxn ang="0">
                <a:pos x="connsiteX2167" y="connsiteY2167"/>
              </a:cxn>
              <a:cxn ang="0">
                <a:pos x="connsiteX2168" y="connsiteY2168"/>
              </a:cxn>
              <a:cxn ang="0">
                <a:pos x="connsiteX2169" y="connsiteY2169"/>
              </a:cxn>
              <a:cxn ang="0">
                <a:pos x="connsiteX2170" y="connsiteY2170"/>
              </a:cxn>
              <a:cxn ang="0">
                <a:pos x="connsiteX2171" y="connsiteY2171"/>
              </a:cxn>
              <a:cxn ang="0">
                <a:pos x="connsiteX2172" y="connsiteY2172"/>
              </a:cxn>
              <a:cxn ang="0">
                <a:pos x="connsiteX2173" y="connsiteY2173"/>
              </a:cxn>
              <a:cxn ang="0">
                <a:pos x="connsiteX2174" y="connsiteY2174"/>
              </a:cxn>
              <a:cxn ang="0">
                <a:pos x="connsiteX2175" y="connsiteY2175"/>
              </a:cxn>
              <a:cxn ang="0">
                <a:pos x="connsiteX2176" y="connsiteY2176"/>
              </a:cxn>
              <a:cxn ang="0">
                <a:pos x="connsiteX2177" y="connsiteY2177"/>
              </a:cxn>
              <a:cxn ang="0">
                <a:pos x="connsiteX2178" y="connsiteY2178"/>
              </a:cxn>
              <a:cxn ang="0">
                <a:pos x="connsiteX2179" y="connsiteY2179"/>
              </a:cxn>
              <a:cxn ang="0">
                <a:pos x="connsiteX2180" y="connsiteY2180"/>
              </a:cxn>
              <a:cxn ang="0">
                <a:pos x="connsiteX2181" y="connsiteY2181"/>
              </a:cxn>
              <a:cxn ang="0">
                <a:pos x="connsiteX2182" y="connsiteY2182"/>
              </a:cxn>
              <a:cxn ang="0">
                <a:pos x="connsiteX2183" y="connsiteY2183"/>
              </a:cxn>
              <a:cxn ang="0">
                <a:pos x="connsiteX2184" y="connsiteY2184"/>
              </a:cxn>
              <a:cxn ang="0">
                <a:pos x="connsiteX2185" y="connsiteY2185"/>
              </a:cxn>
              <a:cxn ang="0">
                <a:pos x="connsiteX2186" y="connsiteY2186"/>
              </a:cxn>
              <a:cxn ang="0">
                <a:pos x="connsiteX2187" y="connsiteY2187"/>
              </a:cxn>
              <a:cxn ang="0">
                <a:pos x="connsiteX2188" y="connsiteY2188"/>
              </a:cxn>
              <a:cxn ang="0">
                <a:pos x="connsiteX2189" y="connsiteY2189"/>
              </a:cxn>
              <a:cxn ang="0">
                <a:pos x="connsiteX2190" y="connsiteY2190"/>
              </a:cxn>
              <a:cxn ang="0">
                <a:pos x="connsiteX2191" y="connsiteY2191"/>
              </a:cxn>
              <a:cxn ang="0">
                <a:pos x="connsiteX2192" y="connsiteY2192"/>
              </a:cxn>
              <a:cxn ang="0">
                <a:pos x="connsiteX2193" y="connsiteY2193"/>
              </a:cxn>
              <a:cxn ang="0">
                <a:pos x="connsiteX2194" y="connsiteY2194"/>
              </a:cxn>
              <a:cxn ang="0">
                <a:pos x="connsiteX2195" y="connsiteY2195"/>
              </a:cxn>
              <a:cxn ang="0">
                <a:pos x="connsiteX2196" y="connsiteY2196"/>
              </a:cxn>
              <a:cxn ang="0">
                <a:pos x="connsiteX2197" y="connsiteY2197"/>
              </a:cxn>
              <a:cxn ang="0">
                <a:pos x="connsiteX2198" y="connsiteY2198"/>
              </a:cxn>
              <a:cxn ang="0">
                <a:pos x="connsiteX2199" y="connsiteY2199"/>
              </a:cxn>
              <a:cxn ang="0">
                <a:pos x="connsiteX2200" y="connsiteY2200"/>
              </a:cxn>
              <a:cxn ang="0">
                <a:pos x="connsiteX2201" y="connsiteY2201"/>
              </a:cxn>
              <a:cxn ang="0">
                <a:pos x="connsiteX2202" y="connsiteY2202"/>
              </a:cxn>
              <a:cxn ang="0">
                <a:pos x="connsiteX2203" y="connsiteY2203"/>
              </a:cxn>
              <a:cxn ang="0">
                <a:pos x="connsiteX2204" y="connsiteY2204"/>
              </a:cxn>
              <a:cxn ang="0">
                <a:pos x="connsiteX2205" y="connsiteY2205"/>
              </a:cxn>
              <a:cxn ang="0">
                <a:pos x="connsiteX2206" y="connsiteY2206"/>
              </a:cxn>
              <a:cxn ang="0">
                <a:pos x="connsiteX2207" y="connsiteY2207"/>
              </a:cxn>
              <a:cxn ang="0">
                <a:pos x="connsiteX2208" y="connsiteY2208"/>
              </a:cxn>
              <a:cxn ang="0">
                <a:pos x="connsiteX2209" y="connsiteY2209"/>
              </a:cxn>
              <a:cxn ang="0">
                <a:pos x="connsiteX2210" y="connsiteY2210"/>
              </a:cxn>
              <a:cxn ang="0">
                <a:pos x="connsiteX2211" y="connsiteY2211"/>
              </a:cxn>
              <a:cxn ang="0">
                <a:pos x="connsiteX2212" y="connsiteY2212"/>
              </a:cxn>
              <a:cxn ang="0">
                <a:pos x="connsiteX2213" y="connsiteY2213"/>
              </a:cxn>
              <a:cxn ang="0">
                <a:pos x="connsiteX2214" y="connsiteY2214"/>
              </a:cxn>
              <a:cxn ang="0">
                <a:pos x="connsiteX2215" y="connsiteY2215"/>
              </a:cxn>
              <a:cxn ang="0">
                <a:pos x="connsiteX2216" y="connsiteY2216"/>
              </a:cxn>
              <a:cxn ang="0">
                <a:pos x="connsiteX2217" y="connsiteY2217"/>
              </a:cxn>
              <a:cxn ang="0">
                <a:pos x="connsiteX2218" y="connsiteY2218"/>
              </a:cxn>
              <a:cxn ang="0">
                <a:pos x="connsiteX2219" y="connsiteY2219"/>
              </a:cxn>
              <a:cxn ang="0">
                <a:pos x="connsiteX2220" y="connsiteY2220"/>
              </a:cxn>
              <a:cxn ang="0">
                <a:pos x="connsiteX2221" y="connsiteY2221"/>
              </a:cxn>
              <a:cxn ang="0">
                <a:pos x="connsiteX2222" y="connsiteY2222"/>
              </a:cxn>
              <a:cxn ang="0">
                <a:pos x="connsiteX2223" y="connsiteY2223"/>
              </a:cxn>
              <a:cxn ang="0">
                <a:pos x="connsiteX2224" y="connsiteY2224"/>
              </a:cxn>
              <a:cxn ang="0">
                <a:pos x="connsiteX2225" y="connsiteY2225"/>
              </a:cxn>
              <a:cxn ang="0">
                <a:pos x="connsiteX2226" y="connsiteY2226"/>
              </a:cxn>
              <a:cxn ang="0">
                <a:pos x="connsiteX2227" y="connsiteY2227"/>
              </a:cxn>
              <a:cxn ang="0">
                <a:pos x="connsiteX2228" y="connsiteY2228"/>
              </a:cxn>
              <a:cxn ang="0">
                <a:pos x="connsiteX2229" y="connsiteY2229"/>
              </a:cxn>
              <a:cxn ang="0">
                <a:pos x="connsiteX2230" y="connsiteY2230"/>
              </a:cxn>
              <a:cxn ang="0">
                <a:pos x="connsiteX2231" y="connsiteY2231"/>
              </a:cxn>
              <a:cxn ang="0">
                <a:pos x="connsiteX2232" y="connsiteY2232"/>
              </a:cxn>
              <a:cxn ang="0">
                <a:pos x="connsiteX2233" y="connsiteY2233"/>
              </a:cxn>
              <a:cxn ang="0">
                <a:pos x="connsiteX2234" y="connsiteY2234"/>
              </a:cxn>
              <a:cxn ang="0">
                <a:pos x="connsiteX2235" y="connsiteY2235"/>
              </a:cxn>
              <a:cxn ang="0">
                <a:pos x="connsiteX2236" y="connsiteY2236"/>
              </a:cxn>
              <a:cxn ang="0">
                <a:pos x="connsiteX2237" y="connsiteY2237"/>
              </a:cxn>
              <a:cxn ang="0">
                <a:pos x="connsiteX2238" y="connsiteY2238"/>
              </a:cxn>
              <a:cxn ang="0">
                <a:pos x="connsiteX2239" y="connsiteY2239"/>
              </a:cxn>
              <a:cxn ang="0">
                <a:pos x="connsiteX2240" y="connsiteY2240"/>
              </a:cxn>
              <a:cxn ang="0">
                <a:pos x="connsiteX2241" y="connsiteY2241"/>
              </a:cxn>
              <a:cxn ang="0">
                <a:pos x="connsiteX2242" y="connsiteY2242"/>
              </a:cxn>
              <a:cxn ang="0">
                <a:pos x="connsiteX2243" y="connsiteY2243"/>
              </a:cxn>
              <a:cxn ang="0">
                <a:pos x="connsiteX2244" y="connsiteY2244"/>
              </a:cxn>
              <a:cxn ang="0">
                <a:pos x="connsiteX2245" y="connsiteY2245"/>
              </a:cxn>
              <a:cxn ang="0">
                <a:pos x="connsiteX2246" y="connsiteY2246"/>
              </a:cxn>
              <a:cxn ang="0">
                <a:pos x="connsiteX2247" y="connsiteY2247"/>
              </a:cxn>
              <a:cxn ang="0">
                <a:pos x="connsiteX2248" y="connsiteY2248"/>
              </a:cxn>
              <a:cxn ang="0">
                <a:pos x="connsiteX2249" y="connsiteY2249"/>
              </a:cxn>
              <a:cxn ang="0">
                <a:pos x="connsiteX2250" y="connsiteY2250"/>
              </a:cxn>
              <a:cxn ang="0">
                <a:pos x="connsiteX2251" y="connsiteY2251"/>
              </a:cxn>
              <a:cxn ang="0">
                <a:pos x="connsiteX2252" y="connsiteY2252"/>
              </a:cxn>
              <a:cxn ang="0">
                <a:pos x="connsiteX2253" y="connsiteY2253"/>
              </a:cxn>
              <a:cxn ang="0">
                <a:pos x="connsiteX2254" y="connsiteY2254"/>
              </a:cxn>
              <a:cxn ang="0">
                <a:pos x="connsiteX2255" y="connsiteY2255"/>
              </a:cxn>
              <a:cxn ang="0">
                <a:pos x="connsiteX2256" y="connsiteY2256"/>
              </a:cxn>
              <a:cxn ang="0">
                <a:pos x="connsiteX2257" y="connsiteY2257"/>
              </a:cxn>
              <a:cxn ang="0">
                <a:pos x="connsiteX2258" y="connsiteY2258"/>
              </a:cxn>
              <a:cxn ang="0">
                <a:pos x="connsiteX2259" y="connsiteY2259"/>
              </a:cxn>
              <a:cxn ang="0">
                <a:pos x="connsiteX2260" y="connsiteY2260"/>
              </a:cxn>
              <a:cxn ang="0">
                <a:pos x="connsiteX2261" y="connsiteY2261"/>
              </a:cxn>
              <a:cxn ang="0">
                <a:pos x="connsiteX2262" y="connsiteY2262"/>
              </a:cxn>
              <a:cxn ang="0">
                <a:pos x="connsiteX2263" y="connsiteY2263"/>
              </a:cxn>
              <a:cxn ang="0">
                <a:pos x="connsiteX2264" y="connsiteY2264"/>
              </a:cxn>
              <a:cxn ang="0">
                <a:pos x="connsiteX2265" y="connsiteY2265"/>
              </a:cxn>
              <a:cxn ang="0">
                <a:pos x="connsiteX2266" y="connsiteY2266"/>
              </a:cxn>
              <a:cxn ang="0">
                <a:pos x="connsiteX2267" y="connsiteY2267"/>
              </a:cxn>
              <a:cxn ang="0">
                <a:pos x="connsiteX2268" y="connsiteY2268"/>
              </a:cxn>
              <a:cxn ang="0">
                <a:pos x="connsiteX2269" y="connsiteY2269"/>
              </a:cxn>
              <a:cxn ang="0">
                <a:pos x="connsiteX2270" y="connsiteY2270"/>
              </a:cxn>
              <a:cxn ang="0">
                <a:pos x="connsiteX2271" y="connsiteY2271"/>
              </a:cxn>
              <a:cxn ang="0">
                <a:pos x="connsiteX2272" y="connsiteY2272"/>
              </a:cxn>
              <a:cxn ang="0">
                <a:pos x="connsiteX2273" y="connsiteY2273"/>
              </a:cxn>
              <a:cxn ang="0">
                <a:pos x="connsiteX2274" y="connsiteY2274"/>
              </a:cxn>
              <a:cxn ang="0">
                <a:pos x="connsiteX2275" y="connsiteY2275"/>
              </a:cxn>
              <a:cxn ang="0">
                <a:pos x="connsiteX2276" y="connsiteY2276"/>
              </a:cxn>
              <a:cxn ang="0">
                <a:pos x="connsiteX2277" y="connsiteY2277"/>
              </a:cxn>
              <a:cxn ang="0">
                <a:pos x="connsiteX2278" y="connsiteY2278"/>
              </a:cxn>
              <a:cxn ang="0">
                <a:pos x="connsiteX2279" y="connsiteY2279"/>
              </a:cxn>
              <a:cxn ang="0">
                <a:pos x="connsiteX2280" y="connsiteY2280"/>
              </a:cxn>
              <a:cxn ang="0">
                <a:pos x="connsiteX2281" y="connsiteY2281"/>
              </a:cxn>
              <a:cxn ang="0">
                <a:pos x="connsiteX2282" y="connsiteY2282"/>
              </a:cxn>
              <a:cxn ang="0">
                <a:pos x="connsiteX2283" y="connsiteY2283"/>
              </a:cxn>
              <a:cxn ang="0">
                <a:pos x="connsiteX2284" y="connsiteY2284"/>
              </a:cxn>
              <a:cxn ang="0">
                <a:pos x="connsiteX2285" y="connsiteY2285"/>
              </a:cxn>
              <a:cxn ang="0">
                <a:pos x="connsiteX2286" y="connsiteY2286"/>
              </a:cxn>
              <a:cxn ang="0">
                <a:pos x="connsiteX2287" y="connsiteY2287"/>
              </a:cxn>
              <a:cxn ang="0">
                <a:pos x="connsiteX2288" y="connsiteY2288"/>
              </a:cxn>
              <a:cxn ang="0">
                <a:pos x="connsiteX2289" y="connsiteY2289"/>
              </a:cxn>
              <a:cxn ang="0">
                <a:pos x="connsiteX2290" y="connsiteY2290"/>
              </a:cxn>
              <a:cxn ang="0">
                <a:pos x="connsiteX2291" y="connsiteY2291"/>
              </a:cxn>
              <a:cxn ang="0">
                <a:pos x="connsiteX2292" y="connsiteY2292"/>
              </a:cxn>
              <a:cxn ang="0">
                <a:pos x="connsiteX2293" y="connsiteY2293"/>
              </a:cxn>
              <a:cxn ang="0">
                <a:pos x="connsiteX2294" y="connsiteY2294"/>
              </a:cxn>
              <a:cxn ang="0">
                <a:pos x="connsiteX2295" y="connsiteY2295"/>
              </a:cxn>
              <a:cxn ang="0">
                <a:pos x="connsiteX2296" y="connsiteY2296"/>
              </a:cxn>
              <a:cxn ang="0">
                <a:pos x="connsiteX2297" y="connsiteY2297"/>
              </a:cxn>
              <a:cxn ang="0">
                <a:pos x="connsiteX2298" y="connsiteY2298"/>
              </a:cxn>
              <a:cxn ang="0">
                <a:pos x="connsiteX2299" y="connsiteY2299"/>
              </a:cxn>
              <a:cxn ang="0">
                <a:pos x="connsiteX2300" y="connsiteY2300"/>
              </a:cxn>
              <a:cxn ang="0">
                <a:pos x="connsiteX2301" y="connsiteY2301"/>
              </a:cxn>
              <a:cxn ang="0">
                <a:pos x="connsiteX2302" y="connsiteY2302"/>
              </a:cxn>
              <a:cxn ang="0">
                <a:pos x="connsiteX2303" y="connsiteY2303"/>
              </a:cxn>
              <a:cxn ang="0">
                <a:pos x="connsiteX2304" y="connsiteY2304"/>
              </a:cxn>
              <a:cxn ang="0">
                <a:pos x="connsiteX2305" y="connsiteY2305"/>
              </a:cxn>
              <a:cxn ang="0">
                <a:pos x="connsiteX2306" y="connsiteY2306"/>
              </a:cxn>
              <a:cxn ang="0">
                <a:pos x="connsiteX2307" y="connsiteY2307"/>
              </a:cxn>
              <a:cxn ang="0">
                <a:pos x="connsiteX2308" y="connsiteY2308"/>
              </a:cxn>
              <a:cxn ang="0">
                <a:pos x="connsiteX2309" y="connsiteY2309"/>
              </a:cxn>
              <a:cxn ang="0">
                <a:pos x="connsiteX2310" y="connsiteY2310"/>
              </a:cxn>
              <a:cxn ang="0">
                <a:pos x="connsiteX2311" y="connsiteY2311"/>
              </a:cxn>
              <a:cxn ang="0">
                <a:pos x="connsiteX2312" y="connsiteY2312"/>
              </a:cxn>
              <a:cxn ang="0">
                <a:pos x="connsiteX2313" y="connsiteY2313"/>
              </a:cxn>
              <a:cxn ang="0">
                <a:pos x="connsiteX2314" y="connsiteY2314"/>
              </a:cxn>
              <a:cxn ang="0">
                <a:pos x="connsiteX2315" y="connsiteY2315"/>
              </a:cxn>
              <a:cxn ang="0">
                <a:pos x="connsiteX2316" y="connsiteY2316"/>
              </a:cxn>
              <a:cxn ang="0">
                <a:pos x="connsiteX2317" y="connsiteY2317"/>
              </a:cxn>
              <a:cxn ang="0">
                <a:pos x="connsiteX2318" y="connsiteY2318"/>
              </a:cxn>
              <a:cxn ang="0">
                <a:pos x="connsiteX2319" y="connsiteY2319"/>
              </a:cxn>
              <a:cxn ang="0">
                <a:pos x="connsiteX2320" y="connsiteY2320"/>
              </a:cxn>
              <a:cxn ang="0">
                <a:pos x="connsiteX2321" y="connsiteY2321"/>
              </a:cxn>
              <a:cxn ang="0">
                <a:pos x="connsiteX2322" y="connsiteY2322"/>
              </a:cxn>
              <a:cxn ang="0">
                <a:pos x="connsiteX2323" y="connsiteY2323"/>
              </a:cxn>
              <a:cxn ang="0">
                <a:pos x="connsiteX2324" y="connsiteY2324"/>
              </a:cxn>
              <a:cxn ang="0">
                <a:pos x="connsiteX2325" y="connsiteY2325"/>
              </a:cxn>
              <a:cxn ang="0">
                <a:pos x="connsiteX2326" y="connsiteY2326"/>
              </a:cxn>
              <a:cxn ang="0">
                <a:pos x="connsiteX2327" y="connsiteY2327"/>
              </a:cxn>
              <a:cxn ang="0">
                <a:pos x="connsiteX2328" y="connsiteY2328"/>
              </a:cxn>
              <a:cxn ang="0">
                <a:pos x="connsiteX2329" y="connsiteY2329"/>
              </a:cxn>
              <a:cxn ang="0">
                <a:pos x="connsiteX2330" y="connsiteY2330"/>
              </a:cxn>
              <a:cxn ang="0">
                <a:pos x="connsiteX2331" y="connsiteY2331"/>
              </a:cxn>
              <a:cxn ang="0">
                <a:pos x="connsiteX2332" y="connsiteY2332"/>
              </a:cxn>
              <a:cxn ang="0">
                <a:pos x="connsiteX2333" y="connsiteY2333"/>
              </a:cxn>
              <a:cxn ang="0">
                <a:pos x="connsiteX2334" y="connsiteY2334"/>
              </a:cxn>
              <a:cxn ang="0">
                <a:pos x="connsiteX2335" y="connsiteY2335"/>
              </a:cxn>
              <a:cxn ang="0">
                <a:pos x="connsiteX2336" y="connsiteY2336"/>
              </a:cxn>
              <a:cxn ang="0">
                <a:pos x="connsiteX2337" y="connsiteY2337"/>
              </a:cxn>
              <a:cxn ang="0">
                <a:pos x="connsiteX2338" y="connsiteY2338"/>
              </a:cxn>
              <a:cxn ang="0">
                <a:pos x="connsiteX2339" y="connsiteY2339"/>
              </a:cxn>
              <a:cxn ang="0">
                <a:pos x="connsiteX2340" y="connsiteY2340"/>
              </a:cxn>
              <a:cxn ang="0">
                <a:pos x="connsiteX2341" y="connsiteY2341"/>
              </a:cxn>
              <a:cxn ang="0">
                <a:pos x="connsiteX2342" y="connsiteY2342"/>
              </a:cxn>
              <a:cxn ang="0">
                <a:pos x="connsiteX2343" y="connsiteY2343"/>
              </a:cxn>
              <a:cxn ang="0">
                <a:pos x="connsiteX2344" y="connsiteY2344"/>
              </a:cxn>
              <a:cxn ang="0">
                <a:pos x="connsiteX2345" y="connsiteY2345"/>
              </a:cxn>
              <a:cxn ang="0">
                <a:pos x="connsiteX2346" y="connsiteY2346"/>
              </a:cxn>
              <a:cxn ang="0">
                <a:pos x="connsiteX2347" y="connsiteY2347"/>
              </a:cxn>
              <a:cxn ang="0">
                <a:pos x="connsiteX2348" y="connsiteY2348"/>
              </a:cxn>
              <a:cxn ang="0">
                <a:pos x="connsiteX2349" y="connsiteY2349"/>
              </a:cxn>
              <a:cxn ang="0">
                <a:pos x="connsiteX2350" y="connsiteY2350"/>
              </a:cxn>
              <a:cxn ang="0">
                <a:pos x="connsiteX2351" y="connsiteY2351"/>
              </a:cxn>
              <a:cxn ang="0">
                <a:pos x="connsiteX2352" y="connsiteY2352"/>
              </a:cxn>
              <a:cxn ang="0">
                <a:pos x="connsiteX2353" y="connsiteY2353"/>
              </a:cxn>
              <a:cxn ang="0">
                <a:pos x="connsiteX2354" y="connsiteY2354"/>
              </a:cxn>
              <a:cxn ang="0">
                <a:pos x="connsiteX2355" y="connsiteY2355"/>
              </a:cxn>
              <a:cxn ang="0">
                <a:pos x="connsiteX2356" y="connsiteY2356"/>
              </a:cxn>
              <a:cxn ang="0">
                <a:pos x="connsiteX2357" y="connsiteY2357"/>
              </a:cxn>
              <a:cxn ang="0">
                <a:pos x="connsiteX2358" y="connsiteY2358"/>
              </a:cxn>
              <a:cxn ang="0">
                <a:pos x="connsiteX2359" y="connsiteY2359"/>
              </a:cxn>
              <a:cxn ang="0">
                <a:pos x="connsiteX2360" y="connsiteY2360"/>
              </a:cxn>
              <a:cxn ang="0">
                <a:pos x="connsiteX2361" y="connsiteY2361"/>
              </a:cxn>
              <a:cxn ang="0">
                <a:pos x="connsiteX2362" y="connsiteY2362"/>
              </a:cxn>
              <a:cxn ang="0">
                <a:pos x="connsiteX2363" y="connsiteY2363"/>
              </a:cxn>
              <a:cxn ang="0">
                <a:pos x="connsiteX2364" y="connsiteY2364"/>
              </a:cxn>
              <a:cxn ang="0">
                <a:pos x="connsiteX2365" y="connsiteY2365"/>
              </a:cxn>
              <a:cxn ang="0">
                <a:pos x="connsiteX2366" y="connsiteY2366"/>
              </a:cxn>
              <a:cxn ang="0">
                <a:pos x="connsiteX2367" y="connsiteY2367"/>
              </a:cxn>
              <a:cxn ang="0">
                <a:pos x="connsiteX2368" y="connsiteY2368"/>
              </a:cxn>
              <a:cxn ang="0">
                <a:pos x="connsiteX2369" y="connsiteY2369"/>
              </a:cxn>
              <a:cxn ang="0">
                <a:pos x="connsiteX2370" y="connsiteY2370"/>
              </a:cxn>
              <a:cxn ang="0">
                <a:pos x="connsiteX2371" y="connsiteY2371"/>
              </a:cxn>
              <a:cxn ang="0">
                <a:pos x="connsiteX2372" y="connsiteY2372"/>
              </a:cxn>
              <a:cxn ang="0">
                <a:pos x="connsiteX2373" y="connsiteY2373"/>
              </a:cxn>
              <a:cxn ang="0">
                <a:pos x="connsiteX2374" y="connsiteY2374"/>
              </a:cxn>
              <a:cxn ang="0">
                <a:pos x="connsiteX2375" y="connsiteY2375"/>
              </a:cxn>
              <a:cxn ang="0">
                <a:pos x="connsiteX2376" y="connsiteY2376"/>
              </a:cxn>
              <a:cxn ang="0">
                <a:pos x="connsiteX2377" y="connsiteY2377"/>
              </a:cxn>
              <a:cxn ang="0">
                <a:pos x="connsiteX2378" y="connsiteY2378"/>
              </a:cxn>
              <a:cxn ang="0">
                <a:pos x="connsiteX2379" y="connsiteY2379"/>
              </a:cxn>
              <a:cxn ang="0">
                <a:pos x="connsiteX2380" y="connsiteY2380"/>
              </a:cxn>
              <a:cxn ang="0">
                <a:pos x="connsiteX2381" y="connsiteY2381"/>
              </a:cxn>
              <a:cxn ang="0">
                <a:pos x="connsiteX2382" y="connsiteY2382"/>
              </a:cxn>
              <a:cxn ang="0">
                <a:pos x="connsiteX2383" y="connsiteY2383"/>
              </a:cxn>
              <a:cxn ang="0">
                <a:pos x="connsiteX2384" y="connsiteY2384"/>
              </a:cxn>
              <a:cxn ang="0">
                <a:pos x="connsiteX2385" y="connsiteY2385"/>
              </a:cxn>
              <a:cxn ang="0">
                <a:pos x="connsiteX2386" y="connsiteY2386"/>
              </a:cxn>
              <a:cxn ang="0">
                <a:pos x="connsiteX2387" y="connsiteY2387"/>
              </a:cxn>
              <a:cxn ang="0">
                <a:pos x="connsiteX2388" y="connsiteY2388"/>
              </a:cxn>
              <a:cxn ang="0">
                <a:pos x="connsiteX2389" y="connsiteY2389"/>
              </a:cxn>
              <a:cxn ang="0">
                <a:pos x="connsiteX2390" y="connsiteY2390"/>
              </a:cxn>
              <a:cxn ang="0">
                <a:pos x="connsiteX2391" y="connsiteY2391"/>
              </a:cxn>
              <a:cxn ang="0">
                <a:pos x="connsiteX2392" y="connsiteY2392"/>
              </a:cxn>
              <a:cxn ang="0">
                <a:pos x="connsiteX2393" y="connsiteY2393"/>
              </a:cxn>
              <a:cxn ang="0">
                <a:pos x="connsiteX2394" y="connsiteY2394"/>
              </a:cxn>
              <a:cxn ang="0">
                <a:pos x="connsiteX2395" y="connsiteY2395"/>
              </a:cxn>
              <a:cxn ang="0">
                <a:pos x="connsiteX2396" y="connsiteY2396"/>
              </a:cxn>
              <a:cxn ang="0">
                <a:pos x="connsiteX2397" y="connsiteY2397"/>
              </a:cxn>
              <a:cxn ang="0">
                <a:pos x="connsiteX2398" y="connsiteY2398"/>
              </a:cxn>
              <a:cxn ang="0">
                <a:pos x="connsiteX2399" y="connsiteY2399"/>
              </a:cxn>
              <a:cxn ang="0">
                <a:pos x="connsiteX2400" y="connsiteY2400"/>
              </a:cxn>
              <a:cxn ang="0">
                <a:pos x="connsiteX2401" y="connsiteY2401"/>
              </a:cxn>
              <a:cxn ang="0">
                <a:pos x="connsiteX2402" y="connsiteY2402"/>
              </a:cxn>
              <a:cxn ang="0">
                <a:pos x="connsiteX2403" y="connsiteY2403"/>
              </a:cxn>
              <a:cxn ang="0">
                <a:pos x="connsiteX2404" y="connsiteY2404"/>
              </a:cxn>
              <a:cxn ang="0">
                <a:pos x="connsiteX2405" y="connsiteY2405"/>
              </a:cxn>
              <a:cxn ang="0">
                <a:pos x="connsiteX2406" y="connsiteY2406"/>
              </a:cxn>
              <a:cxn ang="0">
                <a:pos x="connsiteX2407" y="connsiteY2407"/>
              </a:cxn>
              <a:cxn ang="0">
                <a:pos x="connsiteX2408" y="connsiteY2408"/>
              </a:cxn>
              <a:cxn ang="0">
                <a:pos x="connsiteX2409" y="connsiteY2409"/>
              </a:cxn>
              <a:cxn ang="0">
                <a:pos x="connsiteX2410" y="connsiteY2410"/>
              </a:cxn>
              <a:cxn ang="0">
                <a:pos x="connsiteX2411" y="connsiteY2411"/>
              </a:cxn>
              <a:cxn ang="0">
                <a:pos x="connsiteX2412" y="connsiteY2412"/>
              </a:cxn>
              <a:cxn ang="0">
                <a:pos x="connsiteX2413" y="connsiteY2413"/>
              </a:cxn>
              <a:cxn ang="0">
                <a:pos x="connsiteX2414" y="connsiteY2414"/>
              </a:cxn>
              <a:cxn ang="0">
                <a:pos x="connsiteX2415" y="connsiteY2415"/>
              </a:cxn>
              <a:cxn ang="0">
                <a:pos x="connsiteX2416" y="connsiteY2416"/>
              </a:cxn>
              <a:cxn ang="0">
                <a:pos x="connsiteX2417" y="connsiteY2417"/>
              </a:cxn>
              <a:cxn ang="0">
                <a:pos x="connsiteX2418" y="connsiteY2418"/>
              </a:cxn>
              <a:cxn ang="0">
                <a:pos x="connsiteX2419" y="connsiteY2419"/>
              </a:cxn>
              <a:cxn ang="0">
                <a:pos x="connsiteX2420" y="connsiteY2420"/>
              </a:cxn>
              <a:cxn ang="0">
                <a:pos x="connsiteX2421" y="connsiteY2421"/>
              </a:cxn>
              <a:cxn ang="0">
                <a:pos x="connsiteX2422" y="connsiteY2422"/>
              </a:cxn>
              <a:cxn ang="0">
                <a:pos x="connsiteX2423" y="connsiteY2423"/>
              </a:cxn>
              <a:cxn ang="0">
                <a:pos x="connsiteX2424" y="connsiteY2424"/>
              </a:cxn>
              <a:cxn ang="0">
                <a:pos x="connsiteX2425" y="connsiteY2425"/>
              </a:cxn>
              <a:cxn ang="0">
                <a:pos x="connsiteX2426" y="connsiteY2426"/>
              </a:cxn>
              <a:cxn ang="0">
                <a:pos x="connsiteX2427" y="connsiteY2427"/>
              </a:cxn>
              <a:cxn ang="0">
                <a:pos x="connsiteX2428" y="connsiteY2428"/>
              </a:cxn>
              <a:cxn ang="0">
                <a:pos x="connsiteX2429" y="connsiteY2429"/>
              </a:cxn>
              <a:cxn ang="0">
                <a:pos x="connsiteX2430" y="connsiteY2430"/>
              </a:cxn>
              <a:cxn ang="0">
                <a:pos x="connsiteX2431" y="connsiteY2431"/>
              </a:cxn>
              <a:cxn ang="0">
                <a:pos x="connsiteX2432" y="connsiteY2432"/>
              </a:cxn>
              <a:cxn ang="0">
                <a:pos x="connsiteX2433" y="connsiteY2433"/>
              </a:cxn>
              <a:cxn ang="0">
                <a:pos x="connsiteX2434" y="connsiteY2434"/>
              </a:cxn>
              <a:cxn ang="0">
                <a:pos x="connsiteX2435" y="connsiteY2435"/>
              </a:cxn>
              <a:cxn ang="0">
                <a:pos x="connsiteX2436" y="connsiteY2436"/>
              </a:cxn>
              <a:cxn ang="0">
                <a:pos x="connsiteX2437" y="connsiteY2437"/>
              </a:cxn>
              <a:cxn ang="0">
                <a:pos x="connsiteX2438" y="connsiteY2438"/>
              </a:cxn>
              <a:cxn ang="0">
                <a:pos x="connsiteX2439" y="connsiteY2439"/>
              </a:cxn>
              <a:cxn ang="0">
                <a:pos x="connsiteX2440" y="connsiteY2440"/>
              </a:cxn>
              <a:cxn ang="0">
                <a:pos x="connsiteX2441" y="connsiteY2441"/>
              </a:cxn>
              <a:cxn ang="0">
                <a:pos x="connsiteX2442" y="connsiteY2442"/>
              </a:cxn>
              <a:cxn ang="0">
                <a:pos x="connsiteX2443" y="connsiteY2443"/>
              </a:cxn>
              <a:cxn ang="0">
                <a:pos x="connsiteX2444" y="connsiteY2444"/>
              </a:cxn>
              <a:cxn ang="0">
                <a:pos x="connsiteX2445" y="connsiteY2445"/>
              </a:cxn>
              <a:cxn ang="0">
                <a:pos x="connsiteX2446" y="connsiteY2446"/>
              </a:cxn>
              <a:cxn ang="0">
                <a:pos x="connsiteX2447" y="connsiteY2447"/>
              </a:cxn>
              <a:cxn ang="0">
                <a:pos x="connsiteX2448" y="connsiteY2448"/>
              </a:cxn>
              <a:cxn ang="0">
                <a:pos x="connsiteX2449" y="connsiteY2449"/>
              </a:cxn>
              <a:cxn ang="0">
                <a:pos x="connsiteX2450" y="connsiteY2450"/>
              </a:cxn>
              <a:cxn ang="0">
                <a:pos x="connsiteX2451" y="connsiteY2451"/>
              </a:cxn>
              <a:cxn ang="0">
                <a:pos x="connsiteX2452" y="connsiteY2452"/>
              </a:cxn>
              <a:cxn ang="0">
                <a:pos x="connsiteX2453" y="connsiteY2453"/>
              </a:cxn>
              <a:cxn ang="0">
                <a:pos x="connsiteX2454" y="connsiteY2454"/>
              </a:cxn>
              <a:cxn ang="0">
                <a:pos x="connsiteX2455" y="connsiteY2455"/>
              </a:cxn>
              <a:cxn ang="0">
                <a:pos x="connsiteX2456" y="connsiteY2456"/>
              </a:cxn>
              <a:cxn ang="0">
                <a:pos x="connsiteX2457" y="connsiteY2457"/>
              </a:cxn>
              <a:cxn ang="0">
                <a:pos x="connsiteX2458" y="connsiteY2458"/>
              </a:cxn>
              <a:cxn ang="0">
                <a:pos x="connsiteX2459" y="connsiteY2459"/>
              </a:cxn>
              <a:cxn ang="0">
                <a:pos x="connsiteX2460" y="connsiteY2460"/>
              </a:cxn>
              <a:cxn ang="0">
                <a:pos x="connsiteX2461" y="connsiteY2461"/>
              </a:cxn>
              <a:cxn ang="0">
                <a:pos x="connsiteX2462" y="connsiteY2462"/>
              </a:cxn>
              <a:cxn ang="0">
                <a:pos x="connsiteX2463" y="connsiteY2463"/>
              </a:cxn>
              <a:cxn ang="0">
                <a:pos x="connsiteX2464" y="connsiteY2464"/>
              </a:cxn>
              <a:cxn ang="0">
                <a:pos x="connsiteX2465" y="connsiteY2465"/>
              </a:cxn>
              <a:cxn ang="0">
                <a:pos x="connsiteX2466" y="connsiteY2466"/>
              </a:cxn>
              <a:cxn ang="0">
                <a:pos x="connsiteX2467" y="connsiteY2467"/>
              </a:cxn>
              <a:cxn ang="0">
                <a:pos x="connsiteX2468" y="connsiteY2468"/>
              </a:cxn>
              <a:cxn ang="0">
                <a:pos x="connsiteX2469" y="connsiteY2469"/>
              </a:cxn>
              <a:cxn ang="0">
                <a:pos x="connsiteX2470" y="connsiteY2470"/>
              </a:cxn>
              <a:cxn ang="0">
                <a:pos x="connsiteX2471" y="connsiteY2471"/>
              </a:cxn>
              <a:cxn ang="0">
                <a:pos x="connsiteX2472" y="connsiteY2472"/>
              </a:cxn>
              <a:cxn ang="0">
                <a:pos x="connsiteX2473" y="connsiteY2473"/>
              </a:cxn>
              <a:cxn ang="0">
                <a:pos x="connsiteX2474" y="connsiteY2474"/>
              </a:cxn>
              <a:cxn ang="0">
                <a:pos x="connsiteX2475" y="connsiteY2475"/>
              </a:cxn>
              <a:cxn ang="0">
                <a:pos x="connsiteX2476" y="connsiteY2476"/>
              </a:cxn>
              <a:cxn ang="0">
                <a:pos x="connsiteX2477" y="connsiteY2477"/>
              </a:cxn>
              <a:cxn ang="0">
                <a:pos x="connsiteX2478" y="connsiteY2478"/>
              </a:cxn>
              <a:cxn ang="0">
                <a:pos x="connsiteX2479" y="connsiteY2479"/>
              </a:cxn>
              <a:cxn ang="0">
                <a:pos x="connsiteX2480" y="connsiteY2480"/>
              </a:cxn>
              <a:cxn ang="0">
                <a:pos x="connsiteX2481" y="connsiteY2481"/>
              </a:cxn>
              <a:cxn ang="0">
                <a:pos x="connsiteX2482" y="connsiteY2482"/>
              </a:cxn>
              <a:cxn ang="0">
                <a:pos x="connsiteX2483" y="connsiteY2483"/>
              </a:cxn>
              <a:cxn ang="0">
                <a:pos x="connsiteX2484" y="connsiteY2484"/>
              </a:cxn>
              <a:cxn ang="0">
                <a:pos x="connsiteX2485" y="connsiteY2485"/>
              </a:cxn>
              <a:cxn ang="0">
                <a:pos x="connsiteX2486" y="connsiteY2486"/>
              </a:cxn>
              <a:cxn ang="0">
                <a:pos x="connsiteX2487" y="connsiteY2487"/>
              </a:cxn>
              <a:cxn ang="0">
                <a:pos x="connsiteX2488" y="connsiteY2488"/>
              </a:cxn>
              <a:cxn ang="0">
                <a:pos x="connsiteX2489" y="connsiteY2489"/>
              </a:cxn>
              <a:cxn ang="0">
                <a:pos x="connsiteX2490" y="connsiteY2490"/>
              </a:cxn>
              <a:cxn ang="0">
                <a:pos x="connsiteX2491" y="connsiteY2491"/>
              </a:cxn>
              <a:cxn ang="0">
                <a:pos x="connsiteX2492" y="connsiteY2492"/>
              </a:cxn>
              <a:cxn ang="0">
                <a:pos x="connsiteX2493" y="connsiteY2493"/>
              </a:cxn>
              <a:cxn ang="0">
                <a:pos x="connsiteX2494" y="connsiteY2494"/>
              </a:cxn>
              <a:cxn ang="0">
                <a:pos x="connsiteX2495" y="connsiteY2495"/>
              </a:cxn>
              <a:cxn ang="0">
                <a:pos x="connsiteX2496" y="connsiteY2496"/>
              </a:cxn>
              <a:cxn ang="0">
                <a:pos x="connsiteX2497" y="connsiteY2497"/>
              </a:cxn>
              <a:cxn ang="0">
                <a:pos x="connsiteX2498" y="connsiteY2498"/>
              </a:cxn>
              <a:cxn ang="0">
                <a:pos x="connsiteX2499" y="connsiteY2499"/>
              </a:cxn>
              <a:cxn ang="0">
                <a:pos x="connsiteX2500" y="connsiteY2500"/>
              </a:cxn>
              <a:cxn ang="0">
                <a:pos x="connsiteX2501" y="connsiteY2501"/>
              </a:cxn>
              <a:cxn ang="0">
                <a:pos x="connsiteX2502" y="connsiteY2502"/>
              </a:cxn>
              <a:cxn ang="0">
                <a:pos x="connsiteX2503" y="connsiteY2503"/>
              </a:cxn>
              <a:cxn ang="0">
                <a:pos x="connsiteX2504" y="connsiteY2504"/>
              </a:cxn>
              <a:cxn ang="0">
                <a:pos x="connsiteX2505" y="connsiteY2505"/>
              </a:cxn>
              <a:cxn ang="0">
                <a:pos x="connsiteX2506" y="connsiteY2506"/>
              </a:cxn>
              <a:cxn ang="0">
                <a:pos x="connsiteX2507" y="connsiteY2507"/>
              </a:cxn>
              <a:cxn ang="0">
                <a:pos x="connsiteX2508" y="connsiteY2508"/>
              </a:cxn>
              <a:cxn ang="0">
                <a:pos x="connsiteX2509" y="connsiteY2509"/>
              </a:cxn>
              <a:cxn ang="0">
                <a:pos x="connsiteX2510" y="connsiteY2510"/>
              </a:cxn>
              <a:cxn ang="0">
                <a:pos x="connsiteX2511" y="connsiteY2511"/>
              </a:cxn>
              <a:cxn ang="0">
                <a:pos x="connsiteX2512" y="connsiteY2512"/>
              </a:cxn>
              <a:cxn ang="0">
                <a:pos x="connsiteX2513" y="connsiteY2513"/>
              </a:cxn>
              <a:cxn ang="0">
                <a:pos x="connsiteX2514" y="connsiteY2514"/>
              </a:cxn>
              <a:cxn ang="0">
                <a:pos x="connsiteX2515" y="connsiteY2515"/>
              </a:cxn>
              <a:cxn ang="0">
                <a:pos x="connsiteX2516" y="connsiteY2516"/>
              </a:cxn>
              <a:cxn ang="0">
                <a:pos x="connsiteX2517" y="connsiteY2517"/>
              </a:cxn>
              <a:cxn ang="0">
                <a:pos x="connsiteX2518" y="connsiteY2518"/>
              </a:cxn>
              <a:cxn ang="0">
                <a:pos x="connsiteX2519" y="connsiteY2519"/>
              </a:cxn>
              <a:cxn ang="0">
                <a:pos x="connsiteX2520" y="connsiteY2520"/>
              </a:cxn>
              <a:cxn ang="0">
                <a:pos x="connsiteX2521" y="connsiteY2521"/>
              </a:cxn>
              <a:cxn ang="0">
                <a:pos x="connsiteX2522" y="connsiteY2522"/>
              </a:cxn>
              <a:cxn ang="0">
                <a:pos x="connsiteX2523" y="connsiteY2523"/>
              </a:cxn>
              <a:cxn ang="0">
                <a:pos x="connsiteX2524" y="connsiteY2524"/>
              </a:cxn>
              <a:cxn ang="0">
                <a:pos x="connsiteX2525" y="connsiteY2525"/>
              </a:cxn>
              <a:cxn ang="0">
                <a:pos x="connsiteX2526" y="connsiteY2526"/>
              </a:cxn>
              <a:cxn ang="0">
                <a:pos x="connsiteX2527" y="connsiteY2527"/>
              </a:cxn>
              <a:cxn ang="0">
                <a:pos x="connsiteX2528" y="connsiteY2528"/>
              </a:cxn>
              <a:cxn ang="0">
                <a:pos x="connsiteX2529" y="connsiteY2529"/>
              </a:cxn>
              <a:cxn ang="0">
                <a:pos x="connsiteX2530" y="connsiteY2530"/>
              </a:cxn>
              <a:cxn ang="0">
                <a:pos x="connsiteX2531" y="connsiteY2531"/>
              </a:cxn>
              <a:cxn ang="0">
                <a:pos x="connsiteX2532" y="connsiteY2532"/>
              </a:cxn>
              <a:cxn ang="0">
                <a:pos x="connsiteX2533" y="connsiteY2533"/>
              </a:cxn>
              <a:cxn ang="0">
                <a:pos x="connsiteX2534" y="connsiteY2534"/>
              </a:cxn>
              <a:cxn ang="0">
                <a:pos x="connsiteX2535" y="connsiteY2535"/>
              </a:cxn>
              <a:cxn ang="0">
                <a:pos x="connsiteX2536" y="connsiteY2536"/>
              </a:cxn>
              <a:cxn ang="0">
                <a:pos x="connsiteX2537" y="connsiteY2537"/>
              </a:cxn>
              <a:cxn ang="0">
                <a:pos x="connsiteX2538" y="connsiteY2538"/>
              </a:cxn>
              <a:cxn ang="0">
                <a:pos x="connsiteX2539" y="connsiteY2539"/>
              </a:cxn>
              <a:cxn ang="0">
                <a:pos x="connsiteX2540" y="connsiteY2540"/>
              </a:cxn>
              <a:cxn ang="0">
                <a:pos x="connsiteX2541" y="connsiteY2541"/>
              </a:cxn>
              <a:cxn ang="0">
                <a:pos x="connsiteX2542" y="connsiteY2542"/>
              </a:cxn>
              <a:cxn ang="0">
                <a:pos x="connsiteX2543" y="connsiteY2543"/>
              </a:cxn>
              <a:cxn ang="0">
                <a:pos x="connsiteX2544" y="connsiteY2544"/>
              </a:cxn>
              <a:cxn ang="0">
                <a:pos x="connsiteX2545" y="connsiteY2545"/>
              </a:cxn>
              <a:cxn ang="0">
                <a:pos x="connsiteX2546" y="connsiteY2546"/>
              </a:cxn>
              <a:cxn ang="0">
                <a:pos x="connsiteX2547" y="connsiteY2547"/>
              </a:cxn>
              <a:cxn ang="0">
                <a:pos x="connsiteX2548" y="connsiteY2548"/>
              </a:cxn>
              <a:cxn ang="0">
                <a:pos x="connsiteX2549" y="connsiteY2549"/>
              </a:cxn>
              <a:cxn ang="0">
                <a:pos x="connsiteX2550" y="connsiteY2550"/>
              </a:cxn>
              <a:cxn ang="0">
                <a:pos x="connsiteX2551" y="connsiteY2551"/>
              </a:cxn>
              <a:cxn ang="0">
                <a:pos x="connsiteX2552" y="connsiteY2552"/>
              </a:cxn>
              <a:cxn ang="0">
                <a:pos x="connsiteX2553" y="connsiteY2553"/>
              </a:cxn>
              <a:cxn ang="0">
                <a:pos x="connsiteX2554" y="connsiteY2554"/>
              </a:cxn>
              <a:cxn ang="0">
                <a:pos x="connsiteX2555" y="connsiteY2555"/>
              </a:cxn>
              <a:cxn ang="0">
                <a:pos x="connsiteX2556" y="connsiteY2556"/>
              </a:cxn>
              <a:cxn ang="0">
                <a:pos x="connsiteX2557" y="connsiteY2557"/>
              </a:cxn>
              <a:cxn ang="0">
                <a:pos x="connsiteX2558" y="connsiteY2558"/>
              </a:cxn>
              <a:cxn ang="0">
                <a:pos x="connsiteX2559" y="connsiteY2559"/>
              </a:cxn>
              <a:cxn ang="0">
                <a:pos x="connsiteX2560" y="connsiteY2560"/>
              </a:cxn>
              <a:cxn ang="0">
                <a:pos x="connsiteX2561" y="connsiteY2561"/>
              </a:cxn>
              <a:cxn ang="0">
                <a:pos x="connsiteX2562" y="connsiteY2562"/>
              </a:cxn>
              <a:cxn ang="0">
                <a:pos x="connsiteX2563" y="connsiteY2563"/>
              </a:cxn>
              <a:cxn ang="0">
                <a:pos x="connsiteX2564" y="connsiteY2564"/>
              </a:cxn>
              <a:cxn ang="0">
                <a:pos x="connsiteX2565" y="connsiteY2565"/>
              </a:cxn>
              <a:cxn ang="0">
                <a:pos x="connsiteX2566" y="connsiteY2566"/>
              </a:cxn>
              <a:cxn ang="0">
                <a:pos x="connsiteX2567" y="connsiteY2567"/>
              </a:cxn>
              <a:cxn ang="0">
                <a:pos x="connsiteX2568" y="connsiteY2568"/>
              </a:cxn>
              <a:cxn ang="0">
                <a:pos x="connsiteX2569" y="connsiteY2569"/>
              </a:cxn>
              <a:cxn ang="0">
                <a:pos x="connsiteX2570" y="connsiteY2570"/>
              </a:cxn>
              <a:cxn ang="0">
                <a:pos x="connsiteX2571" y="connsiteY2571"/>
              </a:cxn>
              <a:cxn ang="0">
                <a:pos x="connsiteX2572" y="connsiteY2572"/>
              </a:cxn>
              <a:cxn ang="0">
                <a:pos x="connsiteX2573" y="connsiteY2573"/>
              </a:cxn>
              <a:cxn ang="0">
                <a:pos x="connsiteX2574" y="connsiteY2574"/>
              </a:cxn>
              <a:cxn ang="0">
                <a:pos x="connsiteX2575" y="connsiteY2575"/>
              </a:cxn>
              <a:cxn ang="0">
                <a:pos x="connsiteX2576" y="connsiteY2576"/>
              </a:cxn>
              <a:cxn ang="0">
                <a:pos x="connsiteX2577" y="connsiteY2577"/>
              </a:cxn>
              <a:cxn ang="0">
                <a:pos x="connsiteX2578" y="connsiteY2578"/>
              </a:cxn>
              <a:cxn ang="0">
                <a:pos x="connsiteX2579" y="connsiteY2579"/>
              </a:cxn>
              <a:cxn ang="0">
                <a:pos x="connsiteX2580" y="connsiteY2580"/>
              </a:cxn>
              <a:cxn ang="0">
                <a:pos x="connsiteX2581" y="connsiteY2581"/>
              </a:cxn>
              <a:cxn ang="0">
                <a:pos x="connsiteX2582" y="connsiteY2582"/>
              </a:cxn>
              <a:cxn ang="0">
                <a:pos x="connsiteX2583" y="connsiteY2583"/>
              </a:cxn>
              <a:cxn ang="0">
                <a:pos x="connsiteX2584" y="connsiteY2584"/>
              </a:cxn>
              <a:cxn ang="0">
                <a:pos x="connsiteX2585" y="connsiteY2585"/>
              </a:cxn>
              <a:cxn ang="0">
                <a:pos x="connsiteX2586" y="connsiteY2586"/>
              </a:cxn>
              <a:cxn ang="0">
                <a:pos x="connsiteX2587" y="connsiteY2587"/>
              </a:cxn>
              <a:cxn ang="0">
                <a:pos x="connsiteX2588" y="connsiteY2588"/>
              </a:cxn>
              <a:cxn ang="0">
                <a:pos x="connsiteX2589" y="connsiteY2589"/>
              </a:cxn>
              <a:cxn ang="0">
                <a:pos x="connsiteX2590" y="connsiteY2590"/>
              </a:cxn>
              <a:cxn ang="0">
                <a:pos x="connsiteX2591" y="connsiteY2591"/>
              </a:cxn>
              <a:cxn ang="0">
                <a:pos x="connsiteX2592" y="connsiteY2592"/>
              </a:cxn>
              <a:cxn ang="0">
                <a:pos x="connsiteX2593" y="connsiteY2593"/>
              </a:cxn>
              <a:cxn ang="0">
                <a:pos x="connsiteX2594" y="connsiteY2594"/>
              </a:cxn>
              <a:cxn ang="0">
                <a:pos x="connsiteX2595" y="connsiteY2595"/>
              </a:cxn>
              <a:cxn ang="0">
                <a:pos x="connsiteX2596" y="connsiteY2596"/>
              </a:cxn>
              <a:cxn ang="0">
                <a:pos x="connsiteX2597" y="connsiteY2597"/>
              </a:cxn>
              <a:cxn ang="0">
                <a:pos x="connsiteX2598" y="connsiteY2598"/>
              </a:cxn>
              <a:cxn ang="0">
                <a:pos x="connsiteX2599" y="connsiteY2599"/>
              </a:cxn>
              <a:cxn ang="0">
                <a:pos x="connsiteX2600" y="connsiteY2600"/>
              </a:cxn>
              <a:cxn ang="0">
                <a:pos x="connsiteX2601" y="connsiteY2601"/>
              </a:cxn>
              <a:cxn ang="0">
                <a:pos x="connsiteX2602" y="connsiteY2602"/>
              </a:cxn>
              <a:cxn ang="0">
                <a:pos x="connsiteX2603" y="connsiteY2603"/>
              </a:cxn>
              <a:cxn ang="0">
                <a:pos x="connsiteX2604" y="connsiteY2604"/>
              </a:cxn>
              <a:cxn ang="0">
                <a:pos x="connsiteX2605" y="connsiteY2605"/>
              </a:cxn>
              <a:cxn ang="0">
                <a:pos x="connsiteX2606" y="connsiteY2606"/>
              </a:cxn>
              <a:cxn ang="0">
                <a:pos x="connsiteX2607" y="connsiteY2607"/>
              </a:cxn>
              <a:cxn ang="0">
                <a:pos x="connsiteX2608" y="connsiteY2608"/>
              </a:cxn>
              <a:cxn ang="0">
                <a:pos x="connsiteX2609" y="connsiteY2609"/>
              </a:cxn>
              <a:cxn ang="0">
                <a:pos x="connsiteX2610" y="connsiteY2610"/>
              </a:cxn>
              <a:cxn ang="0">
                <a:pos x="connsiteX2611" y="connsiteY2611"/>
              </a:cxn>
              <a:cxn ang="0">
                <a:pos x="connsiteX2612" y="connsiteY2612"/>
              </a:cxn>
              <a:cxn ang="0">
                <a:pos x="connsiteX2613" y="connsiteY2613"/>
              </a:cxn>
              <a:cxn ang="0">
                <a:pos x="connsiteX2614" y="connsiteY2614"/>
              </a:cxn>
              <a:cxn ang="0">
                <a:pos x="connsiteX2615" y="connsiteY2615"/>
              </a:cxn>
              <a:cxn ang="0">
                <a:pos x="connsiteX2616" y="connsiteY2616"/>
              </a:cxn>
              <a:cxn ang="0">
                <a:pos x="connsiteX2617" y="connsiteY2617"/>
              </a:cxn>
              <a:cxn ang="0">
                <a:pos x="connsiteX2618" y="connsiteY2618"/>
              </a:cxn>
              <a:cxn ang="0">
                <a:pos x="connsiteX2619" y="connsiteY2619"/>
              </a:cxn>
              <a:cxn ang="0">
                <a:pos x="connsiteX2620" y="connsiteY2620"/>
              </a:cxn>
              <a:cxn ang="0">
                <a:pos x="connsiteX2621" y="connsiteY2621"/>
              </a:cxn>
              <a:cxn ang="0">
                <a:pos x="connsiteX2622" y="connsiteY2622"/>
              </a:cxn>
              <a:cxn ang="0">
                <a:pos x="connsiteX2623" y="connsiteY2623"/>
              </a:cxn>
              <a:cxn ang="0">
                <a:pos x="connsiteX2624" y="connsiteY2624"/>
              </a:cxn>
              <a:cxn ang="0">
                <a:pos x="connsiteX2625" y="connsiteY2625"/>
              </a:cxn>
              <a:cxn ang="0">
                <a:pos x="connsiteX2626" y="connsiteY2626"/>
              </a:cxn>
              <a:cxn ang="0">
                <a:pos x="connsiteX2627" y="connsiteY2627"/>
              </a:cxn>
              <a:cxn ang="0">
                <a:pos x="connsiteX2628" y="connsiteY2628"/>
              </a:cxn>
              <a:cxn ang="0">
                <a:pos x="connsiteX2629" y="connsiteY2629"/>
              </a:cxn>
              <a:cxn ang="0">
                <a:pos x="connsiteX2630" y="connsiteY2630"/>
              </a:cxn>
              <a:cxn ang="0">
                <a:pos x="connsiteX2631" y="connsiteY2631"/>
              </a:cxn>
              <a:cxn ang="0">
                <a:pos x="connsiteX2632" y="connsiteY2632"/>
              </a:cxn>
              <a:cxn ang="0">
                <a:pos x="connsiteX2633" y="connsiteY2633"/>
              </a:cxn>
              <a:cxn ang="0">
                <a:pos x="connsiteX2634" y="connsiteY2634"/>
              </a:cxn>
              <a:cxn ang="0">
                <a:pos x="connsiteX2635" y="connsiteY2635"/>
              </a:cxn>
              <a:cxn ang="0">
                <a:pos x="connsiteX2636" y="connsiteY2636"/>
              </a:cxn>
              <a:cxn ang="0">
                <a:pos x="connsiteX2637" y="connsiteY2637"/>
              </a:cxn>
              <a:cxn ang="0">
                <a:pos x="connsiteX2638" y="connsiteY2638"/>
              </a:cxn>
              <a:cxn ang="0">
                <a:pos x="connsiteX2639" y="connsiteY2639"/>
              </a:cxn>
              <a:cxn ang="0">
                <a:pos x="connsiteX2640" y="connsiteY2640"/>
              </a:cxn>
              <a:cxn ang="0">
                <a:pos x="connsiteX2641" y="connsiteY2641"/>
              </a:cxn>
              <a:cxn ang="0">
                <a:pos x="connsiteX2642" y="connsiteY2642"/>
              </a:cxn>
              <a:cxn ang="0">
                <a:pos x="connsiteX2643" y="connsiteY2643"/>
              </a:cxn>
              <a:cxn ang="0">
                <a:pos x="connsiteX2644" y="connsiteY2644"/>
              </a:cxn>
              <a:cxn ang="0">
                <a:pos x="connsiteX2645" y="connsiteY2645"/>
              </a:cxn>
              <a:cxn ang="0">
                <a:pos x="connsiteX2646" y="connsiteY2646"/>
              </a:cxn>
              <a:cxn ang="0">
                <a:pos x="connsiteX2647" y="connsiteY2647"/>
              </a:cxn>
              <a:cxn ang="0">
                <a:pos x="connsiteX2648" y="connsiteY2648"/>
              </a:cxn>
              <a:cxn ang="0">
                <a:pos x="connsiteX2649" y="connsiteY2649"/>
              </a:cxn>
              <a:cxn ang="0">
                <a:pos x="connsiteX2650" y="connsiteY2650"/>
              </a:cxn>
              <a:cxn ang="0">
                <a:pos x="connsiteX2651" y="connsiteY2651"/>
              </a:cxn>
              <a:cxn ang="0">
                <a:pos x="connsiteX2652" y="connsiteY2652"/>
              </a:cxn>
              <a:cxn ang="0">
                <a:pos x="connsiteX2653" y="connsiteY2653"/>
              </a:cxn>
              <a:cxn ang="0">
                <a:pos x="connsiteX2654" y="connsiteY2654"/>
              </a:cxn>
              <a:cxn ang="0">
                <a:pos x="connsiteX2655" y="connsiteY2655"/>
              </a:cxn>
              <a:cxn ang="0">
                <a:pos x="connsiteX2656" y="connsiteY2656"/>
              </a:cxn>
              <a:cxn ang="0">
                <a:pos x="connsiteX2657" y="connsiteY2657"/>
              </a:cxn>
              <a:cxn ang="0">
                <a:pos x="connsiteX2658" y="connsiteY2658"/>
              </a:cxn>
              <a:cxn ang="0">
                <a:pos x="connsiteX2659" y="connsiteY2659"/>
              </a:cxn>
              <a:cxn ang="0">
                <a:pos x="connsiteX2660" y="connsiteY2660"/>
              </a:cxn>
              <a:cxn ang="0">
                <a:pos x="connsiteX2661" y="connsiteY2661"/>
              </a:cxn>
              <a:cxn ang="0">
                <a:pos x="connsiteX2662" y="connsiteY2662"/>
              </a:cxn>
              <a:cxn ang="0">
                <a:pos x="connsiteX2663" y="connsiteY2663"/>
              </a:cxn>
              <a:cxn ang="0">
                <a:pos x="connsiteX2664" y="connsiteY2664"/>
              </a:cxn>
              <a:cxn ang="0">
                <a:pos x="connsiteX2665" y="connsiteY2665"/>
              </a:cxn>
              <a:cxn ang="0">
                <a:pos x="connsiteX2666" y="connsiteY2666"/>
              </a:cxn>
              <a:cxn ang="0">
                <a:pos x="connsiteX2667" y="connsiteY2667"/>
              </a:cxn>
              <a:cxn ang="0">
                <a:pos x="connsiteX2668" y="connsiteY2668"/>
              </a:cxn>
              <a:cxn ang="0">
                <a:pos x="connsiteX2669" y="connsiteY2669"/>
              </a:cxn>
              <a:cxn ang="0">
                <a:pos x="connsiteX2670" y="connsiteY2670"/>
              </a:cxn>
              <a:cxn ang="0">
                <a:pos x="connsiteX2671" y="connsiteY2671"/>
              </a:cxn>
              <a:cxn ang="0">
                <a:pos x="connsiteX2672" y="connsiteY2672"/>
              </a:cxn>
              <a:cxn ang="0">
                <a:pos x="connsiteX2673" y="connsiteY2673"/>
              </a:cxn>
              <a:cxn ang="0">
                <a:pos x="connsiteX2674" y="connsiteY2674"/>
              </a:cxn>
              <a:cxn ang="0">
                <a:pos x="connsiteX2675" y="connsiteY2675"/>
              </a:cxn>
              <a:cxn ang="0">
                <a:pos x="connsiteX2676" y="connsiteY2676"/>
              </a:cxn>
              <a:cxn ang="0">
                <a:pos x="connsiteX2677" y="connsiteY2677"/>
              </a:cxn>
              <a:cxn ang="0">
                <a:pos x="connsiteX2678" y="connsiteY2678"/>
              </a:cxn>
              <a:cxn ang="0">
                <a:pos x="connsiteX2679" y="connsiteY2679"/>
              </a:cxn>
              <a:cxn ang="0">
                <a:pos x="connsiteX2680" y="connsiteY2680"/>
              </a:cxn>
              <a:cxn ang="0">
                <a:pos x="connsiteX2681" y="connsiteY2681"/>
              </a:cxn>
              <a:cxn ang="0">
                <a:pos x="connsiteX2682" y="connsiteY2682"/>
              </a:cxn>
              <a:cxn ang="0">
                <a:pos x="connsiteX2683" y="connsiteY2683"/>
              </a:cxn>
              <a:cxn ang="0">
                <a:pos x="connsiteX2684" y="connsiteY2684"/>
              </a:cxn>
              <a:cxn ang="0">
                <a:pos x="connsiteX2685" y="connsiteY2685"/>
              </a:cxn>
              <a:cxn ang="0">
                <a:pos x="connsiteX2686" y="connsiteY2686"/>
              </a:cxn>
              <a:cxn ang="0">
                <a:pos x="connsiteX2687" y="connsiteY2687"/>
              </a:cxn>
              <a:cxn ang="0">
                <a:pos x="connsiteX2688" y="connsiteY2688"/>
              </a:cxn>
              <a:cxn ang="0">
                <a:pos x="connsiteX2689" y="connsiteY2689"/>
              </a:cxn>
              <a:cxn ang="0">
                <a:pos x="connsiteX2690" y="connsiteY2690"/>
              </a:cxn>
              <a:cxn ang="0">
                <a:pos x="connsiteX2691" y="connsiteY2691"/>
              </a:cxn>
              <a:cxn ang="0">
                <a:pos x="connsiteX2692" y="connsiteY2692"/>
              </a:cxn>
              <a:cxn ang="0">
                <a:pos x="connsiteX2693" y="connsiteY2693"/>
              </a:cxn>
              <a:cxn ang="0">
                <a:pos x="connsiteX2694" y="connsiteY2694"/>
              </a:cxn>
              <a:cxn ang="0">
                <a:pos x="connsiteX2695" y="connsiteY2695"/>
              </a:cxn>
              <a:cxn ang="0">
                <a:pos x="connsiteX2696" y="connsiteY2696"/>
              </a:cxn>
              <a:cxn ang="0">
                <a:pos x="connsiteX2697" y="connsiteY2697"/>
              </a:cxn>
              <a:cxn ang="0">
                <a:pos x="connsiteX2698" y="connsiteY2698"/>
              </a:cxn>
              <a:cxn ang="0">
                <a:pos x="connsiteX2699" y="connsiteY2699"/>
              </a:cxn>
              <a:cxn ang="0">
                <a:pos x="connsiteX2700" y="connsiteY2700"/>
              </a:cxn>
              <a:cxn ang="0">
                <a:pos x="connsiteX2701" y="connsiteY2701"/>
              </a:cxn>
              <a:cxn ang="0">
                <a:pos x="connsiteX2702" y="connsiteY2702"/>
              </a:cxn>
              <a:cxn ang="0">
                <a:pos x="connsiteX2703" y="connsiteY2703"/>
              </a:cxn>
              <a:cxn ang="0">
                <a:pos x="connsiteX2704" y="connsiteY2704"/>
              </a:cxn>
              <a:cxn ang="0">
                <a:pos x="connsiteX2705" y="connsiteY2705"/>
              </a:cxn>
              <a:cxn ang="0">
                <a:pos x="connsiteX2706" y="connsiteY2706"/>
              </a:cxn>
              <a:cxn ang="0">
                <a:pos x="connsiteX2707" y="connsiteY2707"/>
              </a:cxn>
              <a:cxn ang="0">
                <a:pos x="connsiteX2708" y="connsiteY2708"/>
              </a:cxn>
              <a:cxn ang="0">
                <a:pos x="connsiteX2709" y="connsiteY2709"/>
              </a:cxn>
              <a:cxn ang="0">
                <a:pos x="connsiteX2710" y="connsiteY2710"/>
              </a:cxn>
              <a:cxn ang="0">
                <a:pos x="connsiteX2711" y="connsiteY2711"/>
              </a:cxn>
              <a:cxn ang="0">
                <a:pos x="connsiteX2712" y="connsiteY2712"/>
              </a:cxn>
              <a:cxn ang="0">
                <a:pos x="connsiteX2713" y="connsiteY2713"/>
              </a:cxn>
              <a:cxn ang="0">
                <a:pos x="connsiteX2714" y="connsiteY2714"/>
              </a:cxn>
              <a:cxn ang="0">
                <a:pos x="connsiteX2715" y="connsiteY2715"/>
              </a:cxn>
              <a:cxn ang="0">
                <a:pos x="connsiteX2716" y="connsiteY2716"/>
              </a:cxn>
              <a:cxn ang="0">
                <a:pos x="connsiteX2717" y="connsiteY2717"/>
              </a:cxn>
              <a:cxn ang="0">
                <a:pos x="connsiteX2718" y="connsiteY2718"/>
              </a:cxn>
              <a:cxn ang="0">
                <a:pos x="connsiteX2719" y="connsiteY2719"/>
              </a:cxn>
              <a:cxn ang="0">
                <a:pos x="connsiteX2720" y="connsiteY2720"/>
              </a:cxn>
              <a:cxn ang="0">
                <a:pos x="connsiteX2721" y="connsiteY2721"/>
              </a:cxn>
              <a:cxn ang="0">
                <a:pos x="connsiteX2722" y="connsiteY2722"/>
              </a:cxn>
              <a:cxn ang="0">
                <a:pos x="connsiteX2723" y="connsiteY2723"/>
              </a:cxn>
              <a:cxn ang="0">
                <a:pos x="connsiteX2724" y="connsiteY2724"/>
              </a:cxn>
              <a:cxn ang="0">
                <a:pos x="connsiteX2725" y="connsiteY2725"/>
              </a:cxn>
              <a:cxn ang="0">
                <a:pos x="connsiteX2726" y="connsiteY2726"/>
              </a:cxn>
              <a:cxn ang="0">
                <a:pos x="connsiteX2727" y="connsiteY2727"/>
              </a:cxn>
              <a:cxn ang="0">
                <a:pos x="connsiteX2728" y="connsiteY2728"/>
              </a:cxn>
              <a:cxn ang="0">
                <a:pos x="connsiteX2729" y="connsiteY2729"/>
              </a:cxn>
              <a:cxn ang="0">
                <a:pos x="connsiteX2730" y="connsiteY2730"/>
              </a:cxn>
              <a:cxn ang="0">
                <a:pos x="connsiteX2731" y="connsiteY2731"/>
              </a:cxn>
              <a:cxn ang="0">
                <a:pos x="connsiteX2732" y="connsiteY2732"/>
              </a:cxn>
              <a:cxn ang="0">
                <a:pos x="connsiteX2733" y="connsiteY2733"/>
              </a:cxn>
              <a:cxn ang="0">
                <a:pos x="connsiteX2734" y="connsiteY2734"/>
              </a:cxn>
              <a:cxn ang="0">
                <a:pos x="connsiteX2735" y="connsiteY2735"/>
              </a:cxn>
              <a:cxn ang="0">
                <a:pos x="connsiteX2736" y="connsiteY2736"/>
              </a:cxn>
              <a:cxn ang="0">
                <a:pos x="connsiteX2737" y="connsiteY2737"/>
              </a:cxn>
              <a:cxn ang="0">
                <a:pos x="connsiteX2738" y="connsiteY2738"/>
              </a:cxn>
              <a:cxn ang="0">
                <a:pos x="connsiteX2739" y="connsiteY2739"/>
              </a:cxn>
              <a:cxn ang="0">
                <a:pos x="connsiteX2740" y="connsiteY2740"/>
              </a:cxn>
              <a:cxn ang="0">
                <a:pos x="connsiteX2741" y="connsiteY2741"/>
              </a:cxn>
              <a:cxn ang="0">
                <a:pos x="connsiteX2742" y="connsiteY2742"/>
              </a:cxn>
              <a:cxn ang="0">
                <a:pos x="connsiteX2743" y="connsiteY2743"/>
              </a:cxn>
              <a:cxn ang="0">
                <a:pos x="connsiteX2744" y="connsiteY2744"/>
              </a:cxn>
              <a:cxn ang="0">
                <a:pos x="connsiteX2745" y="connsiteY2745"/>
              </a:cxn>
              <a:cxn ang="0">
                <a:pos x="connsiteX2746" y="connsiteY2746"/>
              </a:cxn>
              <a:cxn ang="0">
                <a:pos x="connsiteX2747" y="connsiteY2747"/>
              </a:cxn>
              <a:cxn ang="0">
                <a:pos x="connsiteX2748" y="connsiteY2748"/>
              </a:cxn>
              <a:cxn ang="0">
                <a:pos x="connsiteX2749" y="connsiteY2749"/>
              </a:cxn>
              <a:cxn ang="0">
                <a:pos x="connsiteX2750" y="connsiteY2750"/>
              </a:cxn>
              <a:cxn ang="0">
                <a:pos x="connsiteX2751" y="connsiteY2751"/>
              </a:cxn>
              <a:cxn ang="0">
                <a:pos x="connsiteX2752" y="connsiteY2752"/>
              </a:cxn>
              <a:cxn ang="0">
                <a:pos x="connsiteX2753" y="connsiteY2753"/>
              </a:cxn>
              <a:cxn ang="0">
                <a:pos x="connsiteX2754" y="connsiteY2754"/>
              </a:cxn>
              <a:cxn ang="0">
                <a:pos x="connsiteX2755" y="connsiteY2755"/>
              </a:cxn>
              <a:cxn ang="0">
                <a:pos x="connsiteX2756" y="connsiteY2756"/>
              </a:cxn>
              <a:cxn ang="0">
                <a:pos x="connsiteX2757" y="connsiteY2757"/>
              </a:cxn>
              <a:cxn ang="0">
                <a:pos x="connsiteX2758" y="connsiteY2758"/>
              </a:cxn>
              <a:cxn ang="0">
                <a:pos x="connsiteX2759" y="connsiteY2759"/>
              </a:cxn>
              <a:cxn ang="0">
                <a:pos x="connsiteX2760" y="connsiteY2760"/>
              </a:cxn>
              <a:cxn ang="0">
                <a:pos x="connsiteX2761" y="connsiteY2761"/>
              </a:cxn>
              <a:cxn ang="0">
                <a:pos x="connsiteX2762" y="connsiteY2762"/>
              </a:cxn>
              <a:cxn ang="0">
                <a:pos x="connsiteX2763" y="connsiteY2763"/>
              </a:cxn>
              <a:cxn ang="0">
                <a:pos x="connsiteX2764" y="connsiteY2764"/>
              </a:cxn>
              <a:cxn ang="0">
                <a:pos x="connsiteX2765" y="connsiteY2765"/>
              </a:cxn>
              <a:cxn ang="0">
                <a:pos x="connsiteX2766" y="connsiteY2766"/>
              </a:cxn>
              <a:cxn ang="0">
                <a:pos x="connsiteX2767" y="connsiteY2767"/>
              </a:cxn>
              <a:cxn ang="0">
                <a:pos x="connsiteX2768" y="connsiteY2768"/>
              </a:cxn>
              <a:cxn ang="0">
                <a:pos x="connsiteX2769" y="connsiteY2769"/>
              </a:cxn>
              <a:cxn ang="0">
                <a:pos x="connsiteX2770" y="connsiteY2770"/>
              </a:cxn>
              <a:cxn ang="0">
                <a:pos x="connsiteX2771" y="connsiteY2771"/>
              </a:cxn>
              <a:cxn ang="0">
                <a:pos x="connsiteX2772" y="connsiteY2772"/>
              </a:cxn>
              <a:cxn ang="0">
                <a:pos x="connsiteX2773" y="connsiteY2773"/>
              </a:cxn>
              <a:cxn ang="0">
                <a:pos x="connsiteX2774" y="connsiteY2774"/>
              </a:cxn>
              <a:cxn ang="0">
                <a:pos x="connsiteX2775" y="connsiteY2775"/>
              </a:cxn>
              <a:cxn ang="0">
                <a:pos x="connsiteX2776" y="connsiteY2776"/>
              </a:cxn>
              <a:cxn ang="0">
                <a:pos x="connsiteX2777" y="connsiteY2777"/>
              </a:cxn>
              <a:cxn ang="0">
                <a:pos x="connsiteX2778" y="connsiteY2778"/>
              </a:cxn>
              <a:cxn ang="0">
                <a:pos x="connsiteX2779" y="connsiteY2779"/>
              </a:cxn>
              <a:cxn ang="0">
                <a:pos x="connsiteX2780" y="connsiteY2780"/>
              </a:cxn>
              <a:cxn ang="0">
                <a:pos x="connsiteX2781" y="connsiteY2781"/>
              </a:cxn>
              <a:cxn ang="0">
                <a:pos x="connsiteX2782" y="connsiteY2782"/>
              </a:cxn>
              <a:cxn ang="0">
                <a:pos x="connsiteX2783" y="connsiteY2783"/>
              </a:cxn>
              <a:cxn ang="0">
                <a:pos x="connsiteX2784" y="connsiteY2784"/>
              </a:cxn>
              <a:cxn ang="0">
                <a:pos x="connsiteX2785" y="connsiteY2785"/>
              </a:cxn>
              <a:cxn ang="0">
                <a:pos x="connsiteX2786" y="connsiteY2786"/>
              </a:cxn>
              <a:cxn ang="0">
                <a:pos x="connsiteX2787" y="connsiteY2787"/>
              </a:cxn>
              <a:cxn ang="0">
                <a:pos x="connsiteX2788" y="connsiteY2788"/>
              </a:cxn>
              <a:cxn ang="0">
                <a:pos x="connsiteX2789" y="connsiteY2789"/>
              </a:cxn>
              <a:cxn ang="0">
                <a:pos x="connsiteX2790" y="connsiteY2790"/>
              </a:cxn>
              <a:cxn ang="0">
                <a:pos x="connsiteX2791" y="connsiteY2791"/>
              </a:cxn>
              <a:cxn ang="0">
                <a:pos x="connsiteX2792" y="connsiteY2792"/>
              </a:cxn>
              <a:cxn ang="0">
                <a:pos x="connsiteX2793" y="connsiteY2793"/>
              </a:cxn>
              <a:cxn ang="0">
                <a:pos x="connsiteX2794" y="connsiteY2794"/>
              </a:cxn>
              <a:cxn ang="0">
                <a:pos x="connsiteX2795" y="connsiteY2795"/>
              </a:cxn>
              <a:cxn ang="0">
                <a:pos x="connsiteX2796" y="connsiteY2796"/>
              </a:cxn>
              <a:cxn ang="0">
                <a:pos x="connsiteX2797" y="connsiteY2797"/>
              </a:cxn>
              <a:cxn ang="0">
                <a:pos x="connsiteX2798" y="connsiteY2798"/>
              </a:cxn>
              <a:cxn ang="0">
                <a:pos x="connsiteX2799" y="connsiteY2799"/>
              </a:cxn>
              <a:cxn ang="0">
                <a:pos x="connsiteX2800" y="connsiteY2800"/>
              </a:cxn>
              <a:cxn ang="0">
                <a:pos x="connsiteX2801" y="connsiteY2801"/>
              </a:cxn>
              <a:cxn ang="0">
                <a:pos x="connsiteX2802" y="connsiteY2802"/>
              </a:cxn>
              <a:cxn ang="0">
                <a:pos x="connsiteX2803" y="connsiteY2803"/>
              </a:cxn>
              <a:cxn ang="0">
                <a:pos x="connsiteX2804" y="connsiteY2804"/>
              </a:cxn>
              <a:cxn ang="0">
                <a:pos x="connsiteX2805" y="connsiteY2805"/>
              </a:cxn>
              <a:cxn ang="0">
                <a:pos x="connsiteX2806" y="connsiteY2806"/>
              </a:cxn>
              <a:cxn ang="0">
                <a:pos x="connsiteX2807" y="connsiteY2807"/>
              </a:cxn>
              <a:cxn ang="0">
                <a:pos x="connsiteX2808" y="connsiteY2808"/>
              </a:cxn>
              <a:cxn ang="0">
                <a:pos x="connsiteX2809" y="connsiteY2809"/>
              </a:cxn>
              <a:cxn ang="0">
                <a:pos x="connsiteX2810" y="connsiteY2810"/>
              </a:cxn>
              <a:cxn ang="0">
                <a:pos x="connsiteX2811" y="connsiteY2811"/>
              </a:cxn>
              <a:cxn ang="0">
                <a:pos x="connsiteX2812" y="connsiteY2812"/>
              </a:cxn>
              <a:cxn ang="0">
                <a:pos x="connsiteX2813" y="connsiteY2813"/>
              </a:cxn>
              <a:cxn ang="0">
                <a:pos x="connsiteX2814" y="connsiteY2814"/>
              </a:cxn>
              <a:cxn ang="0">
                <a:pos x="connsiteX2815" y="connsiteY2815"/>
              </a:cxn>
              <a:cxn ang="0">
                <a:pos x="connsiteX2816" y="connsiteY2816"/>
              </a:cxn>
              <a:cxn ang="0">
                <a:pos x="connsiteX2817" y="connsiteY2817"/>
              </a:cxn>
              <a:cxn ang="0">
                <a:pos x="connsiteX2818" y="connsiteY2818"/>
              </a:cxn>
              <a:cxn ang="0">
                <a:pos x="connsiteX2819" y="connsiteY2819"/>
              </a:cxn>
              <a:cxn ang="0">
                <a:pos x="connsiteX2820" y="connsiteY2820"/>
              </a:cxn>
              <a:cxn ang="0">
                <a:pos x="connsiteX2821" y="connsiteY2821"/>
              </a:cxn>
              <a:cxn ang="0">
                <a:pos x="connsiteX2822" y="connsiteY2822"/>
              </a:cxn>
              <a:cxn ang="0">
                <a:pos x="connsiteX2823" y="connsiteY2823"/>
              </a:cxn>
              <a:cxn ang="0">
                <a:pos x="connsiteX2824" y="connsiteY2824"/>
              </a:cxn>
              <a:cxn ang="0">
                <a:pos x="connsiteX2825" y="connsiteY2825"/>
              </a:cxn>
              <a:cxn ang="0">
                <a:pos x="connsiteX2826" y="connsiteY2826"/>
              </a:cxn>
              <a:cxn ang="0">
                <a:pos x="connsiteX2827" y="connsiteY2827"/>
              </a:cxn>
              <a:cxn ang="0">
                <a:pos x="connsiteX2828" y="connsiteY2828"/>
              </a:cxn>
              <a:cxn ang="0">
                <a:pos x="connsiteX2829" y="connsiteY2829"/>
              </a:cxn>
              <a:cxn ang="0">
                <a:pos x="connsiteX2830" y="connsiteY2830"/>
              </a:cxn>
              <a:cxn ang="0">
                <a:pos x="connsiteX2831" y="connsiteY2831"/>
              </a:cxn>
              <a:cxn ang="0">
                <a:pos x="connsiteX2832" y="connsiteY2832"/>
              </a:cxn>
              <a:cxn ang="0">
                <a:pos x="connsiteX2833" y="connsiteY2833"/>
              </a:cxn>
              <a:cxn ang="0">
                <a:pos x="connsiteX2834" y="connsiteY2834"/>
              </a:cxn>
              <a:cxn ang="0">
                <a:pos x="connsiteX2835" y="connsiteY2835"/>
              </a:cxn>
              <a:cxn ang="0">
                <a:pos x="connsiteX2836" y="connsiteY2836"/>
              </a:cxn>
              <a:cxn ang="0">
                <a:pos x="connsiteX2837" y="connsiteY2837"/>
              </a:cxn>
              <a:cxn ang="0">
                <a:pos x="connsiteX2838" y="connsiteY2838"/>
              </a:cxn>
              <a:cxn ang="0">
                <a:pos x="connsiteX2839" y="connsiteY2839"/>
              </a:cxn>
              <a:cxn ang="0">
                <a:pos x="connsiteX2840" y="connsiteY2840"/>
              </a:cxn>
              <a:cxn ang="0">
                <a:pos x="connsiteX2841" y="connsiteY2841"/>
              </a:cxn>
              <a:cxn ang="0">
                <a:pos x="connsiteX2842" y="connsiteY2842"/>
              </a:cxn>
              <a:cxn ang="0">
                <a:pos x="connsiteX2843" y="connsiteY2843"/>
              </a:cxn>
              <a:cxn ang="0">
                <a:pos x="connsiteX2844" y="connsiteY2844"/>
              </a:cxn>
              <a:cxn ang="0">
                <a:pos x="connsiteX2845" y="connsiteY2845"/>
              </a:cxn>
              <a:cxn ang="0">
                <a:pos x="connsiteX2846" y="connsiteY2846"/>
              </a:cxn>
              <a:cxn ang="0">
                <a:pos x="connsiteX2847" y="connsiteY2847"/>
              </a:cxn>
              <a:cxn ang="0">
                <a:pos x="connsiteX2848" y="connsiteY2848"/>
              </a:cxn>
              <a:cxn ang="0">
                <a:pos x="connsiteX2849" y="connsiteY2849"/>
              </a:cxn>
              <a:cxn ang="0">
                <a:pos x="connsiteX2850" y="connsiteY2850"/>
              </a:cxn>
              <a:cxn ang="0">
                <a:pos x="connsiteX2851" y="connsiteY2851"/>
              </a:cxn>
              <a:cxn ang="0">
                <a:pos x="connsiteX2852" y="connsiteY2852"/>
              </a:cxn>
              <a:cxn ang="0">
                <a:pos x="connsiteX2853" y="connsiteY2853"/>
              </a:cxn>
              <a:cxn ang="0">
                <a:pos x="connsiteX2854" y="connsiteY2854"/>
              </a:cxn>
              <a:cxn ang="0">
                <a:pos x="connsiteX2855" y="connsiteY2855"/>
              </a:cxn>
              <a:cxn ang="0">
                <a:pos x="connsiteX2856" y="connsiteY2856"/>
              </a:cxn>
              <a:cxn ang="0">
                <a:pos x="connsiteX2857" y="connsiteY2857"/>
              </a:cxn>
              <a:cxn ang="0">
                <a:pos x="connsiteX2858" y="connsiteY2858"/>
              </a:cxn>
              <a:cxn ang="0">
                <a:pos x="connsiteX2859" y="connsiteY2859"/>
              </a:cxn>
              <a:cxn ang="0">
                <a:pos x="connsiteX2860" y="connsiteY2860"/>
              </a:cxn>
              <a:cxn ang="0">
                <a:pos x="connsiteX2861" y="connsiteY2861"/>
              </a:cxn>
              <a:cxn ang="0">
                <a:pos x="connsiteX2862" y="connsiteY2862"/>
              </a:cxn>
              <a:cxn ang="0">
                <a:pos x="connsiteX2863" y="connsiteY2863"/>
              </a:cxn>
              <a:cxn ang="0">
                <a:pos x="connsiteX2864" y="connsiteY2864"/>
              </a:cxn>
              <a:cxn ang="0">
                <a:pos x="connsiteX2865" y="connsiteY2865"/>
              </a:cxn>
              <a:cxn ang="0">
                <a:pos x="connsiteX2866" y="connsiteY2866"/>
              </a:cxn>
              <a:cxn ang="0">
                <a:pos x="connsiteX2867" y="connsiteY2867"/>
              </a:cxn>
              <a:cxn ang="0">
                <a:pos x="connsiteX2868" y="connsiteY2868"/>
              </a:cxn>
              <a:cxn ang="0">
                <a:pos x="connsiteX2869" y="connsiteY2869"/>
              </a:cxn>
              <a:cxn ang="0">
                <a:pos x="connsiteX2870" y="connsiteY2870"/>
              </a:cxn>
              <a:cxn ang="0">
                <a:pos x="connsiteX2871" y="connsiteY2871"/>
              </a:cxn>
              <a:cxn ang="0">
                <a:pos x="connsiteX2872" y="connsiteY2872"/>
              </a:cxn>
              <a:cxn ang="0">
                <a:pos x="connsiteX2873" y="connsiteY2873"/>
              </a:cxn>
              <a:cxn ang="0">
                <a:pos x="connsiteX2874" y="connsiteY2874"/>
              </a:cxn>
              <a:cxn ang="0">
                <a:pos x="connsiteX2875" y="connsiteY2875"/>
              </a:cxn>
              <a:cxn ang="0">
                <a:pos x="connsiteX2876" y="connsiteY2876"/>
              </a:cxn>
              <a:cxn ang="0">
                <a:pos x="connsiteX2877" y="connsiteY2877"/>
              </a:cxn>
              <a:cxn ang="0">
                <a:pos x="connsiteX2878" y="connsiteY2878"/>
              </a:cxn>
              <a:cxn ang="0">
                <a:pos x="connsiteX2879" y="connsiteY2879"/>
              </a:cxn>
              <a:cxn ang="0">
                <a:pos x="connsiteX2880" y="connsiteY2880"/>
              </a:cxn>
              <a:cxn ang="0">
                <a:pos x="connsiteX2881" y="connsiteY2881"/>
              </a:cxn>
              <a:cxn ang="0">
                <a:pos x="connsiteX2882" y="connsiteY2882"/>
              </a:cxn>
              <a:cxn ang="0">
                <a:pos x="connsiteX2883" y="connsiteY2883"/>
              </a:cxn>
              <a:cxn ang="0">
                <a:pos x="connsiteX2884" y="connsiteY2884"/>
              </a:cxn>
              <a:cxn ang="0">
                <a:pos x="connsiteX2885" y="connsiteY2885"/>
              </a:cxn>
              <a:cxn ang="0">
                <a:pos x="connsiteX2886" y="connsiteY2886"/>
              </a:cxn>
              <a:cxn ang="0">
                <a:pos x="connsiteX2887" y="connsiteY2887"/>
              </a:cxn>
              <a:cxn ang="0">
                <a:pos x="connsiteX2888" y="connsiteY2888"/>
              </a:cxn>
              <a:cxn ang="0">
                <a:pos x="connsiteX2889" y="connsiteY2889"/>
              </a:cxn>
              <a:cxn ang="0">
                <a:pos x="connsiteX2890" y="connsiteY2890"/>
              </a:cxn>
              <a:cxn ang="0">
                <a:pos x="connsiteX2891" y="connsiteY2891"/>
              </a:cxn>
              <a:cxn ang="0">
                <a:pos x="connsiteX2892" y="connsiteY2892"/>
              </a:cxn>
              <a:cxn ang="0">
                <a:pos x="connsiteX2893" y="connsiteY2893"/>
              </a:cxn>
              <a:cxn ang="0">
                <a:pos x="connsiteX2894" y="connsiteY2894"/>
              </a:cxn>
              <a:cxn ang="0">
                <a:pos x="connsiteX2895" y="connsiteY2895"/>
              </a:cxn>
              <a:cxn ang="0">
                <a:pos x="connsiteX2896" y="connsiteY2896"/>
              </a:cxn>
              <a:cxn ang="0">
                <a:pos x="connsiteX2897" y="connsiteY2897"/>
              </a:cxn>
              <a:cxn ang="0">
                <a:pos x="connsiteX2898" y="connsiteY2898"/>
              </a:cxn>
              <a:cxn ang="0">
                <a:pos x="connsiteX2899" y="connsiteY2899"/>
              </a:cxn>
              <a:cxn ang="0">
                <a:pos x="connsiteX2900" y="connsiteY2900"/>
              </a:cxn>
              <a:cxn ang="0">
                <a:pos x="connsiteX2901" y="connsiteY2901"/>
              </a:cxn>
              <a:cxn ang="0">
                <a:pos x="connsiteX2902" y="connsiteY2902"/>
              </a:cxn>
              <a:cxn ang="0">
                <a:pos x="connsiteX2903" y="connsiteY2903"/>
              </a:cxn>
              <a:cxn ang="0">
                <a:pos x="connsiteX2904" y="connsiteY2904"/>
              </a:cxn>
              <a:cxn ang="0">
                <a:pos x="connsiteX2905" y="connsiteY2905"/>
              </a:cxn>
              <a:cxn ang="0">
                <a:pos x="connsiteX2906" y="connsiteY2906"/>
              </a:cxn>
              <a:cxn ang="0">
                <a:pos x="connsiteX2907" y="connsiteY2907"/>
              </a:cxn>
              <a:cxn ang="0">
                <a:pos x="connsiteX2908" y="connsiteY2908"/>
              </a:cxn>
              <a:cxn ang="0">
                <a:pos x="connsiteX2909" y="connsiteY2909"/>
              </a:cxn>
              <a:cxn ang="0">
                <a:pos x="connsiteX2910" y="connsiteY2910"/>
              </a:cxn>
              <a:cxn ang="0">
                <a:pos x="connsiteX2911" y="connsiteY2911"/>
              </a:cxn>
              <a:cxn ang="0">
                <a:pos x="connsiteX2912" y="connsiteY2912"/>
              </a:cxn>
              <a:cxn ang="0">
                <a:pos x="connsiteX2913" y="connsiteY2913"/>
              </a:cxn>
              <a:cxn ang="0">
                <a:pos x="connsiteX2914" y="connsiteY2914"/>
              </a:cxn>
              <a:cxn ang="0">
                <a:pos x="connsiteX2915" y="connsiteY2915"/>
              </a:cxn>
              <a:cxn ang="0">
                <a:pos x="connsiteX2916" y="connsiteY2916"/>
              </a:cxn>
              <a:cxn ang="0">
                <a:pos x="connsiteX2917" y="connsiteY2917"/>
              </a:cxn>
              <a:cxn ang="0">
                <a:pos x="connsiteX2918" y="connsiteY2918"/>
              </a:cxn>
              <a:cxn ang="0">
                <a:pos x="connsiteX2919" y="connsiteY2919"/>
              </a:cxn>
              <a:cxn ang="0">
                <a:pos x="connsiteX2920" y="connsiteY2920"/>
              </a:cxn>
              <a:cxn ang="0">
                <a:pos x="connsiteX2921" y="connsiteY2921"/>
              </a:cxn>
              <a:cxn ang="0">
                <a:pos x="connsiteX2922" y="connsiteY2922"/>
              </a:cxn>
              <a:cxn ang="0">
                <a:pos x="connsiteX2923" y="connsiteY2923"/>
              </a:cxn>
              <a:cxn ang="0">
                <a:pos x="connsiteX2924" y="connsiteY2924"/>
              </a:cxn>
              <a:cxn ang="0">
                <a:pos x="connsiteX2925" y="connsiteY2925"/>
              </a:cxn>
              <a:cxn ang="0">
                <a:pos x="connsiteX2926" y="connsiteY2926"/>
              </a:cxn>
              <a:cxn ang="0">
                <a:pos x="connsiteX2927" y="connsiteY2927"/>
              </a:cxn>
              <a:cxn ang="0">
                <a:pos x="connsiteX2928" y="connsiteY2928"/>
              </a:cxn>
              <a:cxn ang="0">
                <a:pos x="connsiteX2929" y="connsiteY2929"/>
              </a:cxn>
              <a:cxn ang="0">
                <a:pos x="connsiteX2930" y="connsiteY2930"/>
              </a:cxn>
              <a:cxn ang="0">
                <a:pos x="connsiteX2931" y="connsiteY2931"/>
              </a:cxn>
              <a:cxn ang="0">
                <a:pos x="connsiteX2932" y="connsiteY2932"/>
              </a:cxn>
              <a:cxn ang="0">
                <a:pos x="connsiteX2933" y="connsiteY2933"/>
              </a:cxn>
              <a:cxn ang="0">
                <a:pos x="connsiteX2934" y="connsiteY2934"/>
              </a:cxn>
              <a:cxn ang="0">
                <a:pos x="connsiteX2935" y="connsiteY2935"/>
              </a:cxn>
              <a:cxn ang="0">
                <a:pos x="connsiteX2936" y="connsiteY2936"/>
              </a:cxn>
              <a:cxn ang="0">
                <a:pos x="connsiteX2937" y="connsiteY2937"/>
              </a:cxn>
              <a:cxn ang="0">
                <a:pos x="connsiteX2938" y="connsiteY2938"/>
              </a:cxn>
              <a:cxn ang="0">
                <a:pos x="connsiteX2939" y="connsiteY2939"/>
              </a:cxn>
              <a:cxn ang="0">
                <a:pos x="connsiteX2940" y="connsiteY2940"/>
              </a:cxn>
              <a:cxn ang="0">
                <a:pos x="connsiteX2941" y="connsiteY2941"/>
              </a:cxn>
              <a:cxn ang="0">
                <a:pos x="connsiteX2942" y="connsiteY2942"/>
              </a:cxn>
              <a:cxn ang="0">
                <a:pos x="connsiteX2943" y="connsiteY2943"/>
              </a:cxn>
              <a:cxn ang="0">
                <a:pos x="connsiteX2944" y="connsiteY2944"/>
              </a:cxn>
              <a:cxn ang="0">
                <a:pos x="connsiteX2945" y="connsiteY2945"/>
              </a:cxn>
              <a:cxn ang="0">
                <a:pos x="connsiteX2946" y="connsiteY2946"/>
              </a:cxn>
              <a:cxn ang="0">
                <a:pos x="connsiteX2947" y="connsiteY2947"/>
              </a:cxn>
              <a:cxn ang="0">
                <a:pos x="connsiteX2948" y="connsiteY2948"/>
              </a:cxn>
              <a:cxn ang="0">
                <a:pos x="connsiteX2949" y="connsiteY2949"/>
              </a:cxn>
              <a:cxn ang="0">
                <a:pos x="connsiteX2950" y="connsiteY2950"/>
              </a:cxn>
              <a:cxn ang="0">
                <a:pos x="connsiteX2951" y="connsiteY2951"/>
              </a:cxn>
              <a:cxn ang="0">
                <a:pos x="connsiteX2952" y="connsiteY2952"/>
              </a:cxn>
              <a:cxn ang="0">
                <a:pos x="connsiteX2953" y="connsiteY2953"/>
              </a:cxn>
              <a:cxn ang="0">
                <a:pos x="connsiteX2954" y="connsiteY2954"/>
              </a:cxn>
              <a:cxn ang="0">
                <a:pos x="connsiteX2955" y="connsiteY2955"/>
              </a:cxn>
              <a:cxn ang="0">
                <a:pos x="connsiteX2956" y="connsiteY2956"/>
              </a:cxn>
              <a:cxn ang="0">
                <a:pos x="connsiteX2957" y="connsiteY2957"/>
              </a:cxn>
              <a:cxn ang="0">
                <a:pos x="connsiteX2958" y="connsiteY2958"/>
              </a:cxn>
              <a:cxn ang="0">
                <a:pos x="connsiteX2959" y="connsiteY2959"/>
              </a:cxn>
              <a:cxn ang="0">
                <a:pos x="connsiteX2960" y="connsiteY2960"/>
              </a:cxn>
              <a:cxn ang="0">
                <a:pos x="connsiteX2961" y="connsiteY2961"/>
              </a:cxn>
              <a:cxn ang="0">
                <a:pos x="connsiteX2962" y="connsiteY2962"/>
              </a:cxn>
              <a:cxn ang="0">
                <a:pos x="connsiteX2963" y="connsiteY2963"/>
              </a:cxn>
              <a:cxn ang="0">
                <a:pos x="connsiteX2964" y="connsiteY2964"/>
              </a:cxn>
              <a:cxn ang="0">
                <a:pos x="connsiteX2965" y="connsiteY2965"/>
              </a:cxn>
              <a:cxn ang="0">
                <a:pos x="connsiteX2966" y="connsiteY2966"/>
              </a:cxn>
              <a:cxn ang="0">
                <a:pos x="connsiteX2967" y="connsiteY2967"/>
              </a:cxn>
              <a:cxn ang="0">
                <a:pos x="connsiteX2968" y="connsiteY2968"/>
              </a:cxn>
              <a:cxn ang="0">
                <a:pos x="connsiteX2969" y="connsiteY2969"/>
              </a:cxn>
              <a:cxn ang="0">
                <a:pos x="connsiteX2970" y="connsiteY2970"/>
              </a:cxn>
              <a:cxn ang="0">
                <a:pos x="connsiteX2971" y="connsiteY2971"/>
              </a:cxn>
              <a:cxn ang="0">
                <a:pos x="connsiteX2972" y="connsiteY2972"/>
              </a:cxn>
              <a:cxn ang="0">
                <a:pos x="connsiteX2973" y="connsiteY2973"/>
              </a:cxn>
              <a:cxn ang="0">
                <a:pos x="connsiteX2974" y="connsiteY2974"/>
              </a:cxn>
              <a:cxn ang="0">
                <a:pos x="connsiteX2975" y="connsiteY2975"/>
              </a:cxn>
              <a:cxn ang="0">
                <a:pos x="connsiteX2976" y="connsiteY2976"/>
              </a:cxn>
              <a:cxn ang="0">
                <a:pos x="connsiteX2977" y="connsiteY2977"/>
              </a:cxn>
              <a:cxn ang="0">
                <a:pos x="connsiteX2978" y="connsiteY2978"/>
              </a:cxn>
              <a:cxn ang="0">
                <a:pos x="connsiteX2979" y="connsiteY2979"/>
              </a:cxn>
              <a:cxn ang="0">
                <a:pos x="connsiteX2980" y="connsiteY2980"/>
              </a:cxn>
              <a:cxn ang="0">
                <a:pos x="connsiteX2981" y="connsiteY2981"/>
              </a:cxn>
              <a:cxn ang="0">
                <a:pos x="connsiteX2982" y="connsiteY2982"/>
              </a:cxn>
              <a:cxn ang="0">
                <a:pos x="connsiteX2983" y="connsiteY2983"/>
              </a:cxn>
              <a:cxn ang="0">
                <a:pos x="connsiteX2984" y="connsiteY2984"/>
              </a:cxn>
              <a:cxn ang="0">
                <a:pos x="connsiteX2985" y="connsiteY2985"/>
              </a:cxn>
              <a:cxn ang="0">
                <a:pos x="connsiteX2986" y="connsiteY2986"/>
              </a:cxn>
              <a:cxn ang="0">
                <a:pos x="connsiteX2987" y="connsiteY2987"/>
              </a:cxn>
              <a:cxn ang="0">
                <a:pos x="connsiteX2988" y="connsiteY2988"/>
              </a:cxn>
              <a:cxn ang="0">
                <a:pos x="connsiteX2989" y="connsiteY2989"/>
              </a:cxn>
              <a:cxn ang="0">
                <a:pos x="connsiteX2990" y="connsiteY2990"/>
              </a:cxn>
              <a:cxn ang="0">
                <a:pos x="connsiteX2991" y="connsiteY2991"/>
              </a:cxn>
              <a:cxn ang="0">
                <a:pos x="connsiteX2992" y="connsiteY2992"/>
              </a:cxn>
              <a:cxn ang="0">
                <a:pos x="connsiteX2993" y="connsiteY2993"/>
              </a:cxn>
              <a:cxn ang="0">
                <a:pos x="connsiteX2994" y="connsiteY2994"/>
              </a:cxn>
              <a:cxn ang="0">
                <a:pos x="connsiteX2995" y="connsiteY2995"/>
              </a:cxn>
              <a:cxn ang="0">
                <a:pos x="connsiteX2996" y="connsiteY2996"/>
              </a:cxn>
              <a:cxn ang="0">
                <a:pos x="connsiteX2997" y="connsiteY2997"/>
              </a:cxn>
              <a:cxn ang="0">
                <a:pos x="connsiteX2998" y="connsiteY2998"/>
              </a:cxn>
              <a:cxn ang="0">
                <a:pos x="connsiteX2999" y="connsiteY2999"/>
              </a:cxn>
              <a:cxn ang="0">
                <a:pos x="connsiteX3000" y="connsiteY3000"/>
              </a:cxn>
              <a:cxn ang="0">
                <a:pos x="connsiteX3001" y="connsiteY3001"/>
              </a:cxn>
              <a:cxn ang="0">
                <a:pos x="connsiteX3002" y="connsiteY3002"/>
              </a:cxn>
              <a:cxn ang="0">
                <a:pos x="connsiteX3003" y="connsiteY3003"/>
              </a:cxn>
              <a:cxn ang="0">
                <a:pos x="connsiteX3004" y="connsiteY3004"/>
              </a:cxn>
              <a:cxn ang="0">
                <a:pos x="connsiteX3005" y="connsiteY3005"/>
              </a:cxn>
              <a:cxn ang="0">
                <a:pos x="connsiteX3006" y="connsiteY3006"/>
              </a:cxn>
              <a:cxn ang="0">
                <a:pos x="connsiteX3007" y="connsiteY3007"/>
              </a:cxn>
              <a:cxn ang="0">
                <a:pos x="connsiteX3008" y="connsiteY3008"/>
              </a:cxn>
              <a:cxn ang="0">
                <a:pos x="connsiteX3009" y="connsiteY3009"/>
              </a:cxn>
              <a:cxn ang="0">
                <a:pos x="connsiteX3010" y="connsiteY3010"/>
              </a:cxn>
              <a:cxn ang="0">
                <a:pos x="connsiteX3011" y="connsiteY3011"/>
              </a:cxn>
              <a:cxn ang="0">
                <a:pos x="connsiteX3012" y="connsiteY3012"/>
              </a:cxn>
              <a:cxn ang="0">
                <a:pos x="connsiteX3013" y="connsiteY3013"/>
              </a:cxn>
              <a:cxn ang="0">
                <a:pos x="connsiteX3014" y="connsiteY3014"/>
              </a:cxn>
              <a:cxn ang="0">
                <a:pos x="connsiteX3015" y="connsiteY3015"/>
              </a:cxn>
              <a:cxn ang="0">
                <a:pos x="connsiteX3016" y="connsiteY3016"/>
              </a:cxn>
              <a:cxn ang="0">
                <a:pos x="connsiteX3017" y="connsiteY3017"/>
              </a:cxn>
              <a:cxn ang="0">
                <a:pos x="connsiteX3018" y="connsiteY3018"/>
              </a:cxn>
              <a:cxn ang="0">
                <a:pos x="connsiteX3019" y="connsiteY3019"/>
              </a:cxn>
              <a:cxn ang="0">
                <a:pos x="connsiteX3020" y="connsiteY3020"/>
              </a:cxn>
              <a:cxn ang="0">
                <a:pos x="connsiteX3021" y="connsiteY3021"/>
              </a:cxn>
              <a:cxn ang="0">
                <a:pos x="connsiteX3022" y="connsiteY3022"/>
              </a:cxn>
              <a:cxn ang="0">
                <a:pos x="connsiteX3023" y="connsiteY3023"/>
              </a:cxn>
              <a:cxn ang="0">
                <a:pos x="connsiteX3024" y="connsiteY3024"/>
              </a:cxn>
              <a:cxn ang="0">
                <a:pos x="connsiteX3025" y="connsiteY3025"/>
              </a:cxn>
              <a:cxn ang="0">
                <a:pos x="connsiteX3026" y="connsiteY3026"/>
              </a:cxn>
              <a:cxn ang="0">
                <a:pos x="connsiteX3027" y="connsiteY3027"/>
              </a:cxn>
              <a:cxn ang="0">
                <a:pos x="connsiteX3028" y="connsiteY3028"/>
              </a:cxn>
              <a:cxn ang="0">
                <a:pos x="connsiteX3029" y="connsiteY3029"/>
              </a:cxn>
              <a:cxn ang="0">
                <a:pos x="connsiteX3030" y="connsiteY3030"/>
              </a:cxn>
              <a:cxn ang="0">
                <a:pos x="connsiteX3031" y="connsiteY3031"/>
              </a:cxn>
              <a:cxn ang="0">
                <a:pos x="connsiteX3032" y="connsiteY3032"/>
              </a:cxn>
              <a:cxn ang="0">
                <a:pos x="connsiteX3033" y="connsiteY3033"/>
              </a:cxn>
              <a:cxn ang="0">
                <a:pos x="connsiteX3034" y="connsiteY3034"/>
              </a:cxn>
              <a:cxn ang="0">
                <a:pos x="connsiteX3035" y="connsiteY3035"/>
              </a:cxn>
              <a:cxn ang="0">
                <a:pos x="connsiteX3036" y="connsiteY3036"/>
              </a:cxn>
              <a:cxn ang="0">
                <a:pos x="connsiteX3037" y="connsiteY3037"/>
              </a:cxn>
              <a:cxn ang="0">
                <a:pos x="connsiteX3038" y="connsiteY3038"/>
              </a:cxn>
              <a:cxn ang="0">
                <a:pos x="connsiteX3039" y="connsiteY3039"/>
              </a:cxn>
              <a:cxn ang="0">
                <a:pos x="connsiteX3040" y="connsiteY3040"/>
              </a:cxn>
              <a:cxn ang="0">
                <a:pos x="connsiteX3041" y="connsiteY3041"/>
              </a:cxn>
              <a:cxn ang="0">
                <a:pos x="connsiteX3042" y="connsiteY3042"/>
              </a:cxn>
              <a:cxn ang="0">
                <a:pos x="connsiteX3043" y="connsiteY3043"/>
              </a:cxn>
              <a:cxn ang="0">
                <a:pos x="connsiteX3044" y="connsiteY3044"/>
              </a:cxn>
              <a:cxn ang="0">
                <a:pos x="connsiteX3045" y="connsiteY3045"/>
              </a:cxn>
              <a:cxn ang="0">
                <a:pos x="connsiteX3046" y="connsiteY3046"/>
              </a:cxn>
              <a:cxn ang="0">
                <a:pos x="connsiteX3047" y="connsiteY3047"/>
              </a:cxn>
              <a:cxn ang="0">
                <a:pos x="connsiteX3048" y="connsiteY3048"/>
              </a:cxn>
              <a:cxn ang="0">
                <a:pos x="connsiteX3049" y="connsiteY3049"/>
              </a:cxn>
              <a:cxn ang="0">
                <a:pos x="connsiteX3050" y="connsiteY3050"/>
              </a:cxn>
              <a:cxn ang="0">
                <a:pos x="connsiteX3051" y="connsiteY3051"/>
              </a:cxn>
              <a:cxn ang="0">
                <a:pos x="connsiteX3052" y="connsiteY3052"/>
              </a:cxn>
              <a:cxn ang="0">
                <a:pos x="connsiteX3053" y="connsiteY3053"/>
              </a:cxn>
              <a:cxn ang="0">
                <a:pos x="connsiteX3054" y="connsiteY3054"/>
              </a:cxn>
              <a:cxn ang="0">
                <a:pos x="connsiteX3055" y="connsiteY3055"/>
              </a:cxn>
              <a:cxn ang="0">
                <a:pos x="connsiteX3056" y="connsiteY3056"/>
              </a:cxn>
              <a:cxn ang="0">
                <a:pos x="connsiteX3057" y="connsiteY3057"/>
              </a:cxn>
              <a:cxn ang="0">
                <a:pos x="connsiteX3058" y="connsiteY3058"/>
              </a:cxn>
              <a:cxn ang="0">
                <a:pos x="connsiteX3059" y="connsiteY3059"/>
              </a:cxn>
              <a:cxn ang="0">
                <a:pos x="connsiteX3060" y="connsiteY3060"/>
              </a:cxn>
              <a:cxn ang="0">
                <a:pos x="connsiteX3061" y="connsiteY3061"/>
              </a:cxn>
              <a:cxn ang="0">
                <a:pos x="connsiteX3062" y="connsiteY3062"/>
              </a:cxn>
              <a:cxn ang="0">
                <a:pos x="connsiteX3063" y="connsiteY3063"/>
              </a:cxn>
              <a:cxn ang="0">
                <a:pos x="connsiteX3064" y="connsiteY3064"/>
              </a:cxn>
              <a:cxn ang="0">
                <a:pos x="connsiteX3065" y="connsiteY3065"/>
              </a:cxn>
              <a:cxn ang="0">
                <a:pos x="connsiteX3066" y="connsiteY3066"/>
              </a:cxn>
              <a:cxn ang="0">
                <a:pos x="connsiteX3067" y="connsiteY3067"/>
              </a:cxn>
              <a:cxn ang="0">
                <a:pos x="connsiteX3068" y="connsiteY3068"/>
              </a:cxn>
              <a:cxn ang="0">
                <a:pos x="connsiteX3069" y="connsiteY3069"/>
              </a:cxn>
              <a:cxn ang="0">
                <a:pos x="connsiteX3070" y="connsiteY3070"/>
              </a:cxn>
              <a:cxn ang="0">
                <a:pos x="connsiteX3071" y="connsiteY3071"/>
              </a:cxn>
              <a:cxn ang="0">
                <a:pos x="connsiteX3072" y="connsiteY3072"/>
              </a:cxn>
              <a:cxn ang="0">
                <a:pos x="connsiteX3073" y="connsiteY3073"/>
              </a:cxn>
              <a:cxn ang="0">
                <a:pos x="connsiteX3074" y="connsiteY3074"/>
              </a:cxn>
              <a:cxn ang="0">
                <a:pos x="connsiteX3075" y="connsiteY3075"/>
              </a:cxn>
              <a:cxn ang="0">
                <a:pos x="connsiteX3076" y="connsiteY3076"/>
              </a:cxn>
              <a:cxn ang="0">
                <a:pos x="connsiteX3077" y="connsiteY3077"/>
              </a:cxn>
              <a:cxn ang="0">
                <a:pos x="connsiteX3078" y="connsiteY3078"/>
              </a:cxn>
              <a:cxn ang="0">
                <a:pos x="connsiteX3079" y="connsiteY3079"/>
              </a:cxn>
              <a:cxn ang="0">
                <a:pos x="connsiteX3080" y="connsiteY3080"/>
              </a:cxn>
              <a:cxn ang="0">
                <a:pos x="connsiteX3081" y="connsiteY3081"/>
              </a:cxn>
              <a:cxn ang="0">
                <a:pos x="connsiteX3082" y="connsiteY3082"/>
              </a:cxn>
              <a:cxn ang="0">
                <a:pos x="connsiteX3083" y="connsiteY3083"/>
              </a:cxn>
              <a:cxn ang="0">
                <a:pos x="connsiteX3084" y="connsiteY3084"/>
              </a:cxn>
              <a:cxn ang="0">
                <a:pos x="connsiteX3085" y="connsiteY3085"/>
              </a:cxn>
              <a:cxn ang="0">
                <a:pos x="connsiteX3086" y="connsiteY3086"/>
              </a:cxn>
              <a:cxn ang="0">
                <a:pos x="connsiteX3087" y="connsiteY3087"/>
              </a:cxn>
              <a:cxn ang="0">
                <a:pos x="connsiteX3088" y="connsiteY3088"/>
              </a:cxn>
              <a:cxn ang="0">
                <a:pos x="connsiteX3089" y="connsiteY3089"/>
              </a:cxn>
              <a:cxn ang="0">
                <a:pos x="connsiteX3090" y="connsiteY3090"/>
              </a:cxn>
              <a:cxn ang="0">
                <a:pos x="connsiteX3091" y="connsiteY3091"/>
              </a:cxn>
              <a:cxn ang="0">
                <a:pos x="connsiteX3092" y="connsiteY3092"/>
              </a:cxn>
              <a:cxn ang="0">
                <a:pos x="connsiteX3093" y="connsiteY3093"/>
              </a:cxn>
              <a:cxn ang="0">
                <a:pos x="connsiteX3094" y="connsiteY3094"/>
              </a:cxn>
              <a:cxn ang="0">
                <a:pos x="connsiteX3095" y="connsiteY3095"/>
              </a:cxn>
              <a:cxn ang="0">
                <a:pos x="connsiteX3096" y="connsiteY3096"/>
              </a:cxn>
              <a:cxn ang="0">
                <a:pos x="connsiteX3097" y="connsiteY3097"/>
              </a:cxn>
              <a:cxn ang="0">
                <a:pos x="connsiteX3098" y="connsiteY3098"/>
              </a:cxn>
              <a:cxn ang="0">
                <a:pos x="connsiteX3099" y="connsiteY3099"/>
              </a:cxn>
              <a:cxn ang="0">
                <a:pos x="connsiteX3100" y="connsiteY3100"/>
              </a:cxn>
              <a:cxn ang="0">
                <a:pos x="connsiteX3101" y="connsiteY3101"/>
              </a:cxn>
              <a:cxn ang="0">
                <a:pos x="connsiteX3102" y="connsiteY3102"/>
              </a:cxn>
              <a:cxn ang="0">
                <a:pos x="connsiteX3103" y="connsiteY3103"/>
              </a:cxn>
              <a:cxn ang="0">
                <a:pos x="connsiteX3104" y="connsiteY3104"/>
              </a:cxn>
              <a:cxn ang="0">
                <a:pos x="connsiteX3105" y="connsiteY3105"/>
              </a:cxn>
              <a:cxn ang="0">
                <a:pos x="connsiteX3106" y="connsiteY3106"/>
              </a:cxn>
              <a:cxn ang="0">
                <a:pos x="connsiteX3107" y="connsiteY3107"/>
              </a:cxn>
              <a:cxn ang="0">
                <a:pos x="connsiteX3108" y="connsiteY3108"/>
              </a:cxn>
              <a:cxn ang="0">
                <a:pos x="connsiteX3109" y="connsiteY3109"/>
              </a:cxn>
              <a:cxn ang="0">
                <a:pos x="connsiteX3110" y="connsiteY3110"/>
              </a:cxn>
              <a:cxn ang="0">
                <a:pos x="connsiteX3111" y="connsiteY3111"/>
              </a:cxn>
              <a:cxn ang="0">
                <a:pos x="connsiteX3112" y="connsiteY3112"/>
              </a:cxn>
              <a:cxn ang="0">
                <a:pos x="connsiteX3113" y="connsiteY3113"/>
              </a:cxn>
              <a:cxn ang="0">
                <a:pos x="connsiteX3114" y="connsiteY3114"/>
              </a:cxn>
              <a:cxn ang="0">
                <a:pos x="connsiteX3115" y="connsiteY3115"/>
              </a:cxn>
              <a:cxn ang="0">
                <a:pos x="connsiteX3116" y="connsiteY3116"/>
              </a:cxn>
              <a:cxn ang="0">
                <a:pos x="connsiteX3117" y="connsiteY3117"/>
              </a:cxn>
              <a:cxn ang="0">
                <a:pos x="connsiteX3118" y="connsiteY3118"/>
              </a:cxn>
              <a:cxn ang="0">
                <a:pos x="connsiteX3119" y="connsiteY3119"/>
              </a:cxn>
              <a:cxn ang="0">
                <a:pos x="connsiteX3120" y="connsiteY3120"/>
              </a:cxn>
              <a:cxn ang="0">
                <a:pos x="connsiteX3121" y="connsiteY3121"/>
              </a:cxn>
              <a:cxn ang="0">
                <a:pos x="connsiteX3122" y="connsiteY3122"/>
              </a:cxn>
              <a:cxn ang="0">
                <a:pos x="connsiteX3123" y="connsiteY3123"/>
              </a:cxn>
              <a:cxn ang="0">
                <a:pos x="connsiteX3124" y="connsiteY3124"/>
              </a:cxn>
              <a:cxn ang="0">
                <a:pos x="connsiteX3125" y="connsiteY3125"/>
              </a:cxn>
              <a:cxn ang="0">
                <a:pos x="connsiteX3126" y="connsiteY3126"/>
              </a:cxn>
              <a:cxn ang="0">
                <a:pos x="connsiteX3127" y="connsiteY3127"/>
              </a:cxn>
              <a:cxn ang="0">
                <a:pos x="connsiteX3128" y="connsiteY3128"/>
              </a:cxn>
              <a:cxn ang="0">
                <a:pos x="connsiteX3129" y="connsiteY3129"/>
              </a:cxn>
              <a:cxn ang="0">
                <a:pos x="connsiteX3130" y="connsiteY3130"/>
              </a:cxn>
              <a:cxn ang="0">
                <a:pos x="connsiteX3131" y="connsiteY3131"/>
              </a:cxn>
              <a:cxn ang="0">
                <a:pos x="connsiteX3132" y="connsiteY3132"/>
              </a:cxn>
              <a:cxn ang="0">
                <a:pos x="connsiteX3133" y="connsiteY3133"/>
              </a:cxn>
              <a:cxn ang="0">
                <a:pos x="connsiteX3134" y="connsiteY3134"/>
              </a:cxn>
              <a:cxn ang="0">
                <a:pos x="connsiteX3135" y="connsiteY3135"/>
              </a:cxn>
              <a:cxn ang="0">
                <a:pos x="connsiteX3136" y="connsiteY3136"/>
              </a:cxn>
              <a:cxn ang="0">
                <a:pos x="connsiteX3137" y="connsiteY3137"/>
              </a:cxn>
              <a:cxn ang="0">
                <a:pos x="connsiteX3138" y="connsiteY3138"/>
              </a:cxn>
              <a:cxn ang="0">
                <a:pos x="connsiteX3139" y="connsiteY3139"/>
              </a:cxn>
              <a:cxn ang="0">
                <a:pos x="connsiteX3140" y="connsiteY3140"/>
              </a:cxn>
              <a:cxn ang="0">
                <a:pos x="connsiteX3141" y="connsiteY3141"/>
              </a:cxn>
              <a:cxn ang="0">
                <a:pos x="connsiteX3142" y="connsiteY3142"/>
              </a:cxn>
              <a:cxn ang="0">
                <a:pos x="connsiteX3143" y="connsiteY3143"/>
              </a:cxn>
              <a:cxn ang="0">
                <a:pos x="connsiteX3144" y="connsiteY3144"/>
              </a:cxn>
              <a:cxn ang="0">
                <a:pos x="connsiteX3145" y="connsiteY3145"/>
              </a:cxn>
              <a:cxn ang="0">
                <a:pos x="connsiteX3146" y="connsiteY3146"/>
              </a:cxn>
              <a:cxn ang="0">
                <a:pos x="connsiteX3147" y="connsiteY3147"/>
              </a:cxn>
              <a:cxn ang="0">
                <a:pos x="connsiteX3148" y="connsiteY3148"/>
              </a:cxn>
              <a:cxn ang="0">
                <a:pos x="connsiteX3149" y="connsiteY3149"/>
              </a:cxn>
              <a:cxn ang="0">
                <a:pos x="connsiteX3150" y="connsiteY3150"/>
              </a:cxn>
              <a:cxn ang="0">
                <a:pos x="connsiteX3151" y="connsiteY3151"/>
              </a:cxn>
              <a:cxn ang="0">
                <a:pos x="connsiteX3152" y="connsiteY3152"/>
              </a:cxn>
              <a:cxn ang="0">
                <a:pos x="connsiteX3153" y="connsiteY3153"/>
              </a:cxn>
              <a:cxn ang="0">
                <a:pos x="connsiteX3154" y="connsiteY3154"/>
              </a:cxn>
              <a:cxn ang="0">
                <a:pos x="connsiteX3155" y="connsiteY3155"/>
              </a:cxn>
              <a:cxn ang="0">
                <a:pos x="connsiteX3156" y="connsiteY3156"/>
              </a:cxn>
              <a:cxn ang="0">
                <a:pos x="connsiteX3157" y="connsiteY3157"/>
              </a:cxn>
              <a:cxn ang="0">
                <a:pos x="connsiteX3158" y="connsiteY3158"/>
              </a:cxn>
              <a:cxn ang="0">
                <a:pos x="connsiteX3159" y="connsiteY3159"/>
              </a:cxn>
              <a:cxn ang="0">
                <a:pos x="connsiteX3160" y="connsiteY3160"/>
              </a:cxn>
              <a:cxn ang="0">
                <a:pos x="connsiteX3161" y="connsiteY3161"/>
              </a:cxn>
              <a:cxn ang="0">
                <a:pos x="connsiteX3162" y="connsiteY3162"/>
              </a:cxn>
              <a:cxn ang="0">
                <a:pos x="connsiteX3163" y="connsiteY3163"/>
              </a:cxn>
              <a:cxn ang="0">
                <a:pos x="connsiteX3164" y="connsiteY3164"/>
              </a:cxn>
              <a:cxn ang="0">
                <a:pos x="connsiteX3165" y="connsiteY3165"/>
              </a:cxn>
              <a:cxn ang="0">
                <a:pos x="connsiteX3166" y="connsiteY3166"/>
              </a:cxn>
              <a:cxn ang="0">
                <a:pos x="connsiteX3167" y="connsiteY3167"/>
              </a:cxn>
              <a:cxn ang="0">
                <a:pos x="connsiteX3168" y="connsiteY3168"/>
              </a:cxn>
              <a:cxn ang="0">
                <a:pos x="connsiteX3169" y="connsiteY3169"/>
              </a:cxn>
              <a:cxn ang="0">
                <a:pos x="connsiteX3170" y="connsiteY3170"/>
              </a:cxn>
              <a:cxn ang="0">
                <a:pos x="connsiteX3171" y="connsiteY3171"/>
              </a:cxn>
              <a:cxn ang="0">
                <a:pos x="connsiteX3172" y="connsiteY3172"/>
              </a:cxn>
              <a:cxn ang="0">
                <a:pos x="connsiteX3173" y="connsiteY3173"/>
              </a:cxn>
              <a:cxn ang="0">
                <a:pos x="connsiteX3174" y="connsiteY3174"/>
              </a:cxn>
              <a:cxn ang="0">
                <a:pos x="connsiteX3175" y="connsiteY3175"/>
              </a:cxn>
              <a:cxn ang="0">
                <a:pos x="connsiteX3176" y="connsiteY3176"/>
              </a:cxn>
              <a:cxn ang="0">
                <a:pos x="connsiteX3177" y="connsiteY3177"/>
              </a:cxn>
              <a:cxn ang="0">
                <a:pos x="connsiteX3178" y="connsiteY3178"/>
              </a:cxn>
              <a:cxn ang="0">
                <a:pos x="connsiteX3179" y="connsiteY3179"/>
              </a:cxn>
              <a:cxn ang="0">
                <a:pos x="connsiteX3180" y="connsiteY3180"/>
              </a:cxn>
              <a:cxn ang="0">
                <a:pos x="connsiteX3181" y="connsiteY3181"/>
              </a:cxn>
              <a:cxn ang="0">
                <a:pos x="connsiteX3182" y="connsiteY3182"/>
              </a:cxn>
              <a:cxn ang="0">
                <a:pos x="connsiteX3183" y="connsiteY3183"/>
              </a:cxn>
              <a:cxn ang="0">
                <a:pos x="connsiteX3184" y="connsiteY3184"/>
              </a:cxn>
              <a:cxn ang="0">
                <a:pos x="connsiteX3185" y="connsiteY3185"/>
              </a:cxn>
              <a:cxn ang="0">
                <a:pos x="connsiteX3186" y="connsiteY3186"/>
              </a:cxn>
              <a:cxn ang="0">
                <a:pos x="connsiteX3187" y="connsiteY3187"/>
              </a:cxn>
              <a:cxn ang="0">
                <a:pos x="connsiteX3188" y="connsiteY3188"/>
              </a:cxn>
              <a:cxn ang="0">
                <a:pos x="connsiteX3189" y="connsiteY3189"/>
              </a:cxn>
              <a:cxn ang="0">
                <a:pos x="connsiteX3190" y="connsiteY3190"/>
              </a:cxn>
              <a:cxn ang="0">
                <a:pos x="connsiteX3191" y="connsiteY3191"/>
              </a:cxn>
              <a:cxn ang="0">
                <a:pos x="connsiteX3192" y="connsiteY3192"/>
              </a:cxn>
              <a:cxn ang="0">
                <a:pos x="connsiteX3193" y="connsiteY3193"/>
              </a:cxn>
              <a:cxn ang="0">
                <a:pos x="connsiteX3194" y="connsiteY3194"/>
              </a:cxn>
              <a:cxn ang="0">
                <a:pos x="connsiteX3195" y="connsiteY3195"/>
              </a:cxn>
              <a:cxn ang="0">
                <a:pos x="connsiteX3196" y="connsiteY3196"/>
              </a:cxn>
              <a:cxn ang="0">
                <a:pos x="connsiteX3197" y="connsiteY3197"/>
              </a:cxn>
              <a:cxn ang="0">
                <a:pos x="connsiteX3198" y="connsiteY3198"/>
              </a:cxn>
              <a:cxn ang="0">
                <a:pos x="connsiteX3199" y="connsiteY3199"/>
              </a:cxn>
              <a:cxn ang="0">
                <a:pos x="connsiteX3200" y="connsiteY3200"/>
              </a:cxn>
              <a:cxn ang="0">
                <a:pos x="connsiteX3201" y="connsiteY3201"/>
              </a:cxn>
              <a:cxn ang="0">
                <a:pos x="connsiteX3202" y="connsiteY3202"/>
              </a:cxn>
              <a:cxn ang="0">
                <a:pos x="connsiteX3203" y="connsiteY3203"/>
              </a:cxn>
              <a:cxn ang="0">
                <a:pos x="connsiteX3204" y="connsiteY3204"/>
              </a:cxn>
              <a:cxn ang="0">
                <a:pos x="connsiteX3205" y="connsiteY3205"/>
              </a:cxn>
              <a:cxn ang="0">
                <a:pos x="connsiteX3206" y="connsiteY3206"/>
              </a:cxn>
              <a:cxn ang="0">
                <a:pos x="connsiteX3207" y="connsiteY3207"/>
              </a:cxn>
              <a:cxn ang="0">
                <a:pos x="connsiteX3208" y="connsiteY3208"/>
              </a:cxn>
              <a:cxn ang="0">
                <a:pos x="connsiteX3209" y="connsiteY3209"/>
              </a:cxn>
              <a:cxn ang="0">
                <a:pos x="connsiteX3210" y="connsiteY3210"/>
              </a:cxn>
              <a:cxn ang="0">
                <a:pos x="connsiteX3211" y="connsiteY3211"/>
              </a:cxn>
              <a:cxn ang="0">
                <a:pos x="connsiteX3212" y="connsiteY3212"/>
              </a:cxn>
              <a:cxn ang="0">
                <a:pos x="connsiteX3213" y="connsiteY3213"/>
              </a:cxn>
              <a:cxn ang="0">
                <a:pos x="connsiteX3214" y="connsiteY3214"/>
              </a:cxn>
              <a:cxn ang="0">
                <a:pos x="connsiteX3215" y="connsiteY3215"/>
              </a:cxn>
              <a:cxn ang="0">
                <a:pos x="connsiteX3216" y="connsiteY3216"/>
              </a:cxn>
              <a:cxn ang="0">
                <a:pos x="connsiteX3217" y="connsiteY3217"/>
              </a:cxn>
              <a:cxn ang="0">
                <a:pos x="connsiteX3218" y="connsiteY3218"/>
              </a:cxn>
              <a:cxn ang="0">
                <a:pos x="connsiteX3219" y="connsiteY3219"/>
              </a:cxn>
              <a:cxn ang="0">
                <a:pos x="connsiteX3220" y="connsiteY3220"/>
              </a:cxn>
              <a:cxn ang="0">
                <a:pos x="connsiteX3221" y="connsiteY3221"/>
              </a:cxn>
              <a:cxn ang="0">
                <a:pos x="connsiteX3222" y="connsiteY3222"/>
              </a:cxn>
              <a:cxn ang="0">
                <a:pos x="connsiteX3223" y="connsiteY3223"/>
              </a:cxn>
              <a:cxn ang="0">
                <a:pos x="connsiteX3224" y="connsiteY3224"/>
              </a:cxn>
              <a:cxn ang="0">
                <a:pos x="connsiteX3225" y="connsiteY3225"/>
              </a:cxn>
              <a:cxn ang="0">
                <a:pos x="connsiteX3226" y="connsiteY3226"/>
              </a:cxn>
              <a:cxn ang="0">
                <a:pos x="connsiteX3227" y="connsiteY3227"/>
              </a:cxn>
              <a:cxn ang="0">
                <a:pos x="connsiteX3228" y="connsiteY3228"/>
              </a:cxn>
              <a:cxn ang="0">
                <a:pos x="connsiteX3229" y="connsiteY3229"/>
              </a:cxn>
              <a:cxn ang="0">
                <a:pos x="connsiteX3230" y="connsiteY3230"/>
              </a:cxn>
              <a:cxn ang="0">
                <a:pos x="connsiteX3231" y="connsiteY3231"/>
              </a:cxn>
              <a:cxn ang="0">
                <a:pos x="connsiteX3232" y="connsiteY3232"/>
              </a:cxn>
              <a:cxn ang="0">
                <a:pos x="connsiteX3233" y="connsiteY3233"/>
              </a:cxn>
              <a:cxn ang="0">
                <a:pos x="connsiteX3234" y="connsiteY3234"/>
              </a:cxn>
              <a:cxn ang="0">
                <a:pos x="connsiteX3235" y="connsiteY3235"/>
              </a:cxn>
              <a:cxn ang="0">
                <a:pos x="connsiteX3236" y="connsiteY3236"/>
              </a:cxn>
              <a:cxn ang="0">
                <a:pos x="connsiteX3237" y="connsiteY3237"/>
              </a:cxn>
              <a:cxn ang="0">
                <a:pos x="connsiteX3238" y="connsiteY3238"/>
              </a:cxn>
              <a:cxn ang="0">
                <a:pos x="connsiteX3239" y="connsiteY3239"/>
              </a:cxn>
              <a:cxn ang="0">
                <a:pos x="connsiteX3240" y="connsiteY3240"/>
              </a:cxn>
              <a:cxn ang="0">
                <a:pos x="connsiteX3241" y="connsiteY3241"/>
              </a:cxn>
              <a:cxn ang="0">
                <a:pos x="connsiteX3242" y="connsiteY3242"/>
              </a:cxn>
              <a:cxn ang="0">
                <a:pos x="connsiteX3243" y="connsiteY3243"/>
              </a:cxn>
              <a:cxn ang="0">
                <a:pos x="connsiteX3244" y="connsiteY3244"/>
              </a:cxn>
              <a:cxn ang="0">
                <a:pos x="connsiteX3245" y="connsiteY3245"/>
              </a:cxn>
              <a:cxn ang="0">
                <a:pos x="connsiteX3246" y="connsiteY3246"/>
              </a:cxn>
              <a:cxn ang="0">
                <a:pos x="connsiteX3247" y="connsiteY3247"/>
              </a:cxn>
              <a:cxn ang="0">
                <a:pos x="connsiteX3248" y="connsiteY3248"/>
              </a:cxn>
              <a:cxn ang="0">
                <a:pos x="connsiteX3249" y="connsiteY3249"/>
              </a:cxn>
              <a:cxn ang="0">
                <a:pos x="connsiteX3250" y="connsiteY3250"/>
              </a:cxn>
              <a:cxn ang="0">
                <a:pos x="connsiteX3251" y="connsiteY3251"/>
              </a:cxn>
              <a:cxn ang="0">
                <a:pos x="connsiteX3252" y="connsiteY3252"/>
              </a:cxn>
              <a:cxn ang="0">
                <a:pos x="connsiteX3253" y="connsiteY3253"/>
              </a:cxn>
              <a:cxn ang="0">
                <a:pos x="connsiteX3254" y="connsiteY3254"/>
              </a:cxn>
              <a:cxn ang="0">
                <a:pos x="connsiteX3255" y="connsiteY3255"/>
              </a:cxn>
              <a:cxn ang="0">
                <a:pos x="connsiteX3256" y="connsiteY3256"/>
              </a:cxn>
              <a:cxn ang="0">
                <a:pos x="connsiteX3257" y="connsiteY3257"/>
              </a:cxn>
              <a:cxn ang="0">
                <a:pos x="connsiteX3258" y="connsiteY3258"/>
              </a:cxn>
              <a:cxn ang="0">
                <a:pos x="connsiteX3259" y="connsiteY3259"/>
              </a:cxn>
              <a:cxn ang="0">
                <a:pos x="connsiteX3260" y="connsiteY3260"/>
              </a:cxn>
              <a:cxn ang="0">
                <a:pos x="connsiteX3261" y="connsiteY3261"/>
              </a:cxn>
              <a:cxn ang="0">
                <a:pos x="connsiteX3262" y="connsiteY3262"/>
              </a:cxn>
              <a:cxn ang="0">
                <a:pos x="connsiteX3263" y="connsiteY3263"/>
              </a:cxn>
              <a:cxn ang="0">
                <a:pos x="connsiteX3264" y="connsiteY3264"/>
              </a:cxn>
              <a:cxn ang="0">
                <a:pos x="connsiteX3265" y="connsiteY3265"/>
              </a:cxn>
              <a:cxn ang="0">
                <a:pos x="connsiteX3266" y="connsiteY3266"/>
              </a:cxn>
              <a:cxn ang="0">
                <a:pos x="connsiteX3267" y="connsiteY3267"/>
              </a:cxn>
              <a:cxn ang="0">
                <a:pos x="connsiteX3268" y="connsiteY3268"/>
              </a:cxn>
              <a:cxn ang="0">
                <a:pos x="connsiteX3269" y="connsiteY3269"/>
              </a:cxn>
              <a:cxn ang="0">
                <a:pos x="connsiteX3270" y="connsiteY3270"/>
              </a:cxn>
              <a:cxn ang="0">
                <a:pos x="connsiteX3271" y="connsiteY3271"/>
              </a:cxn>
              <a:cxn ang="0">
                <a:pos x="connsiteX3272" y="connsiteY3272"/>
              </a:cxn>
              <a:cxn ang="0">
                <a:pos x="connsiteX3273" y="connsiteY3273"/>
              </a:cxn>
              <a:cxn ang="0">
                <a:pos x="connsiteX3274" y="connsiteY3274"/>
              </a:cxn>
              <a:cxn ang="0">
                <a:pos x="connsiteX3275" y="connsiteY3275"/>
              </a:cxn>
              <a:cxn ang="0">
                <a:pos x="connsiteX3276" y="connsiteY3276"/>
              </a:cxn>
              <a:cxn ang="0">
                <a:pos x="connsiteX3277" y="connsiteY3277"/>
              </a:cxn>
              <a:cxn ang="0">
                <a:pos x="connsiteX3278" y="connsiteY3278"/>
              </a:cxn>
              <a:cxn ang="0">
                <a:pos x="connsiteX3279" y="connsiteY3279"/>
              </a:cxn>
              <a:cxn ang="0">
                <a:pos x="connsiteX3280" y="connsiteY3280"/>
              </a:cxn>
              <a:cxn ang="0">
                <a:pos x="connsiteX3281" y="connsiteY3281"/>
              </a:cxn>
              <a:cxn ang="0">
                <a:pos x="connsiteX3282" y="connsiteY3282"/>
              </a:cxn>
              <a:cxn ang="0">
                <a:pos x="connsiteX3283" y="connsiteY3283"/>
              </a:cxn>
              <a:cxn ang="0">
                <a:pos x="connsiteX3284" y="connsiteY3284"/>
              </a:cxn>
              <a:cxn ang="0">
                <a:pos x="connsiteX3285" y="connsiteY3285"/>
              </a:cxn>
              <a:cxn ang="0">
                <a:pos x="connsiteX3286" y="connsiteY3286"/>
              </a:cxn>
              <a:cxn ang="0">
                <a:pos x="connsiteX3287" y="connsiteY3287"/>
              </a:cxn>
              <a:cxn ang="0">
                <a:pos x="connsiteX3288" y="connsiteY3288"/>
              </a:cxn>
              <a:cxn ang="0">
                <a:pos x="connsiteX3289" y="connsiteY3289"/>
              </a:cxn>
              <a:cxn ang="0">
                <a:pos x="connsiteX3290" y="connsiteY3290"/>
              </a:cxn>
              <a:cxn ang="0">
                <a:pos x="connsiteX3291" y="connsiteY3291"/>
              </a:cxn>
              <a:cxn ang="0">
                <a:pos x="connsiteX3292" y="connsiteY3292"/>
              </a:cxn>
              <a:cxn ang="0">
                <a:pos x="connsiteX3293" y="connsiteY3293"/>
              </a:cxn>
              <a:cxn ang="0">
                <a:pos x="connsiteX3294" y="connsiteY3294"/>
              </a:cxn>
              <a:cxn ang="0">
                <a:pos x="connsiteX3295" y="connsiteY3295"/>
              </a:cxn>
              <a:cxn ang="0">
                <a:pos x="connsiteX3296" y="connsiteY3296"/>
              </a:cxn>
              <a:cxn ang="0">
                <a:pos x="connsiteX3297" y="connsiteY3297"/>
              </a:cxn>
              <a:cxn ang="0">
                <a:pos x="connsiteX3298" y="connsiteY3298"/>
              </a:cxn>
              <a:cxn ang="0">
                <a:pos x="connsiteX3299" y="connsiteY3299"/>
              </a:cxn>
              <a:cxn ang="0">
                <a:pos x="connsiteX3300" y="connsiteY3300"/>
              </a:cxn>
              <a:cxn ang="0">
                <a:pos x="connsiteX3301" y="connsiteY3301"/>
              </a:cxn>
              <a:cxn ang="0">
                <a:pos x="connsiteX3302" y="connsiteY3302"/>
              </a:cxn>
              <a:cxn ang="0">
                <a:pos x="connsiteX3303" y="connsiteY3303"/>
              </a:cxn>
              <a:cxn ang="0">
                <a:pos x="connsiteX3304" y="connsiteY3304"/>
              </a:cxn>
              <a:cxn ang="0">
                <a:pos x="connsiteX3305" y="connsiteY3305"/>
              </a:cxn>
              <a:cxn ang="0">
                <a:pos x="connsiteX3306" y="connsiteY3306"/>
              </a:cxn>
              <a:cxn ang="0">
                <a:pos x="connsiteX3307" y="connsiteY3307"/>
              </a:cxn>
              <a:cxn ang="0">
                <a:pos x="connsiteX3308" y="connsiteY3308"/>
              </a:cxn>
              <a:cxn ang="0">
                <a:pos x="connsiteX3309" y="connsiteY3309"/>
              </a:cxn>
              <a:cxn ang="0">
                <a:pos x="connsiteX3310" y="connsiteY3310"/>
              </a:cxn>
              <a:cxn ang="0">
                <a:pos x="connsiteX3311" y="connsiteY3311"/>
              </a:cxn>
              <a:cxn ang="0">
                <a:pos x="connsiteX3312" y="connsiteY3312"/>
              </a:cxn>
              <a:cxn ang="0">
                <a:pos x="connsiteX3313" y="connsiteY3313"/>
              </a:cxn>
              <a:cxn ang="0">
                <a:pos x="connsiteX3314" y="connsiteY3314"/>
              </a:cxn>
              <a:cxn ang="0">
                <a:pos x="connsiteX3315" y="connsiteY3315"/>
              </a:cxn>
              <a:cxn ang="0">
                <a:pos x="connsiteX3316" y="connsiteY3316"/>
              </a:cxn>
              <a:cxn ang="0">
                <a:pos x="connsiteX3317" y="connsiteY3317"/>
              </a:cxn>
              <a:cxn ang="0">
                <a:pos x="connsiteX3318" y="connsiteY3318"/>
              </a:cxn>
              <a:cxn ang="0">
                <a:pos x="connsiteX3319" y="connsiteY3319"/>
              </a:cxn>
              <a:cxn ang="0">
                <a:pos x="connsiteX3320" y="connsiteY3320"/>
              </a:cxn>
              <a:cxn ang="0">
                <a:pos x="connsiteX3321" y="connsiteY3321"/>
              </a:cxn>
              <a:cxn ang="0">
                <a:pos x="connsiteX3322" y="connsiteY3322"/>
              </a:cxn>
              <a:cxn ang="0">
                <a:pos x="connsiteX3323" y="connsiteY3323"/>
              </a:cxn>
              <a:cxn ang="0">
                <a:pos x="connsiteX3324" y="connsiteY3324"/>
              </a:cxn>
              <a:cxn ang="0">
                <a:pos x="connsiteX3325" y="connsiteY3325"/>
              </a:cxn>
              <a:cxn ang="0">
                <a:pos x="connsiteX3326" y="connsiteY3326"/>
              </a:cxn>
              <a:cxn ang="0">
                <a:pos x="connsiteX3327" y="connsiteY3327"/>
              </a:cxn>
              <a:cxn ang="0">
                <a:pos x="connsiteX3328" y="connsiteY3328"/>
              </a:cxn>
              <a:cxn ang="0">
                <a:pos x="connsiteX3329" y="connsiteY3329"/>
              </a:cxn>
              <a:cxn ang="0">
                <a:pos x="connsiteX3330" y="connsiteY3330"/>
              </a:cxn>
              <a:cxn ang="0">
                <a:pos x="connsiteX3331" y="connsiteY3331"/>
              </a:cxn>
              <a:cxn ang="0">
                <a:pos x="connsiteX3332" y="connsiteY3332"/>
              </a:cxn>
              <a:cxn ang="0">
                <a:pos x="connsiteX3333" y="connsiteY3333"/>
              </a:cxn>
              <a:cxn ang="0">
                <a:pos x="connsiteX3334" y="connsiteY3334"/>
              </a:cxn>
              <a:cxn ang="0">
                <a:pos x="connsiteX3335" y="connsiteY3335"/>
              </a:cxn>
              <a:cxn ang="0">
                <a:pos x="connsiteX3336" y="connsiteY3336"/>
              </a:cxn>
              <a:cxn ang="0">
                <a:pos x="connsiteX3337" y="connsiteY3337"/>
              </a:cxn>
              <a:cxn ang="0">
                <a:pos x="connsiteX3338" y="connsiteY3338"/>
              </a:cxn>
              <a:cxn ang="0">
                <a:pos x="connsiteX3339" y="connsiteY3339"/>
              </a:cxn>
              <a:cxn ang="0">
                <a:pos x="connsiteX3340" y="connsiteY3340"/>
              </a:cxn>
              <a:cxn ang="0">
                <a:pos x="connsiteX3341" y="connsiteY3341"/>
              </a:cxn>
              <a:cxn ang="0">
                <a:pos x="connsiteX3342" y="connsiteY3342"/>
              </a:cxn>
              <a:cxn ang="0">
                <a:pos x="connsiteX3343" y="connsiteY3343"/>
              </a:cxn>
              <a:cxn ang="0">
                <a:pos x="connsiteX3344" y="connsiteY3344"/>
              </a:cxn>
              <a:cxn ang="0">
                <a:pos x="connsiteX3345" y="connsiteY3345"/>
              </a:cxn>
              <a:cxn ang="0">
                <a:pos x="connsiteX3346" y="connsiteY3346"/>
              </a:cxn>
              <a:cxn ang="0">
                <a:pos x="connsiteX3347" y="connsiteY3347"/>
              </a:cxn>
              <a:cxn ang="0">
                <a:pos x="connsiteX3348" y="connsiteY3348"/>
              </a:cxn>
              <a:cxn ang="0">
                <a:pos x="connsiteX3349" y="connsiteY3349"/>
              </a:cxn>
              <a:cxn ang="0">
                <a:pos x="connsiteX3350" y="connsiteY3350"/>
              </a:cxn>
              <a:cxn ang="0">
                <a:pos x="connsiteX3351" y="connsiteY3351"/>
              </a:cxn>
              <a:cxn ang="0">
                <a:pos x="connsiteX3352" y="connsiteY3352"/>
              </a:cxn>
              <a:cxn ang="0">
                <a:pos x="connsiteX3353" y="connsiteY3353"/>
              </a:cxn>
              <a:cxn ang="0">
                <a:pos x="connsiteX3354" y="connsiteY3354"/>
              </a:cxn>
              <a:cxn ang="0">
                <a:pos x="connsiteX3355" y="connsiteY3355"/>
              </a:cxn>
              <a:cxn ang="0">
                <a:pos x="connsiteX3356" y="connsiteY3356"/>
              </a:cxn>
              <a:cxn ang="0">
                <a:pos x="connsiteX3357" y="connsiteY3357"/>
              </a:cxn>
              <a:cxn ang="0">
                <a:pos x="connsiteX3358" y="connsiteY3358"/>
              </a:cxn>
              <a:cxn ang="0">
                <a:pos x="connsiteX3359" y="connsiteY3359"/>
              </a:cxn>
              <a:cxn ang="0">
                <a:pos x="connsiteX3360" y="connsiteY3360"/>
              </a:cxn>
              <a:cxn ang="0">
                <a:pos x="connsiteX3361" y="connsiteY3361"/>
              </a:cxn>
              <a:cxn ang="0">
                <a:pos x="connsiteX3362" y="connsiteY3362"/>
              </a:cxn>
              <a:cxn ang="0">
                <a:pos x="connsiteX3363" y="connsiteY3363"/>
              </a:cxn>
              <a:cxn ang="0">
                <a:pos x="connsiteX3364" y="connsiteY3364"/>
              </a:cxn>
              <a:cxn ang="0">
                <a:pos x="connsiteX3365" y="connsiteY3365"/>
              </a:cxn>
              <a:cxn ang="0">
                <a:pos x="connsiteX3366" y="connsiteY3366"/>
              </a:cxn>
              <a:cxn ang="0">
                <a:pos x="connsiteX3367" y="connsiteY3367"/>
              </a:cxn>
              <a:cxn ang="0">
                <a:pos x="connsiteX3368" y="connsiteY3368"/>
              </a:cxn>
              <a:cxn ang="0">
                <a:pos x="connsiteX3369" y="connsiteY3369"/>
              </a:cxn>
              <a:cxn ang="0">
                <a:pos x="connsiteX3370" y="connsiteY3370"/>
              </a:cxn>
              <a:cxn ang="0">
                <a:pos x="connsiteX3371" y="connsiteY3371"/>
              </a:cxn>
              <a:cxn ang="0">
                <a:pos x="connsiteX3372" y="connsiteY3372"/>
              </a:cxn>
              <a:cxn ang="0">
                <a:pos x="connsiteX3373" y="connsiteY3373"/>
              </a:cxn>
              <a:cxn ang="0">
                <a:pos x="connsiteX3374" y="connsiteY3374"/>
              </a:cxn>
              <a:cxn ang="0">
                <a:pos x="connsiteX3375" y="connsiteY3375"/>
              </a:cxn>
              <a:cxn ang="0">
                <a:pos x="connsiteX3376" y="connsiteY3376"/>
              </a:cxn>
              <a:cxn ang="0">
                <a:pos x="connsiteX3377" y="connsiteY3377"/>
              </a:cxn>
              <a:cxn ang="0">
                <a:pos x="connsiteX3378" y="connsiteY3378"/>
              </a:cxn>
              <a:cxn ang="0">
                <a:pos x="connsiteX3379" y="connsiteY3379"/>
              </a:cxn>
              <a:cxn ang="0">
                <a:pos x="connsiteX3380" y="connsiteY3380"/>
              </a:cxn>
              <a:cxn ang="0">
                <a:pos x="connsiteX3381" y="connsiteY3381"/>
              </a:cxn>
              <a:cxn ang="0">
                <a:pos x="connsiteX3382" y="connsiteY3382"/>
              </a:cxn>
              <a:cxn ang="0">
                <a:pos x="connsiteX3383" y="connsiteY3383"/>
              </a:cxn>
              <a:cxn ang="0">
                <a:pos x="connsiteX3384" y="connsiteY3384"/>
              </a:cxn>
              <a:cxn ang="0">
                <a:pos x="connsiteX3385" y="connsiteY3385"/>
              </a:cxn>
              <a:cxn ang="0">
                <a:pos x="connsiteX3386" y="connsiteY3386"/>
              </a:cxn>
              <a:cxn ang="0">
                <a:pos x="connsiteX3387" y="connsiteY3387"/>
              </a:cxn>
              <a:cxn ang="0">
                <a:pos x="connsiteX3388" y="connsiteY3388"/>
              </a:cxn>
              <a:cxn ang="0">
                <a:pos x="connsiteX3389" y="connsiteY3389"/>
              </a:cxn>
              <a:cxn ang="0">
                <a:pos x="connsiteX3390" y="connsiteY3390"/>
              </a:cxn>
              <a:cxn ang="0">
                <a:pos x="connsiteX3391" y="connsiteY3391"/>
              </a:cxn>
              <a:cxn ang="0">
                <a:pos x="connsiteX3392" y="connsiteY3392"/>
              </a:cxn>
              <a:cxn ang="0">
                <a:pos x="connsiteX3393" y="connsiteY3393"/>
              </a:cxn>
              <a:cxn ang="0">
                <a:pos x="connsiteX3394" y="connsiteY3394"/>
              </a:cxn>
              <a:cxn ang="0">
                <a:pos x="connsiteX3395" y="connsiteY3395"/>
              </a:cxn>
              <a:cxn ang="0">
                <a:pos x="connsiteX3396" y="connsiteY3396"/>
              </a:cxn>
              <a:cxn ang="0">
                <a:pos x="connsiteX3397" y="connsiteY3397"/>
              </a:cxn>
              <a:cxn ang="0">
                <a:pos x="connsiteX3398" y="connsiteY3398"/>
              </a:cxn>
              <a:cxn ang="0">
                <a:pos x="connsiteX3399" y="connsiteY3399"/>
              </a:cxn>
              <a:cxn ang="0">
                <a:pos x="connsiteX3400" y="connsiteY3400"/>
              </a:cxn>
              <a:cxn ang="0">
                <a:pos x="connsiteX3401" y="connsiteY3401"/>
              </a:cxn>
              <a:cxn ang="0">
                <a:pos x="connsiteX3402" y="connsiteY3402"/>
              </a:cxn>
              <a:cxn ang="0">
                <a:pos x="connsiteX3403" y="connsiteY3403"/>
              </a:cxn>
              <a:cxn ang="0">
                <a:pos x="connsiteX3404" y="connsiteY3404"/>
              </a:cxn>
              <a:cxn ang="0">
                <a:pos x="connsiteX3405" y="connsiteY3405"/>
              </a:cxn>
              <a:cxn ang="0">
                <a:pos x="connsiteX3406" y="connsiteY3406"/>
              </a:cxn>
              <a:cxn ang="0">
                <a:pos x="connsiteX3407" y="connsiteY3407"/>
              </a:cxn>
              <a:cxn ang="0">
                <a:pos x="connsiteX3408" y="connsiteY3408"/>
              </a:cxn>
              <a:cxn ang="0">
                <a:pos x="connsiteX3409" y="connsiteY3409"/>
              </a:cxn>
              <a:cxn ang="0">
                <a:pos x="connsiteX3410" y="connsiteY3410"/>
              </a:cxn>
              <a:cxn ang="0">
                <a:pos x="connsiteX3411" y="connsiteY3411"/>
              </a:cxn>
              <a:cxn ang="0">
                <a:pos x="connsiteX3412" y="connsiteY3412"/>
              </a:cxn>
              <a:cxn ang="0">
                <a:pos x="connsiteX3413" y="connsiteY3413"/>
              </a:cxn>
              <a:cxn ang="0">
                <a:pos x="connsiteX3414" y="connsiteY3414"/>
              </a:cxn>
              <a:cxn ang="0">
                <a:pos x="connsiteX3415" y="connsiteY3415"/>
              </a:cxn>
              <a:cxn ang="0">
                <a:pos x="connsiteX3416" y="connsiteY3416"/>
              </a:cxn>
              <a:cxn ang="0">
                <a:pos x="connsiteX3417" y="connsiteY3417"/>
              </a:cxn>
              <a:cxn ang="0">
                <a:pos x="connsiteX3418" y="connsiteY3418"/>
              </a:cxn>
              <a:cxn ang="0">
                <a:pos x="connsiteX3419" y="connsiteY3419"/>
              </a:cxn>
              <a:cxn ang="0">
                <a:pos x="connsiteX3420" y="connsiteY3420"/>
              </a:cxn>
              <a:cxn ang="0">
                <a:pos x="connsiteX3421" y="connsiteY3421"/>
              </a:cxn>
              <a:cxn ang="0">
                <a:pos x="connsiteX3422" y="connsiteY3422"/>
              </a:cxn>
              <a:cxn ang="0">
                <a:pos x="connsiteX3423" y="connsiteY3423"/>
              </a:cxn>
              <a:cxn ang="0">
                <a:pos x="connsiteX3424" y="connsiteY3424"/>
              </a:cxn>
              <a:cxn ang="0">
                <a:pos x="connsiteX3425" y="connsiteY3425"/>
              </a:cxn>
              <a:cxn ang="0">
                <a:pos x="connsiteX3426" y="connsiteY3426"/>
              </a:cxn>
              <a:cxn ang="0">
                <a:pos x="connsiteX3427" y="connsiteY3427"/>
              </a:cxn>
              <a:cxn ang="0">
                <a:pos x="connsiteX3428" y="connsiteY3428"/>
              </a:cxn>
              <a:cxn ang="0">
                <a:pos x="connsiteX3429" y="connsiteY3429"/>
              </a:cxn>
              <a:cxn ang="0">
                <a:pos x="connsiteX3430" y="connsiteY3430"/>
              </a:cxn>
              <a:cxn ang="0">
                <a:pos x="connsiteX3431" y="connsiteY3431"/>
              </a:cxn>
              <a:cxn ang="0">
                <a:pos x="connsiteX3432" y="connsiteY3432"/>
              </a:cxn>
              <a:cxn ang="0">
                <a:pos x="connsiteX3433" y="connsiteY3433"/>
              </a:cxn>
              <a:cxn ang="0">
                <a:pos x="connsiteX3434" y="connsiteY3434"/>
              </a:cxn>
              <a:cxn ang="0">
                <a:pos x="connsiteX3435" y="connsiteY3435"/>
              </a:cxn>
              <a:cxn ang="0">
                <a:pos x="connsiteX3436" y="connsiteY3436"/>
              </a:cxn>
              <a:cxn ang="0">
                <a:pos x="connsiteX3437" y="connsiteY3437"/>
              </a:cxn>
              <a:cxn ang="0">
                <a:pos x="connsiteX3438" y="connsiteY3438"/>
              </a:cxn>
              <a:cxn ang="0">
                <a:pos x="connsiteX3439" y="connsiteY3439"/>
              </a:cxn>
              <a:cxn ang="0">
                <a:pos x="connsiteX3440" y="connsiteY3440"/>
              </a:cxn>
              <a:cxn ang="0">
                <a:pos x="connsiteX3441" y="connsiteY3441"/>
              </a:cxn>
              <a:cxn ang="0">
                <a:pos x="connsiteX3442" y="connsiteY3442"/>
              </a:cxn>
              <a:cxn ang="0">
                <a:pos x="connsiteX3443" y="connsiteY3443"/>
              </a:cxn>
              <a:cxn ang="0">
                <a:pos x="connsiteX3444" y="connsiteY3444"/>
              </a:cxn>
              <a:cxn ang="0">
                <a:pos x="connsiteX3445" y="connsiteY3445"/>
              </a:cxn>
              <a:cxn ang="0">
                <a:pos x="connsiteX3446" y="connsiteY3446"/>
              </a:cxn>
              <a:cxn ang="0">
                <a:pos x="connsiteX3447" y="connsiteY3447"/>
              </a:cxn>
              <a:cxn ang="0">
                <a:pos x="connsiteX3448" y="connsiteY3448"/>
              </a:cxn>
              <a:cxn ang="0">
                <a:pos x="connsiteX3449" y="connsiteY3449"/>
              </a:cxn>
              <a:cxn ang="0">
                <a:pos x="connsiteX3450" y="connsiteY3450"/>
              </a:cxn>
              <a:cxn ang="0">
                <a:pos x="connsiteX3451" y="connsiteY3451"/>
              </a:cxn>
              <a:cxn ang="0">
                <a:pos x="connsiteX3452" y="connsiteY3452"/>
              </a:cxn>
              <a:cxn ang="0">
                <a:pos x="connsiteX3453" y="connsiteY3453"/>
              </a:cxn>
              <a:cxn ang="0">
                <a:pos x="connsiteX3454" y="connsiteY3454"/>
              </a:cxn>
              <a:cxn ang="0">
                <a:pos x="connsiteX3455" y="connsiteY3455"/>
              </a:cxn>
              <a:cxn ang="0">
                <a:pos x="connsiteX3456" y="connsiteY3456"/>
              </a:cxn>
              <a:cxn ang="0">
                <a:pos x="connsiteX3457" y="connsiteY3457"/>
              </a:cxn>
              <a:cxn ang="0">
                <a:pos x="connsiteX3458" y="connsiteY3458"/>
              </a:cxn>
              <a:cxn ang="0">
                <a:pos x="connsiteX3459" y="connsiteY3459"/>
              </a:cxn>
              <a:cxn ang="0">
                <a:pos x="connsiteX3460" y="connsiteY3460"/>
              </a:cxn>
              <a:cxn ang="0">
                <a:pos x="connsiteX3461" y="connsiteY3461"/>
              </a:cxn>
              <a:cxn ang="0">
                <a:pos x="connsiteX3462" y="connsiteY3462"/>
              </a:cxn>
              <a:cxn ang="0">
                <a:pos x="connsiteX3463" y="connsiteY3463"/>
              </a:cxn>
              <a:cxn ang="0">
                <a:pos x="connsiteX3464" y="connsiteY3464"/>
              </a:cxn>
              <a:cxn ang="0">
                <a:pos x="connsiteX3465" y="connsiteY3465"/>
              </a:cxn>
              <a:cxn ang="0">
                <a:pos x="connsiteX3466" y="connsiteY3466"/>
              </a:cxn>
              <a:cxn ang="0">
                <a:pos x="connsiteX3467" y="connsiteY3467"/>
              </a:cxn>
              <a:cxn ang="0">
                <a:pos x="connsiteX3468" y="connsiteY3468"/>
              </a:cxn>
              <a:cxn ang="0">
                <a:pos x="connsiteX3469" y="connsiteY3469"/>
              </a:cxn>
              <a:cxn ang="0">
                <a:pos x="connsiteX3470" y="connsiteY3470"/>
              </a:cxn>
              <a:cxn ang="0">
                <a:pos x="connsiteX3471" y="connsiteY3471"/>
              </a:cxn>
              <a:cxn ang="0">
                <a:pos x="connsiteX3472" y="connsiteY3472"/>
              </a:cxn>
              <a:cxn ang="0">
                <a:pos x="connsiteX3473" y="connsiteY3473"/>
              </a:cxn>
              <a:cxn ang="0">
                <a:pos x="connsiteX3474" y="connsiteY3474"/>
              </a:cxn>
              <a:cxn ang="0">
                <a:pos x="connsiteX3475" y="connsiteY3475"/>
              </a:cxn>
              <a:cxn ang="0">
                <a:pos x="connsiteX3476" y="connsiteY3476"/>
              </a:cxn>
              <a:cxn ang="0">
                <a:pos x="connsiteX3477" y="connsiteY3477"/>
              </a:cxn>
              <a:cxn ang="0">
                <a:pos x="connsiteX3478" y="connsiteY3478"/>
              </a:cxn>
              <a:cxn ang="0">
                <a:pos x="connsiteX3479" y="connsiteY3479"/>
              </a:cxn>
              <a:cxn ang="0">
                <a:pos x="connsiteX3480" y="connsiteY3480"/>
              </a:cxn>
              <a:cxn ang="0">
                <a:pos x="connsiteX3481" y="connsiteY3481"/>
              </a:cxn>
              <a:cxn ang="0">
                <a:pos x="connsiteX3482" y="connsiteY3482"/>
              </a:cxn>
              <a:cxn ang="0">
                <a:pos x="connsiteX3483" y="connsiteY3483"/>
              </a:cxn>
              <a:cxn ang="0">
                <a:pos x="connsiteX3484" y="connsiteY3484"/>
              </a:cxn>
              <a:cxn ang="0">
                <a:pos x="connsiteX3485" y="connsiteY3485"/>
              </a:cxn>
              <a:cxn ang="0">
                <a:pos x="connsiteX3486" y="connsiteY3486"/>
              </a:cxn>
              <a:cxn ang="0">
                <a:pos x="connsiteX3487" y="connsiteY3487"/>
              </a:cxn>
              <a:cxn ang="0">
                <a:pos x="connsiteX3488" y="connsiteY3488"/>
              </a:cxn>
              <a:cxn ang="0">
                <a:pos x="connsiteX3489" y="connsiteY3489"/>
              </a:cxn>
              <a:cxn ang="0">
                <a:pos x="connsiteX3490" y="connsiteY3490"/>
              </a:cxn>
              <a:cxn ang="0">
                <a:pos x="connsiteX3491" y="connsiteY3491"/>
              </a:cxn>
              <a:cxn ang="0">
                <a:pos x="connsiteX3492" y="connsiteY3492"/>
              </a:cxn>
              <a:cxn ang="0">
                <a:pos x="connsiteX3493" y="connsiteY3493"/>
              </a:cxn>
              <a:cxn ang="0">
                <a:pos x="connsiteX3494" y="connsiteY3494"/>
              </a:cxn>
              <a:cxn ang="0">
                <a:pos x="connsiteX3495" y="connsiteY3495"/>
              </a:cxn>
              <a:cxn ang="0">
                <a:pos x="connsiteX3496" y="connsiteY3496"/>
              </a:cxn>
              <a:cxn ang="0">
                <a:pos x="connsiteX3497" y="connsiteY3497"/>
              </a:cxn>
              <a:cxn ang="0">
                <a:pos x="connsiteX3498" y="connsiteY3498"/>
              </a:cxn>
              <a:cxn ang="0">
                <a:pos x="connsiteX3499" y="connsiteY3499"/>
              </a:cxn>
              <a:cxn ang="0">
                <a:pos x="connsiteX3500" y="connsiteY3500"/>
              </a:cxn>
              <a:cxn ang="0">
                <a:pos x="connsiteX3501" y="connsiteY3501"/>
              </a:cxn>
              <a:cxn ang="0">
                <a:pos x="connsiteX3502" y="connsiteY3502"/>
              </a:cxn>
              <a:cxn ang="0">
                <a:pos x="connsiteX3503" y="connsiteY3503"/>
              </a:cxn>
              <a:cxn ang="0">
                <a:pos x="connsiteX3504" y="connsiteY3504"/>
              </a:cxn>
              <a:cxn ang="0">
                <a:pos x="connsiteX3505" y="connsiteY3505"/>
              </a:cxn>
              <a:cxn ang="0">
                <a:pos x="connsiteX3506" y="connsiteY3506"/>
              </a:cxn>
              <a:cxn ang="0">
                <a:pos x="connsiteX3507" y="connsiteY3507"/>
              </a:cxn>
              <a:cxn ang="0">
                <a:pos x="connsiteX3508" y="connsiteY3508"/>
              </a:cxn>
              <a:cxn ang="0">
                <a:pos x="connsiteX3509" y="connsiteY3509"/>
              </a:cxn>
              <a:cxn ang="0">
                <a:pos x="connsiteX3510" y="connsiteY3510"/>
              </a:cxn>
              <a:cxn ang="0">
                <a:pos x="connsiteX3511" y="connsiteY3511"/>
              </a:cxn>
              <a:cxn ang="0">
                <a:pos x="connsiteX3512" y="connsiteY3512"/>
              </a:cxn>
              <a:cxn ang="0">
                <a:pos x="connsiteX3513" y="connsiteY3513"/>
              </a:cxn>
              <a:cxn ang="0">
                <a:pos x="connsiteX3514" y="connsiteY3514"/>
              </a:cxn>
              <a:cxn ang="0">
                <a:pos x="connsiteX3515" y="connsiteY3515"/>
              </a:cxn>
              <a:cxn ang="0">
                <a:pos x="connsiteX3516" y="connsiteY3516"/>
              </a:cxn>
              <a:cxn ang="0">
                <a:pos x="connsiteX3517" y="connsiteY3517"/>
              </a:cxn>
              <a:cxn ang="0">
                <a:pos x="connsiteX3518" y="connsiteY3518"/>
              </a:cxn>
              <a:cxn ang="0">
                <a:pos x="connsiteX3519" y="connsiteY3519"/>
              </a:cxn>
              <a:cxn ang="0">
                <a:pos x="connsiteX3520" y="connsiteY3520"/>
              </a:cxn>
              <a:cxn ang="0">
                <a:pos x="connsiteX3521" y="connsiteY3521"/>
              </a:cxn>
              <a:cxn ang="0">
                <a:pos x="connsiteX3522" y="connsiteY3522"/>
              </a:cxn>
              <a:cxn ang="0">
                <a:pos x="connsiteX3523" y="connsiteY3523"/>
              </a:cxn>
              <a:cxn ang="0">
                <a:pos x="connsiteX3524" y="connsiteY3524"/>
              </a:cxn>
              <a:cxn ang="0">
                <a:pos x="connsiteX3525" y="connsiteY3525"/>
              </a:cxn>
              <a:cxn ang="0">
                <a:pos x="connsiteX3526" y="connsiteY3526"/>
              </a:cxn>
              <a:cxn ang="0">
                <a:pos x="connsiteX3527" y="connsiteY3527"/>
              </a:cxn>
              <a:cxn ang="0">
                <a:pos x="connsiteX3528" y="connsiteY3528"/>
              </a:cxn>
              <a:cxn ang="0">
                <a:pos x="connsiteX3529" y="connsiteY3529"/>
              </a:cxn>
              <a:cxn ang="0">
                <a:pos x="connsiteX3530" y="connsiteY3530"/>
              </a:cxn>
              <a:cxn ang="0">
                <a:pos x="connsiteX3531" y="connsiteY3531"/>
              </a:cxn>
              <a:cxn ang="0">
                <a:pos x="connsiteX3532" y="connsiteY3532"/>
              </a:cxn>
              <a:cxn ang="0">
                <a:pos x="connsiteX3533" y="connsiteY3533"/>
              </a:cxn>
              <a:cxn ang="0">
                <a:pos x="connsiteX3534" y="connsiteY3534"/>
              </a:cxn>
              <a:cxn ang="0">
                <a:pos x="connsiteX3535" y="connsiteY3535"/>
              </a:cxn>
              <a:cxn ang="0">
                <a:pos x="connsiteX3536" y="connsiteY3536"/>
              </a:cxn>
              <a:cxn ang="0">
                <a:pos x="connsiteX3537" y="connsiteY3537"/>
              </a:cxn>
              <a:cxn ang="0">
                <a:pos x="connsiteX3538" y="connsiteY3538"/>
              </a:cxn>
              <a:cxn ang="0">
                <a:pos x="connsiteX3539" y="connsiteY3539"/>
              </a:cxn>
              <a:cxn ang="0">
                <a:pos x="connsiteX3540" y="connsiteY3540"/>
              </a:cxn>
              <a:cxn ang="0">
                <a:pos x="connsiteX3541" y="connsiteY3541"/>
              </a:cxn>
              <a:cxn ang="0">
                <a:pos x="connsiteX3542" y="connsiteY3542"/>
              </a:cxn>
              <a:cxn ang="0">
                <a:pos x="connsiteX3543" y="connsiteY3543"/>
              </a:cxn>
              <a:cxn ang="0">
                <a:pos x="connsiteX3544" y="connsiteY3544"/>
              </a:cxn>
              <a:cxn ang="0">
                <a:pos x="connsiteX3545" y="connsiteY3545"/>
              </a:cxn>
              <a:cxn ang="0">
                <a:pos x="connsiteX3546" y="connsiteY3546"/>
              </a:cxn>
              <a:cxn ang="0">
                <a:pos x="connsiteX3547" y="connsiteY3547"/>
              </a:cxn>
              <a:cxn ang="0">
                <a:pos x="connsiteX3548" y="connsiteY3548"/>
              </a:cxn>
              <a:cxn ang="0">
                <a:pos x="connsiteX3549" y="connsiteY3549"/>
              </a:cxn>
              <a:cxn ang="0">
                <a:pos x="connsiteX3550" y="connsiteY3550"/>
              </a:cxn>
              <a:cxn ang="0">
                <a:pos x="connsiteX3551" y="connsiteY3551"/>
              </a:cxn>
              <a:cxn ang="0">
                <a:pos x="connsiteX3552" y="connsiteY3552"/>
              </a:cxn>
              <a:cxn ang="0">
                <a:pos x="connsiteX3553" y="connsiteY3553"/>
              </a:cxn>
              <a:cxn ang="0">
                <a:pos x="connsiteX3554" y="connsiteY3554"/>
              </a:cxn>
              <a:cxn ang="0">
                <a:pos x="connsiteX3555" y="connsiteY3555"/>
              </a:cxn>
              <a:cxn ang="0">
                <a:pos x="connsiteX3556" y="connsiteY3556"/>
              </a:cxn>
              <a:cxn ang="0">
                <a:pos x="connsiteX3557" y="connsiteY3557"/>
              </a:cxn>
              <a:cxn ang="0">
                <a:pos x="connsiteX3558" y="connsiteY3558"/>
              </a:cxn>
              <a:cxn ang="0">
                <a:pos x="connsiteX3559" y="connsiteY3559"/>
              </a:cxn>
              <a:cxn ang="0">
                <a:pos x="connsiteX3560" y="connsiteY3560"/>
              </a:cxn>
              <a:cxn ang="0">
                <a:pos x="connsiteX3561" y="connsiteY3561"/>
              </a:cxn>
              <a:cxn ang="0">
                <a:pos x="connsiteX3562" y="connsiteY3562"/>
              </a:cxn>
              <a:cxn ang="0">
                <a:pos x="connsiteX3563" y="connsiteY3563"/>
              </a:cxn>
              <a:cxn ang="0">
                <a:pos x="connsiteX3564" y="connsiteY3564"/>
              </a:cxn>
              <a:cxn ang="0">
                <a:pos x="connsiteX3565" y="connsiteY3565"/>
              </a:cxn>
              <a:cxn ang="0">
                <a:pos x="connsiteX3566" y="connsiteY3566"/>
              </a:cxn>
              <a:cxn ang="0">
                <a:pos x="connsiteX3567" y="connsiteY3567"/>
              </a:cxn>
              <a:cxn ang="0">
                <a:pos x="connsiteX3568" y="connsiteY3568"/>
              </a:cxn>
              <a:cxn ang="0">
                <a:pos x="connsiteX3569" y="connsiteY3569"/>
              </a:cxn>
              <a:cxn ang="0">
                <a:pos x="connsiteX3570" y="connsiteY3570"/>
              </a:cxn>
              <a:cxn ang="0">
                <a:pos x="connsiteX3571" y="connsiteY3571"/>
              </a:cxn>
              <a:cxn ang="0">
                <a:pos x="connsiteX3572" y="connsiteY3572"/>
              </a:cxn>
              <a:cxn ang="0">
                <a:pos x="connsiteX3573" y="connsiteY3573"/>
              </a:cxn>
              <a:cxn ang="0">
                <a:pos x="connsiteX3574" y="connsiteY3574"/>
              </a:cxn>
              <a:cxn ang="0">
                <a:pos x="connsiteX3575" y="connsiteY3575"/>
              </a:cxn>
              <a:cxn ang="0">
                <a:pos x="connsiteX3576" y="connsiteY3576"/>
              </a:cxn>
              <a:cxn ang="0">
                <a:pos x="connsiteX3577" y="connsiteY3577"/>
              </a:cxn>
              <a:cxn ang="0">
                <a:pos x="connsiteX3578" y="connsiteY3578"/>
              </a:cxn>
              <a:cxn ang="0">
                <a:pos x="connsiteX3579" y="connsiteY3579"/>
              </a:cxn>
              <a:cxn ang="0">
                <a:pos x="connsiteX3580" y="connsiteY3580"/>
              </a:cxn>
              <a:cxn ang="0">
                <a:pos x="connsiteX3581" y="connsiteY3581"/>
              </a:cxn>
              <a:cxn ang="0">
                <a:pos x="connsiteX3582" y="connsiteY3582"/>
              </a:cxn>
              <a:cxn ang="0">
                <a:pos x="connsiteX3583" y="connsiteY3583"/>
              </a:cxn>
              <a:cxn ang="0">
                <a:pos x="connsiteX3584" y="connsiteY3584"/>
              </a:cxn>
              <a:cxn ang="0">
                <a:pos x="connsiteX3585" y="connsiteY3585"/>
              </a:cxn>
              <a:cxn ang="0">
                <a:pos x="connsiteX3586" y="connsiteY3586"/>
              </a:cxn>
              <a:cxn ang="0">
                <a:pos x="connsiteX3587" y="connsiteY3587"/>
              </a:cxn>
              <a:cxn ang="0">
                <a:pos x="connsiteX3588" y="connsiteY3588"/>
              </a:cxn>
              <a:cxn ang="0">
                <a:pos x="connsiteX3589" y="connsiteY3589"/>
              </a:cxn>
              <a:cxn ang="0">
                <a:pos x="connsiteX3590" y="connsiteY3590"/>
              </a:cxn>
              <a:cxn ang="0">
                <a:pos x="connsiteX3591" y="connsiteY3591"/>
              </a:cxn>
              <a:cxn ang="0">
                <a:pos x="connsiteX3592" y="connsiteY3592"/>
              </a:cxn>
              <a:cxn ang="0">
                <a:pos x="connsiteX3593" y="connsiteY3593"/>
              </a:cxn>
              <a:cxn ang="0">
                <a:pos x="connsiteX3594" y="connsiteY3594"/>
              </a:cxn>
              <a:cxn ang="0">
                <a:pos x="connsiteX3595" y="connsiteY3595"/>
              </a:cxn>
              <a:cxn ang="0">
                <a:pos x="connsiteX3596" y="connsiteY3596"/>
              </a:cxn>
              <a:cxn ang="0">
                <a:pos x="connsiteX3597" y="connsiteY3597"/>
              </a:cxn>
              <a:cxn ang="0">
                <a:pos x="connsiteX3598" y="connsiteY3598"/>
              </a:cxn>
              <a:cxn ang="0">
                <a:pos x="connsiteX3599" y="connsiteY3599"/>
              </a:cxn>
              <a:cxn ang="0">
                <a:pos x="connsiteX3600" y="connsiteY3600"/>
              </a:cxn>
              <a:cxn ang="0">
                <a:pos x="connsiteX3601" y="connsiteY3601"/>
              </a:cxn>
              <a:cxn ang="0">
                <a:pos x="connsiteX3602" y="connsiteY3602"/>
              </a:cxn>
              <a:cxn ang="0">
                <a:pos x="connsiteX3603" y="connsiteY3603"/>
              </a:cxn>
              <a:cxn ang="0">
                <a:pos x="connsiteX3604" y="connsiteY3604"/>
              </a:cxn>
              <a:cxn ang="0">
                <a:pos x="connsiteX3605" y="connsiteY3605"/>
              </a:cxn>
              <a:cxn ang="0">
                <a:pos x="connsiteX3606" y="connsiteY3606"/>
              </a:cxn>
              <a:cxn ang="0">
                <a:pos x="connsiteX3607" y="connsiteY3607"/>
              </a:cxn>
              <a:cxn ang="0">
                <a:pos x="connsiteX3608" y="connsiteY3608"/>
              </a:cxn>
              <a:cxn ang="0">
                <a:pos x="connsiteX3609" y="connsiteY3609"/>
              </a:cxn>
              <a:cxn ang="0">
                <a:pos x="connsiteX3610" y="connsiteY3610"/>
              </a:cxn>
              <a:cxn ang="0">
                <a:pos x="connsiteX3611" y="connsiteY3611"/>
              </a:cxn>
              <a:cxn ang="0">
                <a:pos x="connsiteX3612" y="connsiteY3612"/>
              </a:cxn>
              <a:cxn ang="0">
                <a:pos x="connsiteX3613" y="connsiteY3613"/>
              </a:cxn>
              <a:cxn ang="0">
                <a:pos x="connsiteX3614" y="connsiteY3614"/>
              </a:cxn>
              <a:cxn ang="0">
                <a:pos x="connsiteX3615" y="connsiteY3615"/>
              </a:cxn>
              <a:cxn ang="0">
                <a:pos x="connsiteX3616" y="connsiteY3616"/>
              </a:cxn>
              <a:cxn ang="0">
                <a:pos x="connsiteX3617" y="connsiteY3617"/>
              </a:cxn>
              <a:cxn ang="0">
                <a:pos x="connsiteX3618" y="connsiteY3618"/>
              </a:cxn>
              <a:cxn ang="0">
                <a:pos x="connsiteX3619" y="connsiteY3619"/>
              </a:cxn>
              <a:cxn ang="0">
                <a:pos x="connsiteX3620" y="connsiteY3620"/>
              </a:cxn>
              <a:cxn ang="0">
                <a:pos x="connsiteX3621" y="connsiteY3621"/>
              </a:cxn>
              <a:cxn ang="0">
                <a:pos x="connsiteX3622" y="connsiteY3622"/>
              </a:cxn>
              <a:cxn ang="0">
                <a:pos x="connsiteX3623" y="connsiteY3623"/>
              </a:cxn>
              <a:cxn ang="0">
                <a:pos x="connsiteX3624" y="connsiteY3624"/>
              </a:cxn>
              <a:cxn ang="0">
                <a:pos x="connsiteX3625" y="connsiteY3625"/>
              </a:cxn>
              <a:cxn ang="0">
                <a:pos x="connsiteX3626" y="connsiteY3626"/>
              </a:cxn>
              <a:cxn ang="0">
                <a:pos x="connsiteX3627" y="connsiteY3627"/>
              </a:cxn>
              <a:cxn ang="0">
                <a:pos x="connsiteX3628" y="connsiteY3628"/>
              </a:cxn>
              <a:cxn ang="0">
                <a:pos x="connsiteX3629" y="connsiteY3629"/>
              </a:cxn>
              <a:cxn ang="0">
                <a:pos x="connsiteX3630" y="connsiteY3630"/>
              </a:cxn>
              <a:cxn ang="0">
                <a:pos x="connsiteX3631" y="connsiteY3631"/>
              </a:cxn>
              <a:cxn ang="0">
                <a:pos x="connsiteX3632" y="connsiteY3632"/>
              </a:cxn>
              <a:cxn ang="0">
                <a:pos x="connsiteX3633" y="connsiteY3633"/>
              </a:cxn>
              <a:cxn ang="0">
                <a:pos x="connsiteX3634" y="connsiteY3634"/>
              </a:cxn>
              <a:cxn ang="0">
                <a:pos x="connsiteX3635" y="connsiteY3635"/>
              </a:cxn>
              <a:cxn ang="0">
                <a:pos x="connsiteX3636" y="connsiteY3636"/>
              </a:cxn>
              <a:cxn ang="0">
                <a:pos x="connsiteX3637" y="connsiteY3637"/>
              </a:cxn>
              <a:cxn ang="0">
                <a:pos x="connsiteX3638" y="connsiteY3638"/>
              </a:cxn>
              <a:cxn ang="0">
                <a:pos x="connsiteX3639" y="connsiteY3639"/>
              </a:cxn>
              <a:cxn ang="0">
                <a:pos x="connsiteX3640" y="connsiteY3640"/>
              </a:cxn>
              <a:cxn ang="0">
                <a:pos x="connsiteX3641" y="connsiteY3641"/>
              </a:cxn>
              <a:cxn ang="0">
                <a:pos x="connsiteX3642" y="connsiteY3642"/>
              </a:cxn>
              <a:cxn ang="0">
                <a:pos x="connsiteX3643" y="connsiteY3643"/>
              </a:cxn>
              <a:cxn ang="0">
                <a:pos x="connsiteX3644" y="connsiteY3644"/>
              </a:cxn>
              <a:cxn ang="0">
                <a:pos x="connsiteX3645" y="connsiteY3645"/>
              </a:cxn>
              <a:cxn ang="0">
                <a:pos x="connsiteX3646" y="connsiteY3646"/>
              </a:cxn>
              <a:cxn ang="0">
                <a:pos x="connsiteX3647" y="connsiteY3647"/>
              </a:cxn>
              <a:cxn ang="0">
                <a:pos x="connsiteX3648" y="connsiteY3648"/>
              </a:cxn>
              <a:cxn ang="0">
                <a:pos x="connsiteX3649" y="connsiteY3649"/>
              </a:cxn>
              <a:cxn ang="0">
                <a:pos x="connsiteX3650" y="connsiteY3650"/>
              </a:cxn>
              <a:cxn ang="0">
                <a:pos x="connsiteX3651" y="connsiteY3651"/>
              </a:cxn>
              <a:cxn ang="0">
                <a:pos x="connsiteX3652" y="connsiteY3652"/>
              </a:cxn>
              <a:cxn ang="0">
                <a:pos x="connsiteX3653" y="connsiteY3653"/>
              </a:cxn>
              <a:cxn ang="0">
                <a:pos x="connsiteX3654" y="connsiteY3654"/>
              </a:cxn>
              <a:cxn ang="0">
                <a:pos x="connsiteX3655" y="connsiteY3655"/>
              </a:cxn>
              <a:cxn ang="0">
                <a:pos x="connsiteX3656" y="connsiteY3656"/>
              </a:cxn>
              <a:cxn ang="0">
                <a:pos x="connsiteX3657" y="connsiteY3657"/>
              </a:cxn>
              <a:cxn ang="0">
                <a:pos x="connsiteX3658" y="connsiteY3658"/>
              </a:cxn>
              <a:cxn ang="0">
                <a:pos x="connsiteX3659" y="connsiteY3659"/>
              </a:cxn>
              <a:cxn ang="0">
                <a:pos x="connsiteX3660" y="connsiteY3660"/>
              </a:cxn>
              <a:cxn ang="0">
                <a:pos x="connsiteX3661" y="connsiteY3661"/>
              </a:cxn>
              <a:cxn ang="0">
                <a:pos x="connsiteX3662" y="connsiteY3662"/>
              </a:cxn>
              <a:cxn ang="0">
                <a:pos x="connsiteX3663" y="connsiteY3663"/>
              </a:cxn>
              <a:cxn ang="0">
                <a:pos x="connsiteX3664" y="connsiteY3664"/>
              </a:cxn>
              <a:cxn ang="0">
                <a:pos x="connsiteX3665" y="connsiteY3665"/>
              </a:cxn>
              <a:cxn ang="0">
                <a:pos x="connsiteX3666" y="connsiteY3666"/>
              </a:cxn>
              <a:cxn ang="0">
                <a:pos x="connsiteX3667" y="connsiteY3667"/>
              </a:cxn>
              <a:cxn ang="0">
                <a:pos x="connsiteX3668" y="connsiteY3668"/>
              </a:cxn>
              <a:cxn ang="0">
                <a:pos x="connsiteX3669" y="connsiteY3669"/>
              </a:cxn>
              <a:cxn ang="0">
                <a:pos x="connsiteX3670" y="connsiteY3670"/>
              </a:cxn>
              <a:cxn ang="0">
                <a:pos x="connsiteX3671" y="connsiteY3671"/>
              </a:cxn>
              <a:cxn ang="0">
                <a:pos x="connsiteX3672" y="connsiteY3672"/>
              </a:cxn>
              <a:cxn ang="0">
                <a:pos x="connsiteX3673" y="connsiteY3673"/>
              </a:cxn>
              <a:cxn ang="0">
                <a:pos x="connsiteX3674" y="connsiteY3674"/>
              </a:cxn>
              <a:cxn ang="0">
                <a:pos x="connsiteX3675" y="connsiteY3675"/>
              </a:cxn>
              <a:cxn ang="0">
                <a:pos x="connsiteX3676" y="connsiteY3676"/>
              </a:cxn>
              <a:cxn ang="0">
                <a:pos x="connsiteX3677" y="connsiteY3677"/>
              </a:cxn>
              <a:cxn ang="0">
                <a:pos x="connsiteX3678" y="connsiteY3678"/>
              </a:cxn>
              <a:cxn ang="0">
                <a:pos x="connsiteX3679" y="connsiteY3679"/>
              </a:cxn>
              <a:cxn ang="0">
                <a:pos x="connsiteX3680" y="connsiteY3680"/>
              </a:cxn>
              <a:cxn ang="0">
                <a:pos x="connsiteX3681" y="connsiteY3681"/>
              </a:cxn>
              <a:cxn ang="0">
                <a:pos x="connsiteX3682" y="connsiteY3682"/>
              </a:cxn>
              <a:cxn ang="0">
                <a:pos x="connsiteX3683" y="connsiteY3683"/>
              </a:cxn>
              <a:cxn ang="0">
                <a:pos x="connsiteX3684" y="connsiteY3684"/>
              </a:cxn>
              <a:cxn ang="0">
                <a:pos x="connsiteX3685" y="connsiteY3685"/>
              </a:cxn>
              <a:cxn ang="0">
                <a:pos x="connsiteX3686" y="connsiteY3686"/>
              </a:cxn>
              <a:cxn ang="0">
                <a:pos x="connsiteX3687" y="connsiteY3687"/>
              </a:cxn>
              <a:cxn ang="0">
                <a:pos x="connsiteX3688" y="connsiteY3688"/>
              </a:cxn>
              <a:cxn ang="0">
                <a:pos x="connsiteX3689" y="connsiteY3689"/>
              </a:cxn>
              <a:cxn ang="0">
                <a:pos x="connsiteX3690" y="connsiteY3690"/>
              </a:cxn>
              <a:cxn ang="0">
                <a:pos x="connsiteX3691" y="connsiteY3691"/>
              </a:cxn>
              <a:cxn ang="0">
                <a:pos x="connsiteX3692" y="connsiteY3692"/>
              </a:cxn>
              <a:cxn ang="0">
                <a:pos x="connsiteX3693" y="connsiteY3693"/>
              </a:cxn>
              <a:cxn ang="0">
                <a:pos x="connsiteX3694" y="connsiteY3694"/>
              </a:cxn>
              <a:cxn ang="0">
                <a:pos x="connsiteX3695" y="connsiteY3695"/>
              </a:cxn>
              <a:cxn ang="0">
                <a:pos x="connsiteX3696" y="connsiteY3696"/>
              </a:cxn>
              <a:cxn ang="0">
                <a:pos x="connsiteX3697" y="connsiteY3697"/>
              </a:cxn>
              <a:cxn ang="0">
                <a:pos x="connsiteX3698" y="connsiteY3698"/>
              </a:cxn>
              <a:cxn ang="0">
                <a:pos x="connsiteX3699" y="connsiteY3699"/>
              </a:cxn>
              <a:cxn ang="0">
                <a:pos x="connsiteX3700" y="connsiteY3700"/>
              </a:cxn>
              <a:cxn ang="0">
                <a:pos x="connsiteX3701" y="connsiteY3701"/>
              </a:cxn>
              <a:cxn ang="0">
                <a:pos x="connsiteX3702" y="connsiteY3702"/>
              </a:cxn>
              <a:cxn ang="0">
                <a:pos x="connsiteX3703" y="connsiteY3703"/>
              </a:cxn>
              <a:cxn ang="0">
                <a:pos x="connsiteX3704" y="connsiteY3704"/>
              </a:cxn>
              <a:cxn ang="0">
                <a:pos x="connsiteX3705" y="connsiteY3705"/>
              </a:cxn>
              <a:cxn ang="0">
                <a:pos x="connsiteX3706" y="connsiteY3706"/>
              </a:cxn>
              <a:cxn ang="0">
                <a:pos x="connsiteX3707" y="connsiteY3707"/>
              </a:cxn>
              <a:cxn ang="0">
                <a:pos x="connsiteX3708" y="connsiteY3708"/>
              </a:cxn>
              <a:cxn ang="0">
                <a:pos x="connsiteX3709" y="connsiteY3709"/>
              </a:cxn>
              <a:cxn ang="0">
                <a:pos x="connsiteX3710" y="connsiteY3710"/>
              </a:cxn>
              <a:cxn ang="0">
                <a:pos x="connsiteX3711" y="connsiteY3711"/>
              </a:cxn>
              <a:cxn ang="0">
                <a:pos x="connsiteX3712" y="connsiteY3712"/>
              </a:cxn>
              <a:cxn ang="0">
                <a:pos x="connsiteX3713" y="connsiteY3713"/>
              </a:cxn>
              <a:cxn ang="0">
                <a:pos x="connsiteX3714" y="connsiteY3714"/>
              </a:cxn>
              <a:cxn ang="0">
                <a:pos x="connsiteX3715" y="connsiteY3715"/>
              </a:cxn>
              <a:cxn ang="0">
                <a:pos x="connsiteX3716" y="connsiteY3716"/>
              </a:cxn>
              <a:cxn ang="0">
                <a:pos x="connsiteX3717" y="connsiteY3717"/>
              </a:cxn>
              <a:cxn ang="0">
                <a:pos x="connsiteX3718" y="connsiteY3718"/>
              </a:cxn>
              <a:cxn ang="0">
                <a:pos x="connsiteX3719" y="connsiteY3719"/>
              </a:cxn>
              <a:cxn ang="0">
                <a:pos x="connsiteX3720" y="connsiteY3720"/>
              </a:cxn>
              <a:cxn ang="0">
                <a:pos x="connsiteX3721" y="connsiteY3721"/>
              </a:cxn>
              <a:cxn ang="0">
                <a:pos x="connsiteX3722" y="connsiteY3722"/>
              </a:cxn>
              <a:cxn ang="0">
                <a:pos x="connsiteX3723" y="connsiteY3723"/>
              </a:cxn>
              <a:cxn ang="0">
                <a:pos x="connsiteX3724" y="connsiteY3724"/>
              </a:cxn>
              <a:cxn ang="0">
                <a:pos x="connsiteX3725" y="connsiteY3725"/>
              </a:cxn>
              <a:cxn ang="0">
                <a:pos x="connsiteX3726" y="connsiteY3726"/>
              </a:cxn>
              <a:cxn ang="0">
                <a:pos x="connsiteX3727" y="connsiteY3727"/>
              </a:cxn>
              <a:cxn ang="0">
                <a:pos x="connsiteX3728" y="connsiteY3728"/>
              </a:cxn>
              <a:cxn ang="0">
                <a:pos x="connsiteX3729" y="connsiteY3729"/>
              </a:cxn>
              <a:cxn ang="0">
                <a:pos x="connsiteX3730" y="connsiteY3730"/>
              </a:cxn>
              <a:cxn ang="0">
                <a:pos x="connsiteX3731" y="connsiteY3731"/>
              </a:cxn>
              <a:cxn ang="0">
                <a:pos x="connsiteX3732" y="connsiteY3732"/>
              </a:cxn>
              <a:cxn ang="0">
                <a:pos x="connsiteX3733" y="connsiteY3733"/>
              </a:cxn>
              <a:cxn ang="0">
                <a:pos x="connsiteX3734" y="connsiteY3734"/>
              </a:cxn>
              <a:cxn ang="0">
                <a:pos x="connsiteX3735" y="connsiteY3735"/>
              </a:cxn>
              <a:cxn ang="0">
                <a:pos x="connsiteX3736" y="connsiteY3736"/>
              </a:cxn>
              <a:cxn ang="0">
                <a:pos x="connsiteX3737" y="connsiteY3737"/>
              </a:cxn>
              <a:cxn ang="0">
                <a:pos x="connsiteX3738" y="connsiteY3738"/>
              </a:cxn>
              <a:cxn ang="0">
                <a:pos x="connsiteX3739" y="connsiteY3739"/>
              </a:cxn>
              <a:cxn ang="0">
                <a:pos x="connsiteX3740" y="connsiteY3740"/>
              </a:cxn>
              <a:cxn ang="0">
                <a:pos x="connsiteX3741" y="connsiteY3741"/>
              </a:cxn>
              <a:cxn ang="0">
                <a:pos x="connsiteX3742" y="connsiteY3742"/>
              </a:cxn>
              <a:cxn ang="0">
                <a:pos x="connsiteX3743" y="connsiteY3743"/>
              </a:cxn>
              <a:cxn ang="0">
                <a:pos x="connsiteX3744" y="connsiteY3744"/>
              </a:cxn>
              <a:cxn ang="0">
                <a:pos x="connsiteX3745" y="connsiteY3745"/>
              </a:cxn>
              <a:cxn ang="0">
                <a:pos x="connsiteX3746" y="connsiteY3746"/>
              </a:cxn>
              <a:cxn ang="0">
                <a:pos x="connsiteX3747" y="connsiteY3747"/>
              </a:cxn>
              <a:cxn ang="0">
                <a:pos x="connsiteX3748" y="connsiteY3748"/>
              </a:cxn>
              <a:cxn ang="0">
                <a:pos x="connsiteX3749" y="connsiteY3749"/>
              </a:cxn>
              <a:cxn ang="0">
                <a:pos x="connsiteX3750" y="connsiteY3750"/>
              </a:cxn>
              <a:cxn ang="0">
                <a:pos x="connsiteX3751" y="connsiteY3751"/>
              </a:cxn>
              <a:cxn ang="0">
                <a:pos x="connsiteX3752" y="connsiteY3752"/>
              </a:cxn>
              <a:cxn ang="0">
                <a:pos x="connsiteX3753" y="connsiteY3753"/>
              </a:cxn>
              <a:cxn ang="0">
                <a:pos x="connsiteX3754" y="connsiteY3754"/>
              </a:cxn>
              <a:cxn ang="0">
                <a:pos x="connsiteX3755" y="connsiteY3755"/>
              </a:cxn>
              <a:cxn ang="0">
                <a:pos x="connsiteX3756" y="connsiteY3756"/>
              </a:cxn>
              <a:cxn ang="0">
                <a:pos x="connsiteX3757" y="connsiteY3757"/>
              </a:cxn>
              <a:cxn ang="0">
                <a:pos x="connsiteX3758" y="connsiteY3758"/>
              </a:cxn>
              <a:cxn ang="0">
                <a:pos x="connsiteX3759" y="connsiteY3759"/>
              </a:cxn>
              <a:cxn ang="0">
                <a:pos x="connsiteX3760" y="connsiteY3760"/>
              </a:cxn>
              <a:cxn ang="0">
                <a:pos x="connsiteX3761" y="connsiteY3761"/>
              </a:cxn>
              <a:cxn ang="0">
                <a:pos x="connsiteX3762" y="connsiteY3762"/>
              </a:cxn>
              <a:cxn ang="0">
                <a:pos x="connsiteX3763" y="connsiteY3763"/>
              </a:cxn>
              <a:cxn ang="0">
                <a:pos x="connsiteX3764" y="connsiteY3764"/>
              </a:cxn>
              <a:cxn ang="0">
                <a:pos x="connsiteX3765" y="connsiteY3765"/>
              </a:cxn>
              <a:cxn ang="0">
                <a:pos x="connsiteX3766" y="connsiteY3766"/>
              </a:cxn>
              <a:cxn ang="0">
                <a:pos x="connsiteX3767" y="connsiteY3767"/>
              </a:cxn>
              <a:cxn ang="0">
                <a:pos x="connsiteX3768" y="connsiteY3768"/>
              </a:cxn>
              <a:cxn ang="0">
                <a:pos x="connsiteX3769" y="connsiteY3769"/>
              </a:cxn>
              <a:cxn ang="0">
                <a:pos x="connsiteX3770" y="connsiteY3770"/>
              </a:cxn>
              <a:cxn ang="0">
                <a:pos x="connsiteX3771" y="connsiteY3771"/>
              </a:cxn>
              <a:cxn ang="0">
                <a:pos x="connsiteX3772" y="connsiteY3772"/>
              </a:cxn>
              <a:cxn ang="0">
                <a:pos x="connsiteX3773" y="connsiteY3773"/>
              </a:cxn>
              <a:cxn ang="0">
                <a:pos x="connsiteX3774" y="connsiteY3774"/>
              </a:cxn>
              <a:cxn ang="0">
                <a:pos x="connsiteX3775" y="connsiteY3775"/>
              </a:cxn>
              <a:cxn ang="0">
                <a:pos x="connsiteX3776" y="connsiteY3776"/>
              </a:cxn>
              <a:cxn ang="0">
                <a:pos x="connsiteX3777" y="connsiteY3777"/>
              </a:cxn>
              <a:cxn ang="0">
                <a:pos x="connsiteX3778" y="connsiteY3778"/>
              </a:cxn>
              <a:cxn ang="0">
                <a:pos x="connsiteX3779" y="connsiteY3779"/>
              </a:cxn>
              <a:cxn ang="0">
                <a:pos x="connsiteX3780" y="connsiteY3780"/>
              </a:cxn>
              <a:cxn ang="0">
                <a:pos x="connsiteX3781" y="connsiteY3781"/>
              </a:cxn>
              <a:cxn ang="0">
                <a:pos x="connsiteX3782" y="connsiteY3782"/>
              </a:cxn>
              <a:cxn ang="0">
                <a:pos x="connsiteX3783" y="connsiteY3783"/>
              </a:cxn>
              <a:cxn ang="0">
                <a:pos x="connsiteX3784" y="connsiteY3784"/>
              </a:cxn>
              <a:cxn ang="0">
                <a:pos x="connsiteX3785" y="connsiteY3785"/>
              </a:cxn>
              <a:cxn ang="0">
                <a:pos x="connsiteX3786" y="connsiteY3786"/>
              </a:cxn>
              <a:cxn ang="0">
                <a:pos x="connsiteX3787" y="connsiteY3787"/>
              </a:cxn>
              <a:cxn ang="0">
                <a:pos x="connsiteX3788" y="connsiteY3788"/>
              </a:cxn>
              <a:cxn ang="0">
                <a:pos x="connsiteX3789" y="connsiteY3789"/>
              </a:cxn>
              <a:cxn ang="0">
                <a:pos x="connsiteX3790" y="connsiteY3790"/>
              </a:cxn>
              <a:cxn ang="0">
                <a:pos x="connsiteX3791" y="connsiteY3791"/>
              </a:cxn>
              <a:cxn ang="0">
                <a:pos x="connsiteX3792" y="connsiteY3792"/>
              </a:cxn>
              <a:cxn ang="0">
                <a:pos x="connsiteX3793" y="connsiteY3793"/>
              </a:cxn>
              <a:cxn ang="0">
                <a:pos x="connsiteX3794" y="connsiteY3794"/>
              </a:cxn>
              <a:cxn ang="0">
                <a:pos x="connsiteX3795" y="connsiteY3795"/>
              </a:cxn>
              <a:cxn ang="0">
                <a:pos x="connsiteX3796" y="connsiteY3796"/>
              </a:cxn>
              <a:cxn ang="0">
                <a:pos x="connsiteX3797" y="connsiteY3797"/>
              </a:cxn>
              <a:cxn ang="0">
                <a:pos x="connsiteX3798" y="connsiteY3798"/>
              </a:cxn>
              <a:cxn ang="0">
                <a:pos x="connsiteX3799" y="connsiteY3799"/>
              </a:cxn>
              <a:cxn ang="0">
                <a:pos x="connsiteX3800" y="connsiteY3800"/>
              </a:cxn>
              <a:cxn ang="0">
                <a:pos x="connsiteX3801" y="connsiteY3801"/>
              </a:cxn>
              <a:cxn ang="0">
                <a:pos x="connsiteX3802" y="connsiteY3802"/>
              </a:cxn>
              <a:cxn ang="0">
                <a:pos x="connsiteX3803" y="connsiteY3803"/>
              </a:cxn>
              <a:cxn ang="0">
                <a:pos x="connsiteX3804" y="connsiteY3804"/>
              </a:cxn>
              <a:cxn ang="0">
                <a:pos x="connsiteX3805" y="connsiteY3805"/>
              </a:cxn>
              <a:cxn ang="0">
                <a:pos x="connsiteX3806" y="connsiteY3806"/>
              </a:cxn>
              <a:cxn ang="0">
                <a:pos x="connsiteX3807" y="connsiteY3807"/>
              </a:cxn>
              <a:cxn ang="0">
                <a:pos x="connsiteX3808" y="connsiteY3808"/>
              </a:cxn>
              <a:cxn ang="0">
                <a:pos x="connsiteX3809" y="connsiteY3809"/>
              </a:cxn>
              <a:cxn ang="0">
                <a:pos x="connsiteX3810" y="connsiteY3810"/>
              </a:cxn>
              <a:cxn ang="0">
                <a:pos x="connsiteX3811" y="connsiteY3811"/>
              </a:cxn>
              <a:cxn ang="0">
                <a:pos x="connsiteX3812" y="connsiteY3812"/>
              </a:cxn>
              <a:cxn ang="0">
                <a:pos x="connsiteX3813" y="connsiteY3813"/>
              </a:cxn>
              <a:cxn ang="0">
                <a:pos x="connsiteX3814" y="connsiteY3814"/>
              </a:cxn>
              <a:cxn ang="0">
                <a:pos x="connsiteX3815" y="connsiteY3815"/>
              </a:cxn>
              <a:cxn ang="0">
                <a:pos x="connsiteX3816" y="connsiteY3816"/>
              </a:cxn>
              <a:cxn ang="0">
                <a:pos x="connsiteX3817" y="connsiteY3817"/>
              </a:cxn>
              <a:cxn ang="0">
                <a:pos x="connsiteX3818" y="connsiteY3818"/>
              </a:cxn>
              <a:cxn ang="0">
                <a:pos x="connsiteX3819" y="connsiteY3819"/>
              </a:cxn>
              <a:cxn ang="0">
                <a:pos x="connsiteX3820" y="connsiteY3820"/>
              </a:cxn>
              <a:cxn ang="0">
                <a:pos x="connsiteX3821" y="connsiteY3821"/>
              </a:cxn>
              <a:cxn ang="0">
                <a:pos x="connsiteX3822" y="connsiteY3822"/>
              </a:cxn>
              <a:cxn ang="0">
                <a:pos x="connsiteX3823" y="connsiteY3823"/>
              </a:cxn>
              <a:cxn ang="0">
                <a:pos x="connsiteX3824" y="connsiteY3824"/>
              </a:cxn>
              <a:cxn ang="0">
                <a:pos x="connsiteX3825" y="connsiteY3825"/>
              </a:cxn>
              <a:cxn ang="0">
                <a:pos x="connsiteX3826" y="connsiteY3826"/>
              </a:cxn>
              <a:cxn ang="0">
                <a:pos x="connsiteX3827" y="connsiteY3827"/>
              </a:cxn>
              <a:cxn ang="0">
                <a:pos x="connsiteX3828" y="connsiteY3828"/>
              </a:cxn>
              <a:cxn ang="0">
                <a:pos x="connsiteX3829" y="connsiteY3829"/>
              </a:cxn>
              <a:cxn ang="0">
                <a:pos x="connsiteX3830" y="connsiteY3830"/>
              </a:cxn>
              <a:cxn ang="0">
                <a:pos x="connsiteX3831" y="connsiteY3831"/>
              </a:cxn>
              <a:cxn ang="0">
                <a:pos x="connsiteX3832" y="connsiteY3832"/>
              </a:cxn>
              <a:cxn ang="0">
                <a:pos x="connsiteX3833" y="connsiteY3833"/>
              </a:cxn>
              <a:cxn ang="0">
                <a:pos x="connsiteX3834" y="connsiteY3834"/>
              </a:cxn>
              <a:cxn ang="0">
                <a:pos x="connsiteX3835" y="connsiteY3835"/>
              </a:cxn>
              <a:cxn ang="0">
                <a:pos x="connsiteX3836" y="connsiteY3836"/>
              </a:cxn>
              <a:cxn ang="0">
                <a:pos x="connsiteX3837" y="connsiteY3837"/>
              </a:cxn>
              <a:cxn ang="0">
                <a:pos x="connsiteX3838" y="connsiteY3838"/>
              </a:cxn>
              <a:cxn ang="0">
                <a:pos x="connsiteX3839" y="connsiteY3839"/>
              </a:cxn>
              <a:cxn ang="0">
                <a:pos x="connsiteX3840" y="connsiteY3840"/>
              </a:cxn>
              <a:cxn ang="0">
                <a:pos x="connsiteX3841" y="connsiteY3841"/>
              </a:cxn>
              <a:cxn ang="0">
                <a:pos x="connsiteX3842" y="connsiteY3842"/>
              </a:cxn>
              <a:cxn ang="0">
                <a:pos x="connsiteX3843" y="connsiteY3843"/>
              </a:cxn>
              <a:cxn ang="0">
                <a:pos x="connsiteX3844" y="connsiteY3844"/>
              </a:cxn>
              <a:cxn ang="0">
                <a:pos x="connsiteX3845" y="connsiteY3845"/>
              </a:cxn>
              <a:cxn ang="0">
                <a:pos x="connsiteX3846" y="connsiteY3846"/>
              </a:cxn>
              <a:cxn ang="0">
                <a:pos x="connsiteX3847" y="connsiteY3847"/>
              </a:cxn>
              <a:cxn ang="0">
                <a:pos x="connsiteX3848" y="connsiteY3848"/>
              </a:cxn>
              <a:cxn ang="0">
                <a:pos x="connsiteX3849" y="connsiteY3849"/>
              </a:cxn>
              <a:cxn ang="0">
                <a:pos x="connsiteX3850" y="connsiteY3850"/>
              </a:cxn>
              <a:cxn ang="0">
                <a:pos x="connsiteX3851" y="connsiteY3851"/>
              </a:cxn>
              <a:cxn ang="0">
                <a:pos x="connsiteX3852" y="connsiteY3852"/>
              </a:cxn>
              <a:cxn ang="0">
                <a:pos x="connsiteX3853" y="connsiteY3853"/>
              </a:cxn>
              <a:cxn ang="0">
                <a:pos x="connsiteX3854" y="connsiteY3854"/>
              </a:cxn>
              <a:cxn ang="0">
                <a:pos x="connsiteX3855" y="connsiteY3855"/>
              </a:cxn>
              <a:cxn ang="0">
                <a:pos x="connsiteX3856" y="connsiteY3856"/>
              </a:cxn>
              <a:cxn ang="0">
                <a:pos x="connsiteX3857" y="connsiteY3857"/>
              </a:cxn>
              <a:cxn ang="0">
                <a:pos x="connsiteX3858" y="connsiteY3858"/>
              </a:cxn>
              <a:cxn ang="0">
                <a:pos x="connsiteX3859" y="connsiteY3859"/>
              </a:cxn>
              <a:cxn ang="0">
                <a:pos x="connsiteX3860" y="connsiteY3860"/>
              </a:cxn>
              <a:cxn ang="0">
                <a:pos x="connsiteX3861" y="connsiteY3861"/>
              </a:cxn>
              <a:cxn ang="0">
                <a:pos x="connsiteX3862" y="connsiteY3862"/>
              </a:cxn>
              <a:cxn ang="0">
                <a:pos x="connsiteX3863" y="connsiteY3863"/>
              </a:cxn>
              <a:cxn ang="0">
                <a:pos x="connsiteX3864" y="connsiteY3864"/>
              </a:cxn>
              <a:cxn ang="0">
                <a:pos x="connsiteX3865" y="connsiteY3865"/>
              </a:cxn>
              <a:cxn ang="0">
                <a:pos x="connsiteX3866" y="connsiteY3866"/>
              </a:cxn>
              <a:cxn ang="0">
                <a:pos x="connsiteX3867" y="connsiteY3867"/>
              </a:cxn>
              <a:cxn ang="0">
                <a:pos x="connsiteX3868" y="connsiteY3868"/>
              </a:cxn>
              <a:cxn ang="0">
                <a:pos x="connsiteX3869" y="connsiteY3869"/>
              </a:cxn>
              <a:cxn ang="0">
                <a:pos x="connsiteX3870" y="connsiteY3870"/>
              </a:cxn>
              <a:cxn ang="0">
                <a:pos x="connsiteX3871" y="connsiteY3871"/>
              </a:cxn>
              <a:cxn ang="0">
                <a:pos x="connsiteX3872" y="connsiteY3872"/>
              </a:cxn>
              <a:cxn ang="0">
                <a:pos x="connsiteX3873" y="connsiteY3873"/>
              </a:cxn>
              <a:cxn ang="0">
                <a:pos x="connsiteX3874" y="connsiteY3874"/>
              </a:cxn>
              <a:cxn ang="0">
                <a:pos x="connsiteX3875" y="connsiteY3875"/>
              </a:cxn>
              <a:cxn ang="0">
                <a:pos x="connsiteX3876" y="connsiteY3876"/>
              </a:cxn>
              <a:cxn ang="0">
                <a:pos x="connsiteX3877" y="connsiteY3877"/>
              </a:cxn>
              <a:cxn ang="0">
                <a:pos x="connsiteX3878" y="connsiteY3878"/>
              </a:cxn>
              <a:cxn ang="0">
                <a:pos x="connsiteX3879" y="connsiteY3879"/>
              </a:cxn>
              <a:cxn ang="0">
                <a:pos x="connsiteX3880" y="connsiteY3880"/>
              </a:cxn>
              <a:cxn ang="0">
                <a:pos x="connsiteX3881" y="connsiteY3881"/>
              </a:cxn>
              <a:cxn ang="0">
                <a:pos x="connsiteX3882" y="connsiteY3882"/>
              </a:cxn>
              <a:cxn ang="0">
                <a:pos x="connsiteX3883" y="connsiteY3883"/>
              </a:cxn>
              <a:cxn ang="0">
                <a:pos x="connsiteX3884" y="connsiteY3884"/>
              </a:cxn>
              <a:cxn ang="0">
                <a:pos x="connsiteX3885" y="connsiteY3885"/>
              </a:cxn>
              <a:cxn ang="0">
                <a:pos x="connsiteX3886" y="connsiteY3886"/>
              </a:cxn>
              <a:cxn ang="0">
                <a:pos x="connsiteX3887" y="connsiteY3887"/>
              </a:cxn>
              <a:cxn ang="0">
                <a:pos x="connsiteX3888" y="connsiteY3888"/>
              </a:cxn>
              <a:cxn ang="0">
                <a:pos x="connsiteX3889" y="connsiteY3889"/>
              </a:cxn>
              <a:cxn ang="0">
                <a:pos x="connsiteX3890" y="connsiteY3890"/>
              </a:cxn>
              <a:cxn ang="0">
                <a:pos x="connsiteX3891" y="connsiteY3891"/>
              </a:cxn>
              <a:cxn ang="0">
                <a:pos x="connsiteX3892" y="connsiteY3892"/>
              </a:cxn>
              <a:cxn ang="0">
                <a:pos x="connsiteX3893" y="connsiteY3893"/>
              </a:cxn>
              <a:cxn ang="0">
                <a:pos x="connsiteX3894" y="connsiteY3894"/>
              </a:cxn>
              <a:cxn ang="0">
                <a:pos x="connsiteX3895" y="connsiteY3895"/>
              </a:cxn>
              <a:cxn ang="0">
                <a:pos x="connsiteX3896" y="connsiteY3896"/>
              </a:cxn>
              <a:cxn ang="0">
                <a:pos x="connsiteX3897" y="connsiteY3897"/>
              </a:cxn>
              <a:cxn ang="0">
                <a:pos x="connsiteX3898" y="connsiteY3898"/>
              </a:cxn>
              <a:cxn ang="0">
                <a:pos x="connsiteX3899" y="connsiteY3899"/>
              </a:cxn>
              <a:cxn ang="0">
                <a:pos x="connsiteX3900" y="connsiteY3900"/>
              </a:cxn>
              <a:cxn ang="0">
                <a:pos x="connsiteX3901" y="connsiteY3901"/>
              </a:cxn>
              <a:cxn ang="0">
                <a:pos x="connsiteX3902" y="connsiteY3902"/>
              </a:cxn>
              <a:cxn ang="0">
                <a:pos x="connsiteX3903" y="connsiteY3903"/>
              </a:cxn>
              <a:cxn ang="0">
                <a:pos x="connsiteX3904" y="connsiteY3904"/>
              </a:cxn>
              <a:cxn ang="0">
                <a:pos x="connsiteX3905" y="connsiteY3905"/>
              </a:cxn>
              <a:cxn ang="0">
                <a:pos x="connsiteX3906" y="connsiteY3906"/>
              </a:cxn>
              <a:cxn ang="0">
                <a:pos x="connsiteX3907" y="connsiteY3907"/>
              </a:cxn>
              <a:cxn ang="0">
                <a:pos x="connsiteX3908" y="connsiteY3908"/>
              </a:cxn>
              <a:cxn ang="0">
                <a:pos x="connsiteX3909" y="connsiteY3909"/>
              </a:cxn>
              <a:cxn ang="0">
                <a:pos x="connsiteX3910" y="connsiteY3910"/>
              </a:cxn>
              <a:cxn ang="0">
                <a:pos x="connsiteX3911" y="connsiteY3911"/>
              </a:cxn>
              <a:cxn ang="0">
                <a:pos x="connsiteX3912" y="connsiteY3912"/>
              </a:cxn>
              <a:cxn ang="0">
                <a:pos x="connsiteX3913" y="connsiteY3913"/>
              </a:cxn>
              <a:cxn ang="0">
                <a:pos x="connsiteX3914" y="connsiteY3914"/>
              </a:cxn>
              <a:cxn ang="0">
                <a:pos x="connsiteX3915" y="connsiteY3915"/>
              </a:cxn>
              <a:cxn ang="0">
                <a:pos x="connsiteX3916" y="connsiteY3916"/>
              </a:cxn>
              <a:cxn ang="0">
                <a:pos x="connsiteX3917" y="connsiteY3917"/>
              </a:cxn>
              <a:cxn ang="0">
                <a:pos x="connsiteX3918" y="connsiteY3918"/>
              </a:cxn>
              <a:cxn ang="0">
                <a:pos x="connsiteX3919" y="connsiteY3919"/>
              </a:cxn>
              <a:cxn ang="0">
                <a:pos x="connsiteX3920" y="connsiteY3920"/>
              </a:cxn>
              <a:cxn ang="0">
                <a:pos x="connsiteX3921" y="connsiteY3921"/>
              </a:cxn>
              <a:cxn ang="0">
                <a:pos x="connsiteX3922" y="connsiteY3922"/>
              </a:cxn>
              <a:cxn ang="0">
                <a:pos x="connsiteX3923" y="connsiteY3923"/>
              </a:cxn>
              <a:cxn ang="0">
                <a:pos x="connsiteX3924" y="connsiteY3924"/>
              </a:cxn>
              <a:cxn ang="0">
                <a:pos x="connsiteX3925" y="connsiteY3925"/>
              </a:cxn>
              <a:cxn ang="0">
                <a:pos x="connsiteX3926" y="connsiteY3926"/>
              </a:cxn>
              <a:cxn ang="0">
                <a:pos x="connsiteX3927" y="connsiteY3927"/>
              </a:cxn>
              <a:cxn ang="0">
                <a:pos x="connsiteX3928" y="connsiteY3928"/>
              </a:cxn>
              <a:cxn ang="0">
                <a:pos x="connsiteX3929" y="connsiteY3929"/>
              </a:cxn>
              <a:cxn ang="0">
                <a:pos x="connsiteX3930" y="connsiteY3930"/>
              </a:cxn>
              <a:cxn ang="0">
                <a:pos x="connsiteX3931" y="connsiteY3931"/>
              </a:cxn>
              <a:cxn ang="0">
                <a:pos x="connsiteX3932" y="connsiteY3932"/>
              </a:cxn>
              <a:cxn ang="0">
                <a:pos x="connsiteX3933" y="connsiteY3933"/>
              </a:cxn>
              <a:cxn ang="0">
                <a:pos x="connsiteX3934" y="connsiteY3934"/>
              </a:cxn>
              <a:cxn ang="0">
                <a:pos x="connsiteX3935" y="connsiteY3935"/>
              </a:cxn>
              <a:cxn ang="0">
                <a:pos x="connsiteX3936" y="connsiteY3936"/>
              </a:cxn>
              <a:cxn ang="0">
                <a:pos x="connsiteX3937" y="connsiteY3937"/>
              </a:cxn>
              <a:cxn ang="0">
                <a:pos x="connsiteX3938" y="connsiteY3938"/>
              </a:cxn>
              <a:cxn ang="0">
                <a:pos x="connsiteX3939" y="connsiteY3939"/>
              </a:cxn>
              <a:cxn ang="0">
                <a:pos x="connsiteX3940" y="connsiteY3940"/>
              </a:cxn>
              <a:cxn ang="0">
                <a:pos x="connsiteX3941" y="connsiteY3941"/>
              </a:cxn>
              <a:cxn ang="0">
                <a:pos x="connsiteX3942" y="connsiteY3942"/>
              </a:cxn>
              <a:cxn ang="0">
                <a:pos x="connsiteX3943" y="connsiteY3943"/>
              </a:cxn>
              <a:cxn ang="0">
                <a:pos x="connsiteX3944" y="connsiteY3944"/>
              </a:cxn>
              <a:cxn ang="0">
                <a:pos x="connsiteX3945" y="connsiteY3945"/>
              </a:cxn>
              <a:cxn ang="0">
                <a:pos x="connsiteX3946" y="connsiteY3946"/>
              </a:cxn>
              <a:cxn ang="0">
                <a:pos x="connsiteX3947" y="connsiteY3947"/>
              </a:cxn>
              <a:cxn ang="0">
                <a:pos x="connsiteX3948" y="connsiteY3948"/>
              </a:cxn>
              <a:cxn ang="0">
                <a:pos x="connsiteX3949" y="connsiteY3949"/>
              </a:cxn>
              <a:cxn ang="0">
                <a:pos x="connsiteX3950" y="connsiteY3950"/>
              </a:cxn>
              <a:cxn ang="0">
                <a:pos x="connsiteX3951" y="connsiteY3951"/>
              </a:cxn>
              <a:cxn ang="0">
                <a:pos x="connsiteX3952" y="connsiteY3952"/>
              </a:cxn>
              <a:cxn ang="0">
                <a:pos x="connsiteX3953" y="connsiteY3953"/>
              </a:cxn>
              <a:cxn ang="0">
                <a:pos x="connsiteX3954" y="connsiteY3954"/>
              </a:cxn>
              <a:cxn ang="0">
                <a:pos x="connsiteX3955" y="connsiteY3955"/>
              </a:cxn>
              <a:cxn ang="0">
                <a:pos x="connsiteX3956" y="connsiteY3956"/>
              </a:cxn>
              <a:cxn ang="0">
                <a:pos x="connsiteX3957" y="connsiteY3957"/>
              </a:cxn>
              <a:cxn ang="0">
                <a:pos x="connsiteX3958" y="connsiteY3958"/>
              </a:cxn>
              <a:cxn ang="0">
                <a:pos x="connsiteX3959" y="connsiteY3959"/>
              </a:cxn>
              <a:cxn ang="0">
                <a:pos x="connsiteX3960" y="connsiteY3960"/>
              </a:cxn>
              <a:cxn ang="0">
                <a:pos x="connsiteX3961" y="connsiteY3961"/>
              </a:cxn>
              <a:cxn ang="0">
                <a:pos x="connsiteX3962" y="connsiteY3962"/>
              </a:cxn>
              <a:cxn ang="0">
                <a:pos x="connsiteX3963" y="connsiteY3963"/>
              </a:cxn>
              <a:cxn ang="0">
                <a:pos x="connsiteX3964" y="connsiteY3964"/>
              </a:cxn>
              <a:cxn ang="0">
                <a:pos x="connsiteX3965" y="connsiteY3965"/>
              </a:cxn>
              <a:cxn ang="0">
                <a:pos x="connsiteX3966" y="connsiteY3966"/>
              </a:cxn>
              <a:cxn ang="0">
                <a:pos x="connsiteX3967" y="connsiteY3967"/>
              </a:cxn>
              <a:cxn ang="0">
                <a:pos x="connsiteX3968" y="connsiteY3968"/>
              </a:cxn>
              <a:cxn ang="0">
                <a:pos x="connsiteX3969" y="connsiteY3969"/>
              </a:cxn>
              <a:cxn ang="0">
                <a:pos x="connsiteX3970" y="connsiteY3970"/>
              </a:cxn>
              <a:cxn ang="0">
                <a:pos x="connsiteX3971" y="connsiteY3971"/>
              </a:cxn>
              <a:cxn ang="0">
                <a:pos x="connsiteX3972" y="connsiteY3972"/>
              </a:cxn>
              <a:cxn ang="0">
                <a:pos x="connsiteX3973" y="connsiteY3973"/>
              </a:cxn>
              <a:cxn ang="0">
                <a:pos x="connsiteX3974" y="connsiteY3974"/>
              </a:cxn>
              <a:cxn ang="0">
                <a:pos x="connsiteX3975" y="connsiteY3975"/>
              </a:cxn>
              <a:cxn ang="0">
                <a:pos x="connsiteX3976" y="connsiteY3976"/>
              </a:cxn>
              <a:cxn ang="0">
                <a:pos x="connsiteX3977" y="connsiteY3977"/>
              </a:cxn>
              <a:cxn ang="0">
                <a:pos x="connsiteX3978" y="connsiteY3978"/>
              </a:cxn>
              <a:cxn ang="0">
                <a:pos x="connsiteX3979" y="connsiteY3979"/>
              </a:cxn>
              <a:cxn ang="0">
                <a:pos x="connsiteX3980" y="connsiteY3980"/>
              </a:cxn>
              <a:cxn ang="0">
                <a:pos x="connsiteX3981" y="connsiteY3981"/>
              </a:cxn>
              <a:cxn ang="0">
                <a:pos x="connsiteX3982" y="connsiteY3982"/>
              </a:cxn>
              <a:cxn ang="0">
                <a:pos x="connsiteX3983" y="connsiteY3983"/>
              </a:cxn>
              <a:cxn ang="0">
                <a:pos x="connsiteX3984" y="connsiteY3984"/>
              </a:cxn>
              <a:cxn ang="0">
                <a:pos x="connsiteX3985" y="connsiteY3985"/>
              </a:cxn>
              <a:cxn ang="0">
                <a:pos x="connsiteX3986" y="connsiteY3986"/>
              </a:cxn>
              <a:cxn ang="0">
                <a:pos x="connsiteX3987" y="connsiteY3987"/>
              </a:cxn>
              <a:cxn ang="0">
                <a:pos x="connsiteX3988" y="connsiteY3988"/>
              </a:cxn>
              <a:cxn ang="0">
                <a:pos x="connsiteX3989" y="connsiteY3989"/>
              </a:cxn>
              <a:cxn ang="0">
                <a:pos x="connsiteX3990" y="connsiteY3990"/>
              </a:cxn>
              <a:cxn ang="0">
                <a:pos x="connsiteX3991" y="connsiteY3991"/>
              </a:cxn>
              <a:cxn ang="0">
                <a:pos x="connsiteX3992" y="connsiteY3992"/>
              </a:cxn>
              <a:cxn ang="0">
                <a:pos x="connsiteX3993" y="connsiteY3993"/>
              </a:cxn>
              <a:cxn ang="0">
                <a:pos x="connsiteX3994" y="connsiteY3994"/>
              </a:cxn>
              <a:cxn ang="0">
                <a:pos x="connsiteX3995" y="connsiteY3995"/>
              </a:cxn>
              <a:cxn ang="0">
                <a:pos x="connsiteX3996" y="connsiteY3996"/>
              </a:cxn>
              <a:cxn ang="0">
                <a:pos x="connsiteX3997" y="connsiteY3997"/>
              </a:cxn>
              <a:cxn ang="0">
                <a:pos x="connsiteX3998" y="connsiteY3998"/>
              </a:cxn>
              <a:cxn ang="0">
                <a:pos x="connsiteX3999" y="connsiteY3999"/>
              </a:cxn>
              <a:cxn ang="0">
                <a:pos x="connsiteX4000" y="connsiteY4000"/>
              </a:cxn>
              <a:cxn ang="0">
                <a:pos x="connsiteX4001" y="connsiteY4001"/>
              </a:cxn>
              <a:cxn ang="0">
                <a:pos x="connsiteX4002" y="connsiteY4002"/>
              </a:cxn>
              <a:cxn ang="0">
                <a:pos x="connsiteX4003" y="connsiteY4003"/>
              </a:cxn>
              <a:cxn ang="0">
                <a:pos x="connsiteX4004" y="connsiteY4004"/>
              </a:cxn>
              <a:cxn ang="0">
                <a:pos x="connsiteX4005" y="connsiteY4005"/>
              </a:cxn>
              <a:cxn ang="0">
                <a:pos x="connsiteX4006" y="connsiteY4006"/>
              </a:cxn>
              <a:cxn ang="0">
                <a:pos x="connsiteX4007" y="connsiteY4007"/>
              </a:cxn>
              <a:cxn ang="0">
                <a:pos x="connsiteX4008" y="connsiteY4008"/>
              </a:cxn>
              <a:cxn ang="0">
                <a:pos x="connsiteX4009" y="connsiteY4009"/>
              </a:cxn>
              <a:cxn ang="0">
                <a:pos x="connsiteX4010" y="connsiteY4010"/>
              </a:cxn>
              <a:cxn ang="0">
                <a:pos x="connsiteX4011" y="connsiteY4011"/>
              </a:cxn>
              <a:cxn ang="0">
                <a:pos x="connsiteX4012" y="connsiteY4012"/>
              </a:cxn>
              <a:cxn ang="0">
                <a:pos x="connsiteX4013" y="connsiteY4013"/>
              </a:cxn>
              <a:cxn ang="0">
                <a:pos x="connsiteX4014" y="connsiteY4014"/>
              </a:cxn>
              <a:cxn ang="0">
                <a:pos x="connsiteX4015" y="connsiteY4015"/>
              </a:cxn>
              <a:cxn ang="0">
                <a:pos x="connsiteX4016" y="connsiteY4016"/>
              </a:cxn>
              <a:cxn ang="0">
                <a:pos x="connsiteX4017" y="connsiteY4017"/>
              </a:cxn>
              <a:cxn ang="0">
                <a:pos x="connsiteX4018" y="connsiteY4018"/>
              </a:cxn>
              <a:cxn ang="0">
                <a:pos x="connsiteX4019" y="connsiteY4019"/>
              </a:cxn>
              <a:cxn ang="0">
                <a:pos x="connsiteX4020" y="connsiteY4020"/>
              </a:cxn>
              <a:cxn ang="0">
                <a:pos x="connsiteX4021" y="connsiteY4021"/>
              </a:cxn>
              <a:cxn ang="0">
                <a:pos x="connsiteX4022" y="connsiteY4022"/>
              </a:cxn>
              <a:cxn ang="0">
                <a:pos x="connsiteX4023" y="connsiteY4023"/>
              </a:cxn>
              <a:cxn ang="0">
                <a:pos x="connsiteX4024" y="connsiteY4024"/>
              </a:cxn>
              <a:cxn ang="0">
                <a:pos x="connsiteX4025" y="connsiteY4025"/>
              </a:cxn>
              <a:cxn ang="0">
                <a:pos x="connsiteX4026" y="connsiteY4026"/>
              </a:cxn>
              <a:cxn ang="0">
                <a:pos x="connsiteX4027" y="connsiteY4027"/>
              </a:cxn>
              <a:cxn ang="0">
                <a:pos x="connsiteX4028" y="connsiteY4028"/>
              </a:cxn>
              <a:cxn ang="0">
                <a:pos x="connsiteX4029" y="connsiteY4029"/>
              </a:cxn>
              <a:cxn ang="0">
                <a:pos x="connsiteX4030" y="connsiteY4030"/>
              </a:cxn>
              <a:cxn ang="0">
                <a:pos x="connsiteX4031" y="connsiteY4031"/>
              </a:cxn>
              <a:cxn ang="0">
                <a:pos x="connsiteX4032" y="connsiteY4032"/>
              </a:cxn>
              <a:cxn ang="0">
                <a:pos x="connsiteX4033" y="connsiteY4033"/>
              </a:cxn>
              <a:cxn ang="0">
                <a:pos x="connsiteX4034" y="connsiteY4034"/>
              </a:cxn>
              <a:cxn ang="0">
                <a:pos x="connsiteX4035" y="connsiteY4035"/>
              </a:cxn>
              <a:cxn ang="0">
                <a:pos x="connsiteX4036" y="connsiteY4036"/>
              </a:cxn>
              <a:cxn ang="0">
                <a:pos x="connsiteX4037" y="connsiteY4037"/>
              </a:cxn>
              <a:cxn ang="0">
                <a:pos x="connsiteX4038" y="connsiteY4038"/>
              </a:cxn>
              <a:cxn ang="0">
                <a:pos x="connsiteX4039" y="connsiteY4039"/>
              </a:cxn>
              <a:cxn ang="0">
                <a:pos x="connsiteX4040" y="connsiteY4040"/>
              </a:cxn>
              <a:cxn ang="0">
                <a:pos x="connsiteX4041" y="connsiteY4041"/>
              </a:cxn>
              <a:cxn ang="0">
                <a:pos x="connsiteX4042" y="connsiteY4042"/>
              </a:cxn>
              <a:cxn ang="0">
                <a:pos x="connsiteX4043" y="connsiteY4043"/>
              </a:cxn>
              <a:cxn ang="0">
                <a:pos x="connsiteX4044" y="connsiteY4044"/>
              </a:cxn>
              <a:cxn ang="0">
                <a:pos x="connsiteX4045" y="connsiteY4045"/>
              </a:cxn>
              <a:cxn ang="0">
                <a:pos x="connsiteX4046" y="connsiteY4046"/>
              </a:cxn>
              <a:cxn ang="0">
                <a:pos x="connsiteX4047" y="connsiteY4047"/>
              </a:cxn>
              <a:cxn ang="0">
                <a:pos x="connsiteX4048" y="connsiteY4048"/>
              </a:cxn>
              <a:cxn ang="0">
                <a:pos x="connsiteX4049" y="connsiteY4049"/>
              </a:cxn>
              <a:cxn ang="0">
                <a:pos x="connsiteX4050" y="connsiteY4050"/>
              </a:cxn>
              <a:cxn ang="0">
                <a:pos x="connsiteX4051" y="connsiteY4051"/>
              </a:cxn>
              <a:cxn ang="0">
                <a:pos x="connsiteX4052" y="connsiteY4052"/>
              </a:cxn>
              <a:cxn ang="0">
                <a:pos x="connsiteX4053" y="connsiteY4053"/>
              </a:cxn>
              <a:cxn ang="0">
                <a:pos x="connsiteX4054" y="connsiteY4054"/>
              </a:cxn>
              <a:cxn ang="0">
                <a:pos x="connsiteX4055" y="connsiteY4055"/>
              </a:cxn>
              <a:cxn ang="0">
                <a:pos x="connsiteX4056" y="connsiteY4056"/>
              </a:cxn>
              <a:cxn ang="0">
                <a:pos x="connsiteX4057" y="connsiteY4057"/>
              </a:cxn>
              <a:cxn ang="0">
                <a:pos x="connsiteX4058" y="connsiteY4058"/>
              </a:cxn>
              <a:cxn ang="0">
                <a:pos x="connsiteX4059" y="connsiteY4059"/>
              </a:cxn>
              <a:cxn ang="0">
                <a:pos x="connsiteX4060" y="connsiteY4060"/>
              </a:cxn>
              <a:cxn ang="0">
                <a:pos x="connsiteX4061" y="connsiteY4061"/>
              </a:cxn>
              <a:cxn ang="0">
                <a:pos x="connsiteX4062" y="connsiteY4062"/>
              </a:cxn>
              <a:cxn ang="0">
                <a:pos x="connsiteX4063" y="connsiteY4063"/>
              </a:cxn>
              <a:cxn ang="0">
                <a:pos x="connsiteX4064" y="connsiteY4064"/>
              </a:cxn>
              <a:cxn ang="0">
                <a:pos x="connsiteX4065" y="connsiteY4065"/>
              </a:cxn>
              <a:cxn ang="0">
                <a:pos x="connsiteX4066" y="connsiteY4066"/>
              </a:cxn>
              <a:cxn ang="0">
                <a:pos x="connsiteX4067" y="connsiteY4067"/>
              </a:cxn>
              <a:cxn ang="0">
                <a:pos x="connsiteX4068" y="connsiteY4068"/>
              </a:cxn>
              <a:cxn ang="0">
                <a:pos x="connsiteX4069" y="connsiteY4069"/>
              </a:cxn>
              <a:cxn ang="0">
                <a:pos x="connsiteX4070" y="connsiteY4070"/>
              </a:cxn>
              <a:cxn ang="0">
                <a:pos x="connsiteX4071" y="connsiteY4071"/>
              </a:cxn>
              <a:cxn ang="0">
                <a:pos x="connsiteX4072" y="connsiteY4072"/>
              </a:cxn>
              <a:cxn ang="0">
                <a:pos x="connsiteX4073" y="connsiteY4073"/>
              </a:cxn>
              <a:cxn ang="0">
                <a:pos x="connsiteX4074" y="connsiteY4074"/>
              </a:cxn>
              <a:cxn ang="0">
                <a:pos x="connsiteX4075" y="connsiteY4075"/>
              </a:cxn>
              <a:cxn ang="0">
                <a:pos x="connsiteX4076" y="connsiteY4076"/>
              </a:cxn>
              <a:cxn ang="0">
                <a:pos x="connsiteX4077" y="connsiteY4077"/>
              </a:cxn>
              <a:cxn ang="0">
                <a:pos x="connsiteX4078" y="connsiteY4078"/>
              </a:cxn>
              <a:cxn ang="0">
                <a:pos x="connsiteX4079" y="connsiteY4079"/>
              </a:cxn>
              <a:cxn ang="0">
                <a:pos x="connsiteX4080" y="connsiteY4080"/>
              </a:cxn>
              <a:cxn ang="0">
                <a:pos x="connsiteX4081" y="connsiteY4081"/>
              </a:cxn>
              <a:cxn ang="0">
                <a:pos x="connsiteX4082" y="connsiteY4082"/>
              </a:cxn>
              <a:cxn ang="0">
                <a:pos x="connsiteX4083" y="connsiteY4083"/>
              </a:cxn>
              <a:cxn ang="0">
                <a:pos x="connsiteX4084" y="connsiteY4084"/>
              </a:cxn>
              <a:cxn ang="0">
                <a:pos x="connsiteX4085" y="connsiteY4085"/>
              </a:cxn>
              <a:cxn ang="0">
                <a:pos x="connsiteX4086" y="connsiteY4086"/>
              </a:cxn>
              <a:cxn ang="0">
                <a:pos x="connsiteX4087" y="connsiteY4087"/>
              </a:cxn>
              <a:cxn ang="0">
                <a:pos x="connsiteX4088" y="connsiteY4088"/>
              </a:cxn>
              <a:cxn ang="0">
                <a:pos x="connsiteX4089" y="connsiteY4089"/>
              </a:cxn>
              <a:cxn ang="0">
                <a:pos x="connsiteX4090" y="connsiteY4090"/>
              </a:cxn>
              <a:cxn ang="0">
                <a:pos x="connsiteX4091" y="connsiteY4091"/>
              </a:cxn>
              <a:cxn ang="0">
                <a:pos x="connsiteX4092" y="connsiteY4092"/>
              </a:cxn>
              <a:cxn ang="0">
                <a:pos x="connsiteX4093" y="connsiteY4093"/>
              </a:cxn>
              <a:cxn ang="0">
                <a:pos x="connsiteX4094" y="connsiteY4094"/>
              </a:cxn>
              <a:cxn ang="0">
                <a:pos x="connsiteX4095" y="connsiteY4095"/>
              </a:cxn>
              <a:cxn ang="0">
                <a:pos x="connsiteX4096" y="connsiteY4096"/>
              </a:cxn>
              <a:cxn ang="0">
                <a:pos x="connsiteX4097" y="connsiteY4097"/>
              </a:cxn>
              <a:cxn ang="0">
                <a:pos x="connsiteX4098" y="connsiteY4098"/>
              </a:cxn>
              <a:cxn ang="0">
                <a:pos x="connsiteX4099" y="connsiteY4099"/>
              </a:cxn>
              <a:cxn ang="0">
                <a:pos x="connsiteX4100" y="connsiteY4100"/>
              </a:cxn>
              <a:cxn ang="0">
                <a:pos x="connsiteX4101" y="connsiteY4101"/>
              </a:cxn>
              <a:cxn ang="0">
                <a:pos x="connsiteX4102" y="connsiteY4102"/>
              </a:cxn>
              <a:cxn ang="0">
                <a:pos x="connsiteX4103" y="connsiteY4103"/>
              </a:cxn>
              <a:cxn ang="0">
                <a:pos x="connsiteX4104" y="connsiteY4104"/>
              </a:cxn>
              <a:cxn ang="0">
                <a:pos x="connsiteX4105" y="connsiteY4105"/>
              </a:cxn>
              <a:cxn ang="0">
                <a:pos x="connsiteX4106" y="connsiteY4106"/>
              </a:cxn>
              <a:cxn ang="0">
                <a:pos x="connsiteX4107" y="connsiteY4107"/>
              </a:cxn>
              <a:cxn ang="0">
                <a:pos x="connsiteX4108" y="connsiteY4108"/>
              </a:cxn>
              <a:cxn ang="0">
                <a:pos x="connsiteX4109" y="connsiteY4109"/>
              </a:cxn>
              <a:cxn ang="0">
                <a:pos x="connsiteX4110" y="connsiteY4110"/>
              </a:cxn>
              <a:cxn ang="0">
                <a:pos x="connsiteX4111" y="connsiteY4111"/>
              </a:cxn>
              <a:cxn ang="0">
                <a:pos x="connsiteX4112" y="connsiteY4112"/>
              </a:cxn>
              <a:cxn ang="0">
                <a:pos x="connsiteX4113" y="connsiteY4113"/>
              </a:cxn>
              <a:cxn ang="0">
                <a:pos x="connsiteX4114" y="connsiteY4114"/>
              </a:cxn>
              <a:cxn ang="0">
                <a:pos x="connsiteX4115" y="connsiteY4115"/>
              </a:cxn>
              <a:cxn ang="0">
                <a:pos x="connsiteX4116" y="connsiteY4116"/>
              </a:cxn>
              <a:cxn ang="0">
                <a:pos x="connsiteX4117" y="connsiteY4117"/>
              </a:cxn>
              <a:cxn ang="0">
                <a:pos x="connsiteX4118" y="connsiteY4118"/>
              </a:cxn>
              <a:cxn ang="0">
                <a:pos x="connsiteX4119" y="connsiteY4119"/>
              </a:cxn>
              <a:cxn ang="0">
                <a:pos x="connsiteX4120" y="connsiteY4120"/>
              </a:cxn>
              <a:cxn ang="0">
                <a:pos x="connsiteX4121" y="connsiteY4121"/>
              </a:cxn>
              <a:cxn ang="0">
                <a:pos x="connsiteX4122" y="connsiteY4122"/>
              </a:cxn>
              <a:cxn ang="0">
                <a:pos x="connsiteX4123" y="connsiteY4123"/>
              </a:cxn>
              <a:cxn ang="0">
                <a:pos x="connsiteX4124" y="connsiteY4124"/>
              </a:cxn>
              <a:cxn ang="0">
                <a:pos x="connsiteX4125" y="connsiteY4125"/>
              </a:cxn>
              <a:cxn ang="0">
                <a:pos x="connsiteX4126" y="connsiteY4126"/>
              </a:cxn>
              <a:cxn ang="0">
                <a:pos x="connsiteX4127" y="connsiteY4127"/>
              </a:cxn>
              <a:cxn ang="0">
                <a:pos x="connsiteX4128" y="connsiteY4128"/>
              </a:cxn>
              <a:cxn ang="0">
                <a:pos x="connsiteX4129" y="connsiteY4129"/>
              </a:cxn>
              <a:cxn ang="0">
                <a:pos x="connsiteX4130" y="connsiteY4130"/>
              </a:cxn>
              <a:cxn ang="0">
                <a:pos x="connsiteX4131" y="connsiteY4131"/>
              </a:cxn>
              <a:cxn ang="0">
                <a:pos x="connsiteX4132" y="connsiteY4132"/>
              </a:cxn>
              <a:cxn ang="0">
                <a:pos x="connsiteX4133" y="connsiteY4133"/>
              </a:cxn>
              <a:cxn ang="0">
                <a:pos x="connsiteX4134" y="connsiteY4134"/>
              </a:cxn>
              <a:cxn ang="0">
                <a:pos x="connsiteX4135" y="connsiteY4135"/>
              </a:cxn>
              <a:cxn ang="0">
                <a:pos x="connsiteX4136" y="connsiteY4136"/>
              </a:cxn>
              <a:cxn ang="0">
                <a:pos x="connsiteX4137" y="connsiteY4137"/>
              </a:cxn>
              <a:cxn ang="0">
                <a:pos x="connsiteX4138" y="connsiteY4138"/>
              </a:cxn>
              <a:cxn ang="0">
                <a:pos x="connsiteX4139" y="connsiteY4139"/>
              </a:cxn>
              <a:cxn ang="0">
                <a:pos x="connsiteX4140" y="connsiteY4140"/>
              </a:cxn>
              <a:cxn ang="0">
                <a:pos x="connsiteX4141" y="connsiteY4141"/>
              </a:cxn>
              <a:cxn ang="0">
                <a:pos x="connsiteX4142" y="connsiteY4142"/>
              </a:cxn>
              <a:cxn ang="0">
                <a:pos x="connsiteX4143" y="connsiteY4143"/>
              </a:cxn>
              <a:cxn ang="0">
                <a:pos x="connsiteX4144" y="connsiteY4144"/>
              </a:cxn>
              <a:cxn ang="0">
                <a:pos x="connsiteX4145" y="connsiteY4145"/>
              </a:cxn>
              <a:cxn ang="0">
                <a:pos x="connsiteX4146" y="connsiteY4146"/>
              </a:cxn>
              <a:cxn ang="0">
                <a:pos x="connsiteX4147" y="connsiteY4147"/>
              </a:cxn>
              <a:cxn ang="0">
                <a:pos x="connsiteX4148" y="connsiteY4148"/>
              </a:cxn>
              <a:cxn ang="0">
                <a:pos x="connsiteX4149" y="connsiteY4149"/>
              </a:cxn>
              <a:cxn ang="0">
                <a:pos x="connsiteX4150" y="connsiteY4150"/>
              </a:cxn>
              <a:cxn ang="0">
                <a:pos x="connsiteX4151" y="connsiteY4151"/>
              </a:cxn>
              <a:cxn ang="0">
                <a:pos x="connsiteX4152" y="connsiteY4152"/>
              </a:cxn>
              <a:cxn ang="0">
                <a:pos x="connsiteX4153" y="connsiteY4153"/>
              </a:cxn>
              <a:cxn ang="0">
                <a:pos x="connsiteX4154" y="connsiteY4154"/>
              </a:cxn>
              <a:cxn ang="0">
                <a:pos x="connsiteX4155" y="connsiteY4155"/>
              </a:cxn>
              <a:cxn ang="0">
                <a:pos x="connsiteX4156" y="connsiteY4156"/>
              </a:cxn>
              <a:cxn ang="0">
                <a:pos x="connsiteX4157" y="connsiteY4157"/>
              </a:cxn>
              <a:cxn ang="0">
                <a:pos x="connsiteX4158" y="connsiteY4158"/>
              </a:cxn>
              <a:cxn ang="0">
                <a:pos x="connsiteX4159" y="connsiteY4159"/>
              </a:cxn>
              <a:cxn ang="0">
                <a:pos x="connsiteX4160" y="connsiteY4160"/>
              </a:cxn>
              <a:cxn ang="0">
                <a:pos x="connsiteX4161" y="connsiteY4161"/>
              </a:cxn>
              <a:cxn ang="0">
                <a:pos x="connsiteX4162" y="connsiteY4162"/>
              </a:cxn>
              <a:cxn ang="0">
                <a:pos x="connsiteX4163" y="connsiteY4163"/>
              </a:cxn>
              <a:cxn ang="0">
                <a:pos x="connsiteX4164" y="connsiteY4164"/>
              </a:cxn>
              <a:cxn ang="0">
                <a:pos x="connsiteX4165" y="connsiteY4165"/>
              </a:cxn>
              <a:cxn ang="0">
                <a:pos x="connsiteX4166" y="connsiteY4166"/>
              </a:cxn>
              <a:cxn ang="0">
                <a:pos x="connsiteX4167" y="connsiteY4167"/>
              </a:cxn>
              <a:cxn ang="0">
                <a:pos x="connsiteX4168" y="connsiteY4168"/>
              </a:cxn>
              <a:cxn ang="0">
                <a:pos x="connsiteX4169" y="connsiteY4169"/>
              </a:cxn>
              <a:cxn ang="0">
                <a:pos x="connsiteX4170" y="connsiteY4170"/>
              </a:cxn>
              <a:cxn ang="0">
                <a:pos x="connsiteX4171" y="connsiteY4171"/>
              </a:cxn>
              <a:cxn ang="0">
                <a:pos x="connsiteX4172" y="connsiteY4172"/>
              </a:cxn>
              <a:cxn ang="0">
                <a:pos x="connsiteX4173" y="connsiteY4173"/>
              </a:cxn>
              <a:cxn ang="0">
                <a:pos x="connsiteX4174" y="connsiteY4174"/>
              </a:cxn>
              <a:cxn ang="0">
                <a:pos x="connsiteX4175" y="connsiteY4175"/>
              </a:cxn>
              <a:cxn ang="0">
                <a:pos x="connsiteX4176" y="connsiteY4176"/>
              </a:cxn>
              <a:cxn ang="0">
                <a:pos x="connsiteX4177" y="connsiteY4177"/>
              </a:cxn>
              <a:cxn ang="0">
                <a:pos x="connsiteX4178" y="connsiteY4178"/>
              </a:cxn>
              <a:cxn ang="0">
                <a:pos x="connsiteX4179" y="connsiteY4179"/>
              </a:cxn>
              <a:cxn ang="0">
                <a:pos x="connsiteX4180" y="connsiteY4180"/>
              </a:cxn>
              <a:cxn ang="0">
                <a:pos x="connsiteX4181" y="connsiteY4181"/>
              </a:cxn>
              <a:cxn ang="0">
                <a:pos x="connsiteX4182" y="connsiteY4182"/>
              </a:cxn>
              <a:cxn ang="0">
                <a:pos x="connsiteX4183" y="connsiteY4183"/>
              </a:cxn>
              <a:cxn ang="0">
                <a:pos x="connsiteX4184" y="connsiteY4184"/>
              </a:cxn>
              <a:cxn ang="0">
                <a:pos x="connsiteX4185" y="connsiteY4185"/>
              </a:cxn>
              <a:cxn ang="0">
                <a:pos x="connsiteX4186" y="connsiteY4186"/>
              </a:cxn>
              <a:cxn ang="0">
                <a:pos x="connsiteX4187" y="connsiteY4187"/>
              </a:cxn>
              <a:cxn ang="0">
                <a:pos x="connsiteX4188" y="connsiteY4188"/>
              </a:cxn>
              <a:cxn ang="0">
                <a:pos x="connsiteX4189" y="connsiteY4189"/>
              </a:cxn>
              <a:cxn ang="0">
                <a:pos x="connsiteX4190" y="connsiteY4190"/>
              </a:cxn>
              <a:cxn ang="0">
                <a:pos x="connsiteX4191" y="connsiteY4191"/>
              </a:cxn>
              <a:cxn ang="0">
                <a:pos x="connsiteX4192" y="connsiteY4192"/>
              </a:cxn>
              <a:cxn ang="0">
                <a:pos x="connsiteX4193" y="connsiteY4193"/>
              </a:cxn>
              <a:cxn ang="0">
                <a:pos x="connsiteX4194" y="connsiteY4194"/>
              </a:cxn>
              <a:cxn ang="0">
                <a:pos x="connsiteX4195" y="connsiteY4195"/>
              </a:cxn>
              <a:cxn ang="0">
                <a:pos x="connsiteX4196" y="connsiteY4196"/>
              </a:cxn>
              <a:cxn ang="0">
                <a:pos x="connsiteX4197" y="connsiteY4197"/>
              </a:cxn>
              <a:cxn ang="0">
                <a:pos x="connsiteX4198" y="connsiteY4198"/>
              </a:cxn>
              <a:cxn ang="0">
                <a:pos x="connsiteX4199" y="connsiteY4199"/>
              </a:cxn>
              <a:cxn ang="0">
                <a:pos x="connsiteX4200" y="connsiteY4200"/>
              </a:cxn>
              <a:cxn ang="0">
                <a:pos x="connsiteX4201" y="connsiteY4201"/>
              </a:cxn>
              <a:cxn ang="0">
                <a:pos x="connsiteX4202" y="connsiteY4202"/>
              </a:cxn>
              <a:cxn ang="0">
                <a:pos x="connsiteX4203" y="connsiteY4203"/>
              </a:cxn>
              <a:cxn ang="0">
                <a:pos x="connsiteX4204" y="connsiteY4204"/>
              </a:cxn>
              <a:cxn ang="0">
                <a:pos x="connsiteX4205" y="connsiteY4205"/>
              </a:cxn>
              <a:cxn ang="0">
                <a:pos x="connsiteX4206" y="connsiteY4206"/>
              </a:cxn>
              <a:cxn ang="0">
                <a:pos x="connsiteX4207" y="connsiteY4207"/>
              </a:cxn>
              <a:cxn ang="0">
                <a:pos x="connsiteX4208" y="connsiteY4208"/>
              </a:cxn>
              <a:cxn ang="0">
                <a:pos x="connsiteX4209" y="connsiteY4209"/>
              </a:cxn>
              <a:cxn ang="0">
                <a:pos x="connsiteX4210" y="connsiteY4210"/>
              </a:cxn>
              <a:cxn ang="0">
                <a:pos x="connsiteX4211" y="connsiteY4211"/>
              </a:cxn>
              <a:cxn ang="0">
                <a:pos x="connsiteX4212" y="connsiteY4212"/>
              </a:cxn>
              <a:cxn ang="0">
                <a:pos x="connsiteX4213" y="connsiteY4213"/>
              </a:cxn>
              <a:cxn ang="0">
                <a:pos x="connsiteX4214" y="connsiteY4214"/>
              </a:cxn>
              <a:cxn ang="0">
                <a:pos x="connsiteX4215" y="connsiteY4215"/>
              </a:cxn>
              <a:cxn ang="0">
                <a:pos x="connsiteX4216" y="connsiteY4216"/>
              </a:cxn>
              <a:cxn ang="0">
                <a:pos x="connsiteX4217" y="connsiteY4217"/>
              </a:cxn>
              <a:cxn ang="0">
                <a:pos x="connsiteX4218" y="connsiteY4218"/>
              </a:cxn>
              <a:cxn ang="0">
                <a:pos x="connsiteX4219" y="connsiteY4219"/>
              </a:cxn>
              <a:cxn ang="0">
                <a:pos x="connsiteX4220" y="connsiteY4220"/>
              </a:cxn>
              <a:cxn ang="0">
                <a:pos x="connsiteX4221" y="connsiteY4221"/>
              </a:cxn>
              <a:cxn ang="0">
                <a:pos x="connsiteX4222" y="connsiteY4222"/>
              </a:cxn>
              <a:cxn ang="0">
                <a:pos x="connsiteX4223" y="connsiteY4223"/>
              </a:cxn>
              <a:cxn ang="0">
                <a:pos x="connsiteX4224" y="connsiteY4224"/>
              </a:cxn>
              <a:cxn ang="0">
                <a:pos x="connsiteX4225" y="connsiteY4225"/>
              </a:cxn>
              <a:cxn ang="0">
                <a:pos x="connsiteX4226" y="connsiteY4226"/>
              </a:cxn>
              <a:cxn ang="0">
                <a:pos x="connsiteX4227" y="connsiteY4227"/>
              </a:cxn>
              <a:cxn ang="0">
                <a:pos x="connsiteX4228" y="connsiteY4228"/>
              </a:cxn>
              <a:cxn ang="0">
                <a:pos x="connsiteX4229" y="connsiteY4229"/>
              </a:cxn>
              <a:cxn ang="0">
                <a:pos x="connsiteX4230" y="connsiteY4230"/>
              </a:cxn>
              <a:cxn ang="0">
                <a:pos x="connsiteX4231" y="connsiteY4231"/>
              </a:cxn>
              <a:cxn ang="0">
                <a:pos x="connsiteX4232" y="connsiteY4232"/>
              </a:cxn>
              <a:cxn ang="0">
                <a:pos x="connsiteX4233" y="connsiteY4233"/>
              </a:cxn>
              <a:cxn ang="0">
                <a:pos x="connsiteX4234" y="connsiteY4234"/>
              </a:cxn>
              <a:cxn ang="0">
                <a:pos x="connsiteX4235" y="connsiteY4235"/>
              </a:cxn>
              <a:cxn ang="0">
                <a:pos x="connsiteX4236" y="connsiteY4236"/>
              </a:cxn>
              <a:cxn ang="0">
                <a:pos x="connsiteX4237" y="connsiteY4237"/>
              </a:cxn>
              <a:cxn ang="0">
                <a:pos x="connsiteX4238" y="connsiteY4238"/>
              </a:cxn>
              <a:cxn ang="0">
                <a:pos x="connsiteX4239" y="connsiteY4239"/>
              </a:cxn>
              <a:cxn ang="0">
                <a:pos x="connsiteX4240" y="connsiteY4240"/>
              </a:cxn>
              <a:cxn ang="0">
                <a:pos x="connsiteX4241" y="connsiteY4241"/>
              </a:cxn>
              <a:cxn ang="0">
                <a:pos x="connsiteX4242" y="connsiteY4242"/>
              </a:cxn>
              <a:cxn ang="0">
                <a:pos x="connsiteX4243" y="connsiteY4243"/>
              </a:cxn>
              <a:cxn ang="0">
                <a:pos x="connsiteX4244" y="connsiteY4244"/>
              </a:cxn>
              <a:cxn ang="0">
                <a:pos x="connsiteX4245" y="connsiteY4245"/>
              </a:cxn>
              <a:cxn ang="0">
                <a:pos x="connsiteX4246" y="connsiteY4246"/>
              </a:cxn>
              <a:cxn ang="0">
                <a:pos x="connsiteX4247" y="connsiteY4247"/>
              </a:cxn>
              <a:cxn ang="0">
                <a:pos x="connsiteX4248" y="connsiteY4248"/>
              </a:cxn>
              <a:cxn ang="0">
                <a:pos x="connsiteX4249" y="connsiteY4249"/>
              </a:cxn>
              <a:cxn ang="0">
                <a:pos x="connsiteX4250" y="connsiteY4250"/>
              </a:cxn>
              <a:cxn ang="0">
                <a:pos x="connsiteX4251" y="connsiteY4251"/>
              </a:cxn>
              <a:cxn ang="0">
                <a:pos x="connsiteX4252" y="connsiteY4252"/>
              </a:cxn>
              <a:cxn ang="0">
                <a:pos x="connsiteX4253" y="connsiteY4253"/>
              </a:cxn>
              <a:cxn ang="0">
                <a:pos x="connsiteX4254" y="connsiteY4254"/>
              </a:cxn>
              <a:cxn ang="0">
                <a:pos x="connsiteX4255" y="connsiteY4255"/>
              </a:cxn>
              <a:cxn ang="0">
                <a:pos x="connsiteX4256" y="connsiteY4256"/>
              </a:cxn>
              <a:cxn ang="0">
                <a:pos x="connsiteX4257" y="connsiteY4257"/>
              </a:cxn>
              <a:cxn ang="0">
                <a:pos x="connsiteX4258" y="connsiteY4258"/>
              </a:cxn>
              <a:cxn ang="0">
                <a:pos x="connsiteX4259" y="connsiteY4259"/>
              </a:cxn>
              <a:cxn ang="0">
                <a:pos x="connsiteX4260" y="connsiteY4260"/>
              </a:cxn>
              <a:cxn ang="0">
                <a:pos x="connsiteX4261" y="connsiteY4261"/>
              </a:cxn>
              <a:cxn ang="0">
                <a:pos x="connsiteX4262" y="connsiteY4262"/>
              </a:cxn>
              <a:cxn ang="0">
                <a:pos x="connsiteX4263" y="connsiteY4263"/>
              </a:cxn>
              <a:cxn ang="0">
                <a:pos x="connsiteX4264" y="connsiteY4264"/>
              </a:cxn>
              <a:cxn ang="0">
                <a:pos x="connsiteX4265" y="connsiteY4265"/>
              </a:cxn>
              <a:cxn ang="0">
                <a:pos x="connsiteX4266" y="connsiteY4266"/>
              </a:cxn>
              <a:cxn ang="0">
                <a:pos x="connsiteX4267" y="connsiteY4267"/>
              </a:cxn>
              <a:cxn ang="0">
                <a:pos x="connsiteX4268" y="connsiteY4268"/>
              </a:cxn>
              <a:cxn ang="0">
                <a:pos x="connsiteX4269" y="connsiteY4269"/>
              </a:cxn>
              <a:cxn ang="0">
                <a:pos x="connsiteX4270" y="connsiteY4270"/>
              </a:cxn>
              <a:cxn ang="0">
                <a:pos x="connsiteX4271" y="connsiteY4271"/>
              </a:cxn>
              <a:cxn ang="0">
                <a:pos x="connsiteX4272" y="connsiteY4272"/>
              </a:cxn>
              <a:cxn ang="0">
                <a:pos x="connsiteX4273" y="connsiteY4273"/>
              </a:cxn>
              <a:cxn ang="0">
                <a:pos x="connsiteX4274" y="connsiteY4274"/>
              </a:cxn>
              <a:cxn ang="0">
                <a:pos x="connsiteX4275" y="connsiteY4275"/>
              </a:cxn>
              <a:cxn ang="0">
                <a:pos x="connsiteX4276" y="connsiteY4276"/>
              </a:cxn>
              <a:cxn ang="0">
                <a:pos x="connsiteX4277" y="connsiteY4277"/>
              </a:cxn>
              <a:cxn ang="0">
                <a:pos x="connsiteX4278" y="connsiteY4278"/>
              </a:cxn>
              <a:cxn ang="0">
                <a:pos x="connsiteX4279" y="connsiteY4279"/>
              </a:cxn>
              <a:cxn ang="0">
                <a:pos x="connsiteX4280" y="connsiteY4280"/>
              </a:cxn>
              <a:cxn ang="0">
                <a:pos x="connsiteX4281" y="connsiteY4281"/>
              </a:cxn>
              <a:cxn ang="0">
                <a:pos x="connsiteX4282" y="connsiteY4282"/>
              </a:cxn>
              <a:cxn ang="0">
                <a:pos x="connsiteX4283" y="connsiteY4283"/>
              </a:cxn>
              <a:cxn ang="0">
                <a:pos x="connsiteX4284" y="connsiteY4284"/>
              </a:cxn>
              <a:cxn ang="0">
                <a:pos x="connsiteX4285" y="connsiteY4285"/>
              </a:cxn>
              <a:cxn ang="0">
                <a:pos x="connsiteX4286" y="connsiteY4286"/>
              </a:cxn>
              <a:cxn ang="0">
                <a:pos x="connsiteX4287" y="connsiteY4287"/>
              </a:cxn>
              <a:cxn ang="0">
                <a:pos x="connsiteX4288" y="connsiteY4288"/>
              </a:cxn>
              <a:cxn ang="0">
                <a:pos x="connsiteX4289" y="connsiteY4289"/>
              </a:cxn>
              <a:cxn ang="0">
                <a:pos x="connsiteX4290" y="connsiteY4290"/>
              </a:cxn>
              <a:cxn ang="0">
                <a:pos x="connsiteX4291" y="connsiteY4291"/>
              </a:cxn>
              <a:cxn ang="0">
                <a:pos x="connsiteX4292" y="connsiteY4292"/>
              </a:cxn>
              <a:cxn ang="0">
                <a:pos x="connsiteX4293" y="connsiteY4293"/>
              </a:cxn>
              <a:cxn ang="0">
                <a:pos x="connsiteX4294" y="connsiteY4294"/>
              </a:cxn>
              <a:cxn ang="0">
                <a:pos x="connsiteX4295" y="connsiteY4295"/>
              </a:cxn>
              <a:cxn ang="0">
                <a:pos x="connsiteX4296" y="connsiteY4296"/>
              </a:cxn>
              <a:cxn ang="0">
                <a:pos x="connsiteX4297" y="connsiteY4297"/>
              </a:cxn>
              <a:cxn ang="0">
                <a:pos x="connsiteX4298" y="connsiteY4298"/>
              </a:cxn>
              <a:cxn ang="0">
                <a:pos x="connsiteX4299" y="connsiteY4299"/>
              </a:cxn>
              <a:cxn ang="0">
                <a:pos x="connsiteX4300" y="connsiteY4300"/>
              </a:cxn>
              <a:cxn ang="0">
                <a:pos x="connsiteX4301" y="connsiteY4301"/>
              </a:cxn>
              <a:cxn ang="0">
                <a:pos x="connsiteX4302" y="connsiteY4302"/>
              </a:cxn>
              <a:cxn ang="0">
                <a:pos x="connsiteX4303" y="connsiteY4303"/>
              </a:cxn>
              <a:cxn ang="0">
                <a:pos x="connsiteX4304" y="connsiteY4304"/>
              </a:cxn>
              <a:cxn ang="0">
                <a:pos x="connsiteX4305" y="connsiteY4305"/>
              </a:cxn>
              <a:cxn ang="0">
                <a:pos x="connsiteX4306" y="connsiteY4306"/>
              </a:cxn>
              <a:cxn ang="0">
                <a:pos x="connsiteX4307" y="connsiteY4307"/>
              </a:cxn>
              <a:cxn ang="0">
                <a:pos x="connsiteX4308" y="connsiteY4308"/>
              </a:cxn>
              <a:cxn ang="0">
                <a:pos x="connsiteX4309" y="connsiteY4309"/>
              </a:cxn>
              <a:cxn ang="0">
                <a:pos x="connsiteX4310" y="connsiteY4310"/>
              </a:cxn>
              <a:cxn ang="0">
                <a:pos x="connsiteX4311" y="connsiteY4311"/>
              </a:cxn>
              <a:cxn ang="0">
                <a:pos x="connsiteX4312" y="connsiteY4312"/>
              </a:cxn>
              <a:cxn ang="0">
                <a:pos x="connsiteX4313" y="connsiteY4313"/>
              </a:cxn>
              <a:cxn ang="0">
                <a:pos x="connsiteX4314" y="connsiteY4314"/>
              </a:cxn>
              <a:cxn ang="0">
                <a:pos x="connsiteX4315" y="connsiteY4315"/>
              </a:cxn>
              <a:cxn ang="0">
                <a:pos x="connsiteX4316" y="connsiteY4316"/>
              </a:cxn>
              <a:cxn ang="0">
                <a:pos x="connsiteX4317" y="connsiteY4317"/>
              </a:cxn>
              <a:cxn ang="0">
                <a:pos x="connsiteX4318" y="connsiteY4318"/>
              </a:cxn>
              <a:cxn ang="0">
                <a:pos x="connsiteX4319" y="connsiteY4319"/>
              </a:cxn>
              <a:cxn ang="0">
                <a:pos x="connsiteX4320" y="connsiteY4320"/>
              </a:cxn>
              <a:cxn ang="0">
                <a:pos x="connsiteX4321" y="connsiteY4321"/>
              </a:cxn>
              <a:cxn ang="0">
                <a:pos x="connsiteX4322" y="connsiteY4322"/>
              </a:cxn>
              <a:cxn ang="0">
                <a:pos x="connsiteX4323" y="connsiteY4323"/>
              </a:cxn>
              <a:cxn ang="0">
                <a:pos x="connsiteX4324" y="connsiteY4324"/>
              </a:cxn>
              <a:cxn ang="0">
                <a:pos x="connsiteX4325" y="connsiteY4325"/>
              </a:cxn>
              <a:cxn ang="0">
                <a:pos x="connsiteX4326" y="connsiteY4326"/>
              </a:cxn>
              <a:cxn ang="0">
                <a:pos x="connsiteX4327" y="connsiteY4327"/>
              </a:cxn>
              <a:cxn ang="0">
                <a:pos x="connsiteX4328" y="connsiteY4328"/>
              </a:cxn>
              <a:cxn ang="0">
                <a:pos x="connsiteX4329" y="connsiteY4329"/>
              </a:cxn>
              <a:cxn ang="0">
                <a:pos x="connsiteX4330" y="connsiteY4330"/>
              </a:cxn>
              <a:cxn ang="0">
                <a:pos x="connsiteX4331" y="connsiteY4331"/>
              </a:cxn>
              <a:cxn ang="0">
                <a:pos x="connsiteX4332" y="connsiteY4332"/>
              </a:cxn>
              <a:cxn ang="0">
                <a:pos x="connsiteX4333" y="connsiteY4333"/>
              </a:cxn>
              <a:cxn ang="0">
                <a:pos x="connsiteX4334" y="connsiteY4334"/>
              </a:cxn>
              <a:cxn ang="0">
                <a:pos x="connsiteX4335" y="connsiteY4335"/>
              </a:cxn>
              <a:cxn ang="0">
                <a:pos x="connsiteX4336" y="connsiteY4336"/>
              </a:cxn>
              <a:cxn ang="0">
                <a:pos x="connsiteX4337" y="connsiteY4337"/>
              </a:cxn>
              <a:cxn ang="0">
                <a:pos x="connsiteX4338" y="connsiteY4338"/>
              </a:cxn>
              <a:cxn ang="0">
                <a:pos x="connsiteX4339" y="connsiteY4339"/>
              </a:cxn>
              <a:cxn ang="0">
                <a:pos x="connsiteX4340" y="connsiteY4340"/>
              </a:cxn>
              <a:cxn ang="0">
                <a:pos x="connsiteX4341" y="connsiteY4341"/>
              </a:cxn>
              <a:cxn ang="0">
                <a:pos x="connsiteX4342" y="connsiteY4342"/>
              </a:cxn>
              <a:cxn ang="0">
                <a:pos x="connsiteX4343" y="connsiteY4343"/>
              </a:cxn>
              <a:cxn ang="0">
                <a:pos x="connsiteX4344" y="connsiteY4344"/>
              </a:cxn>
              <a:cxn ang="0">
                <a:pos x="connsiteX4345" y="connsiteY4345"/>
              </a:cxn>
              <a:cxn ang="0">
                <a:pos x="connsiteX4346" y="connsiteY4346"/>
              </a:cxn>
              <a:cxn ang="0">
                <a:pos x="connsiteX4347" y="connsiteY4347"/>
              </a:cxn>
              <a:cxn ang="0">
                <a:pos x="connsiteX4348" y="connsiteY4348"/>
              </a:cxn>
              <a:cxn ang="0">
                <a:pos x="connsiteX4349" y="connsiteY4349"/>
              </a:cxn>
              <a:cxn ang="0">
                <a:pos x="connsiteX4350" y="connsiteY4350"/>
              </a:cxn>
              <a:cxn ang="0">
                <a:pos x="connsiteX4351" y="connsiteY4351"/>
              </a:cxn>
              <a:cxn ang="0">
                <a:pos x="connsiteX4352" y="connsiteY4352"/>
              </a:cxn>
              <a:cxn ang="0">
                <a:pos x="connsiteX4353" y="connsiteY4353"/>
              </a:cxn>
              <a:cxn ang="0">
                <a:pos x="connsiteX4354" y="connsiteY4354"/>
              </a:cxn>
              <a:cxn ang="0">
                <a:pos x="connsiteX4355" y="connsiteY4355"/>
              </a:cxn>
              <a:cxn ang="0">
                <a:pos x="connsiteX4356" y="connsiteY4356"/>
              </a:cxn>
              <a:cxn ang="0">
                <a:pos x="connsiteX4357" y="connsiteY4357"/>
              </a:cxn>
              <a:cxn ang="0">
                <a:pos x="connsiteX4358" y="connsiteY4358"/>
              </a:cxn>
              <a:cxn ang="0">
                <a:pos x="connsiteX4359" y="connsiteY4359"/>
              </a:cxn>
              <a:cxn ang="0">
                <a:pos x="connsiteX4360" y="connsiteY4360"/>
              </a:cxn>
              <a:cxn ang="0">
                <a:pos x="connsiteX4361" y="connsiteY4361"/>
              </a:cxn>
              <a:cxn ang="0">
                <a:pos x="connsiteX4362" y="connsiteY4362"/>
              </a:cxn>
              <a:cxn ang="0">
                <a:pos x="connsiteX4363" y="connsiteY4363"/>
              </a:cxn>
              <a:cxn ang="0">
                <a:pos x="connsiteX4364" y="connsiteY4364"/>
              </a:cxn>
              <a:cxn ang="0">
                <a:pos x="connsiteX4365" y="connsiteY4365"/>
              </a:cxn>
              <a:cxn ang="0">
                <a:pos x="connsiteX4366" y="connsiteY4366"/>
              </a:cxn>
              <a:cxn ang="0">
                <a:pos x="connsiteX4367" y="connsiteY4367"/>
              </a:cxn>
              <a:cxn ang="0">
                <a:pos x="connsiteX4368" y="connsiteY4368"/>
              </a:cxn>
              <a:cxn ang="0">
                <a:pos x="connsiteX4369" y="connsiteY4369"/>
              </a:cxn>
              <a:cxn ang="0">
                <a:pos x="connsiteX4370" y="connsiteY4370"/>
              </a:cxn>
              <a:cxn ang="0">
                <a:pos x="connsiteX4371" y="connsiteY4371"/>
              </a:cxn>
              <a:cxn ang="0">
                <a:pos x="connsiteX4372" y="connsiteY4372"/>
              </a:cxn>
              <a:cxn ang="0">
                <a:pos x="connsiteX4373" y="connsiteY4373"/>
              </a:cxn>
              <a:cxn ang="0">
                <a:pos x="connsiteX4374" y="connsiteY4374"/>
              </a:cxn>
              <a:cxn ang="0">
                <a:pos x="connsiteX4375" y="connsiteY4375"/>
              </a:cxn>
              <a:cxn ang="0">
                <a:pos x="connsiteX4376" y="connsiteY4376"/>
              </a:cxn>
              <a:cxn ang="0">
                <a:pos x="connsiteX4377" y="connsiteY4377"/>
              </a:cxn>
              <a:cxn ang="0">
                <a:pos x="connsiteX4378" y="connsiteY4378"/>
              </a:cxn>
              <a:cxn ang="0">
                <a:pos x="connsiteX4379" y="connsiteY4379"/>
              </a:cxn>
              <a:cxn ang="0">
                <a:pos x="connsiteX4380" y="connsiteY4380"/>
              </a:cxn>
              <a:cxn ang="0">
                <a:pos x="connsiteX4381" y="connsiteY4381"/>
              </a:cxn>
              <a:cxn ang="0">
                <a:pos x="connsiteX4382" y="connsiteY4382"/>
              </a:cxn>
              <a:cxn ang="0">
                <a:pos x="connsiteX4383" y="connsiteY4383"/>
              </a:cxn>
              <a:cxn ang="0">
                <a:pos x="connsiteX4384" y="connsiteY4384"/>
              </a:cxn>
              <a:cxn ang="0">
                <a:pos x="connsiteX4385" y="connsiteY4385"/>
              </a:cxn>
              <a:cxn ang="0">
                <a:pos x="connsiteX4386" y="connsiteY4386"/>
              </a:cxn>
              <a:cxn ang="0">
                <a:pos x="connsiteX4387" y="connsiteY4387"/>
              </a:cxn>
              <a:cxn ang="0">
                <a:pos x="connsiteX4388" y="connsiteY4388"/>
              </a:cxn>
              <a:cxn ang="0">
                <a:pos x="connsiteX4389" y="connsiteY4389"/>
              </a:cxn>
              <a:cxn ang="0">
                <a:pos x="connsiteX4390" y="connsiteY4390"/>
              </a:cxn>
              <a:cxn ang="0">
                <a:pos x="connsiteX4391" y="connsiteY4391"/>
              </a:cxn>
              <a:cxn ang="0">
                <a:pos x="connsiteX4392" y="connsiteY4392"/>
              </a:cxn>
              <a:cxn ang="0">
                <a:pos x="connsiteX4393" y="connsiteY4393"/>
              </a:cxn>
              <a:cxn ang="0">
                <a:pos x="connsiteX4394" y="connsiteY4394"/>
              </a:cxn>
              <a:cxn ang="0">
                <a:pos x="connsiteX4395" y="connsiteY4395"/>
              </a:cxn>
              <a:cxn ang="0">
                <a:pos x="connsiteX4396" y="connsiteY4396"/>
              </a:cxn>
              <a:cxn ang="0">
                <a:pos x="connsiteX4397" y="connsiteY4397"/>
              </a:cxn>
              <a:cxn ang="0">
                <a:pos x="connsiteX4398" y="connsiteY4398"/>
              </a:cxn>
              <a:cxn ang="0">
                <a:pos x="connsiteX4399" y="connsiteY4399"/>
              </a:cxn>
              <a:cxn ang="0">
                <a:pos x="connsiteX4400" y="connsiteY4400"/>
              </a:cxn>
              <a:cxn ang="0">
                <a:pos x="connsiteX4401" y="connsiteY4401"/>
              </a:cxn>
              <a:cxn ang="0">
                <a:pos x="connsiteX4402" y="connsiteY4402"/>
              </a:cxn>
              <a:cxn ang="0">
                <a:pos x="connsiteX4403" y="connsiteY4403"/>
              </a:cxn>
              <a:cxn ang="0">
                <a:pos x="connsiteX4404" y="connsiteY4404"/>
              </a:cxn>
              <a:cxn ang="0">
                <a:pos x="connsiteX4405" y="connsiteY4405"/>
              </a:cxn>
              <a:cxn ang="0">
                <a:pos x="connsiteX4406" y="connsiteY4406"/>
              </a:cxn>
              <a:cxn ang="0">
                <a:pos x="connsiteX4407" y="connsiteY4407"/>
              </a:cxn>
              <a:cxn ang="0">
                <a:pos x="connsiteX4408" y="connsiteY4408"/>
              </a:cxn>
              <a:cxn ang="0">
                <a:pos x="connsiteX4409" y="connsiteY4409"/>
              </a:cxn>
              <a:cxn ang="0">
                <a:pos x="connsiteX4410" y="connsiteY4410"/>
              </a:cxn>
              <a:cxn ang="0">
                <a:pos x="connsiteX4411" y="connsiteY4411"/>
              </a:cxn>
              <a:cxn ang="0">
                <a:pos x="connsiteX4412" y="connsiteY4412"/>
              </a:cxn>
              <a:cxn ang="0">
                <a:pos x="connsiteX4413" y="connsiteY4413"/>
              </a:cxn>
              <a:cxn ang="0">
                <a:pos x="connsiteX4414" y="connsiteY4414"/>
              </a:cxn>
              <a:cxn ang="0">
                <a:pos x="connsiteX4415" y="connsiteY4415"/>
              </a:cxn>
              <a:cxn ang="0">
                <a:pos x="connsiteX4416" y="connsiteY4416"/>
              </a:cxn>
              <a:cxn ang="0">
                <a:pos x="connsiteX4417" y="connsiteY4417"/>
              </a:cxn>
              <a:cxn ang="0">
                <a:pos x="connsiteX4418" y="connsiteY4418"/>
              </a:cxn>
              <a:cxn ang="0">
                <a:pos x="connsiteX4419" y="connsiteY4419"/>
              </a:cxn>
              <a:cxn ang="0">
                <a:pos x="connsiteX4420" y="connsiteY4420"/>
              </a:cxn>
              <a:cxn ang="0">
                <a:pos x="connsiteX4421" y="connsiteY4421"/>
              </a:cxn>
              <a:cxn ang="0">
                <a:pos x="connsiteX4422" y="connsiteY4422"/>
              </a:cxn>
              <a:cxn ang="0">
                <a:pos x="connsiteX4423" y="connsiteY4423"/>
              </a:cxn>
              <a:cxn ang="0">
                <a:pos x="connsiteX4424" y="connsiteY4424"/>
              </a:cxn>
              <a:cxn ang="0">
                <a:pos x="connsiteX4425" y="connsiteY4425"/>
              </a:cxn>
              <a:cxn ang="0">
                <a:pos x="connsiteX4426" y="connsiteY4426"/>
              </a:cxn>
              <a:cxn ang="0">
                <a:pos x="connsiteX4427" y="connsiteY4427"/>
              </a:cxn>
              <a:cxn ang="0">
                <a:pos x="connsiteX4428" y="connsiteY4428"/>
              </a:cxn>
              <a:cxn ang="0">
                <a:pos x="connsiteX4429" y="connsiteY4429"/>
              </a:cxn>
              <a:cxn ang="0">
                <a:pos x="connsiteX4430" y="connsiteY4430"/>
              </a:cxn>
              <a:cxn ang="0">
                <a:pos x="connsiteX4431" y="connsiteY4431"/>
              </a:cxn>
              <a:cxn ang="0">
                <a:pos x="connsiteX4432" y="connsiteY4432"/>
              </a:cxn>
              <a:cxn ang="0">
                <a:pos x="connsiteX4433" y="connsiteY4433"/>
              </a:cxn>
              <a:cxn ang="0">
                <a:pos x="connsiteX4434" y="connsiteY4434"/>
              </a:cxn>
              <a:cxn ang="0">
                <a:pos x="connsiteX4435" y="connsiteY4435"/>
              </a:cxn>
              <a:cxn ang="0">
                <a:pos x="connsiteX4436" y="connsiteY4436"/>
              </a:cxn>
              <a:cxn ang="0">
                <a:pos x="connsiteX4437" y="connsiteY4437"/>
              </a:cxn>
              <a:cxn ang="0">
                <a:pos x="connsiteX4438" y="connsiteY4438"/>
              </a:cxn>
              <a:cxn ang="0">
                <a:pos x="connsiteX4439" y="connsiteY4439"/>
              </a:cxn>
              <a:cxn ang="0">
                <a:pos x="connsiteX4440" y="connsiteY4440"/>
              </a:cxn>
              <a:cxn ang="0">
                <a:pos x="connsiteX4441" y="connsiteY4441"/>
              </a:cxn>
              <a:cxn ang="0">
                <a:pos x="connsiteX4442" y="connsiteY4442"/>
              </a:cxn>
              <a:cxn ang="0">
                <a:pos x="connsiteX4443" y="connsiteY4443"/>
              </a:cxn>
              <a:cxn ang="0">
                <a:pos x="connsiteX4444" y="connsiteY4444"/>
              </a:cxn>
              <a:cxn ang="0">
                <a:pos x="connsiteX4445" y="connsiteY4445"/>
              </a:cxn>
              <a:cxn ang="0">
                <a:pos x="connsiteX4446" y="connsiteY4446"/>
              </a:cxn>
              <a:cxn ang="0">
                <a:pos x="connsiteX4447" y="connsiteY4447"/>
              </a:cxn>
              <a:cxn ang="0">
                <a:pos x="connsiteX4448" y="connsiteY4448"/>
              </a:cxn>
              <a:cxn ang="0">
                <a:pos x="connsiteX4449" y="connsiteY4449"/>
              </a:cxn>
              <a:cxn ang="0">
                <a:pos x="connsiteX4450" y="connsiteY4450"/>
              </a:cxn>
              <a:cxn ang="0">
                <a:pos x="connsiteX4451" y="connsiteY4451"/>
              </a:cxn>
              <a:cxn ang="0">
                <a:pos x="connsiteX4452" y="connsiteY4452"/>
              </a:cxn>
              <a:cxn ang="0">
                <a:pos x="connsiteX4453" y="connsiteY4453"/>
              </a:cxn>
              <a:cxn ang="0">
                <a:pos x="connsiteX4454" y="connsiteY4454"/>
              </a:cxn>
              <a:cxn ang="0">
                <a:pos x="connsiteX4455" y="connsiteY4455"/>
              </a:cxn>
              <a:cxn ang="0">
                <a:pos x="connsiteX4456" y="connsiteY4456"/>
              </a:cxn>
              <a:cxn ang="0">
                <a:pos x="connsiteX4457" y="connsiteY4457"/>
              </a:cxn>
              <a:cxn ang="0">
                <a:pos x="connsiteX4458" y="connsiteY4458"/>
              </a:cxn>
              <a:cxn ang="0">
                <a:pos x="connsiteX4459" y="connsiteY4459"/>
              </a:cxn>
              <a:cxn ang="0">
                <a:pos x="connsiteX4460" y="connsiteY4460"/>
              </a:cxn>
              <a:cxn ang="0">
                <a:pos x="connsiteX4461" y="connsiteY4461"/>
              </a:cxn>
              <a:cxn ang="0">
                <a:pos x="connsiteX4462" y="connsiteY4462"/>
              </a:cxn>
              <a:cxn ang="0">
                <a:pos x="connsiteX4463" y="connsiteY4463"/>
              </a:cxn>
              <a:cxn ang="0">
                <a:pos x="connsiteX4464" y="connsiteY4464"/>
              </a:cxn>
              <a:cxn ang="0">
                <a:pos x="connsiteX4465" y="connsiteY4465"/>
              </a:cxn>
              <a:cxn ang="0">
                <a:pos x="connsiteX4466" y="connsiteY4466"/>
              </a:cxn>
              <a:cxn ang="0">
                <a:pos x="connsiteX4467" y="connsiteY4467"/>
              </a:cxn>
              <a:cxn ang="0">
                <a:pos x="connsiteX4468" y="connsiteY4468"/>
              </a:cxn>
              <a:cxn ang="0">
                <a:pos x="connsiteX4469" y="connsiteY4469"/>
              </a:cxn>
              <a:cxn ang="0">
                <a:pos x="connsiteX4470" y="connsiteY4470"/>
              </a:cxn>
              <a:cxn ang="0">
                <a:pos x="connsiteX4471" y="connsiteY4471"/>
              </a:cxn>
              <a:cxn ang="0">
                <a:pos x="connsiteX4472" y="connsiteY4472"/>
              </a:cxn>
              <a:cxn ang="0">
                <a:pos x="connsiteX4473" y="connsiteY4473"/>
              </a:cxn>
              <a:cxn ang="0">
                <a:pos x="connsiteX4474" y="connsiteY4474"/>
              </a:cxn>
              <a:cxn ang="0">
                <a:pos x="connsiteX4475" y="connsiteY4475"/>
              </a:cxn>
              <a:cxn ang="0">
                <a:pos x="connsiteX4476" y="connsiteY4476"/>
              </a:cxn>
              <a:cxn ang="0">
                <a:pos x="connsiteX4477" y="connsiteY4477"/>
              </a:cxn>
              <a:cxn ang="0">
                <a:pos x="connsiteX4478" y="connsiteY4478"/>
              </a:cxn>
              <a:cxn ang="0">
                <a:pos x="connsiteX4479" y="connsiteY4479"/>
              </a:cxn>
              <a:cxn ang="0">
                <a:pos x="connsiteX4480" y="connsiteY4480"/>
              </a:cxn>
              <a:cxn ang="0">
                <a:pos x="connsiteX4481" y="connsiteY4481"/>
              </a:cxn>
              <a:cxn ang="0">
                <a:pos x="connsiteX4482" y="connsiteY4482"/>
              </a:cxn>
              <a:cxn ang="0">
                <a:pos x="connsiteX4483" y="connsiteY4483"/>
              </a:cxn>
              <a:cxn ang="0">
                <a:pos x="connsiteX4484" y="connsiteY4484"/>
              </a:cxn>
              <a:cxn ang="0">
                <a:pos x="connsiteX4485" y="connsiteY4485"/>
              </a:cxn>
              <a:cxn ang="0">
                <a:pos x="connsiteX4486" y="connsiteY4486"/>
              </a:cxn>
              <a:cxn ang="0">
                <a:pos x="connsiteX4487" y="connsiteY4487"/>
              </a:cxn>
              <a:cxn ang="0">
                <a:pos x="connsiteX4488" y="connsiteY4488"/>
              </a:cxn>
              <a:cxn ang="0">
                <a:pos x="connsiteX4489" y="connsiteY4489"/>
              </a:cxn>
              <a:cxn ang="0">
                <a:pos x="connsiteX4490" y="connsiteY4490"/>
              </a:cxn>
              <a:cxn ang="0">
                <a:pos x="connsiteX4491" y="connsiteY4491"/>
              </a:cxn>
              <a:cxn ang="0">
                <a:pos x="connsiteX4492" y="connsiteY4492"/>
              </a:cxn>
              <a:cxn ang="0">
                <a:pos x="connsiteX4493" y="connsiteY4493"/>
              </a:cxn>
              <a:cxn ang="0">
                <a:pos x="connsiteX4494" y="connsiteY4494"/>
              </a:cxn>
              <a:cxn ang="0">
                <a:pos x="connsiteX4495" y="connsiteY4495"/>
              </a:cxn>
              <a:cxn ang="0">
                <a:pos x="connsiteX4496" y="connsiteY4496"/>
              </a:cxn>
              <a:cxn ang="0">
                <a:pos x="connsiteX4497" y="connsiteY4497"/>
              </a:cxn>
              <a:cxn ang="0">
                <a:pos x="connsiteX4498" y="connsiteY4498"/>
              </a:cxn>
              <a:cxn ang="0">
                <a:pos x="connsiteX4499" y="connsiteY4499"/>
              </a:cxn>
              <a:cxn ang="0">
                <a:pos x="connsiteX4500" y="connsiteY4500"/>
              </a:cxn>
              <a:cxn ang="0">
                <a:pos x="connsiteX4501" y="connsiteY4501"/>
              </a:cxn>
              <a:cxn ang="0">
                <a:pos x="connsiteX4502" y="connsiteY4502"/>
              </a:cxn>
              <a:cxn ang="0">
                <a:pos x="connsiteX4503" y="connsiteY4503"/>
              </a:cxn>
              <a:cxn ang="0">
                <a:pos x="connsiteX4504" y="connsiteY4504"/>
              </a:cxn>
              <a:cxn ang="0">
                <a:pos x="connsiteX4505" y="connsiteY4505"/>
              </a:cxn>
              <a:cxn ang="0">
                <a:pos x="connsiteX4506" y="connsiteY4506"/>
              </a:cxn>
              <a:cxn ang="0">
                <a:pos x="connsiteX4507" y="connsiteY4507"/>
              </a:cxn>
              <a:cxn ang="0">
                <a:pos x="connsiteX4508" y="connsiteY4508"/>
              </a:cxn>
              <a:cxn ang="0">
                <a:pos x="connsiteX4509" y="connsiteY4509"/>
              </a:cxn>
              <a:cxn ang="0">
                <a:pos x="connsiteX4510" y="connsiteY4510"/>
              </a:cxn>
              <a:cxn ang="0">
                <a:pos x="connsiteX4511" y="connsiteY4511"/>
              </a:cxn>
              <a:cxn ang="0">
                <a:pos x="connsiteX4512" y="connsiteY4512"/>
              </a:cxn>
              <a:cxn ang="0">
                <a:pos x="connsiteX4513" y="connsiteY4513"/>
              </a:cxn>
              <a:cxn ang="0">
                <a:pos x="connsiteX4514" y="connsiteY4514"/>
              </a:cxn>
              <a:cxn ang="0">
                <a:pos x="connsiteX4515" y="connsiteY4515"/>
              </a:cxn>
              <a:cxn ang="0">
                <a:pos x="connsiteX4516" y="connsiteY4516"/>
              </a:cxn>
              <a:cxn ang="0">
                <a:pos x="connsiteX4517" y="connsiteY4517"/>
              </a:cxn>
              <a:cxn ang="0">
                <a:pos x="connsiteX4518" y="connsiteY4518"/>
              </a:cxn>
              <a:cxn ang="0">
                <a:pos x="connsiteX4519" y="connsiteY4519"/>
              </a:cxn>
              <a:cxn ang="0">
                <a:pos x="connsiteX4520" y="connsiteY4520"/>
              </a:cxn>
              <a:cxn ang="0">
                <a:pos x="connsiteX4521" y="connsiteY4521"/>
              </a:cxn>
              <a:cxn ang="0">
                <a:pos x="connsiteX4522" y="connsiteY4522"/>
              </a:cxn>
              <a:cxn ang="0">
                <a:pos x="connsiteX4523" y="connsiteY4523"/>
              </a:cxn>
              <a:cxn ang="0">
                <a:pos x="connsiteX4524" y="connsiteY4524"/>
              </a:cxn>
              <a:cxn ang="0">
                <a:pos x="connsiteX4525" y="connsiteY4525"/>
              </a:cxn>
              <a:cxn ang="0">
                <a:pos x="connsiteX4526" y="connsiteY4526"/>
              </a:cxn>
              <a:cxn ang="0">
                <a:pos x="connsiteX4527" y="connsiteY4527"/>
              </a:cxn>
              <a:cxn ang="0">
                <a:pos x="connsiteX4528" y="connsiteY4528"/>
              </a:cxn>
              <a:cxn ang="0">
                <a:pos x="connsiteX4529" y="connsiteY4529"/>
              </a:cxn>
              <a:cxn ang="0">
                <a:pos x="connsiteX4530" y="connsiteY4530"/>
              </a:cxn>
              <a:cxn ang="0">
                <a:pos x="connsiteX4531" y="connsiteY4531"/>
              </a:cxn>
              <a:cxn ang="0">
                <a:pos x="connsiteX4532" y="connsiteY4532"/>
              </a:cxn>
              <a:cxn ang="0">
                <a:pos x="connsiteX4533" y="connsiteY4533"/>
              </a:cxn>
              <a:cxn ang="0">
                <a:pos x="connsiteX4534" y="connsiteY4534"/>
              </a:cxn>
              <a:cxn ang="0">
                <a:pos x="connsiteX4535" y="connsiteY4535"/>
              </a:cxn>
              <a:cxn ang="0">
                <a:pos x="connsiteX4536" y="connsiteY4536"/>
              </a:cxn>
              <a:cxn ang="0">
                <a:pos x="connsiteX4537" y="connsiteY4537"/>
              </a:cxn>
              <a:cxn ang="0">
                <a:pos x="connsiteX4538" y="connsiteY4538"/>
              </a:cxn>
              <a:cxn ang="0">
                <a:pos x="connsiteX4539" y="connsiteY4539"/>
              </a:cxn>
              <a:cxn ang="0">
                <a:pos x="connsiteX4540" y="connsiteY4540"/>
              </a:cxn>
              <a:cxn ang="0">
                <a:pos x="connsiteX4541" y="connsiteY4541"/>
              </a:cxn>
              <a:cxn ang="0">
                <a:pos x="connsiteX4542" y="connsiteY4542"/>
              </a:cxn>
              <a:cxn ang="0">
                <a:pos x="connsiteX4543" y="connsiteY4543"/>
              </a:cxn>
              <a:cxn ang="0">
                <a:pos x="connsiteX4544" y="connsiteY4544"/>
              </a:cxn>
              <a:cxn ang="0">
                <a:pos x="connsiteX4545" y="connsiteY4545"/>
              </a:cxn>
              <a:cxn ang="0">
                <a:pos x="connsiteX4546" y="connsiteY4546"/>
              </a:cxn>
              <a:cxn ang="0">
                <a:pos x="connsiteX4547" y="connsiteY4547"/>
              </a:cxn>
              <a:cxn ang="0">
                <a:pos x="connsiteX4548" y="connsiteY4548"/>
              </a:cxn>
              <a:cxn ang="0">
                <a:pos x="connsiteX4549" y="connsiteY4549"/>
              </a:cxn>
              <a:cxn ang="0">
                <a:pos x="connsiteX4550" y="connsiteY4550"/>
              </a:cxn>
              <a:cxn ang="0">
                <a:pos x="connsiteX4551" y="connsiteY4551"/>
              </a:cxn>
              <a:cxn ang="0">
                <a:pos x="connsiteX4552" y="connsiteY4552"/>
              </a:cxn>
              <a:cxn ang="0">
                <a:pos x="connsiteX4553" y="connsiteY4553"/>
              </a:cxn>
              <a:cxn ang="0">
                <a:pos x="connsiteX4554" y="connsiteY4554"/>
              </a:cxn>
              <a:cxn ang="0">
                <a:pos x="connsiteX4555" y="connsiteY4555"/>
              </a:cxn>
              <a:cxn ang="0">
                <a:pos x="connsiteX4556" y="connsiteY4556"/>
              </a:cxn>
              <a:cxn ang="0">
                <a:pos x="connsiteX4557" y="connsiteY4557"/>
              </a:cxn>
              <a:cxn ang="0">
                <a:pos x="connsiteX4558" y="connsiteY4558"/>
              </a:cxn>
              <a:cxn ang="0">
                <a:pos x="connsiteX4559" y="connsiteY4559"/>
              </a:cxn>
              <a:cxn ang="0">
                <a:pos x="connsiteX4560" y="connsiteY4560"/>
              </a:cxn>
              <a:cxn ang="0">
                <a:pos x="connsiteX4561" y="connsiteY4561"/>
              </a:cxn>
              <a:cxn ang="0">
                <a:pos x="connsiteX4562" y="connsiteY4562"/>
              </a:cxn>
              <a:cxn ang="0">
                <a:pos x="connsiteX4563" y="connsiteY4563"/>
              </a:cxn>
              <a:cxn ang="0">
                <a:pos x="connsiteX4564" y="connsiteY4564"/>
              </a:cxn>
              <a:cxn ang="0">
                <a:pos x="connsiteX4565" y="connsiteY4565"/>
              </a:cxn>
              <a:cxn ang="0">
                <a:pos x="connsiteX4566" y="connsiteY4566"/>
              </a:cxn>
              <a:cxn ang="0">
                <a:pos x="connsiteX4567" y="connsiteY4567"/>
              </a:cxn>
              <a:cxn ang="0">
                <a:pos x="connsiteX4568" y="connsiteY4568"/>
              </a:cxn>
              <a:cxn ang="0">
                <a:pos x="connsiteX4569" y="connsiteY4569"/>
              </a:cxn>
              <a:cxn ang="0">
                <a:pos x="connsiteX4570" y="connsiteY4570"/>
              </a:cxn>
              <a:cxn ang="0">
                <a:pos x="connsiteX4571" y="connsiteY4571"/>
              </a:cxn>
              <a:cxn ang="0">
                <a:pos x="connsiteX4572" y="connsiteY4572"/>
              </a:cxn>
              <a:cxn ang="0">
                <a:pos x="connsiteX4573" y="connsiteY4573"/>
              </a:cxn>
              <a:cxn ang="0">
                <a:pos x="connsiteX4574" y="connsiteY4574"/>
              </a:cxn>
              <a:cxn ang="0">
                <a:pos x="connsiteX4575" y="connsiteY4575"/>
              </a:cxn>
              <a:cxn ang="0">
                <a:pos x="connsiteX4576" y="connsiteY4576"/>
              </a:cxn>
              <a:cxn ang="0">
                <a:pos x="connsiteX4577" y="connsiteY4577"/>
              </a:cxn>
              <a:cxn ang="0">
                <a:pos x="connsiteX4578" y="connsiteY4578"/>
              </a:cxn>
              <a:cxn ang="0">
                <a:pos x="connsiteX4579" y="connsiteY4579"/>
              </a:cxn>
              <a:cxn ang="0">
                <a:pos x="connsiteX4580" y="connsiteY4580"/>
              </a:cxn>
              <a:cxn ang="0">
                <a:pos x="connsiteX4581" y="connsiteY4581"/>
              </a:cxn>
              <a:cxn ang="0">
                <a:pos x="connsiteX4582" y="connsiteY4582"/>
              </a:cxn>
              <a:cxn ang="0">
                <a:pos x="connsiteX4583" y="connsiteY4583"/>
              </a:cxn>
              <a:cxn ang="0">
                <a:pos x="connsiteX4584" y="connsiteY4584"/>
              </a:cxn>
              <a:cxn ang="0">
                <a:pos x="connsiteX4585" y="connsiteY4585"/>
              </a:cxn>
              <a:cxn ang="0">
                <a:pos x="connsiteX4586" y="connsiteY4586"/>
              </a:cxn>
              <a:cxn ang="0">
                <a:pos x="connsiteX4587" y="connsiteY4587"/>
              </a:cxn>
              <a:cxn ang="0">
                <a:pos x="connsiteX4588" y="connsiteY4588"/>
              </a:cxn>
              <a:cxn ang="0">
                <a:pos x="connsiteX4589" y="connsiteY4589"/>
              </a:cxn>
              <a:cxn ang="0">
                <a:pos x="connsiteX4590" y="connsiteY4590"/>
              </a:cxn>
              <a:cxn ang="0">
                <a:pos x="connsiteX4591" y="connsiteY4591"/>
              </a:cxn>
              <a:cxn ang="0">
                <a:pos x="connsiteX4592" y="connsiteY4592"/>
              </a:cxn>
              <a:cxn ang="0">
                <a:pos x="connsiteX4593" y="connsiteY4593"/>
              </a:cxn>
              <a:cxn ang="0">
                <a:pos x="connsiteX4594" y="connsiteY4594"/>
              </a:cxn>
              <a:cxn ang="0">
                <a:pos x="connsiteX4595" y="connsiteY4595"/>
              </a:cxn>
              <a:cxn ang="0">
                <a:pos x="connsiteX4596" y="connsiteY4596"/>
              </a:cxn>
              <a:cxn ang="0">
                <a:pos x="connsiteX4597" y="connsiteY4597"/>
              </a:cxn>
              <a:cxn ang="0">
                <a:pos x="connsiteX4598" y="connsiteY4598"/>
              </a:cxn>
              <a:cxn ang="0">
                <a:pos x="connsiteX4599" y="connsiteY4599"/>
              </a:cxn>
              <a:cxn ang="0">
                <a:pos x="connsiteX4600" y="connsiteY4600"/>
              </a:cxn>
              <a:cxn ang="0">
                <a:pos x="connsiteX4601" y="connsiteY4601"/>
              </a:cxn>
              <a:cxn ang="0">
                <a:pos x="connsiteX4602" y="connsiteY4602"/>
              </a:cxn>
              <a:cxn ang="0">
                <a:pos x="connsiteX4603" y="connsiteY4603"/>
              </a:cxn>
              <a:cxn ang="0">
                <a:pos x="connsiteX4604" y="connsiteY4604"/>
              </a:cxn>
              <a:cxn ang="0">
                <a:pos x="connsiteX4605" y="connsiteY4605"/>
              </a:cxn>
              <a:cxn ang="0">
                <a:pos x="connsiteX4606" y="connsiteY4606"/>
              </a:cxn>
              <a:cxn ang="0">
                <a:pos x="connsiteX4607" y="connsiteY4607"/>
              </a:cxn>
              <a:cxn ang="0">
                <a:pos x="connsiteX4608" y="connsiteY4608"/>
              </a:cxn>
              <a:cxn ang="0">
                <a:pos x="connsiteX4609" y="connsiteY4609"/>
              </a:cxn>
              <a:cxn ang="0">
                <a:pos x="connsiteX4610" y="connsiteY4610"/>
              </a:cxn>
              <a:cxn ang="0">
                <a:pos x="connsiteX4611" y="connsiteY4611"/>
              </a:cxn>
              <a:cxn ang="0">
                <a:pos x="connsiteX4612" y="connsiteY4612"/>
              </a:cxn>
              <a:cxn ang="0">
                <a:pos x="connsiteX4613" y="connsiteY4613"/>
              </a:cxn>
              <a:cxn ang="0">
                <a:pos x="connsiteX4614" y="connsiteY4614"/>
              </a:cxn>
              <a:cxn ang="0">
                <a:pos x="connsiteX4615" y="connsiteY4615"/>
              </a:cxn>
              <a:cxn ang="0">
                <a:pos x="connsiteX4616" y="connsiteY4616"/>
              </a:cxn>
              <a:cxn ang="0">
                <a:pos x="connsiteX4617" y="connsiteY4617"/>
              </a:cxn>
              <a:cxn ang="0">
                <a:pos x="connsiteX4618" y="connsiteY4618"/>
              </a:cxn>
              <a:cxn ang="0">
                <a:pos x="connsiteX4619" y="connsiteY4619"/>
              </a:cxn>
              <a:cxn ang="0">
                <a:pos x="connsiteX4620" y="connsiteY4620"/>
              </a:cxn>
              <a:cxn ang="0">
                <a:pos x="connsiteX4621" y="connsiteY4621"/>
              </a:cxn>
              <a:cxn ang="0">
                <a:pos x="connsiteX4622" y="connsiteY4622"/>
              </a:cxn>
              <a:cxn ang="0">
                <a:pos x="connsiteX4623" y="connsiteY4623"/>
              </a:cxn>
              <a:cxn ang="0">
                <a:pos x="connsiteX4624" y="connsiteY4624"/>
              </a:cxn>
              <a:cxn ang="0">
                <a:pos x="connsiteX4625" y="connsiteY4625"/>
              </a:cxn>
              <a:cxn ang="0">
                <a:pos x="connsiteX4626" y="connsiteY4626"/>
              </a:cxn>
              <a:cxn ang="0">
                <a:pos x="connsiteX4627" y="connsiteY4627"/>
              </a:cxn>
              <a:cxn ang="0">
                <a:pos x="connsiteX4628" y="connsiteY4628"/>
              </a:cxn>
              <a:cxn ang="0">
                <a:pos x="connsiteX4629" y="connsiteY4629"/>
              </a:cxn>
              <a:cxn ang="0">
                <a:pos x="connsiteX4630" y="connsiteY4630"/>
              </a:cxn>
              <a:cxn ang="0">
                <a:pos x="connsiteX4631" y="connsiteY4631"/>
              </a:cxn>
              <a:cxn ang="0">
                <a:pos x="connsiteX4632" y="connsiteY4632"/>
              </a:cxn>
              <a:cxn ang="0">
                <a:pos x="connsiteX4633" y="connsiteY4633"/>
              </a:cxn>
              <a:cxn ang="0">
                <a:pos x="connsiteX4634" y="connsiteY4634"/>
              </a:cxn>
              <a:cxn ang="0">
                <a:pos x="connsiteX4635" y="connsiteY4635"/>
              </a:cxn>
              <a:cxn ang="0">
                <a:pos x="connsiteX4636" y="connsiteY4636"/>
              </a:cxn>
              <a:cxn ang="0">
                <a:pos x="connsiteX4637" y="connsiteY4637"/>
              </a:cxn>
              <a:cxn ang="0">
                <a:pos x="connsiteX4638" y="connsiteY4638"/>
              </a:cxn>
              <a:cxn ang="0">
                <a:pos x="connsiteX4639" y="connsiteY4639"/>
              </a:cxn>
              <a:cxn ang="0">
                <a:pos x="connsiteX4640" y="connsiteY4640"/>
              </a:cxn>
              <a:cxn ang="0">
                <a:pos x="connsiteX4641" y="connsiteY4641"/>
              </a:cxn>
              <a:cxn ang="0">
                <a:pos x="connsiteX4642" y="connsiteY4642"/>
              </a:cxn>
              <a:cxn ang="0">
                <a:pos x="connsiteX4643" y="connsiteY4643"/>
              </a:cxn>
              <a:cxn ang="0">
                <a:pos x="connsiteX4644" y="connsiteY4644"/>
              </a:cxn>
              <a:cxn ang="0">
                <a:pos x="connsiteX4645" y="connsiteY4645"/>
              </a:cxn>
              <a:cxn ang="0">
                <a:pos x="connsiteX4646" y="connsiteY4646"/>
              </a:cxn>
              <a:cxn ang="0">
                <a:pos x="connsiteX4647" y="connsiteY4647"/>
              </a:cxn>
              <a:cxn ang="0">
                <a:pos x="connsiteX4648" y="connsiteY4648"/>
              </a:cxn>
              <a:cxn ang="0">
                <a:pos x="connsiteX4649" y="connsiteY4649"/>
              </a:cxn>
              <a:cxn ang="0">
                <a:pos x="connsiteX4650" y="connsiteY4650"/>
              </a:cxn>
              <a:cxn ang="0">
                <a:pos x="connsiteX4651" y="connsiteY4651"/>
              </a:cxn>
              <a:cxn ang="0">
                <a:pos x="connsiteX4652" y="connsiteY4652"/>
              </a:cxn>
              <a:cxn ang="0">
                <a:pos x="connsiteX4653" y="connsiteY4653"/>
              </a:cxn>
              <a:cxn ang="0">
                <a:pos x="connsiteX4654" y="connsiteY4654"/>
              </a:cxn>
              <a:cxn ang="0">
                <a:pos x="connsiteX4655" y="connsiteY4655"/>
              </a:cxn>
              <a:cxn ang="0">
                <a:pos x="connsiteX4656" y="connsiteY4656"/>
              </a:cxn>
              <a:cxn ang="0">
                <a:pos x="connsiteX4657" y="connsiteY4657"/>
              </a:cxn>
              <a:cxn ang="0">
                <a:pos x="connsiteX4658" y="connsiteY4658"/>
              </a:cxn>
              <a:cxn ang="0">
                <a:pos x="connsiteX4659" y="connsiteY4659"/>
              </a:cxn>
              <a:cxn ang="0">
                <a:pos x="connsiteX4660" y="connsiteY4660"/>
              </a:cxn>
              <a:cxn ang="0">
                <a:pos x="connsiteX4661" y="connsiteY4661"/>
              </a:cxn>
              <a:cxn ang="0">
                <a:pos x="connsiteX4662" y="connsiteY4662"/>
              </a:cxn>
              <a:cxn ang="0">
                <a:pos x="connsiteX4663" y="connsiteY4663"/>
              </a:cxn>
              <a:cxn ang="0">
                <a:pos x="connsiteX4664" y="connsiteY4664"/>
              </a:cxn>
              <a:cxn ang="0">
                <a:pos x="connsiteX4665" y="connsiteY4665"/>
              </a:cxn>
              <a:cxn ang="0">
                <a:pos x="connsiteX4666" y="connsiteY4666"/>
              </a:cxn>
              <a:cxn ang="0">
                <a:pos x="connsiteX4667" y="connsiteY4667"/>
              </a:cxn>
              <a:cxn ang="0">
                <a:pos x="connsiteX4668" y="connsiteY4668"/>
              </a:cxn>
              <a:cxn ang="0">
                <a:pos x="connsiteX4669" y="connsiteY4669"/>
              </a:cxn>
              <a:cxn ang="0">
                <a:pos x="connsiteX4670" y="connsiteY4670"/>
              </a:cxn>
              <a:cxn ang="0">
                <a:pos x="connsiteX4671" y="connsiteY4671"/>
              </a:cxn>
              <a:cxn ang="0">
                <a:pos x="connsiteX4672" y="connsiteY4672"/>
              </a:cxn>
              <a:cxn ang="0">
                <a:pos x="connsiteX4673" y="connsiteY4673"/>
              </a:cxn>
              <a:cxn ang="0">
                <a:pos x="connsiteX4674" y="connsiteY4674"/>
              </a:cxn>
              <a:cxn ang="0">
                <a:pos x="connsiteX4675" y="connsiteY4675"/>
              </a:cxn>
              <a:cxn ang="0">
                <a:pos x="connsiteX4676" y="connsiteY4676"/>
              </a:cxn>
              <a:cxn ang="0">
                <a:pos x="connsiteX4677" y="connsiteY4677"/>
              </a:cxn>
              <a:cxn ang="0">
                <a:pos x="connsiteX4678" y="connsiteY4678"/>
              </a:cxn>
              <a:cxn ang="0">
                <a:pos x="connsiteX4679" y="connsiteY4679"/>
              </a:cxn>
              <a:cxn ang="0">
                <a:pos x="connsiteX4680" y="connsiteY4680"/>
              </a:cxn>
              <a:cxn ang="0">
                <a:pos x="connsiteX4681" y="connsiteY4681"/>
              </a:cxn>
              <a:cxn ang="0">
                <a:pos x="connsiteX4682" y="connsiteY4682"/>
              </a:cxn>
              <a:cxn ang="0">
                <a:pos x="connsiteX4683" y="connsiteY4683"/>
              </a:cxn>
              <a:cxn ang="0">
                <a:pos x="connsiteX4684" y="connsiteY4684"/>
              </a:cxn>
              <a:cxn ang="0">
                <a:pos x="connsiteX4685" y="connsiteY4685"/>
              </a:cxn>
              <a:cxn ang="0">
                <a:pos x="connsiteX4686" y="connsiteY4686"/>
              </a:cxn>
              <a:cxn ang="0">
                <a:pos x="connsiteX4687" y="connsiteY4687"/>
              </a:cxn>
              <a:cxn ang="0">
                <a:pos x="connsiteX4688" y="connsiteY4688"/>
              </a:cxn>
              <a:cxn ang="0">
                <a:pos x="connsiteX4689" y="connsiteY4689"/>
              </a:cxn>
              <a:cxn ang="0">
                <a:pos x="connsiteX4690" y="connsiteY4690"/>
              </a:cxn>
              <a:cxn ang="0">
                <a:pos x="connsiteX4691" y="connsiteY4691"/>
              </a:cxn>
              <a:cxn ang="0">
                <a:pos x="connsiteX4692" y="connsiteY4692"/>
              </a:cxn>
              <a:cxn ang="0">
                <a:pos x="connsiteX4693" y="connsiteY4693"/>
              </a:cxn>
              <a:cxn ang="0">
                <a:pos x="connsiteX4694" y="connsiteY4694"/>
              </a:cxn>
              <a:cxn ang="0">
                <a:pos x="connsiteX4695" y="connsiteY4695"/>
              </a:cxn>
              <a:cxn ang="0">
                <a:pos x="connsiteX4696" y="connsiteY4696"/>
              </a:cxn>
              <a:cxn ang="0">
                <a:pos x="connsiteX4697" y="connsiteY4697"/>
              </a:cxn>
              <a:cxn ang="0">
                <a:pos x="connsiteX4698" y="connsiteY4698"/>
              </a:cxn>
              <a:cxn ang="0">
                <a:pos x="connsiteX4699" y="connsiteY4699"/>
              </a:cxn>
              <a:cxn ang="0">
                <a:pos x="connsiteX4700" y="connsiteY4700"/>
              </a:cxn>
              <a:cxn ang="0">
                <a:pos x="connsiteX4701" y="connsiteY4701"/>
              </a:cxn>
              <a:cxn ang="0">
                <a:pos x="connsiteX4702" y="connsiteY4702"/>
              </a:cxn>
              <a:cxn ang="0">
                <a:pos x="connsiteX4703" y="connsiteY4703"/>
              </a:cxn>
              <a:cxn ang="0">
                <a:pos x="connsiteX4704" y="connsiteY4704"/>
              </a:cxn>
              <a:cxn ang="0">
                <a:pos x="connsiteX4705" y="connsiteY4705"/>
              </a:cxn>
              <a:cxn ang="0">
                <a:pos x="connsiteX4706" y="connsiteY4706"/>
              </a:cxn>
              <a:cxn ang="0">
                <a:pos x="connsiteX4707" y="connsiteY4707"/>
              </a:cxn>
              <a:cxn ang="0">
                <a:pos x="connsiteX4708" y="connsiteY4708"/>
              </a:cxn>
              <a:cxn ang="0">
                <a:pos x="connsiteX4709" y="connsiteY4709"/>
              </a:cxn>
              <a:cxn ang="0">
                <a:pos x="connsiteX4710" y="connsiteY4710"/>
              </a:cxn>
              <a:cxn ang="0">
                <a:pos x="connsiteX4711" y="connsiteY4711"/>
              </a:cxn>
              <a:cxn ang="0">
                <a:pos x="connsiteX4712" y="connsiteY4712"/>
              </a:cxn>
              <a:cxn ang="0">
                <a:pos x="connsiteX4713" y="connsiteY4713"/>
              </a:cxn>
              <a:cxn ang="0">
                <a:pos x="connsiteX4714" y="connsiteY4714"/>
              </a:cxn>
              <a:cxn ang="0">
                <a:pos x="connsiteX4715" y="connsiteY4715"/>
              </a:cxn>
              <a:cxn ang="0">
                <a:pos x="connsiteX4716" y="connsiteY4716"/>
              </a:cxn>
              <a:cxn ang="0">
                <a:pos x="connsiteX4717" y="connsiteY4717"/>
              </a:cxn>
              <a:cxn ang="0">
                <a:pos x="connsiteX4718" y="connsiteY4718"/>
              </a:cxn>
              <a:cxn ang="0">
                <a:pos x="connsiteX4719" y="connsiteY4719"/>
              </a:cxn>
              <a:cxn ang="0">
                <a:pos x="connsiteX4720" y="connsiteY4720"/>
              </a:cxn>
              <a:cxn ang="0">
                <a:pos x="connsiteX4721" y="connsiteY4721"/>
              </a:cxn>
              <a:cxn ang="0">
                <a:pos x="connsiteX4722" y="connsiteY4722"/>
              </a:cxn>
              <a:cxn ang="0">
                <a:pos x="connsiteX4723" y="connsiteY4723"/>
              </a:cxn>
              <a:cxn ang="0">
                <a:pos x="connsiteX4724" y="connsiteY4724"/>
              </a:cxn>
              <a:cxn ang="0">
                <a:pos x="connsiteX4725" y="connsiteY4725"/>
              </a:cxn>
              <a:cxn ang="0">
                <a:pos x="connsiteX4726" y="connsiteY4726"/>
              </a:cxn>
              <a:cxn ang="0">
                <a:pos x="connsiteX4727" y="connsiteY4727"/>
              </a:cxn>
              <a:cxn ang="0">
                <a:pos x="connsiteX4728" y="connsiteY4728"/>
              </a:cxn>
              <a:cxn ang="0">
                <a:pos x="connsiteX4729" y="connsiteY4729"/>
              </a:cxn>
              <a:cxn ang="0">
                <a:pos x="connsiteX4730" y="connsiteY4730"/>
              </a:cxn>
              <a:cxn ang="0">
                <a:pos x="connsiteX4731" y="connsiteY4731"/>
              </a:cxn>
              <a:cxn ang="0">
                <a:pos x="connsiteX4732" y="connsiteY4732"/>
              </a:cxn>
              <a:cxn ang="0">
                <a:pos x="connsiteX4733" y="connsiteY4733"/>
              </a:cxn>
              <a:cxn ang="0">
                <a:pos x="connsiteX4734" y="connsiteY4734"/>
              </a:cxn>
              <a:cxn ang="0">
                <a:pos x="connsiteX4735" y="connsiteY4735"/>
              </a:cxn>
              <a:cxn ang="0">
                <a:pos x="connsiteX4736" y="connsiteY4736"/>
              </a:cxn>
              <a:cxn ang="0">
                <a:pos x="connsiteX4737" y="connsiteY4737"/>
              </a:cxn>
              <a:cxn ang="0">
                <a:pos x="connsiteX4738" y="connsiteY4738"/>
              </a:cxn>
              <a:cxn ang="0">
                <a:pos x="connsiteX4739" y="connsiteY4739"/>
              </a:cxn>
              <a:cxn ang="0">
                <a:pos x="connsiteX4740" y="connsiteY4740"/>
              </a:cxn>
              <a:cxn ang="0">
                <a:pos x="connsiteX4741" y="connsiteY4741"/>
              </a:cxn>
              <a:cxn ang="0">
                <a:pos x="connsiteX4742" y="connsiteY4742"/>
              </a:cxn>
              <a:cxn ang="0">
                <a:pos x="connsiteX4743" y="connsiteY4743"/>
              </a:cxn>
              <a:cxn ang="0">
                <a:pos x="connsiteX4744" y="connsiteY4744"/>
              </a:cxn>
              <a:cxn ang="0">
                <a:pos x="connsiteX4745" y="connsiteY4745"/>
              </a:cxn>
              <a:cxn ang="0">
                <a:pos x="connsiteX4746" y="connsiteY4746"/>
              </a:cxn>
              <a:cxn ang="0">
                <a:pos x="connsiteX4747" y="connsiteY4747"/>
              </a:cxn>
              <a:cxn ang="0">
                <a:pos x="connsiteX4748" y="connsiteY4748"/>
              </a:cxn>
              <a:cxn ang="0">
                <a:pos x="connsiteX4749" y="connsiteY4749"/>
              </a:cxn>
              <a:cxn ang="0">
                <a:pos x="connsiteX4750" y="connsiteY4750"/>
              </a:cxn>
              <a:cxn ang="0">
                <a:pos x="connsiteX4751" y="connsiteY4751"/>
              </a:cxn>
              <a:cxn ang="0">
                <a:pos x="connsiteX4752" y="connsiteY4752"/>
              </a:cxn>
              <a:cxn ang="0">
                <a:pos x="connsiteX4753" y="connsiteY4753"/>
              </a:cxn>
              <a:cxn ang="0">
                <a:pos x="connsiteX4754" y="connsiteY4754"/>
              </a:cxn>
              <a:cxn ang="0">
                <a:pos x="connsiteX4755" y="connsiteY4755"/>
              </a:cxn>
              <a:cxn ang="0">
                <a:pos x="connsiteX4756" y="connsiteY4756"/>
              </a:cxn>
              <a:cxn ang="0">
                <a:pos x="connsiteX4757" y="connsiteY4757"/>
              </a:cxn>
              <a:cxn ang="0">
                <a:pos x="connsiteX4758" y="connsiteY4758"/>
              </a:cxn>
              <a:cxn ang="0">
                <a:pos x="connsiteX4759" y="connsiteY4759"/>
              </a:cxn>
              <a:cxn ang="0">
                <a:pos x="connsiteX4760" y="connsiteY4760"/>
              </a:cxn>
              <a:cxn ang="0">
                <a:pos x="connsiteX4761" y="connsiteY4761"/>
              </a:cxn>
              <a:cxn ang="0">
                <a:pos x="connsiteX4762" y="connsiteY4762"/>
              </a:cxn>
              <a:cxn ang="0">
                <a:pos x="connsiteX4763" y="connsiteY4763"/>
              </a:cxn>
              <a:cxn ang="0">
                <a:pos x="connsiteX4764" y="connsiteY4764"/>
              </a:cxn>
              <a:cxn ang="0">
                <a:pos x="connsiteX4765" y="connsiteY4765"/>
              </a:cxn>
              <a:cxn ang="0">
                <a:pos x="connsiteX4766" y="connsiteY4766"/>
              </a:cxn>
              <a:cxn ang="0">
                <a:pos x="connsiteX4767" y="connsiteY4767"/>
              </a:cxn>
              <a:cxn ang="0">
                <a:pos x="connsiteX4768" y="connsiteY4768"/>
              </a:cxn>
              <a:cxn ang="0">
                <a:pos x="connsiteX4769" y="connsiteY4769"/>
              </a:cxn>
              <a:cxn ang="0">
                <a:pos x="connsiteX4770" y="connsiteY4770"/>
              </a:cxn>
              <a:cxn ang="0">
                <a:pos x="connsiteX4771" y="connsiteY4771"/>
              </a:cxn>
              <a:cxn ang="0">
                <a:pos x="connsiteX4772" y="connsiteY4772"/>
              </a:cxn>
              <a:cxn ang="0">
                <a:pos x="connsiteX4773" y="connsiteY4773"/>
              </a:cxn>
              <a:cxn ang="0">
                <a:pos x="connsiteX4774" y="connsiteY4774"/>
              </a:cxn>
              <a:cxn ang="0">
                <a:pos x="connsiteX4775" y="connsiteY4775"/>
              </a:cxn>
              <a:cxn ang="0">
                <a:pos x="connsiteX4776" y="connsiteY4776"/>
              </a:cxn>
              <a:cxn ang="0">
                <a:pos x="connsiteX4777" y="connsiteY4777"/>
              </a:cxn>
              <a:cxn ang="0">
                <a:pos x="connsiteX4778" y="connsiteY4778"/>
              </a:cxn>
              <a:cxn ang="0">
                <a:pos x="connsiteX4779" y="connsiteY4779"/>
              </a:cxn>
              <a:cxn ang="0">
                <a:pos x="connsiteX4780" y="connsiteY4780"/>
              </a:cxn>
              <a:cxn ang="0">
                <a:pos x="connsiteX4781" y="connsiteY4781"/>
              </a:cxn>
              <a:cxn ang="0">
                <a:pos x="connsiteX4782" y="connsiteY4782"/>
              </a:cxn>
              <a:cxn ang="0">
                <a:pos x="connsiteX4783" y="connsiteY4783"/>
              </a:cxn>
              <a:cxn ang="0">
                <a:pos x="connsiteX4784" y="connsiteY4784"/>
              </a:cxn>
              <a:cxn ang="0">
                <a:pos x="connsiteX4785" y="connsiteY4785"/>
              </a:cxn>
              <a:cxn ang="0">
                <a:pos x="connsiteX4786" y="connsiteY4786"/>
              </a:cxn>
              <a:cxn ang="0">
                <a:pos x="connsiteX4787" y="connsiteY4787"/>
              </a:cxn>
              <a:cxn ang="0">
                <a:pos x="connsiteX4788" y="connsiteY4788"/>
              </a:cxn>
              <a:cxn ang="0">
                <a:pos x="connsiteX4789" y="connsiteY4789"/>
              </a:cxn>
              <a:cxn ang="0">
                <a:pos x="connsiteX4790" y="connsiteY4790"/>
              </a:cxn>
              <a:cxn ang="0">
                <a:pos x="connsiteX4791" y="connsiteY4791"/>
              </a:cxn>
              <a:cxn ang="0">
                <a:pos x="connsiteX4792" y="connsiteY4792"/>
              </a:cxn>
              <a:cxn ang="0">
                <a:pos x="connsiteX4793" y="connsiteY4793"/>
              </a:cxn>
              <a:cxn ang="0">
                <a:pos x="connsiteX4794" y="connsiteY4794"/>
              </a:cxn>
              <a:cxn ang="0">
                <a:pos x="connsiteX4795" y="connsiteY4795"/>
              </a:cxn>
              <a:cxn ang="0">
                <a:pos x="connsiteX4796" y="connsiteY4796"/>
              </a:cxn>
              <a:cxn ang="0">
                <a:pos x="connsiteX4797" y="connsiteY4797"/>
              </a:cxn>
              <a:cxn ang="0">
                <a:pos x="connsiteX4798" y="connsiteY4798"/>
              </a:cxn>
              <a:cxn ang="0">
                <a:pos x="connsiteX4799" y="connsiteY4799"/>
              </a:cxn>
              <a:cxn ang="0">
                <a:pos x="connsiteX4800" y="connsiteY4800"/>
              </a:cxn>
              <a:cxn ang="0">
                <a:pos x="connsiteX4801" y="connsiteY4801"/>
              </a:cxn>
              <a:cxn ang="0">
                <a:pos x="connsiteX4802" y="connsiteY4802"/>
              </a:cxn>
              <a:cxn ang="0">
                <a:pos x="connsiteX4803" y="connsiteY4803"/>
              </a:cxn>
              <a:cxn ang="0">
                <a:pos x="connsiteX4804" y="connsiteY4804"/>
              </a:cxn>
              <a:cxn ang="0">
                <a:pos x="connsiteX4805" y="connsiteY4805"/>
              </a:cxn>
              <a:cxn ang="0">
                <a:pos x="connsiteX4806" y="connsiteY4806"/>
              </a:cxn>
              <a:cxn ang="0">
                <a:pos x="connsiteX4807" y="connsiteY4807"/>
              </a:cxn>
              <a:cxn ang="0">
                <a:pos x="connsiteX4808" y="connsiteY4808"/>
              </a:cxn>
              <a:cxn ang="0">
                <a:pos x="connsiteX4809" y="connsiteY4809"/>
              </a:cxn>
              <a:cxn ang="0">
                <a:pos x="connsiteX4810" y="connsiteY4810"/>
              </a:cxn>
              <a:cxn ang="0">
                <a:pos x="connsiteX4811" y="connsiteY4811"/>
              </a:cxn>
              <a:cxn ang="0">
                <a:pos x="connsiteX4812" y="connsiteY4812"/>
              </a:cxn>
              <a:cxn ang="0">
                <a:pos x="connsiteX4813" y="connsiteY4813"/>
              </a:cxn>
              <a:cxn ang="0">
                <a:pos x="connsiteX4814" y="connsiteY4814"/>
              </a:cxn>
              <a:cxn ang="0">
                <a:pos x="connsiteX4815" y="connsiteY4815"/>
              </a:cxn>
              <a:cxn ang="0">
                <a:pos x="connsiteX4816" y="connsiteY4816"/>
              </a:cxn>
              <a:cxn ang="0">
                <a:pos x="connsiteX4817" y="connsiteY4817"/>
              </a:cxn>
              <a:cxn ang="0">
                <a:pos x="connsiteX4818" y="connsiteY4818"/>
              </a:cxn>
              <a:cxn ang="0">
                <a:pos x="connsiteX4819" y="connsiteY4819"/>
              </a:cxn>
              <a:cxn ang="0">
                <a:pos x="connsiteX4820" y="connsiteY4820"/>
              </a:cxn>
              <a:cxn ang="0">
                <a:pos x="connsiteX4821" y="connsiteY4821"/>
              </a:cxn>
              <a:cxn ang="0">
                <a:pos x="connsiteX4822" y="connsiteY4822"/>
              </a:cxn>
              <a:cxn ang="0">
                <a:pos x="connsiteX4823" y="connsiteY4823"/>
              </a:cxn>
              <a:cxn ang="0">
                <a:pos x="connsiteX4824" y="connsiteY4824"/>
              </a:cxn>
              <a:cxn ang="0">
                <a:pos x="connsiteX4825" y="connsiteY4825"/>
              </a:cxn>
              <a:cxn ang="0">
                <a:pos x="connsiteX4826" y="connsiteY4826"/>
              </a:cxn>
              <a:cxn ang="0">
                <a:pos x="connsiteX4827" y="connsiteY4827"/>
              </a:cxn>
              <a:cxn ang="0">
                <a:pos x="connsiteX4828" y="connsiteY4828"/>
              </a:cxn>
              <a:cxn ang="0">
                <a:pos x="connsiteX4829" y="connsiteY4829"/>
              </a:cxn>
              <a:cxn ang="0">
                <a:pos x="connsiteX4830" y="connsiteY4830"/>
              </a:cxn>
              <a:cxn ang="0">
                <a:pos x="connsiteX4831" y="connsiteY4831"/>
              </a:cxn>
              <a:cxn ang="0">
                <a:pos x="connsiteX4832" y="connsiteY4832"/>
              </a:cxn>
              <a:cxn ang="0">
                <a:pos x="connsiteX4833" y="connsiteY4833"/>
              </a:cxn>
              <a:cxn ang="0">
                <a:pos x="connsiteX4834" y="connsiteY4834"/>
              </a:cxn>
              <a:cxn ang="0">
                <a:pos x="connsiteX4835" y="connsiteY4835"/>
              </a:cxn>
              <a:cxn ang="0">
                <a:pos x="connsiteX4836" y="connsiteY4836"/>
              </a:cxn>
              <a:cxn ang="0">
                <a:pos x="connsiteX4837" y="connsiteY4837"/>
              </a:cxn>
              <a:cxn ang="0">
                <a:pos x="connsiteX4838" y="connsiteY4838"/>
              </a:cxn>
              <a:cxn ang="0">
                <a:pos x="connsiteX4839" y="connsiteY4839"/>
              </a:cxn>
              <a:cxn ang="0">
                <a:pos x="connsiteX4840" y="connsiteY4840"/>
              </a:cxn>
              <a:cxn ang="0">
                <a:pos x="connsiteX4841" y="connsiteY4841"/>
              </a:cxn>
              <a:cxn ang="0">
                <a:pos x="connsiteX4842" y="connsiteY4842"/>
              </a:cxn>
              <a:cxn ang="0">
                <a:pos x="connsiteX4843" y="connsiteY4843"/>
              </a:cxn>
              <a:cxn ang="0">
                <a:pos x="connsiteX4844" y="connsiteY4844"/>
              </a:cxn>
              <a:cxn ang="0">
                <a:pos x="connsiteX4845" y="connsiteY4845"/>
              </a:cxn>
              <a:cxn ang="0">
                <a:pos x="connsiteX4846" y="connsiteY4846"/>
              </a:cxn>
              <a:cxn ang="0">
                <a:pos x="connsiteX4847" y="connsiteY4847"/>
              </a:cxn>
              <a:cxn ang="0">
                <a:pos x="connsiteX4848" y="connsiteY4848"/>
              </a:cxn>
              <a:cxn ang="0">
                <a:pos x="connsiteX4849" y="connsiteY4849"/>
              </a:cxn>
              <a:cxn ang="0">
                <a:pos x="connsiteX4850" y="connsiteY4850"/>
              </a:cxn>
              <a:cxn ang="0">
                <a:pos x="connsiteX4851" y="connsiteY4851"/>
              </a:cxn>
              <a:cxn ang="0">
                <a:pos x="connsiteX4852" y="connsiteY4852"/>
              </a:cxn>
              <a:cxn ang="0">
                <a:pos x="connsiteX4853" y="connsiteY4853"/>
              </a:cxn>
              <a:cxn ang="0">
                <a:pos x="connsiteX4854" y="connsiteY4854"/>
              </a:cxn>
              <a:cxn ang="0">
                <a:pos x="connsiteX4855" y="connsiteY4855"/>
              </a:cxn>
              <a:cxn ang="0">
                <a:pos x="connsiteX4856" y="connsiteY4856"/>
              </a:cxn>
              <a:cxn ang="0">
                <a:pos x="connsiteX4857" y="connsiteY4857"/>
              </a:cxn>
              <a:cxn ang="0">
                <a:pos x="connsiteX4858" y="connsiteY4858"/>
              </a:cxn>
              <a:cxn ang="0">
                <a:pos x="connsiteX4859" y="connsiteY4859"/>
              </a:cxn>
              <a:cxn ang="0">
                <a:pos x="connsiteX4860" y="connsiteY4860"/>
              </a:cxn>
              <a:cxn ang="0">
                <a:pos x="connsiteX4861" y="connsiteY4861"/>
              </a:cxn>
              <a:cxn ang="0">
                <a:pos x="connsiteX4862" y="connsiteY4862"/>
              </a:cxn>
              <a:cxn ang="0">
                <a:pos x="connsiteX4863" y="connsiteY4863"/>
              </a:cxn>
              <a:cxn ang="0">
                <a:pos x="connsiteX4864" y="connsiteY4864"/>
              </a:cxn>
              <a:cxn ang="0">
                <a:pos x="connsiteX4865" y="connsiteY4865"/>
              </a:cxn>
              <a:cxn ang="0">
                <a:pos x="connsiteX4866" y="connsiteY4866"/>
              </a:cxn>
              <a:cxn ang="0">
                <a:pos x="connsiteX4867" y="connsiteY4867"/>
              </a:cxn>
              <a:cxn ang="0">
                <a:pos x="connsiteX4868" y="connsiteY4868"/>
              </a:cxn>
              <a:cxn ang="0">
                <a:pos x="connsiteX4869" y="connsiteY4869"/>
              </a:cxn>
              <a:cxn ang="0">
                <a:pos x="connsiteX4870" y="connsiteY4870"/>
              </a:cxn>
              <a:cxn ang="0">
                <a:pos x="connsiteX4871" y="connsiteY4871"/>
              </a:cxn>
              <a:cxn ang="0">
                <a:pos x="connsiteX4872" y="connsiteY4872"/>
              </a:cxn>
              <a:cxn ang="0">
                <a:pos x="connsiteX4873" y="connsiteY4873"/>
              </a:cxn>
              <a:cxn ang="0">
                <a:pos x="connsiteX4874" y="connsiteY4874"/>
              </a:cxn>
              <a:cxn ang="0">
                <a:pos x="connsiteX4875" y="connsiteY4875"/>
              </a:cxn>
              <a:cxn ang="0">
                <a:pos x="connsiteX4876" y="connsiteY4876"/>
              </a:cxn>
              <a:cxn ang="0">
                <a:pos x="connsiteX4877" y="connsiteY4877"/>
              </a:cxn>
              <a:cxn ang="0">
                <a:pos x="connsiteX4878" y="connsiteY4878"/>
              </a:cxn>
              <a:cxn ang="0">
                <a:pos x="connsiteX4879" y="connsiteY4879"/>
              </a:cxn>
              <a:cxn ang="0">
                <a:pos x="connsiteX4880" y="connsiteY4880"/>
              </a:cxn>
              <a:cxn ang="0">
                <a:pos x="connsiteX4881" y="connsiteY4881"/>
              </a:cxn>
              <a:cxn ang="0">
                <a:pos x="connsiteX4882" y="connsiteY4882"/>
              </a:cxn>
              <a:cxn ang="0">
                <a:pos x="connsiteX4883" y="connsiteY4883"/>
              </a:cxn>
              <a:cxn ang="0">
                <a:pos x="connsiteX4884" y="connsiteY4884"/>
              </a:cxn>
              <a:cxn ang="0">
                <a:pos x="connsiteX4885" y="connsiteY4885"/>
              </a:cxn>
              <a:cxn ang="0">
                <a:pos x="connsiteX4886" y="connsiteY4886"/>
              </a:cxn>
              <a:cxn ang="0">
                <a:pos x="connsiteX4887" y="connsiteY4887"/>
              </a:cxn>
              <a:cxn ang="0">
                <a:pos x="connsiteX4888" y="connsiteY4888"/>
              </a:cxn>
              <a:cxn ang="0">
                <a:pos x="connsiteX4889" y="connsiteY4889"/>
              </a:cxn>
              <a:cxn ang="0">
                <a:pos x="connsiteX4890" y="connsiteY4890"/>
              </a:cxn>
              <a:cxn ang="0">
                <a:pos x="connsiteX4891" y="connsiteY4891"/>
              </a:cxn>
              <a:cxn ang="0">
                <a:pos x="connsiteX4892" y="connsiteY4892"/>
              </a:cxn>
              <a:cxn ang="0">
                <a:pos x="connsiteX4893" y="connsiteY4893"/>
              </a:cxn>
              <a:cxn ang="0">
                <a:pos x="connsiteX4894" y="connsiteY4894"/>
              </a:cxn>
              <a:cxn ang="0">
                <a:pos x="connsiteX4895" y="connsiteY4895"/>
              </a:cxn>
              <a:cxn ang="0">
                <a:pos x="connsiteX4896" y="connsiteY4896"/>
              </a:cxn>
              <a:cxn ang="0">
                <a:pos x="connsiteX4897" y="connsiteY4897"/>
              </a:cxn>
              <a:cxn ang="0">
                <a:pos x="connsiteX4898" y="connsiteY4898"/>
              </a:cxn>
              <a:cxn ang="0">
                <a:pos x="connsiteX4899" y="connsiteY4899"/>
              </a:cxn>
              <a:cxn ang="0">
                <a:pos x="connsiteX4900" y="connsiteY4900"/>
              </a:cxn>
              <a:cxn ang="0">
                <a:pos x="connsiteX4901" y="connsiteY4901"/>
              </a:cxn>
              <a:cxn ang="0">
                <a:pos x="connsiteX4902" y="connsiteY4902"/>
              </a:cxn>
              <a:cxn ang="0">
                <a:pos x="connsiteX4903" y="connsiteY4903"/>
              </a:cxn>
              <a:cxn ang="0">
                <a:pos x="connsiteX4904" y="connsiteY4904"/>
              </a:cxn>
              <a:cxn ang="0">
                <a:pos x="connsiteX4905" y="connsiteY4905"/>
              </a:cxn>
              <a:cxn ang="0">
                <a:pos x="connsiteX4906" y="connsiteY4906"/>
              </a:cxn>
              <a:cxn ang="0">
                <a:pos x="connsiteX4907" y="connsiteY4907"/>
              </a:cxn>
              <a:cxn ang="0">
                <a:pos x="connsiteX4908" y="connsiteY4908"/>
              </a:cxn>
              <a:cxn ang="0">
                <a:pos x="connsiteX4909" y="connsiteY4909"/>
              </a:cxn>
              <a:cxn ang="0">
                <a:pos x="connsiteX4910" y="connsiteY4910"/>
              </a:cxn>
              <a:cxn ang="0">
                <a:pos x="connsiteX4911" y="connsiteY4911"/>
              </a:cxn>
              <a:cxn ang="0">
                <a:pos x="connsiteX4912" y="connsiteY4912"/>
              </a:cxn>
              <a:cxn ang="0">
                <a:pos x="connsiteX4913" y="connsiteY4913"/>
              </a:cxn>
              <a:cxn ang="0">
                <a:pos x="connsiteX4914" y="connsiteY4914"/>
              </a:cxn>
              <a:cxn ang="0">
                <a:pos x="connsiteX4915" y="connsiteY4915"/>
              </a:cxn>
              <a:cxn ang="0">
                <a:pos x="connsiteX4916" y="connsiteY4916"/>
              </a:cxn>
              <a:cxn ang="0">
                <a:pos x="connsiteX4917" y="connsiteY4917"/>
              </a:cxn>
              <a:cxn ang="0">
                <a:pos x="connsiteX4918" y="connsiteY4918"/>
              </a:cxn>
              <a:cxn ang="0">
                <a:pos x="connsiteX4919" y="connsiteY4919"/>
              </a:cxn>
              <a:cxn ang="0">
                <a:pos x="connsiteX4920" y="connsiteY4920"/>
              </a:cxn>
              <a:cxn ang="0">
                <a:pos x="connsiteX4921" y="connsiteY4921"/>
              </a:cxn>
              <a:cxn ang="0">
                <a:pos x="connsiteX4922" y="connsiteY4922"/>
              </a:cxn>
              <a:cxn ang="0">
                <a:pos x="connsiteX4923" y="connsiteY4923"/>
              </a:cxn>
              <a:cxn ang="0">
                <a:pos x="connsiteX4924" y="connsiteY4924"/>
              </a:cxn>
              <a:cxn ang="0">
                <a:pos x="connsiteX4925" y="connsiteY4925"/>
              </a:cxn>
              <a:cxn ang="0">
                <a:pos x="connsiteX4926" y="connsiteY4926"/>
              </a:cxn>
              <a:cxn ang="0">
                <a:pos x="connsiteX4927" y="connsiteY4927"/>
              </a:cxn>
              <a:cxn ang="0">
                <a:pos x="connsiteX4928" y="connsiteY4928"/>
              </a:cxn>
              <a:cxn ang="0">
                <a:pos x="connsiteX4929" y="connsiteY4929"/>
              </a:cxn>
              <a:cxn ang="0">
                <a:pos x="connsiteX4930" y="connsiteY4930"/>
              </a:cxn>
              <a:cxn ang="0">
                <a:pos x="connsiteX4931" y="connsiteY4931"/>
              </a:cxn>
              <a:cxn ang="0">
                <a:pos x="connsiteX4932" y="connsiteY4932"/>
              </a:cxn>
              <a:cxn ang="0">
                <a:pos x="connsiteX4933" y="connsiteY4933"/>
              </a:cxn>
              <a:cxn ang="0">
                <a:pos x="connsiteX4934" y="connsiteY4934"/>
              </a:cxn>
              <a:cxn ang="0">
                <a:pos x="connsiteX4935" y="connsiteY4935"/>
              </a:cxn>
              <a:cxn ang="0">
                <a:pos x="connsiteX4936" y="connsiteY4936"/>
              </a:cxn>
              <a:cxn ang="0">
                <a:pos x="connsiteX4937" y="connsiteY4937"/>
              </a:cxn>
              <a:cxn ang="0">
                <a:pos x="connsiteX4938" y="connsiteY4938"/>
              </a:cxn>
              <a:cxn ang="0">
                <a:pos x="connsiteX4939" y="connsiteY4939"/>
              </a:cxn>
              <a:cxn ang="0">
                <a:pos x="connsiteX4940" y="connsiteY4940"/>
              </a:cxn>
              <a:cxn ang="0">
                <a:pos x="connsiteX4941" y="connsiteY4941"/>
              </a:cxn>
              <a:cxn ang="0">
                <a:pos x="connsiteX4942" y="connsiteY4942"/>
              </a:cxn>
              <a:cxn ang="0">
                <a:pos x="connsiteX4943" y="connsiteY4943"/>
              </a:cxn>
              <a:cxn ang="0">
                <a:pos x="connsiteX4944" y="connsiteY4944"/>
              </a:cxn>
              <a:cxn ang="0">
                <a:pos x="connsiteX4945" y="connsiteY4945"/>
              </a:cxn>
              <a:cxn ang="0">
                <a:pos x="connsiteX4946" y="connsiteY4946"/>
              </a:cxn>
              <a:cxn ang="0">
                <a:pos x="connsiteX4947" y="connsiteY4947"/>
              </a:cxn>
              <a:cxn ang="0">
                <a:pos x="connsiteX4948" y="connsiteY4948"/>
              </a:cxn>
              <a:cxn ang="0">
                <a:pos x="connsiteX4949" y="connsiteY4949"/>
              </a:cxn>
              <a:cxn ang="0">
                <a:pos x="connsiteX4950" y="connsiteY4950"/>
              </a:cxn>
              <a:cxn ang="0">
                <a:pos x="connsiteX4951" y="connsiteY4951"/>
              </a:cxn>
              <a:cxn ang="0">
                <a:pos x="connsiteX4952" y="connsiteY4952"/>
              </a:cxn>
              <a:cxn ang="0">
                <a:pos x="connsiteX4953" y="connsiteY4953"/>
              </a:cxn>
              <a:cxn ang="0">
                <a:pos x="connsiteX4954" y="connsiteY4954"/>
              </a:cxn>
              <a:cxn ang="0">
                <a:pos x="connsiteX4955" y="connsiteY4955"/>
              </a:cxn>
              <a:cxn ang="0">
                <a:pos x="connsiteX4956" y="connsiteY4956"/>
              </a:cxn>
              <a:cxn ang="0">
                <a:pos x="connsiteX4957" y="connsiteY4957"/>
              </a:cxn>
              <a:cxn ang="0">
                <a:pos x="connsiteX4958" y="connsiteY4958"/>
              </a:cxn>
              <a:cxn ang="0">
                <a:pos x="connsiteX4959" y="connsiteY4959"/>
              </a:cxn>
              <a:cxn ang="0">
                <a:pos x="connsiteX4960" y="connsiteY4960"/>
              </a:cxn>
              <a:cxn ang="0">
                <a:pos x="connsiteX4961" y="connsiteY4961"/>
              </a:cxn>
              <a:cxn ang="0">
                <a:pos x="connsiteX4962" y="connsiteY4962"/>
              </a:cxn>
              <a:cxn ang="0">
                <a:pos x="connsiteX4963" y="connsiteY4963"/>
              </a:cxn>
              <a:cxn ang="0">
                <a:pos x="connsiteX4964" y="connsiteY4964"/>
              </a:cxn>
              <a:cxn ang="0">
                <a:pos x="connsiteX4965" y="connsiteY4965"/>
              </a:cxn>
              <a:cxn ang="0">
                <a:pos x="connsiteX4966" y="connsiteY4966"/>
              </a:cxn>
            </a:cxnLst>
            <a:rect l="l" t="t" r="r" b="b"/>
            <a:pathLst>
              <a:path w="6530564" h="6858000">
                <a:moveTo>
                  <a:pt x="4044771" y="6093451"/>
                </a:moveTo>
                <a:lnTo>
                  <a:pt x="4045742" y="6095312"/>
                </a:lnTo>
                <a:lnTo>
                  <a:pt x="4035428" y="6095447"/>
                </a:lnTo>
                <a:cubicBezTo>
                  <a:pt x="4040099" y="6094449"/>
                  <a:pt x="4040099" y="6094449"/>
                  <a:pt x="4044771" y="6093451"/>
                </a:cubicBezTo>
                <a:close/>
                <a:moveTo>
                  <a:pt x="4313376" y="6001876"/>
                </a:moveTo>
                <a:cubicBezTo>
                  <a:pt x="4319045" y="6005548"/>
                  <a:pt x="4328387" y="6003552"/>
                  <a:pt x="4333057" y="6002555"/>
                </a:cubicBezTo>
                <a:cubicBezTo>
                  <a:pt x="4334056" y="6007226"/>
                  <a:pt x="4334056" y="6007226"/>
                  <a:pt x="4334056" y="6007226"/>
                </a:cubicBezTo>
                <a:cubicBezTo>
                  <a:pt x="4334056" y="6007226"/>
                  <a:pt x="4334056" y="6007226"/>
                  <a:pt x="4335053" y="6011898"/>
                </a:cubicBezTo>
                <a:cubicBezTo>
                  <a:pt x="4315371" y="6011217"/>
                  <a:pt x="4278005" y="6019202"/>
                  <a:pt x="4253651" y="6019520"/>
                </a:cubicBezTo>
                <a:cubicBezTo>
                  <a:pt x="4261995" y="6012854"/>
                  <a:pt x="4310701" y="6012216"/>
                  <a:pt x="4308706" y="6002875"/>
                </a:cubicBezTo>
                <a:close/>
                <a:moveTo>
                  <a:pt x="4371425" y="5999243"/>
                </a:moveTo>
                <a:lnTo>
                  <a:pt x="4381959" y="5999606"/>
                </a:lnTo>
                <a:lnTo>
                  <a:pt x="4343399" y="6005230"/>
                </a:lnTo>
                <a:cubicBezTo>
                  <a:pt x="4348069" y="6004231"/>
                  <a:pt x="4348069" y="6004231"/>
                  <a:pt x="4348069" y="6004231"/>
                </a:cubicBezTo>
                <a:cubicBezTo>
                  <a:pt x="4348069" y="6004231"/>
                  <a:pt x="4348069" y="6004231"/>
                  <a:pt x="4352740" y="6003234"/>
                </a:cubicBezTo>
                <a:cubicBezTo>
                  <a:pt x="4357411" y="6002237"/>
                  <a:pt x="4366753" y="6000241"/>
                  <a:pt x="4371425" y="5999243"/>
                </a:cubicBezTo>
                <a:close/>
                <a:moveTo>
                  <a:pt x="5313770" y="5992063"/>
                </a:moveTo>
                <a:cubicBezTo>
                  <a:pt x="5311185" y="5991394"/>
                  <a:pt x="5307682" y="5992143"/>
                  <a:pt x="5303509" y="5995476"/>
                </a:cubicBezTo>
                <a:cubicBezTo>
                  <a:pt x="5304507" y="6000145"/>
                  <a:pt x="5304507" y="6000145"/>
                  <a:pt x="5304507" y="6000145"/>
                </a:cubicBezTo>
                <a:lnTo>
                  <a:pt x="5254793" y="6024769"/>
                </a:lnTo>
                <a:lnTo>
                  <a:pt x="5317025" y="5995549"/>
                </a:lnTo>
                <a:close/>
                <a:moveTo>
                  <a:pt x="4434660" y="5991919"/>
                </a:moveTo>
                <a:lnTo>
                  <a:pt x="4395777" y="5998924"/>
                </a:lnTo>
                <a:cubicBezTo>
                  <a:pt x="4395777" y="5998924"/>
                  <a:pt x="4395777" y="5998924"/>
                  <a:pt x="4391107" y="5999922"/>
                </a:cubicBezTo>
                <a:lnTo>
                  <a:pt x="4381959" y="5999606"/>
                </a:lnTo>
                <a:close/>
                <a:moveTo>
                  <a:pt x="5563150" y="5743821"/>
                </a:moveTo>
                <a:lnTo>
                  <a:pt x="5562539" y="5744767"/>
                </a:lnTo>
                <a:cubicBezTo>
                  <a:pt x="5562539" y="5744767"/>
                  <a:pt x="5562539" y="5744767"/>
                  <a:pt x="5557868" y="5745764"/>
                </a:cubicBezTo>
                <a:close/>
                <a:moveTo>
                  <a:pt x="2418715" y="5683798"/>
                </a:moveTo>
                <a:lnTo>
                  <a:pt x="2423109" y="5687744"/>
                </a:lnTo>
                <a:lnTo>
                  <a:pt x="2419712" y="5688470"/>
                </a:lnTo>
                <a:cubicBezTo>
                  <a:pt x="2419712" y="5688470"/>
                  <a:pt x="2419712" y="5688470"/>
                  <a:pt x="2418715" y="5683798"/>
                </a:cubicBezTo>
                <a:close/>
                <a:moveTo>
                  <a:pt x="5855983" y="5403674"/>
                </a:moveTo>
                <a:lnTo>
                  <a:pt x="5851753" y="5406742"/>
                </a:lnTo>
                <a:lnTo>
                  <a:pt x="5851313" y="5404671"/>
                </a:lnTo>
                <a:cubicBezTo>
                  <a:pt x="5851313" y="5404671"/>
                  <a:pt x="5851313" y="5404671"/>
                  <a:pt x="5855983" y="5403674"/>
                </a:cubicBezTo>
                <a:close/>
                <a:moveTo>
                  <a:pt x="4512474" y="5165146"/>
                </a:moveTo>
                <a:lnTo>
                  <a:pt x="4513179" y="5165335"/>
                </a:lnTo>
                <a:lnTo>
                  <a:pt x="4508315" y="5167547"/>
                </a:lnTo>
                <a:cubicBezTo>
                  <a:pt x="4508315" y="5167547"/>
                  <a:pt x="4512474" y="5165146"/>
                  <a:pt x="4512474" y="5165146"/>
                </a:cubicBezTo>
                <a:close/>
                <a:moveTo>
                  <a:pt x="4373541" y="5128612"/>
                </a:moveTo>
                <a:lnTo>
                  <a:pt x="4362165" y="5131201"/>
                </a:lnTo>
                <a:lnTo>
                  <a:pt x="4370545" y="5130631"/>
                </a:lnTo>
                <a:close/>
                <a:moveTo>
                  <a:pt x="3626785" y="5124711"/>
                </a:moveTo>
                <a:cubicBezTo>
                  <a:pt x="3633346" y="5126470"/>
                  <a:pt x="3636626" y="5127349"/>
                  <a:pt x="3639907" y="5128227"/>
                </a:cubicBezTo>
                <a:cubicBezTo>
                  <a:pt x="3635747" y="5130630"/>
                  <a:pt x="3632467" y="5129750"/>
                  <a:pt x="3629186" y="5128871"/>
                </a:cubicBezTo>
                <a:cubicBezTo>
                  <a:pt x="3629186" y="5128871"/>
                  <a:pt x="3629186" y="5128871"/>
                  <a:pt x="3625905" y="5127992"/>
                </a:cubicBezTo>
                <a:cubicBezTo>
                  <a:pt x="3622627" y="5127114"/>
                  <a:pt x="3622627" y="5127114"/>
                  <a:pt x="3622627" y="5127114"/>
                </a:cubicBezTo>
                <a:lnTo>
                  <a:pt x="3619346" y="5126234"/>
                </a:lnTo>
                <a:cubicBezTo>
                  <a:pt x="3619346" y="5126234"/>
                  <a:pt x="3622627" y="5127114"/>
                  <a:pt x="3626785" y="5124711"/>
                </a:cubicBezTo>
                <a:close/>
                <a:moveTo>
                  <a:pt x="3360612" y="5081517"/>
                </a:moveTo>
                <a:cubicBezTo>
                  <a:pt x="3363892" y="5082396"/>
                  <a:pt x="3363892" y="5082396"/>
                  <a:pt x="3363892" y="5082396"/>
                </a:cubicBezTo>
                <a:cubicBezTo>
                  <a:pt x="3360612" y="5081517"/>
                  <a:pt x="3359734" y="5084797"/>
                  <a:pt x="3359734" y="5084797"/>
                </a:cubicBezTo>
                <a:cubicBezTo>
                  <a:pt x="3360612" y="5081517"/>
                  <a:pt x="3360612" y="5081517"/>
                  <a:pt x="3360612" y="5081517"/>
                </a:cubicBezTo>
                <a:close/>
                <a:moveTo>
                  <a:pt x="3200777" y="5049024"/>
                </a:moveTo>
                <a:lnTo>
                  <a:pt x="3203804" y="5050048"/>
                </a:lnTo>
                <a:cubicBezTo>
                  <a:pt x="3203804" y="5050048"/>
                  <a:pt x="3203804" y="5050048"/>
                  <a:pt x="3200523" y="5049169"/>
                </a:cubicBezTo>
                <a:close/>
                <a:moveTo>
                  <a:pt x="3219693" y="5047769"/>
                </a:moveTo>
                <a:cubicBezTo>
                  <a:pt x="3221616" y="5047130"/>
                  <a:pt x="3223933" y="5047092"/>
                  <a:pt x="3228523" y="5049640"/>
                </a:cubicBezTo>
                <a:cubicBezTo>
                  <a:pt x="3227645" y="5052921"/>
                  <a:pt x="3227645" y="5052921"/>
                  <a:pt x="3230924" y="5053799"/>
                </a:cubicBezTo>
                <a:cubicBezTo>
                  <a:pt x="3234205" y="5054678"/>
                  <a:pt x="3234205" y="5054678"/>
                  <a:pt x="3234205" y="5054678"/>
                </a:cubicBezTo>
                <a:cubicBezTo>
                  <a:pt x="3233325" y="5057959"/>
                  <a:pt x="3233325" y="5057959"/>
                  <a:pt x="3236606" y="5058838"/>
                </a:cubicBezTo>
                <a:cubicBezTo>
                  <a:pt x="3236606" y="5058838"/>
                  <a:pt x="3236606" y="5058838"/>
                  <a:pt x="3239886" y="5059716"/>
                </a:cubicBezTo>
                <a:cubicBezTo>
                  <a:pt x="3240766" y="5056436"/>
                  <a:pt x="3237485" y="5055556"/>
                  <a:pt x="3240766" y="5056436"/>
                </a:cubicBezTo>
                <a:cubicBezTo>
                  <a:pt x="3250605" y="5059072"/>
                  <a:pt x="3259569" y="5064990"/>
                  <a:pt x="3267886" y="5060188"/>
                </a:cubicBezTo>
                <a:cubicBezTo>
                  <a:pt x="3263727" y="5062589"/>
                  <a:pt x="3263727" y="5062589"/>
                  <a:pt x="3267006" y="5063467"/>
                </a:cubicBezTo>
                <a:cubicBezTo>
                  <a:pt x="3269409" y="5067627"/>
                  <a:pt x="3273569" y="5065226"/>
                  <a:pt x="3273569" y="5065226"/>
                </a:cubicBezTo>
                <a:cubicBezTo>
                  <a:pt x="3273569" y="5065226"/>
                  <a:pt x="3273569" y="5065226"/>
                  <a:pt x="3276848" y="5066104"/>
                </a:cubicBezTo>
                <a:cubicBezTo>
                  <a:pt x="3284930" y="5075301"/>
                  <a:pt x="3297408" y="5068098"/>
                  <a:pt x="3308771" y="5078174"/>
                </a:cubicBezTo>
                <a:cubicBezTo>
                  <a:pt x="3309651" y="5074894"/>
                  <a:pt x="3309651" y="5074894"/>
                  <a:pt x="3309651" y="5074894"/>
                </a:cubicBezTo>
                <a:cubicBezTo>
                  <a:pt x="3308771" y="5078174"/>
                  <a:pt x="3312052" y="5079053"/>
                  <a:pt x="3312052" y="5079053"/>
                </a:cubicBezTo>
                <a:cubicBezTo>
                  <a:pt x="3315333" y="5079933"/>
                  <a:pt x="3315333" y="5079933"/>
                  <a:pt x="3316211" y="5076651"/>
                </a:cubicBezTo>
                <a:cubicBezTo>
                  <a:pt x="3326051" y="5079288"/>
                  <a:pt x="3335893" y="5081925"/>
                  <a:pt x="3335893" y="5081925"/>
                </a:cubicBezTo>
                <a:cubicBezTo>
                  <a:pt x="3345734" y="5084562"/>
                  <a:pt x="3330211" y="5076888"/>
                  <a:pt x="3346612" y="5081283"/>
                </a:cubicBezTo>
                <a:cubicBezTo>
                  <a:pt x="3342454" y="5083684"/>
                  <a:pt x="3344855" y="5087843"/>
                  <a:pt x="3349015" y="5085441"/>
                </a:cubicBezTo>
                <a:cubicBezTo>
                  <a:pt x="3353173" y="5083040"/>
                  <a:pt x="3337650" y="5075365"/>
                  <a:pt x="3354053" y="5079760"/>
                </a:cubicBezTo>
                <a:cubicBezTo>
                  <a:pt x="3354053" y="5079760"/>
                  <a:pt x="3354053" y="5079760"/>
                  <a:pt x="3353173" y="5083040"/>
                </a:cubicBezTo>
                <a:cubicBezTo>
                  <a:pt x="3353173" y="5083040"/>
                  <a:pt x="3353173" y="5083040"/>
                  <a:pt x="3356453" y="5083919"/>
                </a:cubicBezTo>
                <a:cubicBezTo>
                  <a:pt x="3356453" y="5083919"/>
                  <a:pt x="3359734" y="5084797"/>
                  <a:pt x="3359734" y="5084797"/>
                </a:cubicBezTo>
                <a:cubicBezTo>
                  <a:pt x="3363013" y="5085677"/>
                  <a:pt x="3363013" y="5085677"/>
                  <a:pt x="3363013" y="5085677"/>
                </a:cubicBezTo>
                <a:cubicBezTo>
                  <a:pt x="3366295" y="5086556"/>
                  <a:pt x="3366295" y="5086556"/>
                  <a:pt x="3366295" y="5086556"/>
                </a:cubicBezTo>
                <a:cubicBezTo>
                  <a:pt x="3365415" y="5089835"/>
                  <a:pt x="3368696" y="5090715"/>
                  <a:pt x="3371975" y="5091594"/>
                </a:cubicBezTo>
                <a:cubicBezTo>
                  <a:pt x="3372854" y="5088314"/>
                  <a:pt x="3376135" y="5089193"/>
                  <a:pt x="3379415" y="5090071"/>
                </a:cubicBezTo>
                <a:cubicBezTo>
                  <a:pt x="3381816" y="5094231"/>
                  <a:pt x="3391657" y="5096868"/>
                  <a:pt x="3398218" y="5098625"/>
                </a:cubicBezTo>
                <a:cubicBezTo>
                  <a:pt x="3371975" y="5091594"/>
                  <a:pt x="3362135" y="5088957"/>
                  <a:pt x="3338294" y="5086085"/>
                </a:cubicBezTo>
                <a:cubicBezTo>
                  <a:pt x="3339815" y="5093525"/>
                  <a:pt x="3325815" y="5093289"/>
                  <a:pt x="3309415" y="5088893"/>
                </a:cubicBezTo>
                <a:cubicBezTo>
                  <a:pt x="3293014" y="5084499"/>
                  <a:pt x="3276613" y="5080105"/>
                  <a:pt x="3275734" y="5083385"/>
                </a:cubicBezTo>
                <a:cubicBezTo>
                  <a:pt x="3258454" y="5082271"/>
                  <a:pt x="3237249" y="5069557"/>
                  <a:pt x="3221727" y="5061883"/>
                </a:cubicBezTo>
                <a:cubicBezTo>
                  <a:pt x="3225009" y="5062762"/>
                  <a:pt x="3225009" y="5062762"/>
                  <a:pt x="3225887" y="5059480"/>
                </a:cubicBezTo>
                <a:cubicBezTo>
                  <a:pt x="3225887" y="5059480"/>
                  <a:pt x="3222606" y="5058602"/>
                  <a:pt x="3222606" y="5058602"/>
                </a:cubicBezTo>
                <a:cubicBezTo>
                  <a:pt x="3210364" y="5051805"/>
                  <a:pt x="3210364" y="5051805"/>
                  <a:pt x="3210364" y="5051805"/>
                </a:cubicBezTo>
                <a:cubicBezTo>
                  <a:pt x="3207083" y="5050927"/>
                  <a:pt x="3207083" y="5050927"/>
                  <a:pt x="3207083" y="5050927"/>
                </a:cubicBezTo>
                <a:lnTo>
                  <a:pt x="3207921" y="5047800"/>
                </a:lnTo>
                <a:lnTo>
                  <a:pt x="3213235" y="5049498"/>
                </a:lnTo>
                <a:cubicBezTo>
                  <a:pt x="3216244" y="5049646"/>
                  <a:pt x="3217771" y="5048407"/>
                  <a:pt x="3219693" y="5047769"/>
                </a:cubicBezTo>
                <a:close/>
                <a:moveTo>
                  <a:pt x="3204682" y="5046768"/>
                </a:moveTo>
                <a:cubicBezTo>
                  <a:pt x="3204682" y="5046768"/>
                  <a:pt x="3204682" y="5046768"/>
                  <a:pt x="3207964" y="5047647"/>
                </a:cubicBezTo>
                <a:lnTo>
                  <a:pt x="3207921" y="5047800"/>
                </a:lnTo>
                <a:close/>
                <a:moveTo>
                  <a:pt x="1727225" y="5030520"/>
                </a:moveTo>
                <a:lnTo>
                  <a:pt x="1725536" y="5030881"/>
                </a:lnTo>
                <a:lnTo>
                  <a:pt x="1727974" y="5034027"/>
                </a:lnTo>
                <a:close/>
                <a:moveTo>
                  <a:pt x="4899046" y="4955822"/>
                </a:moveTo>
                <a:cubicBezTo>
                  <a:pt x="4899046" y="4955822"/>
                  <a:pt x="4902327" y="4956701"/>
                  <a:pt x="4902327" y="4956701"/>
                </a:cubicBezTo>
                <a:cubicBezTo>
                  <a:pt x="4902327" y="4956701"/>
                  <a:pt x="4901447" y="4959982"/>
                  <a:pt x="4898167" y="4959102"/>
                </a:cubicBezTo>
                <a:cubicBezTo>
                  <a:pt x="4899046" y="4955822"/>
                  <a:pt x="4899046" y="4955822"/>
                  <a:pt x="4899046" y="4955822"/>
                </a:cubicBezTo>
                <a:close/>
                <a:moveTo>
                  <a:pt x="4909765" y="4955178"/>
                </a:moveTo>
                <a:lnTo>
                  <a:pt x="4908886" y="4958459"/>
                </a:lnTo>
                <a:cubicBezTo>
                  <a:pt x="4905607" y="4957581"/>
                  <a:pt x="4905607" y="4957581"/>
                  <a:pt x="4904727" y="4960860"/>
                </a:cubicBezTo>
                <a:close/>
                <a:moveTo>
                  <a:pt x="4886804" y="4949025"/>
                </a:moveTo>
                <a:cubicBezTo>
                  <a:pt x="4885925" y="4952305"/>
                  <a:pt x="4885925" y="4952305"/>
                  <a:pt x="4885925" y="4952305"/>
                </a:cubicBezTo>
                <a:cubicBezTo>
                  <a:pt x="4880887" y="4957988"/>
                  <a:pt x="4880887" y="4957988"/>
                  <a:pt x="4882645" y="4951427"/>
                </a:cubicBezTo>
                <a:cubicBezTo>
                  <a:pt x="4886804" y="4949025"/>
                  <a:pt x="4886804" y="4949025"/>
                  <a:pt x="4886804" y="4949025"/>
                </a:cubicBezTo>
                <a:close/>
                <a:moveTo>
                  <a:pt x="1904088" y="4943893"/>
                </a:moveTo>
                <a:lnTo>
                  <a:pt x="1909757" y="4947566"/>
                </a:lnTo>
                <a:cubicBezTo>
                  <a:pt x="1909757" y="4947566"/>
                  <a:pt x="1909757" y="4947566"/>
                  <a:pt x="1905087" y="4948563"/>
                </a:cubicBezTo>
                <a:close/>
                <a:moveTo>
                  <a:pt x="4977467" y="4879455"/>
                </a:moveTo>
                <a:lnTo>
                  <a:pt x="4858971" y="4948076"/>
                </a:lnTo>
                <a:cubicBezTo>
                  <a:pt x="4794519" y="4983128"/>
                  <a:pt x="4728689" y="5015573"/>
                  <a:pt x="4660094" y="5042804"/>
                </a:cubicBezTo>
                <a:cubicBezTo>
                  <a:pt x="4588740" y="5070496"/>
                  <a:pt x="4516871" y="5093703"/>
                  <a:pt x="4444457" y="5112467"/>
                </a:cubicBezTo>
                <a:lnTo>
                  <a:pt x="4389558" y="5124965"/>
                </a:lnTo>
                <a:lnTo>
                  <a:pt x="4383717" y="5128009"/>
                </a:lnTo>
                <a:cubicBezTo>
                  <a:pt x="4371129" y="5132548"/>
                  <a:pt x="4352545" y="5135479"/>
                  <a:pt x="4343187" y="5140882"/>
                </a:cubicBezTo>
                <a:cubicBezTo>
                  <a:pt x="4343187" y="5140882"/>
                  <a:pt x="4339907" y="5140002"/>
                  <a:pt x="4339907" y="5140002"/>
                </a:cubicBezTo>
                <a:cubicBezTo>
                  <a:pt x="4336627" y="5139123"/>
                  <a:pt x="4336627" y="5139123"/>
                  <a:pt x="4336627" y="5139123"/>
                </a:cubicBezTo>
                <a:cubicBezTo>
                  <a:pt x="4336627" y="5139123"/>
                  <a:pt x="4335748" y="5142403"/>
                  <a:pt x="4335748" y="5142403"/>
                </a:cubicBezTo>
                <a:cubicBezTo>
                  <a:pt x="4324149" y="5146327"/>
                  <a:pt x="4325027" y="5143047"/>
                  <a:pt x="4317590" y="5144570"/>
                </a:cubicBezTo>
                <a:cubicBezTo>
                  <a:pt x="4317590" y="5144570"/>
                  <a:pt x="4314308" y="5143691"/>
                  <a:pt x="4314308" y="5143691"/>
                </a:cubicBezTo>
                <a:cubicBezTo>
                  <a:pt x="4314308" y="5143691"/>
                  <a:pt x="4310149" y="5146092"/>
                  <a:pt x="4310149" y="5146092"/>
                </a:cubicBezTo>
                <a:cubicBezTo>
                  <a:pt x="4313430" y="5146971"/>
                  <a:pt x="4313430" y="5146971"/>
                  <a:pt x="4313430" y="5146971"/>
                </a:cubicBezTo>
                <a:cubicBezTo>
                  <a:pt x="4294391" y="5152417"/>
                  <a:pt x="4283671" y="5153060"/>
                  <a:pt x="4271193" y="5160265"/>
                </a:cubicBezTo>
                <a:cubicBezTo>
                  <a:pt x="4272073" y="5156984"/>
                  <a:pt x="4272073" y="5156984"/>
                  <a:pt x="4272073" y="5156984"/>
                </a:cubicBezTo>
                <a:lnTo>
                  <a:pt x="4268793" y="5156105"/>
                </a:lnTo>
                <a:cubicBezTo>
                  <a:pt x="4265512" y="5155227"/>
                  <a:pt x="4264633" y="5158507"/>
                  <a:pt x="4264633" y="5158507"/>
                </a:cubicBezTo>
                <a:cubicBezTo>
                  <a:pt x="4264633" y="5158507"/>
                  <a:pt x="4264633" y="5158507"/>
                  <a:pt x="4263755" y="5161788"/>
                </a:cubicBezTo>
                <a:cubicBezTo>
                  <a:pt x="4260474" y="5160908"/>
                  <a:pt x="4260474" y="5160908"/>
                  <a:pt x="4260474" y="5160908"/>
                </a:cubicBezTo>
                <a:cubicBezTo>
                  <a:pt x="4248875" y="5164832"/>
                  <a:pt x="4246475" y="5160672"/>
                  <a:pt x="4239034" y="5162195"/>
                </a:cubicBezTo>
                <a:cubicBezTo>
                  <a:pt x="4238156" y="5165476"/>
                  <a:pt x="4241437" y="5166354"/>
                  <a:pt x="4233996" y="5167877"/>
                </a:cubicBezTo>
                <a:cubicBezTo>
                  <a:pt x="4230715" y="5166997"/>
                  <a:pt x="4229837" y="5170278"/>
                  <a:pt x="4226557" y="5169398"/>
                </a:cubicBezTo>
                <a:cubicBezTo>
                  <a:pt x="4227435" y="5166119"/>
                  <a:pt x="4227435" y="5166119"/>
                  <a:pt x="4224157" y="5165240"/>
                </a:cubicBezTo>
                <a:cubicBezTo>
                  <a:pt x="4224157" y="5165240"/>
                  <a:pt x="4220876" y="5164361"/>
                  <a:pt x="4219997" y="5167641"/>
                </a:cubicBezTo>
                <a:cubicBezTo>
                  <a:pt x="4219997" y="5167641"/>
                  <a:pt x="4216716" y="5166762"/>
                  <a:pt x="4215837" y="5170042"/>
                </a:cubicBezTo>
                <a:cubicBezTo>
                  <a:pt x="4208397" y="5171565"/>
                  <a:pt x="4177761" y="5180935"/>
                  <a:pt x="4181921" y="5178534"/>
                </a:cubicBezTo>
                <a:cubicBezTo>
                  <a:pt x="4183441" y="5185973"/>
                  <a:pt x="4194398" y="5171329"/>
                  <a:pt x="4195921" y="5178768"/>
                </a:cubicBezTo>
                <a:cubicBezTo>
                  <a:pt x="4200079" y="5176367"/>
                  <a:pt x="4204239" y="5173966"/>
                  <a:pt x="4211678" y="5172443"/>
                </a:cubicBezTo>
                <a:cubicBezTo>
                  <a:pt x="4211678" y="5172443"/>
                  <a:pt x="4211678" y="5172443"/>
                  <a:pt x="4214959" y="5173322"/>
                </a:cubicBezTo>
                <a:cubicBezTo>
                  <a:pt x="4214959" y="5173322"/>
                  <a:pt x="4218239" y="5174202"/>
                  <a:pt x="4218239" y="5174202"/>
                </a:cubicBezTo>
                <a:cubicBezTo>
                  <a:pt x="4221518" y="5175080"/>
                  <a:pt x="4225678" y="5172679"/>
                  <a:pt x="4225678" y="5172679"/>
                </a:cubicBezTo>
                <a:cubicBezTo>
                  <a:pt x="4235519" y="5175316"/>
                  <a:pt x="4241437" y="5166354"/>
                  <a:pt x="4256315" y="5163309"/>
                </a:cubicBezTo>
                <a:cubicBezTo>
                  <a:pt x="4255435" y="5166590"/>
                  <a:pt x="4258715" y="5167468"/>
                  <a:pt x="4262875" y="5165067"/>
                </a:cubicBezTo>
                <a:cubicBezTo>
                  <a:pt x="4266157" y="5165946"/>
                  <a:pt x="4266157" y="5165946"/>
                  <a:pt x="4266157" y="5165946"/>
                </a:cubicBezTo>
                <a:cubicBezTo>
                  <a:pt x="4266157" y="5165946"/>
                  <a:pt x="4269436" y="5166824"/>
                  <a:pt x="4272717" y="5167703"/>
                </a:cubicBezTo>
                <a:cubicBezTo>
                  <a:pt x="4273595" y="5164424"/>
                  <a:pt x="4276877" y="5165302"/>
                  <a:pt x="4273595" y="5164424"/>
                </a:cubicBezTo>
                <a:cubicBezTo>
                  <a:pt x="4273595" y="5164424"/>
                  <a:pt x="4274474" y="5161144"/>
                  <a:pt x="4274474" y="5161144"/>
                </a:cubicBezTo>
                <a:cubicBezTo>
                  <a:pt x="4284315" y="5163779"/>
                  <a:pt x="4282792" y="5156341"/>
                  <a:pt x="4290233" y="5154819"/>
                </a:cubicBezTo>
                <a:cubicBezTo>
                  <a:pt x="4300952" y="5154174"/>
                  <a:pt x="4308392" y="5152652"/>
                  <a:pt x="4312551" y="5150251"/>
                </a:cubicBezTo>
                <a:cubicBezTo>
                  <a:pt x="4312551" y="5150251"/>
                  <a:pt x="4315831" y="5151131"/>
                  <a:pt x="4315831" y="5151131"/>
                </a:cubicBezTo>
                <a:cubicBezTo>
                  <a:pt x="4315831" y="5151131"/>
                  <a:pt x="4315831" y="5151131"/>
                  <a:pt x="4319110" y="5152009"/>
                </a:cubicBezTo>
                <a:cubicBezTo>
                  <a:pt x="4327430" y="5147207"/>
                  <a:pt x="4327430" y="5147207"/>
                  <a:pt x="4334869" y="5145684"/>
                </a:cubicBezTo>
                <a:cubicBezTo>
                  <a:pt x="4331589" y="5144804"/>
                  <a:pt x="4331589" y="5144804"/>
                  <a:pt x="4330709" y="5148085"/>
                </a:cubicBezTo>
                <a:cubicBezTo>
                  <a:pt x="4330709" y="5148085"/>
                  <a:pt x="4330709" y="5148085"/>
                  <a:pt x="4333989" y="5148964"/>
                </a:cubicBezTo>
                <a:cubicBezTo>
                  <a:pt x="4333989" y="5148964"/>
                  <a:pt x="4338149" y="5146563"/>
                  <a:pt x="4338149" y="5146563"/>
                </a:cubicBezTo>
                <a:cubicBezTo>
                  <a:pt x="4342309" y="5144162"/>
                  <a:pt x="4342309" y="5144162"/>
                  <a:pt x="4342309" y="5144162"/>
                </a:cubicBezTo>
                <a:cubicBezTo>
                  <a:pt x="4345588" y="5145042"/>
                  <a:pt x="4345588" y="5145042"/>
                  <a:pt x="4353029" y="5143519"/>
                </a:cubicBezTo>
                <a:cubicBezTo>
                  <a:pt x="4349748" y="5142639"/>
                  <a:pt x="4353907" y="5140237"/>
                  <a:pt x="4361347" y="5138715"/>
                </a:cubicBezTo>
                <a:cubicBezTo>
                  <a:pt x="4360467" y="5141996"/>
                  <a:pt x="4357187" y="5141116"/>
                  <a:pt x="4356309" y="5144397"/>
                </a:cubicBezTo>
                <a:cubicBezTo>
                  <a:pt x="4367906" y="5140474"/>
                  <a:pt x="4361347" y="5138715"/>
                  <a:pt x="4368785" y="5137194"/>
                </a:cubicBezTo>
                <a:cubicBezTo>
                  <a:pt x="4379505" y="5136549"/>
                  <a:pt x="4372066" y="5138072"/>
                  <a:pt x="4387825" y="5131747"/>
                </a:cubicBezTo>
                <a:cubicBezTo>
                  <a:pt x="4390225" y="5135906"/>
                  <a:pt x="4386065" y="5138307"/>
                  <a:pt x="4385187" y="5141588"/>
                </a:cubicBezTo>
                <a:cubicBezTo>
                  <a:pt x="4393506" y="5136784"/>
                  <a:pt x="4397665" y="5134383"/>
                  <a:pt x="4401825" y="5131982"/>
                </a:cubicBezTo>
                <a:cubicBezTo>
                  <a:pt x="4400945" y="5135263"/>
                  <a:pt x="4400945" y="5135263"/>
                  <a:pt x="4400945" y="5135263"/>
                </a:cubicBezTo>
                <a:cubicBezTo>
                  <a:pt x="4400945" y="5135263"/>
                  <a:pt x="4400945" y="5135263"/>
                  <a:pt x="4404225" y="5136142"/>
                </a:cubicBezTo>
                <a:cubicBezTo>
                  <a:pt x="4404225" y="5136142"/>
                  <a:pt x="4405105" y="5132862"/>
                  <a:pt x="4408385" y="5133740"/>
                </a:cubicBezTo>
                <a:cubicBezTo>
                  <a:pt x="4412543" y="5131339"/>
                  <a:pt x="4419984" y="5129816"/>
                  <a:pt x="4420862" y="5126537"/>
                </a:cubicBezTo>
                <a:cubicBezTo>
                  <a:pt x="4420862" y="5126537"/>
                  <a:pt x="4425022" y="5124136"/>
                  <a:pt x="4428303" y="5125014"/>
                </a:cubicBezTo>
                <a:cubicBezTo>
                  <a:pt x="4428303" y="5125014"/>
                  <a:pt x="4428303" y="5125014"/>
                  <a:pt x="4432461" y="5122611"/>
                </a:cubicBezTo>
                <a:cubicBezTo>
                  <a:pt x="4432461" y="5122611"/>
                  <a:pt x="4432461" y="5122611"/>
                  <a:pt x="4429181" y="5121733"/>
                </a:cubicBezTo>
                <a:cubicBezTo>
                  <a:pt x="4429181" y="5121733"/>
                  <a:pt x="4429181" y="5121733"/>
                  <a:pt x="4425901" y="5120854"/>
                </a:cubicBezTo>
                <a:cubicBezTo>
                  <a:pt x="4438378" y="5113651"/>
                  <a:pt x="4449097" y="5113006"/>
                  <a:pt x="4456537" y="5111486"/>
                </a:cubicBezTo>
                <a:cubicBezTo>
                  <a:pt x="4455658" y="5114765"/>
                  <a:pt x="4451499" y="5117167"/>
                  <a:pt x="4450621" y="5120446"/>
                </a:cubicBezTo>
                <a:cubicBezTo>
                  <a:pt x="4469658" y="5115001"/>
                  <a:pt x="4488695" y="5109553"/>
                  <a:pt x="4475575" y="5106039"/>
                </a:cubicBezTo>
                <a:cubicBezTo>
                  <a:pt x="4493735" y="5103872"/>
                  <a:pt x="4493735" y="5103872"/>
                  <a:pt x="4506211" y="5096669"/>
                </a:cubicBezTo>
                <a:cubicBezTo>
                  <a:pt x="4506211" y="5096669"/>
                  <a:pt x="4505333" y="5099949"/>
                  <a:pt x="4502053" y="5099070"/>
                </a:cubicBezTo>
                <a:cubicBezTo>
                  <a:pt x="4502053" y="5099070"/>
                  <a:pt x="4501174" y="5102350"/>
                  <a:pt x="4501174" y="5102350"/>
                </a:cubicBezTo>
                <a:cubicBezTo>
                  <a:pt x="4497015" y="5104753"/>
                  <a:pt x="4500295" y="5105631"/>
                  <a:pt x="4500295" y="5105631"/>
                </a:cubicBezTo>
                <a:cubicBezTo>
                  <a:pt x="4503575" y="5106509"/>
                  <a:pt x="4503575" y="5106509"/>
                  <a:pt x="4507735" y="5104109"/>
                </a:cubicBezTo>
                <a:cubicBezTo>
                  <a:pt x="4506857" y="5107388"/>
                  <a:pt x="4506857" y="5107388"/>
                  <a:pt x="4506857" y="5107388"/>
                </a:cubicBezTo>
                <a:cubicBezTo>
                  <a:pt x="4503575" y="5106509"/>
                  <a:pt x="4502697" y="5109791"/>
                  <a:pt x="4502697" y="5109791"/>
                </a:cubicBezTo>
                <a:cubicBezTo>
                  <a:pt x="4499417" y="5108911"/>
                  <a:pt x="4499417" y="5108911"/>
                  <a:pt x="4499417" y="5108911"/>
                </a:cubicBezTo>
                <a:cubicBezTo>
                  <a:pt x="4499417" y="5108911"/>
                  <a:pt x="4495258" y="5111312"/>
                  <a:pt x="4495258" y="5111312"/>
                </a:cubicBezTo>
                <a:cubicBezTo>
                  <a:pt x="4495258" y="5111312"/>
                  <a:pt x="4491098" y="5113713"/>
                  <a:pt x="4491098" y="5113713"/>
                </a:cubicBezTo>
                <a:cubicBezTo>
                  <a:pt x="4448861" y="5127007"/>
                  <a:pt x="4410786" y="5137900"/>
                  <a:pt x="4368551" y="5151193"/>
                </a:cubicBezTo>
                <a:cubicBezTo>
                  <a:pt x="4365269" y="5150314"/>
                  <a:pt x="4365269" y="5150314"/>
                  <a:pt x="4365269" y="5150314"/>
                </a:cubicBezTo>
                <a:cubicBezTo>
                  <a:pt x="4361990" y="5149436"/>
                  <a:pt x="4361112" y="5152715"/>
                  <a:pt x="4361112" y="5152715"/>
                </a:cubicBezTo>
                <a:cubicBezTo>
                  <a:pt x="4348633" y="5159921"/>
                  <a:pt x="4349512" y="5156639"/>
                  <a:pt x="4337913" y="5160563"/>
                </a:cubicBezTo>
                <a:cubicBezTo>
                  <a:pt x="4334634" y="5159684"/>
                  <a:pt x="4331353" y="5158804"/>
                  <a:pt x="4327194" y="5161207"/>
                </a:cubicBezTo>
                <a:cubicBezTo>
                  <a:pt x="4323913" y="5160327"/>
                  <a:pt x="4323035" y="5163608"/>
                  <a:pt x="4323035" y="5163608"/>
                </a:cubicBezTo>
                <a:cubicBezTo>
                  <a:pt x="4311437" y="5167532"/>
                  <a:pt x="4300716" y="5168175"/>
                  <a:pt x="4295678" y="5173857"/>
                </a:cubicBezTo>
                <a:cubicBezTo>
                  <a:pt x="4295678" y="5173857"/>
                  <a:pt x="4291519" y="5176258"/>
                  <a:pt x="4291519" y="5176258"/>
                </a:cubicBezTo>
                <a:cubicBezTo>
                  <a:pt x="4288238" y="5175378"/>
                  <a:pt x="4284959" y="5174500"/>
                  <a:pt x="4281679" y="5173621"/>
                </a:cubicBezTo>
                <a:cubicBezTo>
                  <a:pt x="4280799" y="5176901"/>
                  <a:pt x="4262641" y="5179066"/>
                  <a:pt x="4254323" y="5183870"/>
                </a:cubicBezTo>
                <a:cubicBezTo>
                  <a:pt x="4254323" y="5183870"/>
                  <a:pt x="4251042" y="5182990"/>
                  <a:pt x="4250163" y="5186271"/>
                </a:cubicBezTo>
                <a:cubicBezTo>
                  <a:pt x="4246882" y="5185391"/>
                  <a:pt x="4246882" y="5185391"/>
                  <a:pt x="4246882" y="5185391"/>
                </a:cubicBezTo>
                <a:cubicBezTo>
                  <a:pt x="4213843" y="5190603"/>
                  <a:pt x="4177525" y="5194934"/>
                  <a:pt x="4143607" y="5203426"/>
                </a:cubicBezTo>
                <a:cubicBezTo>
                  <a:pt x="4140328" y="5202547"/>
                  <a:pt x="4136170" y="5204948"/>
                  <a:pt x="4132010" y="5207349"/>
                </a:cubicBezTo>
                <a:cubicBezTo>
                  <a:pt x="4128729" y="5206471"/>
                  <a:pt x="4125449" y="5205591"/>
                  <a:pt x="4122169" y="5204713"/>
                </a:cubicBezTo>
                <a:cubicBezTo>
                  <a:pt x="4125449" y="5205591"/>
                  <a:pt x="4121291" y="5207992"/>
                  <a:pt x="4120410" y="5211273"/>
                </a:cubicBezTo>
                <a:cubicBezTo>
                  <a:pt x="4117131" y="5210395"/>
                  <a:pt x="4112971" y="5212796"/>
                  <a:pt x="4112971" y="5212796"/>
                </a:cubicBezTo>
                <a:cubicBezTo>
                  <a:pt x="4094811" y="5214961"/>
                  <a:pt x="4077531" y="5213847"/>
                  <a:pt x="4062652" y="5216892"/>
                </a:cubicBezTo>
                <a:cubicBezTo>
                  <a:pt x="4062652" y="5216892"/>
                  <a:pt x="4059373" y="5216012"/>
                  <a:pt x="4059373" y="5216012"/>
                </a:cubicBezTo>
                <a:cubicBezTo>
                  <a:pt x="4056092" y="5215134"/>
                  <a:pt x="4056092" y="5215134"/>
                  <a:pt x="4052812" y="5214255"/>
                </a:cubicBezTo>
                <a:cubicBezTo>
                  <a:pt x="4051933" y="5217535"/>
                  <a:pt x="4051933" y="5217535"/>
                  <a:pt x="4051933" y="5217535"/>
                </a:cubicBezTo>
                <a:cubicBezTo>
                  <a:pt x="4029616" y="5222103"/>
                  <a:pt x="4010575" y="5227548"/>
                  <a:pt x="3996577" y="5227313"/>
                </a:cubicBezTo>
                <a:cubicBezTo>
                  <a:pt x="3984100" y="5234517"/>
                  <a:pt x="3952819" y="5233166"/>
                  <a:pt x="3923940" y="5235976"/>
                </a:cubicBezTo>
                <a:cubicBezTo>
                  <a:pt x="3915620" y="5240778"/>
                  <a:pt x="3891781" y="5237907"/>
                  <a:pt x="3884340" y="5239430"/>
                </a:cubicBezTo>
                <a:cubicBezTo>
                  <a:pt x="3884340" y="5239430"/>
                  <a:pt x="3881060" y="5238550"/>
                  <a:pt x="3881060" y="5238550"/>
                </a:cubicBezTo>
                <a:cubicBezTo>
                  <a:pt x="3881060" y="5238550"/>
                  <a:pt x="3877781" y="5237671"/>
                  <a:pt x="3877781" y="5237671"/>
                </a:cubicBezTo>
                <a:cubicBezTo>
                  <a:pt x="3874499" y="5236793"/>
                  <a:pt x="3874499" y="5236793"/>
                  <a:pt x="3874499" y="5236793"/>
                </a:cubicBezTo>
                <a:cubicBezTo>
                  <a:pt x="3870340" y="5239194"/>
                  <a:pt x="3870340" y="5239194"/>
                  <a:pt x="3873621" y="5240072"/>
                </a:cubicBezTo>
                <a:cubicBezTo>
                  <a:pt x="3862901" y="5240716"/>
                  <a:pt x="3869461" y="5242475"/>
                  <a:pt x="3868581" y="5245755"/>
                </a:cubicBezTo>
                <a:cubicBezTo>
                  <a:pt x="3859621" y="5239836"/>
                  <a:pt x="3856984" y="5249678"/>
                  <a:pt x="3843864" y="5246161"/>
                </a:cubicBezTo>
                <a:cubicBezTo>
                  <a:pt x="3846263" y="5250321"/>
                  <a:pt x="3836423" y="5247684"/>
                  <a:pt x="3835544" y="5250965"/>
                </a:cubicBezTo>
                <a:cubicBezTo>
                  <a:pt x="3850423" y="5247920"/>
                  <a:pt x="3874265" y="5250791"/>
                  <a:pt x="3879302" y="5245111"/>
                </a:cubicBezTo>
                <a:cubicBezTo>
                  <a:pt x="3879302" y="5245111"/>
                  <a:pt x="3882583" y="5245989"/>
                  <a:pt x="3885863" y="5246869"/>
                </a:cubicBezTo>
                <a:cubicBezTo>
                  <a:pt x="3885863" y="5246869"/>
                  <a:pt x="3889143" y="5247748"/>
                  <a:pt x="3890023" y="5244468"/>
                </a:cubicBezTo>
                <a:cubicBezTo>
                  <a:pt x="3909704" y="5249742"/>
                  <a:pt x="3928742" y="5244294"/>
                  <a:pt x="3946901" y="5242128"/>
                </a:cubicBezTo>
                <a:cubicBezTo>
                  <a:pt x="3993940" y="5237154"/>
                  <a:pt x="4040099" y="5235459"/>
                  <a:pt x="4080577" y="5228726"/>
                </a:cubicBezTo>
                <a:cubicBezTo>
                  <a:pt x="4113616" y="5223516"/>
                  <a:pt x="4163054" y="5222700"/>
                  <a:pt x="4208569" y="5210285"/>
                </a:cubicBezTo>
                <a:cubicBezTo>
                  <a:pt x="4216010" y="5208762"/>
                  <a:pt x="4221047" y="5203081"/>
                  <a:pt x="4227607" y="5204840"/>
                </a:cubicBezTo>
                <a:cubicBezTo>
                  <a:pt x="4261525" y="5196348"/>
                  <a:pt x="4293683" y="5194417"/>
                  <a:pt x="4320161" y="5187449"/>
                </a:cubicBezTo>
                <a:cubicBezTo>
                  <a:pt x="4340080" y="5178723"/>
                  <a:pt x="4328481" y="5182645"/>
                  <a:pt x="4350799" y="5178079"/>
                </a:cubicBezTo>
                <a:cubicBezTo>
                  <a:pt x="4376397" y="5174391"/>
                  <a:pt x="4399595" y="5166543"/>
                  <a:pt x="4416232" y="5156937"/>
                </a:cubicBezTo>
                <a:cubicBezTo>
                  <a:pt x="4449271" y="5151726"/>
                  <a:pt x="4497423" y="5129472"/>
                  <a:pt x="4528059" y="5120102"/>
                </a:cubicBezTo>
                <a:cubicBezTo>
                  <a:pt x="4539658" y="5116178"/>
                  <a:pt x="4537257" y="5112018"/>
                  <a:pt x="4548856" y="5108094"/>
                </a:cubicBezTo>
                <a:cubicBezTo>
                  <a:pt x="4550379" y="5115535"/>
                  <a:pt x="4570295" y="5106807"/>
                  <a:pt x="4582773" y="5099604"/>
                </a:cubicBezTo>
                <a:cubicBezTo>
                  <a:pt x="4582773" y="5099604"/>
                  <a:pt x="4583652" y="5096324"/>
                  <a:pt x="4587811" y="5093923"/>
                </a:cubicBezTo>
                <a:cubicBezTo>
                  <a:pt x="4600289" y="5086718"/>
                  <a:pt x="4625008" y="5086310"/>
                  <a:pt x="4642524" y="5073425"/>
                </a:cubicBezTo>
                <a:cubicBezTo>
                  <a:pt x="4646684" y="5071024"/>
                  <a:pt x="4644283" y="5066864"/>
                  <a:pt x="4652601" y="5062062"/>
                </a:cubicBezTo>
                <a:cubicBezTo>
                  <a:pt x="4652601" y="5062062"/>
                  <a:pt x="4662441" y="5064699"/>
                  <a:pt x="4667481" y="5059017"/>
                </a:cubicBezTo>
                <a:cubicBezTo>
                  <a:pt x="4710595" y="5042443"/>
                  <a:pt x="4761384" y="5010346"/>
                  <a:pt x="4798817" y="4988734"/>
                </a:cubicBezTo>
                <a:cubicBezTo>
                  <a:pt x="4815454" y="4979129"/>
                  <a:pt x="4835371" y="4970403"/>
                  <a:pt x="4856167" y="4958396"/>
                </a:cubicBezTo>
                <a:cubicBezTo>
                  <a:pt x="4864486" y="4953593"/>
                  <a:pt x="4874561" y="4942231"/>
                  <a:pt x="4882880" y="4937426"/>
                </a:cubicBezTo>
                <a:cubicBezTo>
                  <a:pt x="4882880" y="4937426"/>
                  <a:pt x="4894479" y="4933504"/>
                  <a:pt x="4894479" y="4933504"/>
                </a:cubicBezTo>
                <a:cubicBezTo>
                  <a:pt x="4902797" y="4928700"/>
                  <a:pt x="4903677" y="4925420"/>
                  <a:pt x="4907835" y="4923019"/>
                </a:cubicBezTo>
                <a:cubicBezTo>
                  <a:pt x="4911115" y="4923898"/>
                  <a:pt x="4911115" y="4923898"/>
                  <a:pt x="4911115" y="4923898"/>
                </a:cubicBezTo>
                <a:cubicBezTo>
                  <a:pt x="4908479" y="4933738"/>
                  <a:pt x="4891198" y="4932624"/>
                  <a:pt x="4896879" y="4937664"/>
                </a:cubicBezTo>
                <a:cubicBezTo>
                  <a:pt x="4896879" y="4937664"/>
                  <a:pt x="4896879" y="4937664"/>
                  <a:pt x="4893599" y="4936784"/>
                </a:cubicBezTo>
                <a:cubicBezTo>
                  <a:pt x="4888561" y="4942464"/>
                  <a:pt x="4888561" y="4942464"/>
                  <a:pt x="4888561" y="4942464"/>
                </a:cubicBezTo>
                <a:cubicBezTo>
                  <a:pt x="4888561" y="4942464"/>
                  <a:pt x="4887682" y="4945746"/>
                  <a:pt x="4887682" y="4945746"/>
                </a:cubicBezTo>
                <a:cubicBezTo>
                  <a:pt x="4887682" y="4945746"/>
                  <a:pt x="4884403" y="4944867"/>
                  <a:pt x="4883523" y="4948147"/>
                </a:cubicBezTo>
                <a:cubicBezTo>
                  <a:pt x="4883523" y="4948147"/>
                  <a:pt x="4882645" y="4951427"/>
                  <a:pt x="4882645" y="4951427"/>
                </a:cubicBezTo>
                <a:cubicBezTo>
                  <a:pt x="4870167" y="4958630"/>
                  <a:pt x="4873447" y="4959510"/>
                  <a:pt x="4860969" y="4966714"/>
                </a:cubicBezTo>
                <a:cubicBezTo>
                  <a:pt x="4860969" y="4966714"/>
                  <a:pt x="4856811" y="4969115"/>
                  <a:pt x="4856811" y="4969115"/>
                </a:cubicBezTo>
                <a:cubicBezTo>
                  <a:pt x="4856811" y="4969115"/>
                  <a:pt x="4856811" y="4969115"/>
                  <a:pt x="4855931" y="4972396"/>
                </a:cubicBezTo>
                <a:cubicBezTo>
                  <a:pt x="4855931" y="4972396"/>
                  <a:pt x="4852651" y="4971516"/>
                  <a:pt x="4852651" y="4971516"/>
                </a:cubicBezTo>
                <a:cubicBezTo>
                  <a:pt x="4845213" y="4973039"/>
                  <a:pt x="4859447" y="4959275"/>
                  <a:pt x="4850250" y="4967358"/>
                </a:cubicBezTo>
                <a:cubicBezTo>
                  <a:pt x="4846091" y="4969759"/>
                  <a:pt x="4848491" y="4973919"/>
                  <a:pt x="4842575" y="4982879"/>
                </a:cubicBezTo>
                <a:cubicBezTo>
                  <a:pt x="4831855" y="4983523"/>
                  <a:pt x="4830097" y="4990084"/>
                  <a:pt x="4810180" y="4998810"/>
                </a:cubicBezTo>
                <a:cubicBezTo>
                  <a:pt x="4811059" y="4995529"/>
                  <a:pt x="4811059" y="4995529"/>
                  <a:pt x="4811059" y="4995529"/>
                </a:cubicBezTo>
                <a:cubicBezTo>
                  <a:pt x="4806900" y="4997932"/>
                  <a:pt x="4806900" y="4997932"/>
                  <a:pt x="4806900" y="4997932"/>
                </a:cubicBezTo>
                <a:cubicBezTo>
                  <a:pt x="4800339" y="4996174"/>
                  <a:pt x="4811937" y="4992250"/>
                  <a:pt x="4812817" y="4988970"/>
                </a:cubicBezTo>
                <a:cubicBezTo>
                  <a:pt x="4801219" y="4992893"/>
                  <a:pt x="4800339" y="4996174"/>
                  <a:pt x="4798581" y="5002734"/>
                </a:cubicBezTo>
                <a:cubicBezTo>
                  <a:pt x="4795301" y="5001856"/>
                  <a:pt x="4795301" y="5001856"/>
                  <a:pt x="4791141" y="5004257"/>
                </a:cubicBezTo>
                <a:cubicBezTo>
                  <a:pt x="4787862" y="5003379"/>
                  <a:pt x="4786983" y="5006658"/>
                  <a:pt x="4786983" y="5006658"/>
                </a:cubicBezTo>
                <a:cubicBezTo>
                  <a:pt x="4789383" y="5010818"/>
                  <a:pt x="4789383" y="5010818"/>
                  <a:pt x="4789383" y="5010818"/>
                </a:cubicBezTo>
                <a:cubicBezTo>
                  <a:pt x="4775384" y="5010582"/>
                  <a:pt x="4783467" y="5019780"/>
                  <a:pt x="4764429" y="5025225"/>
                </a:cubicBezTo>
                <a:cubicBezTo>
                  <a:pt x="4760269" y="5027626"/>
                  <a:pt x="4760269" y="5027626"/>
                  <a:pt x="4760269" y="5027626"/>
                </a:cubicBezTo>
                <a:cubicBezTo>
                  <a:pt x="4760269" y="5027626"/>
                  <a:pt x="4759391" y="5030907"/>
                  <a:pt x="4759391" y="5030907"/>
                </a:cubicBezTo>
                <a:cubicBezTo>
                  <a:pt x="4726995" y="5046837"/>
                  <a:pt x="4702041" y="5061246"/>
                  <a:pt x="4680365" y="5076532"/>
                </a:cubicBezTo>
                <a:cubicBezTo>
                  <a:pt x="4681245" y="5073251"/>
                  <a:pt x="4668123" y="5069736"/>
                  <a:pt x="4669645" y="5077175"/>
                </a:cubicBezTo>
                <a:cubicBezTo>
                  <a:pt x="4677086" y="5075654"/>
                  <a:pt x="4672047" y="5081335"/>
                  <a:pt x="4664607" y="5082858"/>
                </a:cubicBezTo>
                <a:cubicBezTo>
                  <a:pt x="4648849" y="5089182"/>
                  <a:pt x="4623894" y="5103591"/>
                  <a:pt x="4596538" y="5113840"/>
                </a:cubicBezTo>
                <a:cubicBezTo>
                  <a:pt x="4572461" y="5124967"/>
                  <a:pt x="4545105" y="5135216"/>
                  <a:pt x="4525187" y="5143943"/>
                </a:cubicBezTo>
                <a:cubicBezTo>
                  <a:pt x="4529347" y="5141541"/>
                  <a:pt x="4515347" y="5141307"/>
                  <a:pt x="4514467" y="5144586"/>
                </a:cubicBezTo>
                <a:cubicBezTo>
                  <a:pt x="4521908" y="5143064"/>
                  <a:pt x="4521029" y="5146344"/>
                  <a:pt x="4516869" y="5148745"/>
                </a:cubicBezTo>
                <a:cubicBezTo>
                  <a:pt x="4510309" y="5146988"/>
                  <a:pt x="4490391" y="5155714"/>
                  <a:pt x="4474633" y="5162039"/>
                </a:cubicBezTo>
                <a:cubicBezTo>
                  <a:pt x="4458876" y="5168364"/>
                  <a:pt x="4446398" y="5175569"/>
                  <a:pt x="4447277" y="5172288"/>
                </a:cubicBezTo>
                <a:cubicBezTo>
                  <a:pt x="4430639" y="5181894"/>
                  <a:pt x="4415760" y="5184937"/>
                  <a:pt x="4400883" y="5187983"/>
                </a:cubicBezTo>
                <a:cubicBezTo>
                  <a:pt x="4381843" y="5193428"/>
                  <a:pt x="4363683" y="5195595"/>
                  <a:pt x="4339608" y="5206722"/>
                </a:cubicBezTo>
                <a:cubicBezTo>
                  <a:pt x="4339608" y="5206722"/>
                  <a:pt x="4336327" y="5205844"/>
                  <a:pt x="4333047" y="5204965"/>
                </a:cubicBezTo>
                <a:cubicBezTo>
                  <a:pt x="4326252" y="5217207"/>
                  <a:pt x="4280971" y="5215622"/>
                  <a:pt x="4265213" y="5221947"/>
                </a:cubicBezTo>
                <a:cubicBezTo>
                  <a:pt x="4261055" y="5224349"/>
                  <a:pt x="4264334" y="5225227"/>
                  <a:pt x="4256895" y="5226749"/>
                </a:cubicBezTo>
                <a:cubicBezTo>
                  <a:pt x="4245297" y="5230673"/>
                  <a:pt x="4235455" y="5228037"/>
                  <a:pt x="4223857" y="5231960"/>
                </a:cubicBezTo>
                <a:cubicBezTo>
                  <a:pt x="4216417" y="5233481"/>
                  <a:pt x="4212257" y="5235884"/>
                  <a:pt x="4203941" y="5240686"/>
                </a:cubicBezTo>
                <a:cubicBezTo>
                  <a:pt x="4181621" y="5245253"/>
                  <a:pt x="4150341" y="5243904"/>
                  <a:pt x="4124741" y="5247592"/>
                </a:cubicBezTo>
                <a:cubicBezTo>
                  <a:pt x="4094985" y="5253681"/>
                  <a:pt x="4052106" y="5256255"/>
                  <a:pt x="4019067" y="5261465"/>
                </a:cubicBezTo>
                <a:cubicBezTo>
                  <a:pt x="4008347" y="5262109"/>
                  <a:pt x="3996749" y="5266033"/>
                  <a:pt x="3989310" y="5267556"/>
                </a:cubicBezTo>
                <a:cubicBezTo>
                  <a:pt x="3989310" y="5267556"/>
                  <a:pt x="3993469" y="5265155"/>
                  <a:pt x="3993469" y="5265155"/>
                </a:cubicBezTo>
                <a:cubicBezTo>
                  <a:pt x="3979469" y="5264919"/>
                  <a:pt x="3964589" y="5267964"/>
                  <a:pt x="3953870" y="5268607"/>
                </a:cubicBezTo>
                <a:cubicBezTo>
                  <a:pt x="3950590" y="5267728"/>
                  <a:pt x="3944029" y="5265970"/>
                  <a:pt x="3944029" y="5265970"/>
                </a:cubicBezTo>
                <a:cubicBezTo>
                  <a:pt x="3908589" y="5267022"/>
                  <a:pt x="3862430" y="5268717"/>
                  <a:pt x="3830272" y="5270646"/>
                </a:cubicBezTo>
                <a:cubicBezTo>
                  <a:pt x="3830272" y="5270646"/>
                  <a:pt x="3830272" y="5270646"/>
                  <a:pt x="3831150" y="5267367"/>
                </a:cubicBezTo>
                <a:cubicBezTo>
                  <a:pt x="3831150" y="5267367"/>
                  <a:pt x="3827869" y="5266488"/>
                  <a:pt x="3827869" y="5266488"/>
                </a:cubicBezTo>
                <a:cubicBezTo>
                  <a:pt x="3827869" y="5266488"/>
                  <a:pt x="3823711" y="5268887"/>
                  <a:pt x="3823711" y="5268887"/>
                </a:cubicBezTo>
                <a:cubicBezTo>
                  <a:pt x="3812990" y="5269532"/>
                  <a:pt x="3776029" y="5263143"/>
                  <a:pt x="3784991" y="5269060"/>
                </a:cubicBezTo>
                <a:cubicBezTo>
                  <a:pt x="3781710" y="5268182"/>
                  <a:pt x="3781710" y="5268182"/>
                  <a:pt x="3781710" y="5268182"/>
                </a:cubicBezTo>
                <a:cubicBezTo>
                  <a:pt x="3778430" y="5267303"/>
                  <a:pt x="3778430" y="5267303"/>
                  <a:pt x="3778430" y="5267303"/>
                </a:cubicBezTo>
                <a:cubicBezTo>
                  <a:pt x="3777550" y="5270583"/>
                  <a:pt x="3777550" y="5270583"/>
                  <a:pt x="3777550" y="5270583"/>
                </a:cubicBezTo>
                <a:cubicBezTo>
                  <a:pt x="3780831" y="5271463"/>
                  <a:pt x="3780831" y="5271463"/>
                  <a:pt x="3780831" y="5271463"/>
                </a:cubicBezTo>
                <a:cubicBezTo>
                  <a:pt x="3782354" y="5278902"/>
                  <a:pt x="3770111" y="5272106"/>
                  <a:pt x="3766831" y="5271227"/>
                </a:cubicBezTo>
                <a:cubicBezTo>
                  <a:pt x="3772513" y="5276265"/>
                  <a:pt x="3751074" y="5277552"/>
                  <a:pt x="3765073" y="5277788"/>
                </a:cubicBezTo>
                <a:cubicBezTo>
                  <a:pt x="3765953" y="5274507"/>
                  <a:pt x="3775793" y="5277144"/>
                  <a:pt x="3775793" y="5277144"/>
                </a:cubicBezTo>
                <a:cubicBezTo>
                  <a:pt x="3768353" y="5278666"/>
                  <a:pt x="3771633" y="5279545"/>
                  <a:pt x="3774913" y="5280425"/>
                </a:cubicBezTo>
                <a:cubicBezTo>
                  <a:pt x="3779953" y="5274743"/>
                  <a:pt x="3793073" y="5278258"/>
                  <a:pt x="3804672" y="5274334"/>
                </a:cubicBezTo>
                <a:cubicBezTo>
                  <a:pt x="3804672" y="5274334"/>
                  <a:pt x="3807952" y="5275214"/>
                  <a:pt x="3811233" y="5276093"/>
                </a:cubicBezTo>
                <a:cubicBezTo>
                  <a:pt x="3811233" y="5276093"/>
                  <a:pt x="3814512" y="5276971"/>
                  <a:pt x="3814512" y="5276971"/>
                </a:cubicBezTo>
                <a:cubicBezTo>
                  <a:pt x="3817794" y="5277850"/>
                  <a:pt x="3817794" y="5277850"/>
                  <a:pt x="3817794" y="5277850"/>
                </a:cubicBezTo>
                <a:cubicBezTo>
                  <a:pt x="3817794" y="5277850"/>
                  <a:pt x="3818672" y="5274569"/>
                  <a:pt x="3818672" y="5274569"/>
                </a:cubicBezTo>
                <a:cubicBezTo>
                  <a:pt x="3821953" y="5275449"/>
                  <a:pt x="3821953" y="5275449"/>
                  <a:pt x="3825233" y="5276327"/>
                </a:cubicBezTo>
                <a:cubicBezTo>
                  <a:pt x="3827635" y="5280487"/>
                  <a:pt x="3821074" y="5278728"/>
                  <a:pt x="3820193" y="5282009"/>
                </a:cubicBezTo>
                <a:cubicBezTo>
                  <a:pt x="3826754" y="5283768"/>
                  <a:pt x="3827635" y="5280487"/>
                  <a:pt x="3830914" y="5281367"/>
                </a:cubicBezTo>
                <a:cubicBezTo>
                  <a:pt x="3830914" y="5281367"/>
                  <a:pt x="3830914" y="5281367"/>
                  <a:pt x="3834196" y="5282245"/>
                </a:cubicBezTo>
                <a:cubicBezTo>
                  <a:pt x="3834196" y="5282245"/>
                  <a:pt x="3837475" y="5283124"/>
                  <a:pt x="3837475" y="5283124"/>
                </a:cubicBezTo>
                <a:cubicBezTo>
                  <a:pt x="3840755" y="5284004"/>
                  <a:pt x="3840755" y="5284004"/>
                  <a:pt x="3840755" y="5284004"/>
                </a:cubicBezTo>
                <a:cubicBezTo>
                  <a:pt x="3854755" y="5284238"/>
                  <a:pt x="3854755" y="5284238"/>
                  <a:pt x="3854755" y="5284238"/>
                </a:cubicBezTo>
                <a:cubicBezTo>
                  <a:pt x="3858913" y="5281837"/>
                  <a:pt x="3858913" y="5281837"/>
                  <a:pt x="3858913" y="5281837"/>
                </a:cubicBezTo>
                <a:cubicBezTo>
                  <a:pt x="3861316" y="5285997"/>
                  <a:pt x="3862195" y="5282716"/>
                  <a:pt x="3862195" y="5282716"/>
                </a:cubicBezTo>
                <a:lnTo>
                  <a:pt x="3858913" y="5281837"/>
                </a:lnTo>
                <a:cubicBezTo>
                  <a:pt x="3880353" y="5280550"/>
                  <a:pt x="3873793" y="5278792"/>
                  <a:pt x="3894353" y="5280786"/>
                </a:cubicBezTo>
                <a:cubicBezTo>
                  <a:pt x="3897635" y="5281665"/>
                  <a:pt x="3897635" y="5281665"/>
                  <a:pt x="3900914" y="5282543"/>
                </a:cubicBezTo>
                <a:cubicBezTo>
                  <a:pt x="3905073" y="5280142"/>
                  <a:pt x="3905073" y="5280142"/>
                  <a:pt x="3901794" y="5279264"/>
                </a:cubicBezTo>
                <a:cubicBezTo>
                  <a:pt x="3911633" y="5281901"/>
                  <a:pt x="3928914" y="5283015"/>
                  <a:pt x="3933953" y="5277333"/>
                </a:cubicBezTo>
                <a:cubicBezTo>
                  <a:pt x="3926513" y="5278855"/>
                  <a:pt x="3927392" y="5275574"/>
                  <a:pt x="3934831" y="5274053"/>
                </a:cubicBezTo>
                <a:lnTo>
                  <a:pt x="3938111" y="5274932"/>
                </a:lnTo>
                <a:cubicBezTo>
                  <a:pt x="3937233" y="5278211"/>
                  <a:pt x="3937233" y="5278211"/>
                  <a:pt x="3937233" y="5278211"/>
                </a:cubicBezTo>
                <a:cubicBezTo>
                  <a:pt x="3937233" y="5278211"/>
                  <a:pt x="3937233" y="5278211"/>
                  <a:pt x="3940514" y="5279091"/>
                </a:cubicBezTo>
                <a:cubicBezTo>
                  <a:pt x="3940514" y="5279091"/>
                  <a:pt x="3940514" y="5279091"/>
                  <a:pt x="3944673" y="5276690"/>
                </a:cubicBezTo>
                <a:cubicBezTo>
                  <a:pt x="3964353" y="5281963"/>
                  <a:pt x="4019711" y="5272185"/>
                  <a:pt x="4044429" y="5271777"/>
                </a:cubicBezTo>
                <a:cubicBezTo>
                  <a:pt x="4058431" y="5272013"/>
                  <a:pt x="4060832" y="5276173"/>
                  <a:pt x="4072431" y="5272249"/>
                </a:cubicBezTo>
                <a:cubicBezTo>
                  <a:pt x="4078990" y="5274006"/>
                  <a:pt x="4084029" y="5268325"/>
                  <a:pt x="4091468" y="5266803"/>
                </a:cubicBezTo>
                <a:cubicBezTo>
                  <a:pt x="4105469" y="5267037"/>
                  <a:pt x="4115309" y="5269674"/>
                  <a:pt x="4121227" y="5260712"/>
                </a:cubicBezTo>
                <a:cubicBezTo>
                  <a:pt x="4188825" y="5257732"/>
                  <a:pt x="4267380" y="5240106"/>
                  <a:pt x="4336092" y="5219844"/>
                </a:cubicBezTo>
                <a:cubicBezTo>
                  <a:pt x="4338495" y="5224004"/>
                  <a:pt x="4338495" y="5224004"/>
                  <a:pt x="4341775" y="5224882"/>
                </a:cubicBezTo>
                <a:cubicBezTo>
                  <a:pt x="4341775" y="5224882"/>
                  <a:pt x="4338495" y="5224004"/>
                  <a:pt x="4338495" y="5224004"/>
                </a:cubicBezTo>
                <a:cubicBezTo>
                  <a:pt x="4337615" y="5227283"/>
                  <a:pt x="4337615" y="5227283"/>
                  <a:pt x="4337615" y="5227283"/>
                </a:cubicBezTo>
                <a:cubicBezTo>
                  <a:pt x="4337615" y="5227283"/>
                  <a:pt x="4340895" y="5228162"/>
                  <a:pt x="4345054" y="5225760"/>
                </a:cubicBezTo>
                <a:cubicBezTo>
                  <a:pt x="4348334" y="5226639"/>
                  <a:pt x="4347456" y="5229920"/>
                  <a:pt x="4354895" y="5228397"/>
                </a:cubicBezTo>
                <a:cubicBezTo>
                  <a:pt x="4352494" y="5224238"/>
                  <a:pt x="4356653" y="5221837"/>
                  <a:pt x="4368253" y="5217913"/>
                </a:cubicBezTo>
                <a:cubicBezTo>
                  <a:pt x="4371531" y="5218791"/>
                  <a:pt x="4371531" y="5218791"/>
                  <a:pt x="4371531" y="5218791"/>
                </a:cubicBezTo>
                <a:cubicBezTo>
                  <a:pt x="4371531" y="5218791"/>
                  <a:pt x="4372409" y="5215512"/>
                  <a:pt x="4375691" y="5216392"/>
                </a:cubicBezTo>
                <a:cubicBezTo>
                  <a:pt x="4375691" y="5216392"/>
                  <a:pt x="4378971" y="5217270"/>
                  <a:pt x="4378971" y="5217270"/>
                </a:cubicBezTo>
                <a:cubicBezTo>
                  <a:pt x="4379850" y="5213989"/>
                  <a:pt x="4379850" y="5213989"/>
                  <a:pt x="4379850" y="5213989"/>
                </a:cubicBezTo>
                <a:cubicBezTo>
                  <a:pt x="4383131" y="5214869"/>
                  <a:pt x="4383131" y="5214869"/>
                  <a:pt x="4387291" y="5212466"/>
                </a:cubicBezTo>
                <a:cubicBezTo>
                  <a:pt x="4392972" y="5217505"/>
                  <a:pt x="4406328" y="5207020"/>
                  <a:pt x="4405449" y="5210302"/>
                </a:cubicBezTo>
                <a:cubicBezTo>
                  <a:pt x="4405449" y="5210302"/>
                  <a:pt x="4404569" y="5213581"/>
                  <a:pt x="4404569" y="5213581"/>
                </a:cubicBezTo>
                <a:cubicBezTo>
                  <a:pt x="4401290" y="5212703"/>
                  <a:pt x="4400411" y="5215984"/>
                  <a:pt x="4400411" y="5215984"/>
                </a:cubicBezTo>
                <a:cubicBezTo>
                  <a:pt x="4403691" y="5216862"/>
                  <a:pt x="4404569" y="5213581"/>
                  <a:pt x="4407849" y="5214461"/>
                </a:cubicBezTo>
                <a:cubicBezTo>
                  <a:pt x="4407849" y="5214461"/>
                  <a:pt x="4412009" y="5212060"/>
                  <a:pt x="4412009" y="5212060"/>
                </a:cubicBezTo>
                <a:cubicBezTo>
                  <a:pt x="4419449" y="5210537"/>
                  <a:pt x="4426889" y="5209014"/>
                  <a:pt x="4427767" y="5205735"/>
                </a:cubicBezTo>
                <a:cubicBezTo>
                  <a:pt x="4427767" y="5205735"/>
                  <a:pt x="4427767" y="5205735"/>
                  <a:pt x="4431047" y="5206613"/>
                </a:cubicBezTo>
                <a:cubicBezTo>
                  <a:pt x="4431047" y="5206613"/>
                  <a:pt x="4434327" y="5207492"/>
                  <a:pt x="4438487" y="5205091"/>
                </a:cubicBezTo>
                <a:cubicBezTo>
                  <a:pt x="4438487" y="5205091"/>
                  <a:pt x="4439367" y="5201811"/>
                  <a:pt x="4439367" y="5201811"/>
                </a:cubicBezTo>
                <a:cubicBezTo>
                  <a:pt x="4439367" y="5201811"/>
                  <a:pt x="4436087" y="5200931"/>
                  <a:pt x="4436087" y="5200931"/>
                </a:cubicBezTo>
                <a:cubicBezTo>
                  <a:pt x="4439367" y="5201811"/>
                  <a:pt x="4442646" y="5202689"/>
                  <a:pt x="4446805" y="5200288"/>
                </a:cubicBezTo>
                <a:cubicBezTo>
                  <a:pt x="4443525" y="5199408"/>
                  <a:pt x="4444403" y="5196129"/>
                  <a:pt x="4448563" y="5193727"/>
                </a:cubicBezTo>
                <a:cubicBezTo>
                  <a:pt x="4447685" y="5197007"/>
                  <a:pt x="4451843" y="5194606"/>
                  <a:pt x="4455124" y="5195484"/>
                </a:cubicBezTo>
                <a:cubicBezTo>
                  <a:pt x="4459284" y="5193083"/>
                  <a:pt x="4459284" y="5193083"/>
                  <a:pt x="4459284" y="5193083"/>
                </a:cubicBezTo>
                <a:cubicBezTo>
                  <a:pt x="4462565" y="5193963"/>
                  <a:pt x="4462565" y="5193963"/>
                  <a:pt x="4462565" y="5193963"/>
                </a:cubicBezTo>
                <a:cubicBezTo>
                  <a:pt x="4463443" y="5190682"/>
                  <a:pt x="4463443" y="5190682"/>
                  <a:pt x="4463443" y="5190682"/>
                </a:cubicBezTo>
                <a:cubicBezTo>
                  <a:pt x="4463443" y="5190682"/>
                  <a:pt x="4463443" y="5190682"/>
                  <a:pt x="4460162" y="5189804"/>
                </a:cubicBezTo>
                <a:cubicBezTo>
                  <a:pt x="4479199" y="5184357"/>
                  <a:pt x="4498239" y="5178912"/>
                  <a:pt x="4503277" y="5173230"/>
                </a:cubicBezTo>
                <a:cubicBezTo>
                  <a:pt x="4507437" y="5170828"/>
                  <a:pt x="4507437" y="5170828"/>
                  <a:pt x="4510717" y="5171707"/>
                </a:cubicBezTo>
                <a:cubicBezTo>
                  <a:pt x="4514875" y="5169306"/>
                  <a:pt x="4514875" y="5169306"/>
                  <a:pt x="4515755" y="5166027"/>
                </a:cubicBezTo>
                <a:lnTo>
                  <a:pt x="4513179" y="5165335"/>
                </a:lnTo>
                <a:lnTo>
                  <a:pt x="4525643" y="5159666"/>
                </a:lnTo>
                <a:cubicBezTo>
                  <a:pt x="4539955" y="5153613"/>
                  <a:pt x="4547709" y="5151736"/>
                  <a:pt x="4571346" y="5142247"/>
                </a:cubicBezTo>
                <a:cubicBezTo>
                  <a:pt x="4580543" y="5134165"/>
                  <a:pt x="4584703" y="5131765"/>
                  <a:pt x="4585583" y="5128483"/>
                </a:cubicBezTo>
                <a:cubicBezTo>
                  <a:pt x="4588862" y="5129361"/>
                  <a:pt x="4587983" y="5132643"/>
                  <a:pt x="4595423" y="5131120"/>
                </a:cubicBezTo>
                <a:cubicBezTo>
                  <a:pt x="4597181" y="5124559"/>
                  <a:pt x="4607021" y="5127196"/>
                  <a:pt x="4619500" y="5119991"/>
                </a:cubicBezTo>
                <a:cubicBezTo>
                  <a:pt x="4631977" y="5112788"/>
                  <a:pt x="4613817" y="5114955"/>
                  <a:pt x="4629575" y="5108629"/>
                </a:cubicBezTo>
                <a:cubicBezTo>
                  <a:pt x="4620378" y="5116712"/>
                  <a:pt x="4636137" y="5110387"/>
                  <a:pt x="4648615" y="5103183"/>
                </a:cubicBezTo>
                <a:cubicBezTo>
                  <a:pt x="4647735" y="5106463"/>
                  <a:pt x="4647735" y="5106463"/>
                  <a:pt x="4647735" y="5106463"/>
                </a:cubicBezTo>
                <a:cubicBezTo>
                  <a:pt x="4643575" y="5108864"/>
                  <a:pt x="4639415" y="5111267"/>
                  <a:pt x="4642697" y="5112145"/>
                </a:cubicBezTo>
                <a:cubicBezTo>
                  <a:pt x="4642697" y="5112145"/>
                  <a:pt x="4645978" y="5113024"/>
                  <a:pt x="4650136" y="5110622"/>
                </a:cubicBezTo>
                <a:cubicBezTo>
                  <a:pt x="4654296" y="5108221"/>
                  <a:pt x="4654296" y="5108221"/>
                  <a:pt x="4654296" y="5108221"/>
                </a:cubicBezTo>
                <a:cubicBezTo>
                  <a:pt x="4653417" y="5111501"/>
                  <a:pt x="4642697" y="5112145"/>
                  <a:pt x="4645099" y="5116303"/>
                </a:cubicBezTo>
                <a:cubicBezTo>
                  <a:pt x="4653417" y="5111501"/>
                  <a:pt x="4660855" y="5109978"/>
                  <a:pt x="4661735" y="5106698"/>
                </a:cubicBezTo>
                <a:cubicBezTo>
                  <a:pt x="4662613" y="5103419"/>
                  <a:pt x="4662613" y="5103419"/>
                  <a:pt x="4665893" y="5104297"/>
                </a:cubicBezTo>
                <a:cubicBezTo>
                  <a:pt x="4670053" y="5101897"/>
                  <a:pt x="4674211" y="5099495"/>
                  <a:pt x="4675091" y="5096214"/>
                </a:cubicBezTo>
                <a:cubicBezTo>
                  <a:pt x="4675091" y="5096214"/>
                  <a:pt x="4671812" y="5095335"/>
                  <a:pt x="4667651" y="5097736"/>
                </a:cubicBezTo>
                <a:cubicBezTo>
                  <a:pt x="4664372" y="5096858"/>
                  <a:pt x="4664372" y="5096858"/>
                  <a:pt x="4664372" y="5096858"/>
                </a:cubicBezTo>
                <a:cubicBezTo>
                  <a:pt x="4669409" y="5091176"/>
                  <a:pt x="4662850" y="5089418"/>
                  <a:pt x="4676849" y="5089653"/>
                </a:cubicBezTo>
                <a:cubicBezTo>
                  <a:pt x="4674449" y="5085494"/>
                  <a:pt x="4666129" y="5090297"/>
                  <a:pt x="4662850" y="5089418"/>
                </a:cubicBezTo>
                <a:cubicBezTo>
                  <a:pt x="4678607" y="5083093"/>
                  <a:pt x="4681009" y="5087252"/>
                  <a:pt x="4689327" y="5082449"/>
                </a:cubicBezTo>
                <a:cubicBezTo>
                  <a:pt x="4688447" y="5085731"/>
                  <a:pt x="4685169" y="5084851"/>
                  <a:pt x="4685169" y="5084851"/>
                </a:cubicBezTo>
                <a:cubicBezTo>
                  <a:pt x="4681009" y="5087252"/>
                  <a:pt x="4681009" y="5087252"/>
                  <a:pt x="4683411" y="5091411"/>
                </a:cubicBezTo>
                <a:cubicBezTo>
                  <a:pt x="4683411" y="5091411"/>
                  <a:pt x="4687569" y="5089010"/>
                  <a:pt x="4691728" y="5086609"/>
                </a:cubicBezTo>
                <a:cubicBezTo>
                  <a:pt x="4686690" y="5092290"/>
                  <a:pt x="4689971" y="5093170"/>
                  <a:pt x="4695008" y="5087488"/>
                </a:cubicBezTo>
                <a:cubicBezTo>
                  <a:pt x="4698289" y="5088368"/>
                  <a:pt x="4698289" y="5088368"/>
                  <a:pt x="4698289" y="5088368"/>
                </a:cubicBezTo>
                <a:cubicBezTo>
                  <a:pt x="4694130" y="5090767"/>
                  <a:pt x="4697411" y="5091647"/>
                  <a:pt x="4697411" y="5091647"/>
                </a:cubicBezTo>
                <a:cubicBezTo>
                  <a:pt x="4701569" y="5089246"/>
                  <a:pt x="4701569" y="5089246"/>
                  <a:pt x="4702449" y="5085965"/>
                </a:cubicBezTo>
                <a:cubicBezTo>
                  <a:pt x="4705727" y="5086845"/>
                  <a:pt x="4705727" y="5086845"/>
                  <a:pt x="4706607" y="5083564"/>
                </a:cubicBezTo>
                <a:cubicBezTo>
                  <a:pt x="4714047" y="5082041"/>
                  <a:pt x="4714047" y="5082041"/>
                  <a:pt x="4721486" y="5080520"/>
                </a:cubicBezTo>
                <a:cubicBezTo>
                  <a:pt x="4717327" y="5082921"/>
                  <a:pt x="4717327" y="5082921"/>
                  <a:pt x="4717327" y="5082921"/>
                </a:cubicBezTo>
                <a:cubicBezTo>
                  <a:pt x="4713168" y="5085322"/>
                  <a:pt x="4712289" y="5088602"/>
                  <a:pt x="4712289" y="5088602"/>
                </a:cubicBezTo>
                <a:cubicBezTo>
                  <a:pt x="4715569" y="5089482"/>
                  <a:pt x="4719729" y="5087079"/>
                  <a:pt x="4723887" y="5084678"/>
                </a:cubicBezTo>
                <a:cubicBezTo>
                  <a:pt x="4728047" y="5082277"/>
                  <a:pt x="4728047" y="5082277"/>
                  <a:pt x="4728047" y="5082277"/>
                </a:cubicBezTo>
                <a:cubicBezTo>
                  <a:pt x="4732207" y="5079876"/>
                  <a:pt x="4732207" y="5079876"/>
                  <a:pt x="4732207" y="5079876"/>
                </a:cubicBezTo>
                <a:cubicBezTo>
                  <a:pt x="4736365" y="5077475"/>
                  <a:pt x="4737245" y="5074195"/>
                  <a:pt x="4733963" y="5073315"/>
                </a:cubicBezTo>
                <a:cubicBezTo>
                  <a:pt x="4733963" y="5073315"/>
                  <a:pt x="4730684" y="5072437"/>
                  <a:pt x="4726524" y="5074837"/>
                </a:cubicBezTo>
                <a:cubicBezTo>
                  <a:pt x="4726524" y="5074837"/>
                  <a:pt x="4726524" y="5074837"/>
                  <a:pt x="4725646" y="5078117"/>
                </a:cubicBezTo>
                <a:cubicBezTo>
                  <a:pt x="4721486" y="5080520"/>
                  <a:pt x="4721486" y="5080520"/>
                  <a:pt x="4721486" y="5080520"/>
                </a:cubicBezTo>
                <a:cubicBezTo>
                  <a:pt x="4732441" y="5065875"/>
                  <a:pt x="4719083" y="5076361"/>
                  <a:pt x="4707487" y="5080284"/>
                </a:cubicBezTo>
                <a:cubicBezTo>
                  <a:pt x="4711646" y="5077883"/>
                  <a:pt x="4711646" y="5077883"/>
                  <a:pt x="4711646" y="5077883"/>
                </a:cubicBezTo>
                <a:cubicBezTo>
                  <a:pt x="4711646" y="5077883"/>
                  <a:pt x="4708366" y="5077005"/>
                  <a:pt x="4708366" y="5077005"/>
                </a:cubicBezTo>
                <a:cubicBezTo>
                  <a:pt x="4708366" y="5077005"/>
                  <a:pt x="4708366" y="5077005"/>
                  <a:pt x="4705085" y="5076124"/>
                </a:cubicBezTo>
                <a:cubicBezTo>
                  <a:pt x="4704207" y="5079404"/>
                  <a:pt x="4704207" y="5079404"/>
                  <a:pt x="4704207" y="5079404"/>
                </a:cubicBezTo>
                <a:cubicBezTo>
                  <a:pt x="4700046" y="5081805"/>
                  <a:pt x="4700046" y="5081805"/>
                  <a:pt x="4700046" y="5081805"/>
                </a:cubicBezTo>
                <a:cubicBezTo>
                  <a:pt x="4700927" y="5078525"/>
                  <a:pt x="4700927" y="5078525"/>
                  <a:pt x="4700927" y="5078525"/>
                </a:cubicBezTo>
                <a:cubicBezTo>
                  <a:pt x="4700927" y="5078525"/>
                  <a:pt x="4697647" y="5077647"/>
                  <a:pt x="4696767" y="5080927"/>
                </a:cubicBezTo>
                <a:cubicBezTo>
                  <a:pt x="4693487" y="5080048"/>
                  <a:pt x="4693487" y="5080048"/>
                  <a:pt x="4693487" y="5080048"/>
                </a:cubicBezTo>
                <a:cubicBezTo>
                  <a:pt x="4699404" y="5071086"/>
                  <a:pt x="4706843" y="5069563"/>
                  <a:pt x="4722601" y="5063239"/>
                </a:cubicBezTo>
                <a:cubicBezTo>
                  <a:pt x="4721722" y="5066520"/>
                  <a:pt x="4721722" y="5066520"/>
                  <a:pt x="4721722" y="5066520"/>
                </a:cubicBezTo>
                <a:cubicBezTo>
                  <a:pt x="4720843" y="5069800"/>
                  <a:pt x="4720843" y="5069800"/>
                  <a:pt x="4720843" y="5069800"/>
                </a:cubicBezTo>
                <a:cubicBezTo>
                  <a:pt x="4725003" y="5067398"/>
                  <a:pt x="4725003" y="5067398"/>
                  <a:pt x="4725003" y="5067398"/>
                </a:cubicBezTo>
                <a:cubicBezTo>
                  <a:pt x="4725882" y="5064117"/>
                  <a:pt x="4725882" y="5064117"/>
                  <a:pt x="4725882" y="5064117"/>
                </a:cubicBezTo>
                <a:cubicBezTo>
                  <a:pt x="4730041" y="5061716"/>
                  <a:pt x="4730041" y="5061716"/>
                  <a:pt x="4730041" y="5061716"/>
                </a:cubicBezTo>
                <a:cubicBezTo>
                  <a:pt x="4734199" y="5059315"/>
                  <a:pt x="4736599" y="5063474"/>
                  <a:pt x="4744919" y="5058672"/>
                </a:cubicBezTo>
                <a:cubicBezTo>
                  <a:pt x="4748200" y="5059551"/>
                  <a:pt x="4748200" y="5059551"/>
                  <a:pt x="4748200" y="5059551"/>
                </a:cubicBezTo>
                <a:cubicBezTo>
                  <a:pt x="4749079" y="5056269"/>
                  <a:pt x="4752360" y="5057149"/>
                  <a:pt x="4752360" y="5057149"/>
                </a:cubicBezTo>
                <a:cubicBezTo>
                  <a:pt x="4753238" y="5053868"/>
                  <a:pt x="4753238" y="5053868"/>
                  <a:pt x="4753238" y="5053868"/>
                </a:cubicBezTo>
                <a:cubicBezTo>
                  <a:pt x="4749957" y="5052989"/>
                  <a:pt x="4749957" y="5052989"/>
                  <a:pt x="4749957" y="5052989"/>
                </a:cubicBezTo>
                <a:cubicBezTo>
                  <a:pt x="4758275" y="5048187"/>
                  <a:pt x="4768117" y="5050824"/>
                  <a:pt x="4769875" y="5044264"/>
                </a:cubicBezTo>
                <a:cubicBezTo>
                  <a:pt x="4769875" y="5044264"/>
                  <a:pt x="4770754" y="5040984"/>
                  <a:pt x="4774035" y="5041862"/>
                </a:cubicBezTo>
                <a:cubicBezTo>
                  <a:pt x="4774035" y="5041862"/>
                  <a:pt x="4774913" y="5038581"/>
                  <a:pt x="4774913" y="5038581"/>
                </a:cubicBezTo>
                <a:cubicBezTo>
                  <a:pt x="4771632" y="5037702"/>
                  <a:pt x="4771632" y="5037702"/>
                  <a:pt x="4771632" y="5037702"/>
                </a:cubicBezTo>
                <a:cubicBezTo>
                  <a:pt x="4798110" y="5030735"/>
                  <a:pt x="4779951" y="5032901"/>
                  <a:pt x="4781709" y="5026339"/>
                </a:cubicBezTo>
                <a:cubicBezTo>
                  <a:pt x="4795709" y="5026575"/>
                  <a:pt x="4820663" y="5012167"/>
                  <a:pt x="4841460" y="5000161"/>
                </a:cubicBezTo>
                <a:cubicBezTo>
                  <a:pt x="4839059" y="4996002"/>
                  <a:pt x="4839059" y="4996002"/>
                  <a:pt x="4839059" y="4996002"/>
                </a:cubicBezTo>
                <a:cubicBezTo>
                  <a:pt x="4842339" y="4996880"/>
                  <a:pt x="4842339" y="4996880"/>
                  <a:pt x="4842339" y="4996880"/>
                </a:cubicBezTo>
                <a:cubicBezTo>
                  <a:pt x="4842339" y="4996880"/>
                  <a:pt x="4845620" y="4997758"/>
                  <a:pt x="4846498" y="4994478"/>
                </a:cubicBezTo>
                <a:cubicBezTo>
                  <a:pt x="4846498" y="4994478"/>
                  <a:pt x="4843217" y="4993600"/>
                  <a:pt x="4843217" y="4993600"/>
                </a:cubicBezTo>
                <a:cubicBezTo>
                  <a:pt x="4855696" y="4986396"/>
                  <a:pt x="4870575" y="4983351"/>
                  <a:pt x="4878014" y="4981829"/>
                </a:cubicBezTo>
                <a:cubicBezTo>
                  <a:pt x="4875613" y="4977670"/>
                  <a:pt x="4872333" y="4976790"/>
                  <a:pt x="4876493" y="4974389"/>
                </a:cubicBezTo>
                <a:cubicBezTo>
                  <a:pt x="4879771" y="4975267"/>
                  <a:pt x="4879771" y="4975267"/>
                  <a:pt x="4883931" y="4972867"/>
                </a:cubicBezTo>
                <a:cubicBezTo>
                  <a:pt x="4881530" y="4968708"/>
                  <a:pt x="4884811" y="4969587"/>
                  <a:pt x="4892249" y="4968064"/>
                </a:cubicBezTo>
                <a:cubicBezTo>
                  <a:pt x="4892249" y="4968064"/>
                  <a:pt x="4892249" y="4968064"/>
                  <a:pt x="4891370" y="4971344"/>
                </a:cubicBezTo>
                <a:cubicBezTo>
                  <a:pt x="4891370" y="4971344"/>
                  <a:pt x="4891370" y="4971344"/>
                  <a:pt x="4894652" y="4972224"/>
                </a:cubicBezTo>
                <a:cubicBezTo>
                  <a:pt x="4895530" y="4968943"/>
                  <a:pt x="4898811" y="4969821"/>
                  <a:pt x="4899690" y="4966541"/>
                </a:cubicBezTo>
                <a:cubicBezTo>
                  <a:pt x="4899690" y="4966541"/>
                  <a:pt x="4900568" y="4963262"/>
                  <a:pt x="4900568" y="4963262"/>
                </a:cubicBezTo>
                <a:cubicBezTo>
                  <a:pt x="4907129" y="4965019"/>
                  <a:pt x="4934721" y="4940771"/>
                  <a:pt x="4926402" y="4945573"/>
                </a:cubicBezTo>
                <a:cubicBezTo>
                  <a:pt x="4923765" y="4955414"/>
                  <a:pt x="4914160" y="4938777"/>
                  <a:pt x="4914803" y="4949497"/>
                </a:cubicBezTo>
                <a:lnTo>
                  <a:pt x="4909765" y="4955178"/>
                </a:lnTo>
                <a:cubicBezTo>
                  <a:pt x="4910645" y="4951898"/>
                  <a:pt x="4906487" y="4954299"/>
                  <a:pt x="4906487" y="4954299"/>
                </a:cubicBezTo>
                <a:cubicBezTo>
                  <a:pt x="4902327" y="4956701"/>
                  <a:pt x="4902327" y="4956701"/>
                  <a:pt x="4902327" y="4956701"/>
                </a:cubicBezTo>
                <a:cubicBezTo>
                  <a:pt x="4903205" y="4953421"/>
                  <a:pt x="4903205" y="4953421"/>
                  <a:pt x="4903205" y="4953421"/>
                </a:cubicBezTo>
                <a:cubicBezTo>
                  <a:pt x="4906487" y="4954299"/>
                  <a:pt x="4907365" y="4951018"/>
                  <a:pt x="4907365" y="4951018"/>
                </a:cubicBezTo>
                <a:cubicBezTo>
                  <a:pt x="4907365" y="4951018"/>
                  <a:pt x="4904084" y="4950140"/>
                  <a:pt x="4904084" y="4950140"/>
                </a:cubicBezTo>
                <a:cubicBezTo>
                  <a:pt x="4899924" y="4952541"/>
                  <a:pt x="4899924" y="4952541"/>
                  <a:pt x="4899924" y="4952541"/>
                </a:cubicBezTo>
                <a:cubicBezTo>
                  <a:pt x="4895766" y="4954944"/>
                  <a:pt x="4895766" y="4954944"/>
                  <a:pt x="4895766" y="4954944"/>
                </a:cubicBezTo>
                <a:cubicBezTo>
                  <a:pt x="4895766" y="4954944"/>
                  <a:pt x="4900803" y="4949262"/>
                  <a:pt x="4900803" y="4949262"/>
                </a:cubicBezTo>
                <a:cubicBezTo>
                  <a:pt x="4904963" y="4946860"/>
                  <a:pt x="4904963" y="4946860"/>
                  <a:pt x="4904963" y="4946860"/>
                </a:cubicBezTo>
                <a:cubicBezTo>
                  <a:pt x="4909122" y="4944459"/>
                  <a:pt x="4909122" y="4944459"/>
                  <a:pt x="4909122" y="4944459"/>
                </a:cubicBezTo>
                <a:cubicBezTo>
                  <a:pt x="4912403" y="4945337"/>
                  <a:pt x="4916563" y="4942936"/>
                  <a:pt x="4917441" y="4939655"/>
                </a:cubicBezTo>
                <a:cubicBezTo>
                  <a:pt x="4918319" y="4936376"/>
                  <a:pt x="4915039" y="4935497"/>
                  <a:pt x="4910881" y="4937898"/>
                </a:cubicBezTo>
                <a:cubicBezTo>
                  <a:pt x="4910881" y="4937898"/>
                  <a:pt x="4910881" y="4937898"/>
                  <a:pt x="4907601" y="4937018"/>
                </a:cubicBezTo>
                <a:cubicBezTo>
                  <a:pt x="4920077" y="4929815"/>
                  <a:pt x="4917441" y="4939655"/>
                  <a:pt x="4927516" y="4928292"/>
                </a:cubicBezTo>
                <a:cubicBezTo>
                  <a:pt x="4926638" y="4931573"/>
                  <a:pt x="4926638" y="4931573"/>
                  <a:pt x="4926638" y="4931573"/>
                </a:cubicBezTo>
                <a:cubicBezTo>
                  <a:pt x="4926638" y="4931573"/>
                  <a:pt x="4926638" y="4931573"/>
                  <a:pt x="4929919" y="4932452"/>
                </a:cubicBezTo>
                <a:cubicBezTo>
                  <a:pt x="4930798" y="4929172"/>
                  <a:pt x="4930798" y="4929172"/>
                  <a:pt x="4930798" y="4929172"/>
                </a:cubicBezTo>
                <a:cubicBezTo>
                  <a:pt x="4930798" y="4929172"/>
                  <a:pt x="4931676" y="4925891"/>
                  <a:pt x="4931676" y="4925891"/>
                </a:cubicBezTo>
                <a:cubicBezTo>
                  <a:pt x="4935835" y="4923490"/>
                  <a:pt x="4935835" y="4923490"/>
                  <a:pt x="4935835" y="4923490"/>
                </a:cubicBezTo>
                <a:cubicBezTo>
                  <a:pt x="4939994" y="4921088"/>
                  <a:pt x="4939994" y="4921088"/>
                  <a:pt x="4948314" y="4916286"/>
                </a:cubicBezTo>
                <a:cubicBezTo>
                  <a:pt x="4943511" y="4907968"/>
                  <a:pt x="4963429" y="4899242"/>
                  <a:pt x="4953587" y="4896605"/>
                </a:cubicBezTo>
                <a:cubicBezTo>
                  <a:pt x="4951829" y="4903166"/>
                  <a:pt x="4944389" y="4904687"/>
                  <a:pt x="4939352" y="4910369"/>
                </a:cubicBezTo>
                <a:cubicBezTo>
                  <a:pt x="4944389" y="4904687"/>
                  <a:pt x="4944389" y="4904687"/>
                  <a:pt x="4941109" y="4903808"/>
                </a:cubicBezTo>
                <a:cubicBezTo>
                  <a:pt x="4941109" y="4903808"/>
                  <a:pt x="4941109" y="4903808"/>
                  <a:pt x="4937829" y="4902930"/>
                </a:cubicBezTo>
                <a:cubicBezTo>
                  <a:pt x="4949427" y="4899006"/>
                  <a:pt x="4961905" y="4891801"/>
                  <a:pt x="4971103" y="4883717"/>
                </a:cubicBezTo>
                <a:close/>
                <a:moveTo>
                  <a:pt x="6068122" y="4864900"/>
                </a:moveTo>
                <a:lnTo>
                  <a:pt x="6068152" y="4865039"/>
                </a:lnTo>
                <a:cubicBezTo>
                  <a:pt x="6068152" y="4865039"/>
                  <a:pt x="6068152" y="4865039"/>
                  <a:pt x="6064479" y="4870708"/>
                </a:cubicBezTo>
                <a:close/>
                <a:moveTo>
                  <a:pt x="2849427" y="4863682"/>
                </a:moveTo>
                <a:cubicBezTo>
                  <a:pt x="2849427" y="4863682"/>
                  <a:pt x="2849427" y="4863682"/>
                  <a:pt x="2852706" y="4864560"/>
                </a:cubicBezTo>
                <a:cubicBezTo>
                  <a:pt x="2855987" y="4865440"/>
                  <a:pt x="2855987" y="4865440"/>
                  <a:pt x="2855987" y="4865440"/>
                </a:cubicBezTo>
                <a:lnTo>
                  <a:pt x="2856769" y="4866135"/>
                </a:lnTo>
                <a:close/>
                <a:moveTo>
                  <a:pt x="5007247" y="4862211"/>
                </a:moveTo>
                <a:lnTo>
                  <a:pt x="4996249" y="4868580"/>
                </a:lnTo>
                <a:lnTo>
                  <a:pt x="4999337" y="4870189"/>
                </a:lnTo>
                <a:close/>
                <a:moveTo>
                  <a:pt x="6130068" y="4856695"/>
                </a:moveTo>
                <a:lnTo>
                  <a:pt x="6126199" y="4862407"/>
                </a:lnTo>
                <a:cubicBezTo>
                  <a:pt x="6130871" y="4861409"/>
                  <a:pt x="6129873" y="4856736"/>
                  <a:pt x="6129873" y="4856736"/>
                </a:cubicBezTo>
                <a:close/>
                <a:moveTo>
                  <a:pt x="5030417" y="4849127"/>
                </a:moveTo>
                <a:lnTo>
                  <a:pt x="5029817" y="4849140"/>
                </a:lnTo>
                <a:lnTo>
                  <a:pt x="5010221" y="4860487"/>
                </a:lnTo>
                <a:lnTo>
                  <a:pt x="5015974" y="4860584"/>
                </a:lnTo>
                <a:cubicBezTo>
                  <a:pt x="5023533" y="4852061"/>
                  <a:pt x="5031451" y="4849569"/>
                  <a:pt x="5030417" y="4849127"/>
                </a:cubicBezTo>
                <a:close/>
                <a:moveTo>
                  <a:pt x="5071263" y="4820079"/>
                </a:moveTo>
                <a:lnTo>
                  <a:pt x="5059909" y="4829301"/>
                </a:lnTo>
                <a:lnTo>
                  <a:pt x="5059325" y="4830010"/>
                </a:lnTo>
                <a:lnTo>
                  <a:pt x="5057793" y="4831019"/>
                </a:lnTo>
                <a:lnTo>
                  <a:pt x="5055235" y="4833097"/>
                </a:lnTo>
                <a:lnTo>
                  <a:pt x="5055445" y="4833420"/>
                </a:lnTo>
                <a:cubicBezTo>
                  <a:pt x="5056491" y="4833207"/>
                  <a:pt x="5058665" y="4832469"/>
                  <a:pt x="5062605" y="4830888"/>
                </a:cubicBezTo>
                <a:cubicBezTo>
                  <a:pt x="5060527" y="4832090"/>
                  <a:pt x="5058227" y="4834110"/>
                  <a:pt x="5057377" y="4835640"/>
                </a:cubicBezTo>
                <a:lnTo>
                  <a:pt x="5060755" y="4837402"/>
                </a:lnTo>
                <a:lnTo>
                  <a:pt x="5060961" y="4837260"/>
                </a:lnTo>
                <a:close/>
                <a:moveTo>
                  <a:pt x="5108837" y="4789562"/>
                </a:moveTo>
                <a:lnTo>
                  <a:pt x="5093745" y="4801819"/>
                </a:lnTo>
                <a:lnTo>
                  <a:pt x="5095236" y="4800959"/>
                </a:lnTo>
                <a:cubicBezTo>
                  <a:pt x="5098515" y="4801837"/>
                  <a:pt x="5103555" y="4796156"/>
                  <a:pt x="5108593" y="4790474"/>
                </a:cubicBezTo>
                <a:close/>
                <a:moveTo>
                  <a:pt x="5127188" y="4774656"/>
                </a:moveTo>
                <a:lnTo>
                  <a:pt x="5117361" y="4782639"/>
                </a:lnTo>
                <a:lnTo>
                  <a:pt x="5121949" y="4779991"/>
                </a:lnTo>
                <a:cubicBezTo>
                  <a:pt x="5121949" y="4779991"/>
                  <a:pt x="5125229" y="4780869"/>
                  <a:pt x="5125229" y="4780869"/>
                </a:cubicBezTo>
                <a:cubicBezTo>
                  <a:pt x="5129389" y="4778468"/>
                  <a:pt x="5129389" y="4778468"/>
                  <a:pt x="5129389" y="4778468"/>
                </a:cubicBezTo>
                <a:close/>
                <a:moveTo>
                  <a:pt x="2748506" y="4741714"/>
                </a:moveTo>
                <a:lnTo>
                  <a:pt x="2753001" y="4745754"/>
                </a:lnTo>
                <a:lnTo>
                  <a:pt x="2748356" y="4742283"/>
                </a:lnTo>
                <a:close/>
                <a:moveTo>
                  <a:pt x="2738573" y="4734114"/>
                </a:moveTo>
                <a:lnTo>
                  <a:pt x="2742497" y="4737906"/>
                </a:lnTo>
                <a:lnTo>
                  <a:pt x="2748356" y="4742283"/>
                </a:lnTo>
                <a:lnTo>
                  <a:pt x="2747627" y="4744994"/>
                </a:lnTo>
                <a:cubicBezTo>
                  <a:pt x="2745226" y="4740836"/>
                  <a:pt x="2742826" y="4736676"/>
                  <a:pt x="2739545" y="4735796"/>
                </a:cubicBezTo>
                <a:close/>
                <a:moveTo>
                  <a:pt x="2733528" y="4728433"/>
                </a:moveTo>
                <a:lnTo>
                  <a:pt x="2737143" y="4731638"/>
                </a:lnTo>
                <a:lnTo>
                  <a:pt x="2738573" y="4734114"/>
                </a:lnTo>
                <a:lnTo>
                  <a:pt x="2733769" y="4729470"/>
                </a:lnTo>
                <a:close/>
                <a:moveTo>
                  <a:pt x="2725781" y="4721561"/>
                </a:moveTo>
                <a:cubicBezTo>
                  <a:pt x="2729061" y="4722440"/>
                  <a:pt x="2731462" y="4726600"/>
                  <a:pt x="2732341" y="4723320"/>
                </a:cubicBezTo>
                <a:lnTo>
                  <a:pt x="2733528" y="4728433"/>
                </a:lnTo>
                <a:lnTo>
                  <a:pt x="2731462" y="4726600"/>
                </a:lnTo>
                <a:cubicBezTo>
                  <a:pt x="2728183" y="4725721"/>
                  <a:pt x="2728183" y="4725721"/>
                  <a:pt x="2728183" y="4725721"/>
                </a:cubicBezTo>
                <a:cubicBezTo>
                  <a:pt x="2728183" y="4725721"/>
                  <a:pt x="2728183" y="4725721"/>
                  <a:pt x="2725781" y="4721561"/>
                </a:cubicBezTo>
                <a:close/>
                <a:moveTo>
                  <a:pt x="3028405" y="4669808"/>
                </a:moveTo>
                <a:lnTo>
                  <a:pt x="3030752" y="4673522"/>
                </a:lnTo>
                <a:cubicBezTo>
                  <a:pt x="3036699" y="4679422"/>
                  <a:pt x="3044989" y="4685949"/>
                  <a:pt x="3054617" y="4692835"/>
                </a:cubicBezTo>
                <a:cubicBezTo>
                  <a:pt x="3073871" y="4706605"/>
                  <a:pt x="3094562" y="4715020"/>
                  <a:pt x="3107225" y="4721282"/>
                </a:cubicBezTo>
                <a:lnTo>
                  <a:pt x="3105246" y="4719661"/>
                </a:lnTo>
                <a:lnTo>
                  <a:pt x="3057715" y="4691376"/>
                </a:lnTo>
                <a:close/>
                <a:moveTo>
                  <a:pt x="6304463" y="4668027"/>
                </a:moveTo>
                <a:lnTo>
                  <a:pt x="6302855" y="4672815"/>
                </a:lnTo>
                <a:lnTo>
                  <a:pt x="6301832" y="4672862"/>
                </a:lnTo>
                <a:cubicBezTo>
                  <a:pt x="6301708" y="4672278"/>
                  <a:pt x="6302626" y="4670861"/>
                  <a:pt x="6304463" y="4668027"/>
                </a:cubicBezTo>
                <a:close/>
                <a:moveTo>
                  <a:pt x="2673360" y="4654778"/>
                </a:moveTo>
                <a:lnTo>
                  <a:pt x="2678648" y="4660537"/>
                </a:lnTo>
                <a:lnTo>
                  <a:pt x="2678411" y="4660527"/>
                </a:lnTo>
                <a:cubicBezTo>
                  <a:pt x="2676581" y="4659157"/>
                  <a:pt x="2674561" y="4656858"/>
                  <a:pt x="2673360" y="4654778"/>
                </a:cubicBezTo>
                <a:close/>
                <a:moveTo>
                  <a:pt x="2988071" y="4640127"/>
                </a:moveTo>
                <a:lnTo>
                  <a:pt x="2993758" y="4645670"/>
                </a:lnTo>
                <a:cubicBezTo>
                  <a:pt x="2996821" y="4648286"/>
                  <a:pt x="2999603" y="4650286"/>
                  <a:pt x="3002041" y="4651387"/>
                </a:cubicBezTo>
                <a:lnTo>
                  <a:pt x="3003476" y="4651462"/>
                </a:lnTo>
                <a:close/>
                <a:moveTo>
                  <a:pt x="2964415" y="4622718"/>
                </a:moveTo>
                <a:lnTo>
                  <a:pt x="2964410" y="4622737"/>
                </a:lnTo>
                <a:lnTo>
                  <a:pt x="2964457" y="4622750"/>
                </a:lnTo>
                <a:close/>
                <a:moveTo>
                  <a:pt x="2936215" y="4620923"/>
                </a:moveTo>
                <a:cubicBezTo>
                  <a:pt x="2936215" y="4620923"/>
                  <a:pt x="2936215" y="4620923"/>
                  <a:pt x="2938890" y="4621639"/>
                </a:cubicBezTo>
                <a:lnTo>
                  <a:pt x="2938711" y="4622308"/>
                </a:lnTo>
                <a:close/>
                <a:moveTo>
                  <a:pt x="2922025" y="4586750"/>
                </a:moveTo>
                <a:lnTo>
                  <a:pt x="2919078" y="4591214"/>
                </a:lnTo>
                <a:cubicBezTo>
                  <a:pt x="2916891" y="4591346"/>
                  <a:pt x="2914215" y="4590629"/>
                  <a:pt x="2912519" y="4591609"/>
                </a:cubicBezTo>
                <a:cubicBezTo>
                  <a:pt x="2913760" y="4597683"/>
                  <a:pt x="2918395" y="4601796"/>
                  <a:pt x="2922311" y="4608585"/>
                </a:cubicBezTo>
                <a:cubicBezTo>
                  <a:pt x="2920354" y="4605190"/>
                  <a:pt x="2917677" y="4604474"/>
                  <a:pt x="2917677" y="4604474"/>
                </a:cubicBezTo>
                <a:cubicBezTo>
                  <a:pt x="2915718" y="4601078"/>
                  <a:pt x="2915718" y="4601078"/>
                  <a:pt x="2913043" y="4600361"/>
                </a:cubicBezTo>
                <a:cubicBezTo>
                  <a:pt x="2912325" y="4603039"/>
                  <a:pt x="2915001" y="4603756"/>
                  <a:pt x="2915001" y="4603756"/>
                </a:cubicBezTo>
                <a:cubicBezTo>
                  <a:pt x="2916959" y="4607152"/>
                  <a:pt x="2919635" y="4607868"/>
                  <a:pt x="2919635" y="4607868"/>
                </a:cubicBezTo>
                <a:cubicBezTo>
                  <a:pt x="2919635" y="4607868"/>
                  <a:pt x="2921593" y="4611263"/>
                  <a:pt x="2921593" y="4611263"/>
                </a:cubicBezTo>
                <a:cubicBezTo>
                  <a:pt x="2926229" y="4615376"/>
                  <a:pt x="2930863" y="4619488"/>
                  <a:pt x="2932821" y="4622883"/>
                </a:cubicBezTo>
                <a:cubicBezTo>
                  <a:pt x="2932821" y="4622883"/>
                  <a:pt x="2932821" y="4622883"/>
                  <a:pt x="2935497" y="4623599"/>
                </a:cubicBezTo>
                <a:cubicBezTo>
                  <a:pt x="2935497" y="4623599"/>
                  <a:pt x="2938172" y="4624317"/>
                  <a:pt x="2938172" y="4624317"/>
                </a:cubicBezTo>
                <a:lnTo>
                  <a:pt x="2938711" y="4622308"/>
                </a:lnTo>
                <a:lnTo>
                  <a:pt x="2941207" y="4623695"/>
                </a:lnTo>
                <a:cubicBezTo>
                  <a:pt x="2942545" y="4624054"/>
                  <a:pt x="2943884" y="4624412"/>
                  <a:pt x="2946201" y="4626469"/>
                </a:cubicBezTo>
                <a:cubicBezTo>
                  <a:pt x="2954947" y="4625941"/>
                  <a:pt x="2940326" y="4616283"/>
                  <a:pt x="2941761" y="4610927"/>
                </a:cubicBezTo>
                <a:cubicBezTo>
                  <a:pt x="2953705" y="4619869"/>
                  <a:pt x="2957099" y="4617907"/>
                  <a:pt x="2961733" y="4622018"/>
                </a:cubicBezTo>
                <a:lnTo>
                  <a:pt x="2962703" y="4621458"/>
                </a:lnTo>
                <a:lnTo>
                  <a:pt x="2948426" y="4610952"/>
                </a:lnTo>
                <a:close/>
                <a:moveTo>
                  <a:pt x="2860394" y="4530255"/>
                </a:moveTo>
                <a:lnTo>
                  <a:pt x="2873925" y="4544310"/>
                </a:lnTo>
                <a:lnTo>
                  <a:pt x="2898368" y="4565066"/>
                </a:lnTo>
                <a:close/>
                <a:moveTo>
                  <a:pt x="2850179" y="4503144"/>
                </a:moveTo>
                <a:lnTo>
                  <a:pt x="2849725" y="4504837"/>
                </a:lnTo>
                <a:lnTo>
                  <a:pt x="2856363" y="4508236"/>
                </a:lnTo>
                <a:lnTo>
                  <a:pt x="2855786" y="4507515"/>
                </a:lnTo>
                <a:lnTo>
                  <a:pt x="2857490" y="4507973"/>
                </a:lnTo>
                <a:lnTo>
                  <a:pt x="2858176" y="4509163"/>
                </a:lnTo>
                <a:lnTo>
                  <a:pt x="2862899" y="4511580"/>
                </a:lnTo>
                <a:lnTo>
                  <a:pt x="2852855" y="4503860"/>
                </a:lnTo>
                <a:lnTo>
                  <a:pt x="2855786" y="4507515"/>
                </a:lnTo>
                <a:lnTo>
                  <a:pt x="2854813" y="4507255"/>
                </a:lnTo>
                <a:cubicBezTo>
                  <a:pt x="2852855" y="4503860"/>
                  <a:pt x="2852855" y="4503860"/>
                  <a:pt x="2850179" y="4503144"/>
                </a:cubicBezTo>
                <a:close/>
                <a:moveTo>
                  <a:pt x="5450741" y="4439964"/>
                </a:moveTo>
                <a:lnTo>
                  <a:pt x="5377825" y="4530592"/>
                </a:lnTo>
                <a:cubicBezTo>
                  <a:pt x="5359841" y="4551255"/>
                  <a:pt x="5341650" y="4570690"/>
                  <a:pt x="5323869" y="4592582"/>
                </a:cubicBezTo>
                <a:cubicBezTo>
                  <a:pt x="5319577" y="4597083"/>
                  <a:pt x="5312626" y="4600767"/>
                  <a:pt x="5314677" y="4613036"/>
                </a:cubicBezTo>
                <a:cubicBezTo>
                  <a:pt x="5333076" y="4598610"/>
                  <a:pt x="5347637" y="4580097"/>
                  <a:pt x="5364167" y="4564878"/>
                </a:cubicBezTo>
                <a:lnTo>
                  <a:pt x="5370795" y="4560109"/>
                </a:lnTo>
                <a:lnTo>
                  <a:pt x="5397869" y="4523430"/>
                </a:lnTo>
                <a:close/>
                <a:moveTo>
                  <a:pt x="1643525" y="4432993"/>
                </a:moveTo>
                <a:cubicBezTo>
                  <a:pt x="1643525" y="4432993"/>
                  <a:pt x="1643525" y="4432993"/>
                  <a:pt x="1644522" y="4437664"/>
                </a:cubicBezTo>
                <a:lnTo>
                  <a:pt x="1643326" y="4435630"/>
                </a:lnTo>
                <a:close/>
                <a:moveTo>
                  <a:pt x="2776939" y="4423240"/>
                </a:moveTo>
                <a:lnTo>
                  <a:pt x="2779311" y="4426396"/>
                </a:lnTo>
                <a:lnTo>
                  <a:pt x="2778899" y="4426634"/>
                </a:lnTo>
                <a:cubicBezTo>
                  <a:pt x="2778899" y="4426634"/>
                  <a:pt x="2776223" y="4425916"/>
                  <a:pt x="2776939" y="4423240"/>
                </a:cubicBezTo>
                <a:close/>
                <a:moveTo>
                  <a:pt x="2676789" y="4299837"/>
                </a:moveTo>
                <a:lnTo>
                  <a:pt x="2665036" y="4302598"/>
                </a:lnTo>
                <a:lnTo>
                  <a:pt x="2701549" y="4351370"/>
                </a:lnTo>
                <a:cubicBezTo>
                  <a:pt x="2709383" y="4364950"/>
                  <a:pt x="2723809" y="4386038"/>
                  <a:pt x="2741629" y="4405167"/>
                </a:cubicBezTo>
                <a:cubicBezTo>
                  <a:pt x="2756055" y="4426254"/>
                  <a:pt x="2774593" y="4442703"/>
                  <a:pt x="2786537" y="4451645"/>
                </a:cubicBezTo>
                <a:cubicBezTo>
                  <a:pt x="2797048" y="4465942"/>
                  <a:pt x="2810232" y="4480958"/>
                  <a:pt x="2822178" y="4489900"/>
                </a:cubicBezTo>
                <a:cubicBezTo>
                  <a:pt x="2822178" y="4489900"/>
                  <a:pt x="2821462" y="4492576"/>
                  <a:pt x="2824137" y="4493294"/>
                </a:cubicBezTo>
                <a:cubicBezTo>
                  <a:pt x="2826095" y="4496689"/>
                  <a:pt x="2826095" y="4496689"/>
                  <a:pt x="2828771" y="4497407"/>
                </a:cubicBezTo>
                <a:lnTo>
                  <a:pt x="2839192" y="4508233"/>
                </a:lnTo>
                <a:lnTo>
                  <a:pt x="2837891" y="4500449"/>
                </a:lnTo>
                <a:lnTo>
                  <a:pt x="2829489" y="4494729"/>
                </a:lnTo>
                <a:cubicBezTo>
                  <a:pt x="2832164" y="4495445"/>
                  <a:pt x="2832164" y="4495445"/>
                  <a:pt x="2832164" y="4495445"/>
                </a:cubicBezTo>
                <a:cubicBezTo>
                  <a:pt x="2832164" y="4495445"/>
                  <a:pt x="2830206" y="4492051"/>
                  <a:pt x="2827529" y="4491333"/>
                </a:cubicBezTo>
                <a:cubicBezTo>
                  <a:pt x="2828249" y="4488655"/>
                  <a:pt x="2825572" y="4487938"/>
                  <a:pt x="2825572" y="4487938"/>
                </a:cubicBezTo>
                <a:lnTo>
                  <a:pt x="2779311" y="4426396"/>
                </a:lnTo>
                <a:lnTo>
                  <a:pt x="2782293" y="4424673"/>
                </a:lnTo>
                <a:cubicBezTo>
                  <a:pt x="2782293" y="4424673"/>
                  <a:pt x="2779616" y="4423956"/>
                  <a:pt x="2779616" y="4423956"/>
                </a:cubicBezTo>
                <a:cubicBezTo>
                  <a:pt x="2779616" y="4423956"/>
                  <a:pt x="2779616" y="4423956"/>
                  <a:pt x="2776939" y="4423240"/>
                </a:cubicBezTo>
                <a:cubicBezTo>
                  <a:pt x="2777658" y="4420560"/>
                  <a:pt x="2774981" y="4419843"/>
                  <a:pt x="2774981" y="4419843"/>
                </a:cubicBezTo>
                <a:cubicBezTo>
                  <a:pt x="2778375" y="4417882"/>
                  <a:pt x="2771783" y="4410375"/>
                  <a:pt x="2765190" y="4402868"/>
                </a:cubicBezTo>
                <a:cubicBezTo>
                  <a:pt x="2761796" y="4404828"/>
                  <a:pt x="2766430" y="4408940"/>
                  <a:pt x="2766430" y="4408940"/>
                </a:cubicBezTo>
                <a:cubicBezTo>
                  <a:pt x="2763755" y="4408224"/>
                  <a:pt x="2763755" y="4408224"/>
                  <a:pt x="2763755" y="4408224"/>
                </a:cubicBezTo>
                <a:cubicBezTo>
                  <a:pt x="2761078" y="4407507"/>
                  <a:pt x="2761078" y="4407507"/>
                  <a:pt x="2761078" y="4407507"/>
                </a:cubicBezTo>
                <a:cubicBezTo>
                  <a:pt x="2761078" y="4407507"/>
                  <a:pt x="2763037" y="4410902"/>
                  <a:pt x="2763037" y="4410902"/>
                </a:cubicBezTo>
                <a:cubicBezTo>
                  <a:pt x="2756444" y="4403395"/>
                  <a:pt x="2755728" y="4406073"/>
                  <a:pt x="2747175" y="4395170"/>
                </a:cubicBezTo>
                <a:cubicBezTo>
                  <a:pt x="2749852" y="4395886"/>
                  <a:pt x="2749852" y="4395886"/>
                  <a:pt x="2749852" y="4395886"/>
                </a:cubicBezTo>
                <a:cubicBezTo>
                  <a:pt x="2749852" y="4395886"/>
                  <a:pt x="2749852" y="4395886"/>
                  <a:pt x="2751809" y="4399282"/>
                </a:cubicBezTo>
                <a:cubicBezTo>
                  <a:pt x="2754485" y="4399999"/>
                  <a:pt x="2754485" y="4399999"/>
                  <a:pt x="2754485" y="4399999"/>
                </a:cubicBezTo>
                <a:cubicBezTo>
                  <a:pt x="2755204" y="4397321"/>
                  <a:pt x="2753245" y="4393926"/>
                  <a:pt x="2750569" y="4393208"/>
                </a:cubicBezTo>
                <a:cubicBezTo>
                  <a:pt x="2750569" y="4393208"/>
                  <a:pt x="2751287" y="4390530"/>
                  <a:pt x="2748611" y="4389814"/>
                </a:cubicBezTo>
                <a:cubicBezTo>
                  <a:pt x="2750047" y="4384457"/>
                  <a:pt x="2744172" y="4374272"/>
                  <a:pt x="2736338" y="4360691"/>
                </a:cubicBezTo>
                <a:cubicBezTo>
                  <a:pt x="2732061" y="4355240"/>
                  <a:pt x="2727118" y="4349609"/>
                  <a:pt x="2722327" y="4344738"/>
                </a:cubicBezTo>
                <a:lnTo>
                  <a:pt x="2716857" y="4339970"/>
                </a:lnTo>
                <a:lnTo>
                  <a:pt x="2703428" y="4336022"/>
                </a:lnTo>
                <a:cubicBezTo>
                  <a:pt x="2696735" y="4331964"/>
                  <a:pt x="2691607" y="4326386"/>
                  <a:pt x="2688247" y="4319673"/>
                </a:cubicBezTo>
                <a:lnTo>
                  <a:pt x="2677451" y="4300826"/>
                </a:lnTo>
                <a:close/>
                <a:moveTo>
                  <a:pt x="2337159" y="4269366"/>
                </a:moveTo>
                <a:cubicBezTo>
                  <a:pt x="2336279" y="4272646"/>
                  <a:pt x="2339560" y="4273526"/>
                  <a:pt x="2339560" y="4273526"/>
                </a:cubicBezTo>
                <a:lnTo>
                  <a:pt x="2339523" y="4273662"/>
                </a:lnTo>
                <a:close/>
                <a:moveTo>
                  <a:pt x="1526874" y="4252779"/>
                </a:moveTo>
                <a:cubicBezTo>
                  <a:pt x="1531545" y="4251780"/>
                  <a:pt x="1533542" y="4261121"/>
                  <a:pt x="1534539" y="4265793"/>
                </a:cubicBezTo>
                <a:cubicBezTo>
                  <a:pt x="1529869" y="4266791"/>
                  <a:pt x="1529869" y="4266791"/>
                  <a:pt x="1529869" y="4266791"/>
                </a:cubicBezTo>
                <a:close/>
                <a:moveTo>
                  <a:pt x="2351864" y="4227601"/>
                </a:moveTo>
                <a:lnTo>
                  <a:pt x="2354365" y="4231786"/>
                </a:lnTo>
                <a:lnTo>
                  <a:pt x="2354267" y="4231761"/>
                </a:lnTo>
                <a:cubicBezTo>
                  <a:pt x="2354267" y="4231761"/>
                  <a:pt x="2354267" y="4231761"/>
                  <a:pt x="2351864" y="4227601"/>
                </a:cubicBezTo>
                <a:close/>
                <a:moveTo>
                  <a:pt x="6397652" y="4184394"/>
                </a:moveTo>
                <a:lnTo>
                  <a:pt x="6397793" y="4184698"/>
                </a:lnTo>
                <a:cubicBezTo>
                  <a:pt x="6397247" y="4187866"/>
                  <a:pt x="6395661" y="4191868"/>
                  <a:pt x="6393825" y="4194703"/>
                </a:cubicBezTo>
                <a:close/>
                <a:moveTo>
                  <a:pt x="6495950" y="4124042"/>
                </a:moveTo>
                <a:cubicBezTo>
                  <a:pt x="6501619" y="4127714"/>
                  <a:pt x="6497945" y="4133384"/>
                  <a:pt x="6492277" y="4129712"/>
                </a:cubicBezTo>
                <a:cubicBezTo>
                  <a:pt x="6496947" y="4128713"/>
                  <a:pt x="6496947" y="4128713"/>
                  <a:pt x="6495950" y="4124042"/>
                </a:cubicBezTo>
                <a:close/>
                <a:moveTo>
                  <a:pt x="6447581" y="4072213"/>
                </a:moveTo>
                <a:lnTo>
                  <a:pt x="6446607" y="4075973"/>
                </a:lnTo>
                <a:cubicBezTo>
                  <a:pt x="6447605" y="4080645"/>
                  <a:pt x="6447605" y="4080645"/>
                  <a:pt x="6447605" y="4080645"/>
                </a:cubicBezTo>
                <a:cubicBezTo>
                  <a:pt x="6447605" y="4080645"/>
                  <a:pt x="6447605" y="4080645"/>
                  <a:pt x="6443932" y="4086313"/>
                </a:cubicBezTo>
                <a:cubicBezTo>
                  <a:pt x="6442933" y="4081643"/>
                  <a:pt x="6446607" y="4075973"/>
                  <a:pt x="6441935" y="4076971"/>
                </a:cubicBezTo>
                <a:close/>
                <a:moveTo>
                  <a:pt x="6451467" y="4062259"/>
                </a:moveTo>
                <a:lnTo>
                  <a:pt x="6448725" y="4071248"/>
                </a:lnTo>
                <a:lnTo>
                  <a:pt x="6447581" y="4072213"/>
                </a:lnTo>
                <a:lnTo>
                  <a:pt x="6449283" y="4065635"/>
                </a:lnTo>
                <a:close/>
                <a:moveTo>
                  <a:pt x="6095133" y="4053382"/>
                </a:moveTo>
                <a:cubicBezTo>
                  <a:pt x="6095539" y="4055288"/>
                  <a:pt x="6094789" y="4056444"/>
                  <a:pt x="6093665" y="4058179"/>
                </a:cubicBezTo>
                <a:lnTo>
                  <a:pt x="6092651" y="4060432"/>
                </a:lnTo>
                <a:lnTo>
                  <a:pt x="6092133" y="4058007"/>
                </a:lnTo>
                <a:cubicBezTo>
                  <a:pt x="6092133" y="4058007"/>
                  <a:pt x="6095947" y="4057193"/>
                  <a:pt x="6095133" y="4053382"/>
                </a:cubicBezTo>
                <a:close/>
                <a:moveTo>
                  <a:pt x="1243863" y="4048308"/>
                </a:moveTo>
                <a:lnTo>
                  <a:pt x="1243853" y="4048690"/>
                </a:lnTo>
                <a:lnTo>
                  <a:pt x="1244017" y="4049024"/>
                </a:lnTo>
                <a:close/>
                <a:moveTo>
                  <a:pt x="6459303" y="4043956"/>
                </a:moveTo>
                <a:cubicBezTo>
                  <a:pt x="6455630" y="4049626"/>
                  <a:pt x="6451956" y="4055293"/>
                  <a:pt x="6452955" y="4059966"/>
                </a:cubicBezTo>
                <a:lnTo>
                  <a:pt x="6451467" y="4062259"/>
                </a:lnTo>
                <a:lnTo>
                  <a:pt x="6453708" y="4054920"/>
                </a:lnTo>
                <a:lnTo>
                  <a:pt x="6455441" y="4044781"/>
                </a:lnTo>
                <a:close/>
                <a:moveTo>
                  <a:pt x="6456817" y="4036740"/>
                </a:moveTo>
                <a:lnTo>
                  <a:pt x="6455441" y="4044781"/>
                </a:lnTo>
                <a:lnTo>
                  <a:pt x="6454631" y="4044953"/>
                </a:lnTo>
                <a:close/>
                <a:moveTo>
                  <a:pt x="1431945" y="4014196"/>
                </a:moveTo>
                <a:lnTo>
                  <a:pt x="1434938" y="4028209"/>
                </a:lnTo>
                <a:cubicBezTo>
                  <a:pt x="1434938" y="4028209"/>
                  <a:pt x="1429269" y="4024536"/>
                  <a:pt x="1428273" y="4019865"/>
                </a:cubicBezTo>
                <a:cubicBezTo>
                  <a:pt x="1432942" y="4018867"/>
                  <a:pt x="1431945" y="4014196"/>
                  <a:pt x="1431945" y="4014196"/>
                </a:cubicBezTo>
                <a:close/>
                <a:moveTo>
                  <a:pt x="1496703" y="3951518"/>
                </a:moveTo>
                <a:cubicBezTo>
                  <a:pt x="1496703" y="3951518"/>
                  <a:pt x="1497700" y="3956190"/>
                  <a:pt x="1502371" y="3955191"/>
                </a:cubicBezTo>
                <a:cubicBezTo>
                  <a:pt x="1497700" y="3956190"/>
                  <a:pt x="1502689" y="3979543"/>
                  <a:pt x="1498697" y="3960861"/>
                </a:cubicBezTo>
                <a:cubicBezTo>
                  <a:pt x="1497700" y="3956190"/>
                  <a:pt x="1497700" y="3956190"/>
                  <a:pt x="1496703" y="3951518"/>
                </a:cubicBezTo>
                <a:close/>
                <a:moveTo>
                  <a:pt x="2081274" y="3919538"/>
                </a:moveTo>
                <a:lnTo>
                  <a:pt x="2082728" y="3919927"/>
                </a:lnTo>
                <a:cubicBezTo>
                  <a:pt x="2082728" y="3919927"/>
                  <a:pt x="2082728" y="3919927"/>
                  <a:pt x="2081850" y="3923208"/>
                </a:cubicBezTo>
                <a:close/>
                <a:moveTo>
                  <a:pt x="6530564" y="3917715"/>
                </a:moveTo>
                <a:lnTo>
                  <a:pt x="6530564" y="3921552"/>
                </a:lnTo>
                <a:lnTo>
                  <a:pt x="6527556" y="3926194"/>
                </a:lnTo>
                <a:cubicBezTo>
                  <a:pt x="6527097" y="3926903"/>
                  <a:pt x="6527097" y="3926903"/>
                  <a:pt x="6527097" y="3926903"/>
                </a:cubicBezTo>
                <a:close/>
                <a:moveTo>
                  <a:pt x="6183373" y="3883119"/>
                </a:moveTo>
                <a:lnTo>
                  <a:pt x="6183235" y="3887133"/>
                </a:lnTo>
                <a:cubicBezTo>
                  <a:pt x="6183235" y="3887133"/>
                  <a:pt x="6183235" y="3887133"/>
                  <a:pt x="6182420" y="3883322"/>
                </a:cubicBezTo>
                <a:close/>
                <a:moveTo>
                  <a:pt x="6530394" y="3785167"/>
                </a:moveTo>
                <a:lnTo>
                  <a:pt x="6530564" y="3785630"/>
                </a:lnTo>
                <a:lnTo>
                  <a:pt x="6530564" y="3792682"/>
                </a:lnTo>
                <a:lnTo>
                  <a:pt x="6526181" y="3785456"/>
                </a:lnTo>
                <a:cubicBezTo>
                  <a:pt x="6528018" y="3782622"/>
                  <a:pt x="6529436" y="3783540"/>
                  <a:pt x="6530394" y="3785167"/>
                </a:cubicBezTo>
                <a:close/>
                <a:moveTo>
                  <a:pt x="2531063" y="3675825"/>
                </a:moveTo>
                <a:cubicBezTo>
                  <a:pt x="2544376" y="3721527"/>
                  <a:pt x="2557984" y="3767100"/>
                  <a:pt x="2572765" y="3812143"/>
                </a:cubicBezTo>
                <a:lnTo>
                  <a:pt x="2619585" y="3940039"/>
                </a:lnTo>
                <a:lnTo>
                  <a:pt x="2689216" y="4071055"/>
                </a:lnTo>
                <a:cubicBezTo>
                  <a:pt x="2704468" y="4095365"/>
                  <a:pt x="2717728" y="4121128"/>
                  <a:pt x="2731894" y="4145620"/>
                </a:cubicBezTo>
                <a:cubicBezTo>
                  <a:pt x="2733347" y="4147616"/>
                  <a:pt x="2735616" y="4149474"/>
                  <a:pt x="2736797" y="4151516"/>
                </a:cubicBezTo>
                <a:lnTo>
                  <a:pt x="2736150" y="4154286"/>
                </a:lnTo>
                <a:lnTo>
                  <a:pt x="2761162" y="4192307"/>
                </a:lnTo>
                <a:lnTo>
                  <a:pt x="2734027" y="4159027"/>
                </a:lnTo>
                <a:lnTo>
                  <a:pt x="2727501" y="4162023"/>
                </a:lnTo>
                <a:cubicBezTo>
                  <a:pt x="2724826" y="4161910"/>
                  <a:pt x="2722102" y="4160686"/>
                  <a:pt x="2719561" y="4158874"/>
                </a:cubicBezTo>
                <a:cubicBezTo>
                  <a:pt x="2708125" y="4150712"/>
                  <a:pt x="2699591" y="4139827"/>
                  <a:pt x="2694323" y="4128398"/>
                </a:cubicBezTo>
                <a:cubicBezTo>
                  <a:pt x="2676524" y="4095558"/>
                  <a:pt x="2656593" y="4063356"/>
                  <a:pt x="2638432" y="4030019"/>
                </a:cubicBezTo>
                <a:lnTo>
                  <a:pt x="2616715" y="3986397"/>
                </a:lnTo>
                <a:lnTo>
                  <a:pt x="2616051" y="3985283"/>
                </a:lnTo>
                <a:lnTo>
                  <a:pt x="2614788" y="3982527"/>
                </a:lnTo>
                <a:lnTo>
                  <a:pt x="2613003" y="3978941"/>
                </a:lnTo>
                <a:lnTo>
                  <a:pt x="2612430" y="3977382"/>
                </a:lnTo>
                <a:lnTo>
                  <a:pt x="2590101" y="3928646"/>
                </a:lnTo>
                <a:lnTo>
                  <a:pt x="2588278" y="3930926"/>
                </a:lnTo>
                <a:cubicBezTo>
                  <a:pt x="2587371" y="3933141"/>
                  <a:pt x="2587033" y="3935507"/>
                  <a:pt x="2586807" y="3937922"/>
                </a:cubicBezTo>
                <a:lnTo>
                  <a:pt x="2585985" y="3941174"/>
                </a:lnTo>
                <a:lnTo>
                  <a:pt x="2612386" y="4010360"/>
                </a:lnTo>
                <a:lnTo>
                  <a:pt x="2690871" y="4160213"/>
                </a:lnTo>
                <a:lnTo>
                  <a:pt x="2700625" y="4177201"/>
                </a:lnTo>
                <a:cubicBezTo>
                  <a:pt x="2703184" y="4181187"/>
                  <a:pt x="2706355" y="4185073"/>
                  <a:pt x="2708709" y="4189725"/>
                </a:cubicBezTo>
                <a:lnTo>
                  <a:pt x="2709242" y="4192597"/>
                </a:lnTo>
                <a:lnTo>
                  <a:pt x="2818914" y="4346218"/>
                </a:lnTo>
                <a:cubicBezTo>
                  <a:pt x="2861241" y="4397540"/>
                  <a:pt x="2907623" y="4446474"/>
                  <a:pt x="2958211" y="4492927"/>
                </a:cubicBezTo>
                <a:lnTo>
                  <a:pt x="3037117" y="4556144"/>
                </a:lnTo>
                <a:lnTo>
                  <a:pt x="3127435" y="4612403"/>
                </a:lnTo>
                <a:cubicBezTo>
                  <a:pt x="3160291" y="4631663"/>
                  <a:pt x="3193888" y="4649695"/>
                  <a:pt x="3228660" y="4665324"/>
                </a:cubicBezTo>
                <a:cubicBezTo>
                  <a:pt x="3246659" y="4674928"/>
                  <a:pt x="3261389" y="4687601"/>
                  <a:pt x="3284085" y="4680023"/>
                </a:cubicBezTo>
                <a:cubicBezTo>
                  <a:pt x="3297170" y="4675314"/>
                  <a:pt x="3311489" y="4685533"/>
                  <a:pt x="3324987" y="4690843"/>
                </a:cubicBezTo>
                <a:cubicBezTo>
                  <a:pt x="3394736" y="4723328"/>
                  <a:pt x="3467956" y="4746405"/>
                  <a:pt x="3540971" y="4768253"/>
                </a:cubicBezTo>
                <a:cubicBezTo>
                  <a:pt x="3546289" y="4769888"/>
                  <a:pt x="3550379" y="4771726"/>
                  <a:pt x="3555898" y="4767020"/>
                </a:cubicBezTo>
                <a:cubicBezTo>
                  <a:pt x="3556712" y="4756793"/>
                  <a:pt x="3546692" y="4757208"/>
                  <a:pt x="3541374" y="4755574"/>
                </a:cubicBezTo>
                <a:cubicBezTo>
                  <a:pt x="3427660" y="4724131"/>
                  <a:pt x="3321505" y="4677553"/>
                  <a:pt x="3218006" y="4624223"/>
                </a:cubicBezTo>
                <a:cubicBezTo>
                  <a:pt x="3213914" y="4622385"/>
                  <a:pt x="3209824" y="4620546"/>
                  <a:pt x="3205733" y="4618706"/>
                </a:cubicBezTo>
                <a:cubicBezTo>
                  <a:pt x="3200211" y="4615846"/>
                  <a:pt x="3196937" y="4611348"/>
                  <a:pt x="3202251" y="4605416"/>
                </a:cubicBezTo>
                <a:cubicBezTo>
                  <a:pt x="3205927" y="4597234"/>
                  <a:pt x="3210223" y="4600300"/>
                  <a:pt x="3215747" y="4603161"/>
                </a:cubicBezTo>
                <a:cubicBezTo>
                  <a:pt x="3235689" y="4614961"/>
                  <a:pt x="3256222" y="4625561"/>
                  <a:pt x="3277149" y="4635346"/>
                </a:cubicBezTo>
                <a:lnTo>
                  <a:pt x="3300817" y="4645474"/>
                </a:lnTo>
                <a:lnTo>
                  <a:pt x="3203581" y="4589043"/>
                </a:lnTo>
                <a:cubicBezTo>
                  <a:pt x="3051439" y="4487592"/>
                  <a:pt x="2921098" y="4359931"/>
                  <a:pt x="2817218" y="4214123"/>
                </a:cubicBezTo>
                <a:lnTo>
                  <a:pt x="2795524" y="4180373"/>
                </a:lnTo>
                <a:lnTo>
                  <a:pt x="2794029" y="4178497"/>
                </a:lnTo>
                <a:lnTo>
                  <a:pt x="2777085" y="4161569"/>
                </a:lnTo>
                <a:lnTo>
                  <a:pt x="2741001" y="4101332"/>
                </a:lnTo>
                <a:lnTo>
                  <a:pt x="2679864" y="4007725"/>
                </a:lnTo>
                <a:cubicBezTo>
                  <a:pt x="2618900" y="3903300"/>
                  <a:pt x="2568950" y="3793094"/>
                  <a:pt x="2531063" y="3675825"/>
                </a:cubicBezTo>
                <a:close/>
                <a:moveTo>
                  <a:pt x="1469523" y="3664273"/>
                </a:moveTo>
                <a:cubicBezTo>
                  <a:pt x="1470520" y="3668943"/>
                  <a:pt x="1470520" y="3668943"/>
                  <a:pt x="1470520" y="3668943"/>
                </a:cubicBezTo>
                <a:cubicBezTo>
                  <a:pt x="1465849" y="3669942"/>
                  <a:pt x="1464851" y="3665270"/>
                  <a:pt x="1464851" y="3665270"/>
                </a:cubicBezTo>
                <a:cubicBezTo>
                  <a:pt x="1464851" y="3665270"/>
                  <a:pt x="1469523" y="3664273"/>
                  <a:pt x="1469523" y="3664273"/>
                </a:cubicBezTo>
                <a:close/>
                <a:moveTo>
                  <a:pt x="1961674" y="3623805"/>
                </a:moveTo>
                <a:lnTo>
                  <a:pt x="1961195" y="3627779"/>
                </a:lnTo>
                <a:lnTo>
                  <a:pt x="1960794" y="3627086"/>
                </a:lnTo>
                <a:cubicBezTo>
                  <a:pt x="1960794" y="3627086"/>
                  <a:pt x="1960794" y="3627086"/>
                  <a:pt x="1961674" y="3623805"/>
                </a:cubicBezTo>
                <a:close/>
                <a:moveTo>
                  <a:pt x="6199520" y="3608723"/>
                </a:moveTo>
                <a:cubicBezTo>
                  <a:pt x="6189150" y="3634846"/>
                  <a:pt x="6186664" y="3679206"/>
                  <a:pt x="6184735" y="3707510"/>
                </a:cubicBezTo>
                <a:cubicBezTo>
                  <a:pt x="6172479" y="3706143"/>
                  <a:pt x="6159367" y="3756759"/>
                  <a:pt x="6163438" y="3775812"/>
                </a:cubicBezTo>
                <a:cubicBezTo>
                  <a:pt x="6163438" y="3775812"/>
                  <a:pt x="6163438" y="3775812"/>
                  <a:pt x="6164252" y="3779623"/>
                </a:cubicBezTo>
                <a:cubicBezTo>
                  <a:pt x="6164252" y="3779623"/>
                  <a:pt x="6161253" y="3784247"/>
                  <a:pt x="6161253" y="3784247"/>
                </a:cubicBezTo>
                <a:cubicBezTo>
                  <a:pt x="6162069" y="3788059"/>
                  <a:pt x="6165881" y="3787245"/>
                  <a:pt x="6165881" y="3787245"/>
                </a:cubicBezTo>
                <a:cubicBezTo>
                  <a:pt x="6169695" y="3786429"/>
                  <a:pt x="6168881" y="3782617"/>
                  <a:pt x="6168881" y="3782617"/>
                </a:cubicBezTo>
                <a:cubicBezTo>
                  <a:pt x="6161510" y="3804116"/>
                  <a:pt x="6151697" y="3814180"/>
                  <a:pt x="6144582" y="3855546"/>
                </a:cubicBezTo>
                <a:cubicBezTo>
                  <a:pt x="6145397" y="3859358"/>
                  <a:pt x="6141585" y="3860172"/>
                  <a:pt x="6142399" y="3863981"/>
                </a:cubicBezTo>
                <a:cubicBezTo>
                  <a:pt x="6143213" y="3867791"/>
                  <a:pt x="6139398" y="3868606"/>
                  <a:pt x="6139398" y="3868606"/>
                </a:cubicBezTo>
                <a:cubicBezTo>
                  <a:pt x="6141026" y="3876229"/>
                  <a:pt x="6141026" y="3876229"/>
                  <a:pt x="6144841" y="3875415"/>
                </a:cubicBezTo>
                <a:cubicBezTo>
                  <a:pt x="6141840" y="3880038"/>
                  <a:pt x="6137470" y="3896910"/>
                  <a:pt x="6133657" y="3897726"/>
                </a:cubicBezTo>
                <a:cubicBezTo>
                  <a:pt x="6125173" y="3951336"/>
                  <a:pt x="6094619" y="4013646"/>
                  <a:pt x="6089949" y="4066444"/>
                </a:cubicBezTo>
                <a:lnTo>
                  <a:pt x="6092651" y="4060432"/>
                </a:lnTo>
                <a:lnTo>
                  <a:pt x="6092947" y="4061819"/>
                </a:lnTo>
                <a:cubicBezTo>
                  <a:pt x="6089949" y="4066444"/>
                  <a:pt x="6089949" y="4066444"/>
                  <a:pt x="6090763" y="4070255"/>
                </a:cubicBezTo>
                <a:cubicBezTo>
                  <a:pt x="6090763" y="4070255"/>
                  <a:pt x="6094575" y="4069439"/>
                  <a:pt x="6094575" y="4069439"/>
                </a:cubicBezTo>
                <a:cubicBezTo>
                  <a:pt x="6097575" y="4064815"/>
                  <a:pt x="6097575" y="4064815"/>
                  <a:pt x="6096761" y="4061003"/>
                </a:cubicBezTo>
                <a:cubicBezTo>
                  <a:pt x="6098389" y="4068625"/>
                  <a:pt x="6094833" y="4089307"/>
                  <a:pt x="6093461" y="4101553"/>
                </a:cubicBezTo>
                <a:cubicBezTo>
                  <a:pt x="6092647" y="4097743"/>
                  <a:pt x="6092647" y="4097743"/>
                  <a:pt x="6092647" y="4097743"/>
                </a:cubicBezTo>
                <a:cubicBezTo>
                  <a:pt x="6092647" y="4097743"/>
                  <a:pt x="6089647" y="4102367"/>
                  <a:pt x="6090461" y="4106179"/>
                </a:cubicBezTo>
                <a:cubicBezTo>
                  <a:pt x="6086648" y="4106993"/>
                  <a:pt x="6087462" y="4110804"/>
                  <a:pt x="6087462" y="4110804"/>
                </a:cubicBezTo>
                <a:cubicBezTo>
                  <a:pt x="6076534" y="4152985"/>
                  <a:pt x="6060166" y="4188356"/>
                  <a:pt x="6037541" y="4213114"/>
                </a:cubicBezTo>
                <a:cubicBezTo>
                  <a:pt x="6041354" y="4212298"/>
                  <a:pt x="6040540" y="4208487"/>
                  <a:pt x="6040540" y="4208487"/>
                </a:cubicBezTo>
                <a:cubicBezTo>
                  <a:pt x="6039726" y="4204676"/>
                  <a:pt x="6039726" y="4204676"/>
                  <a:pt x="6035913" y="4205492"/>
                </a:cubicBezTo>
                <a:cubicBezTo>
                  <a:pt x="6035913" y="4205492"/>
                  <a:pt x="6036727" y="4209302"/>
                  <a:pt x="6036727" y="4209302"/>
                </a:cubicBezTo>
                <a:cubicBezTo>
                  <a:pt x="6036727" y="4209302"/>
                  <a:pt x="6036727" y="4209302"/>
                  <a:pt x="6037541" y="4213114"/>
                </a:cubicBezTo>
                <a:cubicBezTo>
                  <a:pt x="6033727" y="4213928"/>
                  <a:pt x="6034541" y="4217738"/>
                  <a:pt x="6034541" y="4217738"/>
                </a:cubicBezTo>
                <a:cubicBezTo>
                  <a:pt x="6029913" y="4214742"/>
                  <a:pt x="6024727" y="4227804"/>
                  <a:pt x="6019543" y="4240865"/>
                </a:cubicBezTo>
                <a:cubicBezTo>
                  <a:pt x="6024171" y="4243861"/>
                  <a:pt x="6026355" y="4235425"/>
                  <a:pt x="6026355" y="4235425"/>
                </a:cubicBezTo>
                <a:cubicBezTo>
                  <a:pt x="6027169" y="4239235"/>
                  <a:pt x="6027169" y="4239235"/>
                  <a:pt x="6027169" y="4239235"/>
                </a:cubicBezTo>
                <a:cubicBezTo>
                  <a:pt x="6027984" y="4243047"/>
                  <a:pt x="6027984" y="4243047"/>
                  <a:pt x="6027984" y="4243047"/>
                </a:cubicBezTo>
                <a:cubicBezTo>
                  <a:pt x="6027984" y="4243047"/>
                  <a:pt x="6030985" y="4238420"/>
                  <a:pt x="6030985" y="4238420"/>
                </a:cubicBezTo>
                <a:cubicBezTo>
                  <a:pt x="6025799" y="4251482"/>
                  <a:pt x="6029612" y="4250666"/>
                  <a:pt x="6021427" y="4268354"/>
                </a:cubicBezTo>
                <a:cubicBezTo>
                  <a:pt x="6020613" y="4264544"/>
                  <a:pt x="6020613" y="4264544"/>
                  <a:pt x="6020613" y="4264544"/>
                </a:cubicBezTo>
                <a:cubicBezTo>
                  <a:pt x="6020613" y="4264544"/>
                  <a:pt x="6020613" y="4264544"/>
                  <a:pt x="6023613" y="4259918"/>
                </a:cubicBezTo>
                <a:cubicBezTo>
                  <a:pt x="6022799" y="4256108"/>
                  <a:pt x="6022799" y="4256108"/>
                  <a:pt x="6022799" y="4256108"/>
                </a:cubicBezTo>
                <a:cubicBezTo>
                  <a:pt x="6018985" y="4256922"/>
                  <a:pt x="6015986" y="4261548"/>
                  <a:pt x="6016800" y="4265358"/>
                </a:cubicBezTo>
                <a:cubicBezTo>
                  <a:pt x="6016800" y="4265358"/>
                  <a:pt x="6012987" y="4266173"/>
                  <a:pt x="6013801" y="4269984"/>
                </a:cubicBezTo>
                <a:cubicBezTo>
                  <a:pt x="6006175" y="4271612"/>
                  <a:pt x="5997175" y="4285488"/>
                  <a:pt x="5985177" y="4303990"/>
                </a:cubicBezTo>
                <a:cubicBezTo>
                  <a:pt x="5976993" y="4321677"/>
                  <a:pt x="5969622" y="4343174"/>
                  <a:pt x="5968249" y="4355422"/>
                </a:cubicBezTo>
                <a:cubicBezTo>
                  <a:pt x="5968249" y="4355422"/>
                  <a:pt x="5968249" y="4355422"/>
                  <a:pt x="5964437" y="4356236"/>
                </a:cubicBezTo>
                <a:cubicBezTo>
                  <a:pt x="5964437" y="4356236"/>
                  <a:pt x="5961437" y="4360860"/>
                  <a:pt x="5962251" y="4364670"/>
                </a:cubicBezTo>
                <a:cubicBezTo>
                  <a:pt x="5958437" y="4365486"/>
                  <a:pt x="5958437" y="4365486"/>
                  <a:pt x="5958437" y="4365486"/>
                </a:cubicBezTo>
                <a:cubicBezTo>
                  <a:pt x="5959251" y="4369296"/>
                  <a:pt x="5959251" y="4369296"/>
                  <a:pt x="5959251" y="4369296"/>
                </a:cubicBezTo>
                <a:cubicBezTo>
                  <a:pt x="5954067" y="4382358"/>
                  <a:pt x="5949439" y="4379362"/>
                  <a:pt x="5945069" y="4396235"/>
                </a:cubicBezTo>
                <a:cubicBezTo>
                  <a:pt x="5946697" y="4403855"/>
                  <a:pt x="5951881" y="4390793"/>
                  <a:pt x="5955695" y="4389979"/>
                </a:cubicBezTo>
                <a:cubicBezTo>
                  <a:pt x="5955695" y="4389979"/>
                  <a:pt x="5956509" y="4393791"/>
                  <a:pt x="5956509" y="4393791"/>
                </a:cubicBezTo>
                <a:cubicBezTo>
                  <a:pt x="5957323" y="4397601"/>
                  <a:pt x="5960323" y="4392975"/>
                  <a:pt x="5959509" y="4389164"/>
                </a:cubicBezTo>
                <a:cubicBezTo>
                  <a:pt x="5963323" y="4388350"/>
                  <a:pt x="5963323" y="4388350"/>
                  <a:pt x="5963323" y="4388350"/>
                </a:cubicBezTo>
                <a:cubicBezTo>
                  <a:pt x="5958137" y="4401410"/>
                  <a:pt x="5949139" y="4415286"/>
                  <a:pt x="5943140" y="4424538"/>
                </a:cubicBezTo>
                <a:cubicBezTo>
                  <a:pt x="5933884" y="4418547"/>
                  <a:pt x="5933884" y="4418547"/>
                  <a:pt x="5933884" y="4418547"/>
                </a:cubicBezTo>
                <a:cubicBezTo>
                  <a:pt x="5921072" y="4433236"/>
                  <a:pt x="5908260" y="4447927"/>
                  <a:pt x="5895447" y="4462619"/>
                </a:cubicBezTo>
                <a:cubicBezTo>
                  <a:pt x="5887263" y="4480304"/>
                  <a:pt x="5892705" y="4487111"/>
                  <a:pt x="5880707" y="4505613"/>
                </a:cubicBezTo>
                <a:cubicBezTo>
                  <a:pt x="5870893" y="4515679"/>
                  <a:pt x="5861081" y="4525744"/>
                  <a:pt x="5846083" y="4548870"/>
                </a:cubicBezTo>
                <a:cubicBezTo>
                  <a:pt x="5840898" y="4561932"/>
                  <a:pt x="5852339" y="4559487"/>
                  <a:pt x="5839527" y="4574178"/>
                </a:cubicBezTo>
                <a:cubicBezTo>
                  <a:pt x="5798904" y="4626687"/>
                  <a:pt x="5769165" y="4692807"/>
                  <a:pt x="5727729" y="4741505"/>
                </a:cubicBezTo>
                <a:cubicBezTo>
                  <a:pt x="5757167" y="4711309"/>
                  <a:pt x="5784163" y="4669680"/>
                  <a:pt x="5808417" y="4652545"/>
                </a:cubicBezTo>
                <a:cubicBezTo>
                  <a:pt x="5824787" y="4617173"/>
                  <a:pt x="5848781" y="4580169"/>
                  <a:pt x="5869779" y="4547793"/>
                </a:cubicBezTo>
                <a:cubicBezTo>
                  <a:pt x="5870593" y="4551603"/>
                  <a:pt x="5870593" y="4551603"/>
                  <a:pt x="5870593" y="4551603"/>
                </a:cubicBezTo>
                <a:cubicBezTo>
                  <a:pt x="5867593" y="4556229"/>
                  <a:pt x="5867593" y="4556229"/>
                  <a:pt x="5868407" y="4560039"/>
                </a:cubicBezTo>
                <a:cubicBezTo>
                  <a:pt x="5868407" y="4560039"/>
                  <a:pt x="5872222" y="4559224"/>
                  <a:pt x="5871408" y="4555413"/>
                </a:cubicBezTo>
                <a:cubicBezTo>
                  <a:pt x="5878220" y="4549973"/>
                  <a:pt x="5878220" y="4549973"/>
                  <a:pt x="5878220" y="4549973"/>
                </a:cubicBezTo>
                <a:cubicBezTo>
                  <a:pt x="5875221" y="4554598"/>
                  <a:pt x="5872222" y="4559224"/>
                  <a:pt x="5869221" y="4563850"/>
                </a:cubicBezTo>
                <a:cubicBezTo>
                  <a:pt x="5893476" y="4546714"/>
                  <a:pt x="5914473" y="4514338"/>
                  <a:pt x="5934654" y="4478149"/>
                </a:cubicBezTo>
                <a:cubicBezTo>
                  <a:pt x="5954024" y="4438150"/>
                  <a:pt x="5976392" y="4393527"/>
                  <a:pt x="5995761" y="4353528"/>
                </a:cubicBezTo>
                <a:cubicBezTo>
                  <a:pt x="6007759" y="4335026"/>
                  <a:pt x="6024942" y="4303464"/>
                  <a:pt x="6037497" y="4268905"/>
                </a:cubicBezTo>
                <a:cubicBezTo>
                  <a:pt x="6054681" y="4237344"/>
                  <a:pt x="6063422" y="4203598"/>
                  <a:pt x="6066979" y="4182916"/>
                </a:cubicBezTo>
                <a:cubicBezTo>
                  <a:pt x="6078162" y="4160604"/>
                  <a:pt x="6088532" y="4134483"/>
                  <a:pt x="6092089" y="4113800"/>
                </a:cubicBezTo>
                <a:cubicBezTo>
                  <a:pt x="6092089" y="4113800"/>
                  <a:pt x="6095903" y="4112984"/>
                  <a:pt x="6095089" y="4109174"/>
                </a:cubicBezTo>
                <a:cubicBezTo>
                  <a:pt x="6098089" y="4104550"/>
                  <a:pt x="6098089" y="4104550"/>
                  <a:pt x="6097275" y="4100738"/>
                </a:cubicBezTo>
                <a:cubicBezTo>
                  <a:pt x="6124013" y="4039243"/>
                  <a:pt x="6133313" y="3989443"/>
                  <a:pt x="6147797" y="3926580"/>
                </a:cubicBezTo>
                <a:cubicBezTo>
                  <a:pt x="6158423" y="3920325"/>
                  <a:pt x="6157052" y="3932572"/>
                  <a:pt x="6161681" y="3935566"/>
                </a:cubicBezTo>
                <a:cubicBezTo>
                  <a:pt x="6168493" y="3930128"/>
                  <a:pt x="6170678" y="3921692"/>
                  <a:pt x="6176677" y="3912441"/>
                </a:cubicBezTo>
                <a:cubicBezTo>
                  <a:pt x="6173679" y="3917066"/>
                  <a:pt x="6174493" y="3920876"/>
                  <a:pt x="6174493" y="3920876"/>
                </a:cubicBezTo>
                <a:cubicBezTo>
                  <a:pt x="6171492" y="3925502"/>
                  <a:pt x="6171492" y="3925502"/>
                  <a:pt x="6172306" y="3929312"/>
                </a:cubicBezTo>
                <a:cubicBezTo>
                  <a:pt x="6176121" y="3928497"/>
                  <a:pt x="6175307" y="3924687"/>
                  <a:pt x="6175307" y="3924687"/>
                </a:cubicBezTo>
                <a:cubicBezTo>
                  <a:pt x="6178306" y="3920062"/>
                  <a:pt x="6177492" y="3916252"/>
                  <a:pt x="6177492" y="3916252"/>
                </a:cubicBezTo>
                <a:cubicBezTo>
                  <a:pt x="6177492" y="3916252"/>
                  <a:pt x="6180491" y="3911626"/>
                  <a:pt x="6180491" y="3911626"/>
                </a:cubicBezTo>
                <a:cubicBezTo>
                  <a:pt x="6182677" y="3903190"/>
                  <a:pt x="6184863" y="3894755"/>
                  <a:pt x="6187861" y="3890129"/>
                </a:cubicBezTo>
                <a:cubicBezTo>
                  <a:pt x="6187861" y="3890129"/>
                  <a:pt x="6187861" y="3890129"/>
                  <a:pt x="6187047" y="3886319"/>
                </a:cubicBezTo>
                <a:cubicBezTo>
                  <a:pt x="6187047" y="3886319"/>
                  <a:pt x="6186233" y="3882508"/>
                  <a:pt x="6186233" y="3882508"/>
                </a:cubicBezTo>
                <a:lnTo>
                  <a:pt x="6183373" y="3883119"/>
                </a:lnTo>
                <a:lnTo>
                  <a:pt x="6183513" y="3879104"/>
                </a:lnTo>
                <a:cubicBezTo>
                  <a:pt x="6183107" y="3877200"/>
                  <a:pt x="6182699" y="3875294"/>
                  <a:pt x="6183791" y="3871076"/>
                </a:cubicBezTo>
                <a:cubicBezTo>
                  <a:pt x="6177536" y="3860460"/>
                  <a:pt x="6174793" y="3884952"/>
                  <a:pt x="6167166" y="3886581"/>
                </a:cubicBezTo>
                <a:cubicBezTo>
                  <a:pt x="6170722" y="3865899"/>
                  <a:pt x="6166095" y="3862904"/>
                  <a:pt x="6168280" y="3854469"/>
                </a:cubicBezTo>
                <a:cubicBezTo>
                  <a:pt x="6163653" y="3851471"/>
                  <a:pt x="6163653" y="3851471"/>
                  <a:pt x="6163653" y="3851471"/>
                </a:cubicBezTo>
                <a:cubicBezTo>
                  <a:pt x="6163653" y="3851471"/>
                  <a:pt x="6163653" y="3851471"/>
                  <a:pt x="6167465" y="3850657"/>
                </a:cubicBezTo>
                <a:cubicBezTo>
                  <a:pt x="6167465" y="3850657"/>
                  <a:pt x="6166651" y="3846847"/>
                  <a:pt x="6166651" y="3846847"/>
                </a:cubicBezTo>
                <a:cubicBezTo>
                  <a:pt x="6169652" y="3842221"/>
                  <a:pt x="6169652" y="3842221"/>
                  <a:pt x="6165837" y="3843036"/>
                </a:cubicBezTo>
                <a:cubicBezTo>
                  <a:pt x="6165022" y="3839226"/>
                  <a:pt x="6165022" y="3839226"/>
                  <a:pt x="6165022" y="3839226"/>
                </a:cubicBezTo>
                <a:cubicBezTo>
                  <a:pt x="6174579" y="3809291"/>
                  <a:pt x="6184949" y="3783170"/>
                  <a:pt x="6175693" y="3777178"/>
                </a:cubicBezTo>
                <a:cubicBezTo>
                  <a:pt x="6171880" y="3777993"/>
                  <a:pt x="6171880" y="3777993"/>
                  <a:pt x="6171880" y="3777993"/>
                </a:cubicBezTo>
                <a:cubicBezTo>
                  <a:pt x="6175693" y="3777178"/>
                  <a:pt x="6174879" y="3773367"/>
                  <a:pt x="6174879" y="3773367"/>
                </a:cubicBezTo>
                <a:cubicBezTo>
                  <a:pt x="6178693" y="3772553"/>
                  <a:pt x="6177065" y="3764931"/>
                  <a:pt x="6180065" y="3760306"/>
                </a:cubicBezTo>
                <a:cubicBezTo>
                  <a:pt x="6179251" y="3756496"/>
                  <a:pt x="6179251" y="3756496"/>
                  <a:pt x="6175436" y="3757310"/>
                </a:cubicBezTo>
                <a:cubicBezTo>
                  <a:pt x="6186063" y="3751055"/>
                  <a:pt x="6192619" y="3725749"/>
                  <a:pt x="6197548" y="3692818"/>
                </a:cubicBezTo>
                <a:cubicBezTo>
                  <a:pt x="6202477" y="3659890"/>
                  <a:pt x="6199777" y="3628590"/>
                  <a:pt x="6199520" y="3608723"/>
                </a:cubicBezTo>
                <a:close/>
                <a:moveTo>
                  <a:pt x="6065238" y="3308795"/>
                </a:moveTo>
                <a:lnTo>
                  <a:pt x="6065531" y="3314628"/>
                </a:lnTo>
                <a:cubicBezTo>
                  <a:pt x="6065619" y="3535954"/>
                  <a:pt x="6032197" y="3753635"/>
                  <a:pt x="5962661" y="3968210"/>
                </a:cubicBezTo>
                <a:cubicBezTo>
                  <a:pt x="5923735" y="4086245"/>
                  <a:pt x="5863115" y="4192627"/>
                  <a:pt x="5809937" y="4303923"/>
                </a:cubicBezTo>
                <a:cubicBezTo>
                  <a:pt x="5743915" y="4446814"/>
                  <a:pt x="5660651" y="4577784"/>
                  <a:pt x="5551706" y="4690196"/>
                </a:cubicBezTo>
                <a:cubicBezTo>
                  <a:pt x="5541612" y="4700629"/>
                  <a:pt x="5535239" y="4713519"/>
                  <a:pt x="5516536" y="4707050"/>
                </a:cubicBezTo>
                <a:cubicBezTo>
                  <a:pt x="5511453" y="4704228"/>
                  <a:pt x="5505908" y="4708581"/>
                  <a:pt x="5503087" y="4713664"/>
                </a:cubicBezTo>
                <a:cubicBezTo>
                  <a:pt x="5442689" y="4786530"/>
                  <a:pt x="5375216" y="4853121"/>
                  <a:pt x="5304022" y="4917255"/>
                </a:cubicBezTo>
                <a:cubicBezTo>
                  <a:pt x="5302296" y="4918251"/>
                  <a:pt x="5301565" y="4920976"/>
                  <a:pt x="5300471" y="4925062"/>
                </a:cubicBezTo>
                <a:cubicBezTo>
                  <a:pt x="5316350" y="4936615"/>
                  <a:pt x="5328341" y="4935449"/>
                  <a:pt x="5343981" y="4920662"/>
                </a:cubicBezTo>
                <a:cubicBezTo>
                  <a:pt x="5452365" y="4821238"/>
                  <a:pt x="5563109" y="4723908"/>
                  <a:pt x="5655346" y="4608480"/>
                </a:cubicBezTo>
                <a:cubicBezTo>
                  <a:pt x="5805256" y="4419455"/>
                  <a:pt x="5915500" y="4209583"/>
                  <a:pt x="5983356" y="3978135"/>
                </a:cubicBezTo>
                <a:cubicBezTo>
                  <a:pt x="6021115" y="3848108"/>
                  <a:pt x="6058875" y="3718084"/>
                  <a:pt x="6073117" y="3583217"/>
                </a:cubicBezTo>
                <a:lnTo>
                  <a:pt x="6074066" y="3578467"/>
                </a:lnTo>
                <a:lnTo>
                  <a:pt x="6079369" y="3507090"/>
                </a:lnTo>
                <a:cubicBezTo>
                  <a:pt x="6079795" y="3459249"/>
                  <a:pt x="6077335" y="3411548"/>
                  <a:pt x="6072751" y="3363985"/>
                </a:cubicBezTo>
                <a:close/>
                <a:moveTo>
                  <a:pt x="2047326" y="3281632"/>
                </a:moveTo>
                <a:lnTo>
                  <a:pt x="2045645" y="3284178"/>
                </a:lnTo>
                <a:lnTo>
                  <a:pt x="2047343" y="3286585"/>
                </a:lnTo>
                <a:close/>
                <a:moveTo>
                  <a:pt x="2051036" y="3201671"/>
                </a:moveTo>
                <a:lnTo>
                  <a:pt x="2050661" y="3206416"/>
                </a:lnTo>
                <a:cubicBezTo>
                  <a:pt x="2050023" y="3213716"/>
                  <a:pt x="2049494" y="3220607"/>
                  <a:pt x="2049263" y="3226807"/>
                </a:cubicBezTo>
                <a:lnTo>
                  <a:pt x="2049406" y="3233130"/>
                </a:lnTo>
                <a:close/>
                <a:moveTo>
                  <a:pt x="1495570" y="3077486"/>
                </a:moveTo>
                <a:cubicBezTo>
                  <a:pt x="1496569" y="3082159"/>
                  <a:pt x="1496569" y="3082159"/>
                  <a:pt x="1496569" y="3082159"/>
                </a:cubicBezTo>
                <a:cubicBezTo>
                  <a:pt x="1496569" y="3082159"/>
                  <a:pt x="1491897" y="3083156"/>
                  <a:pt x="1491897" y="3083156"/>
                </a:cubicBezTo>
                <a:cubicBezTo>
                  <a:pt x="1495570" y="3077486"/>
                  <a:pt x="1495570" y="3077486"/>
                  <a:pt x="1495570" y="3077486"/>
                </a:cubicBezTo>
                <a:close/>
                <a:moveTo>
                  <a:pt x="2063000" y="3065542"/>
                </a:moveTo>
                <a:lnTo>
                  <a:pt x="2061195" y="3075253"/>
                </a:lnTo>
                <a:cubicBezTo>
                  <a:pt x="2060063" y="3083575"/>
                  <a:pt x="2059108" y="3092878"/>
                  <a:pt x="2058277" y="3102543"/>
                </a:cubicBezTo>
                <a:lnTo>
                  <a:pt x="2056929" y="3122128"/>
                </a:lnTo>
                <a:close/>
                <a:moveTo>
                  <a:pt x="6487598" y="3056185"/>
                </a:moveTo>
                <a:cubicBezTo>
                  <a:pt x="6488597" y="3060857"/>
                  <a:pt x="6493268" y="3059858"/>
                  <a:pt x="6493268" y="3059858"/>
                </a:cubicBezTo>
                <a:cubicBezTo>
                  <a:pt x="6488597" y="3060857"/>
                  <a:pt x="6488597" y="3060857"/>
                  <a:pt x="6488597" y="3060857"/>
                </a:cubicBezTo>
                <a:cubicBezTo>
                  <a:pt x="6487598" y="3056185"/>
                  <a:pt x="6487598" y="3056185"/>
                  <a:pt x="6487598" y="3056185"/>
                </a:cubicBezTo>
                <a:close/>
                <a:moveTo>
                  <a:pt x="6485963" y="3002807"/>
                </a:moveTo>
                <a:cubicBezTo>
                  <a:pt x="6493945" y="3040177"/>
                  <a:pt x="6496941" y="3054189"/>
                  <a:pt x="6508597" y="3085888"/>
                </a:cubicBezTo>
                <a:cubicBezTo>
                  <a:pt x="6512769" y="3082554"/>
                  <a:pt x="6517021" y="3085309"/>
                  <a:pt x="6520853" y="3091817"/>
                </a:cubicBezTo>
                <a:lnTo>
                  <a:pt x="6530564" y="3120178"/>
                </a:lnTo>
                <a:lnTo>
                  <a:pt x="6530564" y="3206162"/>
                </a:lnTo>
                <a:lnTo>
                  <a:pt x="6521209" y="3190646"/>
                </a:lnTo>
                <a:cubicBezTo>
                  <a:pt x="6526878" y="3194319"/>
                  <a:pt x="6526878" y="3194319"/>
                  <a:pt x="6525881" y="3189649"/>
                </a:cubicBezTo>
                <a:cubicBezTo>
                  <a:pt x="6529555" y="3183979"/>
                  <a:pt x="6523885" y="3180305"/>
                  <a:pt x="6523885" y="3180305"/>
                </a:cubicBezTo>
                <a:cubicBezTo>
                  <a:pt x="6523885" y="3180305"/>
                  <a:pt x="6523885" y="3180305"/>
                  <a:pt x="6522887" y="3175635"/>
                </a:cubicBezTo>
                <a:cubicBezTo>
                  <a:pt x="6529235" y="3159627"/>
                  <a:pt x="6512229" y="3148606"/>
                  <a:pt x="6517578" y="3127927"/>
                </a:cubicBezTo>
                <a:cubicBezTo>
                  <a:pt x="6512907" y="3128925"/>
                  <a:pt x="6512907" y="3128925"/>
                  <a:pt x="6512907" y="3128925"/>
                </a:cubicBezTo>
                <a:cubicBezTo>
                  <a:pt x="6517578" y="3127927"/>
                  <a:pt x="6516581" y="3123256"/>
                  <a:pt x="6516581" y="3123256"/>
                </a:cubicBezTo>
                <a:cubicBezTo>
                  <a:pt x="6515583" y="3118585"/>
                  <a:pt x="6515583" y="3118585"/>
                  <a:pt x="6510911" y="3119583"/>
                </a:cubicBezTo>
                <a:cubicBezTo>
                  <a:pt x="6507917" y="3105571"/>
                  <a:pt x="6504923" y="3091557"/>
                  <a:pt x="6504923" y="3091557"/>
                </a:cubicBezTo>
                <a:cubicBezTo>
                  <a:pt x="6501930" y="3077543"/>
                  <a:pt x="6502249" y="3101897"/>
                  <a:pt x="6497260" y="3078542"/>
                </a:cubicBezTo>
                <a:cubicBezTo>
                  <a:pt x="6502927" y="3082216"/>
                  <a:pt x="6506600" y="3076546"/>
                  <a:pt x="6500931" y="3072873"/>
                </a:cubicBezTo>
                <a:cubicBezTo>
                  <a:pt x="6495263" y="3069200"/>
                  <a:pt x="6495583" y="3093553"/>
                  <a:pt x="6490593" y="3070198"/>
                </a:cubicBezTo>
                <a:cubicBezTo>
                  <a:pt x="6490593" y="3070198"/>
                  <a:pt x="6490593" y="3070198"/>
                  <a:pt x="6495263" y="3069200"/>
                </a:cubicBezTo>
                <a:cubicBezTo>
                  <a:pt x="6495263" y="3069200"/>
                  <a:pt x="6495263" y="3069200"/>
                  <a:pt x="6494265" y="3064529"/>
                </a:cubicBezTo>
                <a:cubicBezTo>
                  <a:pt x="6494265" y="3064529"/>
                  <a:pt x="6493268" y="3059858"/>
                  <a:pt x="6493268" y="3059858"/>
                </a:cubicBezTo>
                <a:cubicBezTo>
                  <a:pt x="6492269" y="3055188"/>
                  <a:pt x="6492269" y="3055188"/>
                  <a:pt x="6492269" y="3055188"/>
                </a:cubicBezTo>
                <a:cubicBezTo>
                  <a:pt x="6491272" y="3050515"/>
                  <a:pt x="6491272" y="3050515"/>
                  <a:pt x="6491272" y="3050515"/>
                </a:cubicBezTo>
                <a:cubicBezTo>
                  <a:pt x="6495941" y="3049518"/>
                  <a:pt x="6494945" y="3044847"/>
                  <a:pt x="6493945" y="3040177"/>
                </a:cubicBezTo>
                <a:cubicBezTo>
                  <a:pt x="6489275" y="3041174"/>
                  <a:pt x="6488277" y="3036503"/>
                  <a:pt x="6487279" y="3031831"/>
                </a:cubicBezTo>
                <a:cubicBezTo>
                  <a:pt x="6490952" y="3026163"/>
                  <a:pt x="6487959" y="3012150"/>
                  <a:pt x="6485963" y="3002807"/>
                </a:cubicBezTo>
                <a:close/>
                <a:moveTo>
                  <a:pt x="2135961" y="2977892"/>
                </a:moveTo>
                <a:lnTo>
                  <a:pt x="2135002" y="2982694"/>
                </a:lnTo>
                <a:lnTo>
                  <a:pt x="2136350" y="2985028"/>
                </a:lnTo>
                <a:cubicBezTo>
                  <a:pt x="2137229" y="2981748"/>
                  <a:pt x="2138107" y="2978468"/>
                  <a:pt x="2138107" y="2978468"/>
                </a:cubicBezTo>
                <a:close/>
                <a:moveTo>
                  <a:pt x="1530525" y="2870743"/>
                </a:moveTo>
                <a:lnTo>
                  <a:pt x="1530389" y="2874680"/>
                </a:lnTo>
                <a:cubicBezTo>
                  <a:pt x="1530389" y="2874680"/>
                  <a:pt x="1530389" y="2874680"/>
                  <a:pt x="1526716" y="2880348"/>
                </a:cubicBezTo>
                <a:close/>
                <a:moveTo>
                  <a:pt x="1549890" y="2806826"/>
                </a:moveTo>
                <a:lnTo>
                  <a:pt x="1550113" y="2806971"/>
                </a:lnTo>
                <a:lnTo>
                  <a:pt x="1549629" y="2807814"/>
                </a:lnTo>
                <a:close/>
                <a:moveTo>
                  <a:pt x="2190201" y="2770932"/>
                </a:moveTo>
                <a:cubicBezTo>
                  <a:pt x="2189323" y="2774211"/>
                  <a:pt x="2189323" y="2774211"/>
                  <a:pt x="2189323" y="2774211"/>
                </a:cubicBezTo>
                <a:cubicBezTo>
                  <a:pt x="2189323" y="2774211"/>
                  <a:pt x="2189323" y="2774211"/>
                  <a:pt x="2188443" y="2777491"/>
                </a:cubicBezTo>
                <a:cubicBezTo>
                  <a:pt x="2187564" y="2780772"/>
                  <a:pt x="2185806" y="2787331"/>
                  <a:pt x="2184927" y="2790612"/>
                </a:cubicBezTo>
                <a:lnTo>
                  <a:pt x="2181290" y="2797164"/>
                </a:lnTo>
                <a:close/>
                <a:moveTo>
                  <a:pt x="6368398" y="2681145"/>
                </a:moveTo>
                <a:cubicBezTo>
                  <a:pt x="6374068" y="2684818"/>
                  <a:pt x="6375065" y="2689491"/>
                  <a:pt x="6376065" y="2694161"/>
                </a:cubicBezTo>
                <a:cubicBezTo>
                  <a:pt x="6376065" y="2694161"/>
                  <a:pt x="6376065" y="2694161"/>
                  <a:pt x="6377063" y="2698832"/>
                </a:cubicBezTo>
                <a:cubicBezTo>
                  <a:pt x="6378061" y="2703503"/>
                  <a:pt x="6378061" y="2703503"/>
                  <a:pt x="6378061" y="2703503"/>
                </a:cubicBezTo>
                <a:lnTo>
                  <a:pt x="6379057" y="2708174"/>
                </a:lnTo>
                <a:cubicBezTo>
                  <a:pt x="6379057" y="2708174"/>
                  <a:pt x="6378061" y="2703503"/>
                  <a:pt x="6372391" y="2699831"/>
                </a:cubicBezTo>
                <a:cubicBezTo>
                  <a:pt x="6370395" y="2690488"/>
                  <a:pt x="6369397" y="2685816"/>
                  <a:pt x="6368398" y="2681145"/>
                </a:cubicBezTo>
                <a:close/>
                <a:moveTo>
                  <a:pt x="1615952" y="2612189"/>
                </a:moveTo>
                <a:cubicBezTo>
                  <a:pt x="1616951" y="2616860"/>
                  <a:pt x="1616951" y="2616860"/>
                  <a:pt x="1617948" y="2621531"/>
                </a:cubicBezTo>
                <a:cubicBezTo>
                  <a:pt x="1605931" y="2633867"/>
                  <a:pt x="1597227" y="2684569"/>
                  <a:pt x="1578861" y="2712914"/>
                </a:cubicBezTo>
                <a:cubicBezTo>
                  <a:pt x="1581695" y="2714750"/>
                  <a:pt x="1579270" y="2726259"/>
                  <a:pt x="1573966" y="2741433"/>
                </a:cubicBezTo>
                <a:lnTo>
                  <a:pt x="1556905" y="2780304"/>
                </a:lnTo>
                <a:lnTo>
                  <a:pt x="1579289" y="2695699"/>
                </a:lnTo>
                <a:lnTo>
                  <a:pt x="1595842" y="2645791"/>
                </a:lnTo>
                <a:lnTo>
                  <a:pt x="1603256" y="2644207"/>
                </a:lnTo>
                <a:cubicBezTo>
                  <a:pt x="1605931" y="2633867"/>
                  <a:pt x="1608607" y="2623526"/>
                  <a:pt x="1612279" y="2617859"/>
                </a:cubicBezTo>
                <a:cubicBezTo>
                  <a:pt x="1612279" y="2617859"/>
                  <a:pt x="1615952" y="2612189"/>
                  <a:pt x="1615952" y="2612189"/>
                </a:cubicBezTo>
                <a:close/>
                <a:moveTo>
                  <a:pt x="1613956" y="2602847"/>
                </a:moveTo>
                <a:cubicBezTo>
                  <a:pt x="1614953" y="2607518"/>
                  <a:pt x="1610283" y="2608515"/>
                  <a:pt x="1611280" y="2613188"/>
                </a:cubicBezTo>
                <a:cubicBezTo>
                  <a:pt x="1606611" y="2614185"/>
                  <a:pt x="1607608" y="2618857"/>
                  <a:pt x="1607608" y="2618857"/>
                </a:cubicBezTo>
                <a:lnTo>
                  <a:pt x="1599798" y="2633861"/>
                </a:lnTo>
                <a:lnTo>
                  <a:pt x="1607087" y="2611884"/>
                </a:lnTo>
                <a:lnTo>
                  <a:pt x="1610283" y="2608515"/>
                </a:lnTo>
                <a:lnTo>
                  <a:pt x="1609003" y="2606107"/>
                </a:lnTo>
                <a:lnTo>
                  <a:pt x="1609622" y="2604236"/>
                </a:lnTo>
                <a:close/>
                <a:moveTo>
                  <a:pt x="1612438" y="2595743"/>
                </a:moveTo>
                <a:lnTo>
                  <a:pt x="1612958" y="2598177"/>
                </a:lnTo>
                <a:lnTo>
                  <a:pt x="1611136" y="2599671"/>
                </a:lnTo>
                <a:close/>
                <a:moveTo>
                  <a:pt x="1622980" y="2576498"/>
                </a:moveTo>
                <a:cubicBezTo>
                  <a:pt x="1622980" y="2576498"/>
                  <a:pt x="1619308" y="2582167"/>
                  <a:pt x="1620306" y="2586839"/>
                </a:cubicBezTo>
                <a:cubicBezTo>
                  <a:pt x="1620306" y="2586839"/>
                  <a:pt x="1620306" y="2586839"/>
                  <a:pt x="1619308" y="2582167"/>
                </a:cubicBezTo>
                <a:lnTo>
                  <a:pt x="1616762" y="2582712"/>
                </a:lnTo>
                <a:lnTo>
                  <a:pt x="1618505" y="2577454"/>
                </a:lnTo>
                <a:close/>
                <a:moveTo>
                  <a:pt x="1649502" y="2499886"/>
                </a:moveTo>
                <a:lnTo>
                  <a:pt x="1648634" y="2503325"/>
                </a:lnTo>
                <a:cubicBezTo>
                  <a:pt x="1646391" y="2513192"/>
                  <a:pt x="1649461" y="2506126"/>
                  <a:pt x="1655719" y="2501126"/>
                </a:cubicBezTo>
                <a:cubicBezTo>
                  <a:pt x="1639350" y="2538812"/>
                  <a:pt x="1640347" y="2543482"/>
                  <a:pt x="1625655" y="2566159"/>
                </a:cubicBezTo>
                <a:lnTo>
                  <a:pt x="1621993" y="2566942"/>
                </a:lnTo>
                <a:lnTo>
                  <a:pt x="1623115" y="2563555"/>
                </a:lnTo>
                <a:close/>
                <a:moveTo>
                  <a:pt x="2319373" y="2498792"/>
                </a:moveTo>
                <a:lnTo>
                  <a:pt x="2303814" y="2500188"/>
                </a:lnTo>
                <a:cubicBezTo>
                  <a:pt x="2298499" y="2503283"/>
                  <a:pt x="2294412" y="2509011"/>
                  <a:pt x="2290837" y="2517807"/>
                </a:cubicBezTo>
                <a:cubicBezTo>
                  <a:pt x="2265509" y="2577535"/>
                  <a:pt x="2239517" y="2637059"/>
                  <a:pt x="2215875" y="2697450"/>
                </a:cubicBezTo>
                <a:lnTo>
                  <a:pt x="2209226" y="2715686"/>
                </a:lnTo>
                <a:lnTo>
                  <a:pt x="2208765" y="2718664"/>
                </a:lnTo>
                <a:cubicBezTo>
                  <a:pt x="2205398" y="2730616"/>
                  <a:pt x="2197993" y="2748408"/>
                  <a:pt x="2202915" y="2749726"/>
                </a:cubicBezTo>
                <a:lnTo>
                  <a:pt x="2202035" y="2753007"/>
                </a:lnTo>
                <a:cubicBezTo>
                  <a:pt x="2197877" y="2755408"/>
                  <a:pt x="2196118" y="2761968"/>
                  <a:pt x="2195240" y="2765248"/>
                </a:cubicBezTo>
                <a:cubicBezTo>
                  <a:pt x="2191960" y="2764370"/>
                  <a:pt x="2191960" y="2764370"/>
                  <a:pt x="2191960" y="2764370"/>
                </a:cubicBezTo>
                <a:lnTo>
                  <a:pt x="2191515" y="2764250"/>
                </a:lnTo>
                <a:lnTo>
                  <a:pt x="2182554" y="2788823"/>
                </a:lnTo>
                <a:lnTo>
                  <a:pt x="2178751" y="2801737"/>
                </a:lnTo>
                <a:lnTo>
                  <a:pt x="2181290" y="2797164"/>
                </a:lnTo>
                <a:lnTo>
                  <a:pt x="2172327" y="2823555"/>
                </a:lnTo>
                <a:lnTo>
                  <a:pt x="2164219" y="2851082"/>
                </a:lnTo>
                <a:lnTo>
                  <a:pt x="2161835" y="2861828"/>
                </a:lnTo>
                <a:cubicBezTo>
                  <a:pt x="2160677" y="2867176"/>
                  <a:pt x="2159674" y="2871740"/>
                  <a:pt x="2158794" y="2875021"/>
                </a:cubicBezTo>
                <a:cubicBezTo>
                  <a:pt x="2158794" y="2875021"/>
                  <a:pt x="2157915" y="2878301"/>
                  <a:pt x="2157915" y="2878301"/>
                </a:cubicBezTo>
                <a:lnTo>
                  <a:pt x="2148821" y="2913407"/>
                </a:lnTo>
                <a:lnTo>
                  <a:pt x="2139494" y="2960172"/>
                </a:lnTo>
                <a:lnTo>
                  <a:pt x="2142037" y="2950680"/>
                </a:lnTo>
                <a:cubicBezTo>
                  <a:pt x="2148670" y="2925925"/>
                  <a:pt x="2153944" y="2906242"/>
                  <a:pt x="2161195" y="2879181"/>
                </a:cubicBezTo>
                <a:cubicBezTo>
                  <a:pt x="2163598" y="2883339"/>
                  <a:pt x="2164476" y="2880059"/>
                  <a:pt x="2168636" y="2877658"/>
                </a:cubicBezTo>
                <a:cubicBezTo>
                  <a:pt x="2169514" y="2874377"/>
                  <a:pt x="2169514" y="2874377"/>
                  <a:pt x="2169514" y="2874377"/>
                </a:cubicBezTo>
                <a:cubicBezTo>
                  <a:pt x="2166235" y="2873499"/>
                  <a:pt x="2166235" y="2873499"/>
                  <a:pt x="2166235" y="2873499"/>
                </a:cubicBezTo>
                <a:cubicBezTo>
                  <a:pt x="2170865" y="2843097"/>
                  <a:pt x="2191897" y="2817090"/>
                  <a:pt x="2184693" y="2804613"/>
                </a:cubicBezTo>
                <a:cubicBezTo>
                  <a:pt x="2181412" y="2803733"/>
                  <a:pt x="2181412" y="2803733"/>
                  <a:pt x="2181412" y="2803733"/>
                </a:cubicBezTo>
                <a:cubicBezTo>
                  <a:pt x="2185571" y="2801333"/>
                  <a:pt x="2187329" y="2794772"/>
                  <a:pt x="2188209" y="2791491"/>
                </a:cubicBezTo>
                <a:cubicBezTo>
                  <a:pt x="2189087" y="2788211"/>
                  <a:pt x="2189966" y="2784930"/>
                  <a:pt x="2189966" y="2784930"/>
                </a:cubicBezTo>
                <a:cubicBezTo>
                  <a:pt x="2193245" y="2785808"/>
                  <a:pt x="2199806" y="2787568"/>
                  <a:pt x="2202207" y="2791725"/>
                </a:cubicBezTo>
                <a:cubicBezTo>
                  <a:pt x="2201328" y="2795006"/>
                  <a:pt x="2199570" y="2801568"/>
                  <a:pt x="2198691" y="2804847"/>
                </a:cubicBezTo>
                <a:cubicBezTo>
                  <a:pt x="2196934" y="2811408"/>
                  <a:pt x="2191897" y="2817090"/>
                  <a:pt x="2193417" y="2824530"/>
                </a:cubicBezTo>
                <a:cubicBezTo>
                  <a:pt x="2193417" y="2824530"/>
                  <a:pt x="2192539" y="2827809"/>
                  <a:pt x="2192539" y="2827809"/>
                </a:cubicBezTo>
                <a:cubicBezTo>
                  <a:pt x="2192539" y="2827809"/>
                  <a:pt x="2192539" y="2827809"/>
                  <a:pt x="2191660" y="2831090"/>
                </a:cubicBezTo>
                <a:cubicBezTo>
                  <a:pt x="2190780" y="2834370"/>
                  <a:pt x="2190780" y="2834370"/>
                  <a:pt x="2189902" y="2837650"/>
                </a:cubicBezTo>
                <a:cubicBezTo>
                  <a:pt x="2189023" y="2840931"/>
                  <a:pt x="2189023" y="2840931"/>
                  <a:pt x="2189023" y="2840931"/>
                </a:cubicBezTo>
                <a:lnTo>
                  <a:pt x="2189696" y="2840543"/>
                </a:lnTo>
                <a:lnTo>
                  <a:pt x="2208348" y="2778797"/>
                </a:lnTo>
                <a:lnTo>
                  <a:pt x="2211622" y="2769653"/>
                </a:lnTo>
                <a:lnTo>
                  <a:pt x="2207481" y="2772046"/>
                </a:lnTo>
                <a:cubicBezTo>
                  <a:pt x="2203965" y="2785166"/>
                  <a:pt x="2203965" y="2785166"/>
                  <a:pt x="2203965" y="2785166"/>
                </a:cubicBezTo>
                <a:cubicBezTo>
                  <a:pt x="2201565" y="2781008"/>
                  <a:pt x="2195882" y="2775968"/>
                  <a:pt x="2192603" y="2775089"/>
                </a:cubicBezTo>
                <a:cubicBezTo>
                  <a:pt x="2193481" y="2771810"/>
                  <a:pt x="2194361" y="2768530"/>
                  <a:pt x="2194361" y="2768530"/>
                </a:cubicBezTo>
                <a:cubicBezTo>
                  <a:pt x="2195240" y="2765248"/>
                  <a:pt x="2195240" y="2765248"/>
                  <a:pt x="2195240" y="2765248"/>
                </a:cubicBezTo>
                <a:cubicBezTo>
                  <a:pt x="2197641" y="2769408"/>
                  <a:pt x="2197641" y="2769408"/>
                  <a:pt x="2197641" y="2769408"/>
                </a:cubicBezTo>
                <a:cubicBezTo>
                  <a:pt x="2197641" y="2769408"/>
                  <a:pt x="2198519" y="2766127"/>
                  <a:pt x="2201800" y="2767006"/>
                </a:cubicBezTo>
                <a:cubicBezTo>
                  <a:pt x="2202679" y="2763726"/>
                  <a:pt x="2199399" y="2762848"/>
                  <a:pt x="2200278" y="2759567"/>
                </a:cubicBezTo>
                <a:cubicBezTo>
                  <a:pt x="2200278" y="2759567"/>
                  <a:pt x="2201156" y="2756287"/>
                  <a:pt x="2201156" y="2756287"/>
                </a:cubicBezTo>
                <a:cubicBezTo>
                  <a:pt x="2202035" y="2753007"/>
                  <a:pt x="2206194" y="2750606"/>
                  <a:pt x="2207953" y="2744045"/>
                </a:cubicBezTo>
                <a:cubicBezTo>
                  <a:pt x="2211468" y="2730923"/>
                  <a:pt x="2210354" y="2748205"/>
                  <a:pt x="2216271" y="2739241"/>
                </a:cubicBezTo>
                <a:cubicBezTo>
                  <a:pt x="2211468" y="2730923"/>
                  <a:pt x="2220665" y="2722840"/>
                  <a:pt x="2225703" y="2717159"/>
                </a:cubicBezTo>
                <a:cubicBezTo>
                  <a:pt x="2222423" y="2716280"/>
                  <a:pt x="2219144" y="2715402"/>
                  <a:pt x="2220022" y="2712121"/>
                </a:cubicBezTo>
                <a:cubicBezTo>
                  <a:pt x="2223302" y="2712999"/>
                  <a:pt x="2226583" y="2713879"/>
                  <a:pt x="2227462" y="2710598"/>
                </a:cubicBezTo>
                <a:cubicBezTo>
                  <a:pt x="2225060" y="2706440"/>
                  <a:pt x="2227696" y="2696598"/>
                  <a:pt x="2229455" y="2690037"/>
                </a:cubicBezTo>
                <a:cubicBezTo>
                  <a:pt x="2235137" y="2695076"/>
                  <a:pt x="2241290" y="2672114"/>
                  <a:pt x="2238887" y="2667954"/>
                </a:cubicBezTo>
                <a:cubicBezTo>
                  <a:pt x="2239767" y="2664674"/>
                  <a:pt x="2239767" y="2664674"/>
                  <a:pt x="2239767" y="2664674"/>
                </a:cubicBezTo>
                <a:cubicBezTo>
                  <a:pt x="2242404" y="2654833"/>
                  <a:pt x="2246328" y="2666432"/>
                  <a:pt x="2248965" y="2656591"/>
                </a:cubicBezTo>
                <a:cubicBezTo>
                  <a:pt x="2247442" y="2649152"/>
                  <a:pt x="2245041" y="2644992"/>
                  <a:pt x="2252715" y="2629469"/>
                </a:cubicBezTo>
                <a:cubicBezTo>
                  <a:pt x="2257755" y="2623789"/>
                  <a:pt x="2263670" y="2614826"/>
                  <a:pt x="2266307" y="2604985"/>
                </a:cubicBezTo>
                <a:cubicBezTo>
                  <a:pt x="2267187" y="2601706"/>
                  <a:pt x="2268944" y="2595145"/>
                  <a:pt x="2273104" y="2592744"/>
                </a:cubicBezTo>
                <a:cubicBezTo>
                  <a:pt x="2281658" y="2573941"/>
                  <a:pt x="2277264" y="2590343"/>
                  <a:pt x="2287340" y="2578980"/>
                </a:cubicBezTo>
                <a:cubicBezTo>
                  <a:pt x="2284295" y="2564099"/>
                  <a:pt x="2314524" y="2530009"/>
                  <a:pt x="2314759" y="2516010"/>
                </a:cubicBezTo>
                <a:cubicBezTo>
                  <a:pt x="2304684" y="2527372"/>
                  <a:pt x="2318274" y="2502889"/>
                  <a:pt x="2318274" y="2502889"/>
                </a:cubicBezTo>
                <a:close/>
                <a:moveTo>
                  <a:pt x="1745743" y="2277280"/>
                </a:moveTo>
                <a:lnTo>
                  <a:pt x="1746544" y="2277481"/>
                </a:lnTo>
                <a:lnTo>
                  <a:pt x="1735073" y="2301013"/>
                </a:lnTo>
                <a:cubicBezTo>
                  <a:pt x="1725969" y="2321274"/>
                  <a:pt x="1718702" y="2338701"/>
                  <a:pt x="1715529" y="2346705"/>
                </a:cubicBezTo>
                <a:cubicBezTo>
                  <a:pt x="1713852" y="2361715"/>
                  <a:pt x="1680793" y="2412737"/>
                  <a:pt x="1682110" y="2441760"/>
                </a:cubicBezTo>
                <a:cubicBezTo>
                  <a:pt x="1673767" y="2448427"/>
                  <a:pt x="1676442" y="2438087"/>
                  <a:pt x="1676442" y="2438087"/>
                </a:cubicBezTo>
                <a:cubicBezTo>
                  <a:pt x="1675604" y="2445593"/>
                  <a:pt x="1670841" y="2457600"/>
                  <a:pt x="1665372" y="2469147"/>
                </a:cubicBezTo>
                <a:lnTo>
                  <a:pt x="1652015" y="2493822"/>
                </a:lnTo>
                <a:lnTo>
                  <a:pt x="1729501" y="2306860"/>
                </a:lnTo>
                <a:cubicBezTo>
                  <a:pt x="1732137" y="2300212"/>
                  <a:pt x="1734774" y="2293566"/>
                  <a:pt x="1737409" y="2286918"/>
                </a:cubicBezTo>
                <a:cubicBezTo>
                  <a:pt x="1739489" y="2282418"/>
                  <a:pt x="1742262" y="2278784"/>
                  <a:pt x="1745743" y="2277280"/>
                </a:cubicBezTo>
                <a:close/>
                <a:moveTo>
                  <a:pt x="2406271" y="2140812"/>
                </a:moveTo>
                <a:lnTo>
                  <a:pt x="2381400" y="2172178"/>
                </a:lnTo>
                <a:cubicBezTo>
                  <a:pt x="2373073" y="2183571"/>
                  <a:pt x="2365897" y="2193952"/>
                  <a:pt x="2360419" y="2201275"/>
                </a:cubicBezTo>
                <a:cubicBezTo>
                  <a:pt x="2331713" y="2242804"/>
                  <a:pt x="2302362" y="2273613"/>
                  <a:pt x="2279573" y="2306181"/>
                </a:cubicBezTo>
                <a:cubicBezTo>
                  <a:pt x="2265981" y="2330665"/>
                  <a:pt x="2246471" y="2364112"/>
                  <a:pt x="2232000" y="2391875"/>
                </a:cubicBezTo>
                <a:cubicBezTo>
                  <a:pt x="2217764" y="2405641"/>
                  <a:pt x="2208331" y="2427724"/>
                  <a:pt x="2198898" y="2449807"/>
                </a:cubicBezTo>
                <a:cubicBezTo>
                  <a:pt x="2186422" y="2457011"/>
                  <a:pt x="2171071" y="2488057"/>
                  <a:pt x="2155721" y="2519101"/>
                </a:cubicBezTo>
                <a:cubicBezTo>
                  <a:pt x="2140372" y="2550147"/>
                  <a:pt x="2125021" y="2581191"/>
                  <a:pt x="2112543" y="2588395"/>
                </a:cubicBezTo>
                <a:cubicBezTo>
                  <a:pt x="2109906" y="2598236"/>
                  <a:pt x="2102231" y="2613758"/>
                  <a:pt x="2098073" y="2616160"/>
                </a:cubicBezTo>
                <a:cubicBezTo>
                  <a:pt x="2101995" y="2627759"/>
                  <a:pt x="2085767" y="2662085"/>
                  <a:pt x="2078328" y="2663606"/>
                </a:cubicBezTo>
                <a:cubicBezTo>
                  <a:pt x="2077448" y="2666887"/>
                  <a:pt x="2075691" y="2673447"/>
                  <a:pt x="2074811" y="2676728"/>
                </a:cubicBezTo>
                <a:cubicBezTo>
                  <a:pt x="2064970" y="2674091"/>
                  <a:pt x="2063622" y="2705371"/>
                  <a:pt x="2050908" y="2726574"/>
                </a:cubicBezTo>
                <a:cubicBezTo>
                  <a:pt x="2050028" y="2729856"/>
                  <a:pt x="2050028" y="2729856"/>
                  <a:pt x="2050028" y="2729856"/>
                </a:cubicBezTo>
                <a:cubicBezTo>
                  <a:pt x="2050028" y="2729856"/>
                  <a:pt x="2046748" y="2728977"/>
                  <a:pt x="2046748" y="2728977"/>
                </a:cubicBezTo>
                <a:cubicBezTo>
                  <a:pt x="2045870" y="2732257"/>
                  <a:pt x="2045870" y="2732257"/>
                  <a:pt x="2044991" y="2735538"/>
                </a:cubicBezTo>
                <a:cubicBezTo>
                  <a:pt x="2044991" y="2735538"/>
                  <a:pt x="2044991" y="2735538"/>
                  <a:pt x="2048271" y="2736415"/>
                </a:cubicBezTo>
                <a:cubicBezTo>
                  <a:pt x="2048271" y="2736415"/>
                  <a:pt x="2049149" y="2733136"/>
                  <a:pt x="2049149" y="2733136"/>
                </a:cubicBezTo>
                <a:cubicBezTo>
                  <a:pt x="2047392" y="2739696"/>
                  <a:pt x="2044755" y="2749537"/>
                  <a:pt x="2048035" y="2750415"/>
                </a:cubicBezTo>
                <a:cubicBezTo>
                  <a:pt x="2026533" y="2804424"/>
                  <a:pt x="2008310" y="2859309"/>
                  <a:pt x="1995770" y="2919234"/>
                </a:cubicBezTo>
                <a:cubicBezTo>
                  <a:pt x="1992897" y="2943075"/>
                  <a:pt x="1988501" y="2959475"/>
                  <a:pt x="1981470" y="2985718"/>
                </a:cubicBezTo>
                <a:cubicBezTo>
                  <a:pt x="1976840" y="3016119"/>
                  <a:pt x="1971976" y="3060521"/>
                  <a:pt x="1964707" y="3100763"/>
                </a:cubicBezTo>
                <a:cubicBezTo>
                  <a:pt x="1959841" y="3145164"/>
                  <a:pt x="1955856" y="3186286"/>
                  <a:pt x="1953626" y="3220847"/>
                </a:cubicBezTo>
                <a:cubicBezTo>
                  <a:pt x="1949875" y="3247969"/>
                  <a:pt x="1949639" y="3261969"/>
                  <a:pt x="1948288" y="3293249"/>
                </a:cubicBezTo>
                <a:cubicBezTo>
                  <a:pt x="1949811" y="3300688"/>
                  <a:pt x="1947174" y="3310529"/>
                  <a:pt x="1945417" y="3317092"/>
                </a:cubicBezTo>
                <a:cubicBezTo>
                  <a:pt x="1944301" y="3334371"/>
                  <a:pt x="1950626" y="3350128"/>
                  <a:pt x="1946232" y="3366530"/>
                </a:cubicBezTo>
                <a:cubicBezTo>
                  <a:pt x="1946232" y="3366530"/>
                  <a:pt x="1942952" y="3365651"/>
                  <a:pt x="1942952" y="3365651"/>
                </a:cubicBezTo>
                <a:cubicBezTo>
                  <a:pt x="1943831" y="3362372"/>
                  <a:pt x="1939671" y="3364773"/>
                  <a:pt x="1942074" y="3368931"/>
                </a:cubicBezTo>
                <a:cubicBezTo>
                  <a:pt x="1941194" y="3372213"/>
                  <a:pt x="1940315" y="3375492"/>
                  <a:pt x="1940315" y="3375492"/>
                </a:cubicBezTo>
                <a:cubicBezTo>
                  <a:pt x="1943595" y="3376371"/>
                  <a:pt x="1942716" y="3379652"/>
                  <a:pt x="1942716" y="3379652"/>
                </a:cubicBezTo>
                <a:cubicBezTo>
                  <a:pt x="1939437" y="3378772"/>
                  <a:pt x="1938557" y="3382053"/>
                  <a:pt x="1937678" y="3385333"/>
                </a:cubicBezTo>
                <a:cubicBezTo>
                  <a:pt x="1940079" y="3389492"/>
                  <a:pt x="1940958" y="3386211"/>
                  <a:pt x="1944239" y="3387091"/>
                </a:cubicBezTo>
                <a:cubicBezTo>
                  <a:pt x="1944239" y="3387091"/>
                  <a:pt x="1943359" y="3390371"/>
                  <a:pt x="1943359" y="3390371"/>
                </a:cubicBezTo>
                <a:cubicBezTo>
                  <a:pt x="1942481" y="3393652"/>
                  <a:pt x="1944882" y="3397810"/>
                  <a:pt x="1944882" y="3397810"/>
                </a:cubicBezTo>
                <a:cubicBezTo>
                  <a:pt x="1948161" y="3398690"/>
                  <a:pt x="1949041" y="3395409"/>
                  <a:pt x="1949920" y="3392128"/>
                </a:cubicBezTo>
                <a:cubicBezTo>
                  <a:pt x="1946640" y="3391250"/>
                  <a:pt x="1946640" y="3391250"/>
                  <a:pt x="1946640" y="3391250"/>
                </a:cubicBezTo>
                <a:cubicBezTo>
                  <a:pt x="1950798" y="3388848"/>
                  <a:pt x="1950798" y="3388848"/>
                  <a:pt x="1950798" y="3388848"/>
                </a:cubicBezTo>
                <a:cubicBezTo>
                  <a:pt x="1947048" y="3415971"/>
                  <a:pt x="1946341" y="3457970"/>
                  <a:pt x="1955068" y="3477887"/>
                </a:cubicBezTo>
                <a:cubicBezTo>
                  <a:pt x="1953718" y="3509167"/>
                  <a:pt x="1958692" y="3556207"/>
                  <a:pt x="1967593" y="3614845"/>
                </a:cubicBezTo>
                <a:cubicBezTo>
                  <a:pt x="1964311" y="3613965"/>
                  <a:pt x="1964311" y="3613965"/>
                  <a:pt x="1964311" y="3613965"/>
                </a:cubicBezTo>
                <a:cubicBezTo>
                  <a:pt x="1964311" y="3613965"/>
                  <a:pt x="1965190" y="3610685"/>
                  <a:pt x="1965190" y="3610685"/>
                </a:cubicBezTo>
                <a:cubicBezTo>
                  <a:pt x="1962788" y="3606525"/>
                  <a:pt x="1963667" y="3603245"/>
                  <a:pt x="1959509" y="3605646"/>
                </a:cubicBezTo>
                <a:cubicBezTo>
                  <a:pt x="1959509" y="3605646"/>
                  <a:pt x="1958629" y="3608926"/>
                  <a:pt x="1961030" y="3613086"/>
                </a:cubicBezTo>
                <a:cubicBezTo>
                  <a:pt x="1960151" y="3616366"/>
                  <a:pt x="1960151" y="3616366"/>
                  <a:pt x="1962553" y="3620525"/>
                </a:cubicBezTo>
                <a:cubicBezTo>
                  <a:pt x="1959273" y="3619647"/>
                  <a:pt x="1958393" y="3622927"/>
                  <a:pt x="1956636" y="3629487"/>
                </a:cubicBezTo>
                <a:cubicBezTo>
                  <a:pt x="1958276" y="3629926"/>
                  <a:pt x="1959916" y="3630366"/>
                  <a:pt x="1960956" y="3629767"/>
                </a:cubicBezTo>
                <a:lnTo>
                  <a:pt x="1961195" y="3627779"/>
                </a:lnTo>
                <a:lnTo>
                  <a:pt x="1965598" y="3635404"/>
                </a:lnTo>
                <a:cubicBezTo>
                  <a:pt x="1966476" y="3632124"/>
                  <a:pt x="1967355" y="3628843"/>
                  <a:pt x="1968235" y="3625564"/>
                </a:cubicBezTo>
                <a:cubicBezTo>
                  <a:pt x="1975438" y="3638041"/>
                  <a:pt x="1980241" y="3646361"/>
                  <a:pt x="1982406" y="3664519"/>
                </a:cubicBezTo>
                <a:cubicBezTo>
                  <a:pt x="1980005" y="3660359"/>
                  <a:pt x="1979127" y="3663639"/>
                  <a:pt x="1978248" y="3666921"/>
                </a:cubicBezTo>
                <a:cubicBezTo>
                  <a:pt x="1980413" y="3685079"/>
                  <a:pt x="1992420" y="3705876"/>
                  <a:pt x="1993063" y="3716595"/>
                </a:cubicBezTo>
                <a:cubicBezTo>
                  <a:pt x="1993063" y="3716595"/>
                  <a:pt x="1989783" y="3715716"/>
                  <a:pt x="1990662" y="3712437"/>
                </a:cubicBezTo>
                <a:cubicBezTo>
                  <a:pt x="1994349" y="3738035"/>
                  <a:pt x="2006357" y="3758832"/>
                  <a:pt x="2000440" y="3767792"/>
                </a:cubicBezTo>
                <a:cubicBezTo>
                  <a:pt x="2001319" y="3764513"/>
                  <a:pt x="2003721" y="3768672"/>
                  <a:pt x="2002841" y="3771952"/>
                </a:cubicBezTo>
                <a:cubicBezTo>
                  <a:pt x="2010925" y="3781150"/>
                  <a:pt x="2005477" y="3762112"/>
                  <a:pt x="2006357" y="3758832"/>
                </a:cubicBezTo>
                <a:cubicBezTo>
                  <a:pt x="2010925" y="3781150"/>
                  <a:pt x="2009166" y="3787711"/>
                  <a:pt x="2017248" y="3796907"/>
                </a:cubicBezTo>
                <a:cubicBezTo>
                  <a:pt x="2013090" y="3799309"/>
                  <a:pt x="2008288" y="3790991"/>
                  <a:pt x="2012210" y="3802590"/>
                </a:cubicBezTo>
                <a:cubicBezTo>
                  <a:pt x="2017892" y="3807629"/>
                  <a:pt x="2015491" y="3803468"/>
                  <a:pt x="2020293" y="3811786"/>
                </a:cubicBezTo>
                <a:cubicBezTo>
                  <a:pt x="2023573" y="3812666"/>
                  <a:pt x="2022695" y="3815946"/>
                  <a:pt x="2022695" y="3815946"/>
                </a:cubicBezTo>
                <a:cubicBezTo>
                  <a:pt x="2025096" y="3820106"/>
                  <a:pt x="2024217" y="3823386"/>
                  <a:pt x="2027497" y="3824264"/>
                </a:cubicBezTo>
                <a:cubicBezTo>
                  <a:pt x="2030778" y="3825144"/>
                  <a:pt x="2031657" y="3821863"/>
                  <a:pt x="2029256" y="3817704"/>
                </a:cubicBezTo>
                <a:cubicBezTo>
                  <a:pt x="2029256" y="3817704"/>
                  <a:pt x="2029256" y="3817704"/>
                  <a:pt x="2030134" y="3814423"/>
                </a:cubicBezTo>
                <a:cubicBezTo>
                  <a:pt x="2038626" y="3848341"/>
                  <a:pt x="2046708" y="3857538"/>
                  <a:pt x="2060002" y="3899774"/>
                </a:cubicBezTo>
                <a:cubicBezTo>
                  <a:pt x="2049926" y="3911137"/>
                  <a:pt x="2062403" y="3903934"/>
                  <a:pt x="2059530" y="3927774"/>
                </a:cubicBezTo>
                <a:cubicBezTo>
                  <a:pt x="2056251" y="3926896"/>
                  <a:pt x="2056251" y="3926896"/>
                  <a:pt x="2056251" y="3926896"/>
                </a:cubicBezTo>
                <a:cubicBezTo>
                  <a:pt x="2053849" y="3922736"/>
                  <a:pt x="2052969" y="3926018"/>
                  <a:pt x="2055372" y="3930176"/>
                </a:cubicBezTo>
                <a:cubicBezTo>
                  <a:pt x="2054492" y="3933457"/>
                  <a:pt x="2056893" y="3937615"/>
                  <a:pt x="2060174" y="3938494"/>
                </a:cubicBezTo>
                <a:cubicBezTo>
                  <a:pt x="2062575" y="3942653"/>
                  <a:pt x="2062575" y="3942653"/>
                  <a:pt x="2062575" y="3942653"/>
                </a:cubicBezTo>
                <a:cubicBezTo>
                  <a:pt x="2064098" y="3950093"/>
                  <a:pt x="2067378" y="3950971"/>
                  <a:pt x="2071537" y="3948570"/>
                </a:cubicBezTo>
                <a:cubicBezTo>
                  <a:pt x="2069779" y="3955131"/>
                  <a:pt x="2075461" y="3960170"/>
                  <a:pt x="2077862" y="3964329"/>
                </a:cubicBezTo>
                <a:cubicBezTo>
                  <a:pt x="2076340" y="3956889"/>
                  <a:pt x="2074817" y="3949450"/>
                  <a:pt x="2073296" y="3942009"/>
                </a:cubicBezTo>
                <a:cubicBezTo>
                  <a:pt x="2070015" y="3941131"/>
                  <a:pt x="2066735" y="3940252"/>
                  <a:pt x="2066735" y="3940252"/>
                </a:cubicBezTo>
                <a:cubicBezTo>
                  <a:pt x="2066735" y="3940252"/>
                  <a:pt x="2067614" y="3936973"/>
                  <a:pt x="2064334" y="3936093"/>
                </a:cubicBezTo>
                <a:cubicBezTo>
                  <a:pt x="2064334" y="3936093"/>
                  <a:pt x="2065212" y="3932813"/>
                  <a:pt x="2065212" y="3932813"/>
                </a:cubicBezTo>
                <a:cubicBezTo>
                  <a:pt x="2066091" y="3929533"/>
                  <a:pt x="2062811" y="3928653"/>
                  <a:pt x="2059530" y="3927774"/>
                </a:cubicBezTo>
                <a:cubicBezTo>
                  <a:pt x="2070485" y="3913130"/>
                  <a:pt x="2072479" y="3892570"/>
                  <a:pt x="2055670" y="3863455"/>
                </a:cubicBezTo>
                <a:cubicBezTo>
                  <a:pt x="2056550" y="3860175"/>
                  <a:pt x="2054147" y="3856016"/>
                  <a:pt x="2057428" y="3856895"/>
                </a:cubicBezTo>
                <a:cubicBezTo>
                  <a:pt x="2056550" y="3860175"/>
                  <a:pt x="2059829" y="3861055"/>
                  <a:pt x="2060708" y="3857775"/>
                </a:cubicBezTo>
                <a:cubicBezTo>
                  <a:pt x="2060708" y="3857775"/>
                  <a:pt x="2060708" y="3857775"/>
                  <a:pt x="2058307" y="3853615"/>
                </a:cubicBezTo>
                <a:cubicBezTo>
                  <a:pt x="2058307" y="3853615"/>
                  <a:pt x="2059185" y="3850335"/>
                  <a:pt x="2059185" y="3850335"/>
                </a:cubicBezTo>
                <a:cubicBezTo>
                  <a:pt x="2066830" y="3861173"/>
                  <a:pt x="2072013" y="3871351"/>
                  <a:pt x="2075527" y="3882839"/>
                </a:cubicBezTo>
                <a:lnTo>
                  <a:pt x="2081274" y="3919538"/>
                </a:lnTo>
                <a:lnTo>
                  <a:pt x="2079447" y="3919048"/>
                </a:lnTo>
                <a:cubicBezTo>
                  <a:pt x="2078568" y="3922330"/>
                  <a:pt x="2078568" y="3922330"/>
                  <a:pt x="2081850" y="3923208"/>
                </a:cubicBezTo>
                <a:cubicBezTo>
                  <a:pt x="2080091" y="3929767"/>
                  <a:pt x="2083371" y="3930646"/>
                  <a:pt x="2084894" y="3938087"/>
                </a:cubicBezTo>
                <a:cubicBezTo>
                  <a:pt x="2084894" y="3938087"/>
                  <a:pt x="2081612" y="3937209"/>
                  <a:pt x="2082492" y="3933927"/>
                </a:cubicBezTo>
                <a:cubicBezTo>
                  <a:pt x="2082492" y="3933927"/>
                  <a:pt x="2081612" y="3937209"/>
                  <a:pt x="2081612" y="3937209"/>
                </a:cubicBezTo>
                <a:cubicBezTo>
                  <a:pt x="2081612" y="3937209"/>
                  <a:pt x="2084015" y="3941367"/>
                  <a:pt x="2084015" y="3941367"/>
                </a:cubicBezTo>
                <a:cubicBezTo>
                  <a:pt x="2088582" y="3963685"/>
                  <a:pt x="2084187" y="3980086"/>
                  <a:pt x="2096193" y="4000883"/>
                </a:cubicBezTo>
                <a:cubicBezTo>
                  <a:pt x="2091391" y="3992564"/>
                  <a:pt x="2092913" y="4000005"/>
                  <a:pt x="2091155" y="4006565"/>
                </a:cubicBezTo>
                <a:cubicBezTo>
                  <a:pt x="2083952" y="3994087"/>
                  <a:pt x="2086589" y="3984246"/>
                  <a:pt x="2079149" y="3985769"/>
                </a:cubicBezTo>
                <a:cubicBezTo>
                  <a:pt x="2090276" y="4009844"/>
                  <a:pt x="2096601" y="4025603"/>
                  <a:pt x="2105093" y="4059520"/>
                </a:cubicBezTo>
                <a:cubicBezTo>
                  <a:pt x="2101812" y="4058642"/>
                  <a:pt x="2104213" y="4062800"/>
                  <a:pt x="2103334" y="4066081"/>
                </a:cubicBezTo>
                <a:cubicBezTo>
                  <a:pt x="2105736" y="4070241"/>
                  <a:pt x="2108137" y="4074399"/>
                  <a:pt x="2109017" y="4071119"/>
                </a:cubicBezTo>
                <a:cubicBezTo>
                  <a:pt x="2110538" y="4078557"/>
                  <a:pt x="2116220" y="4083597"/>
                  <a:pt x="2124302" y="4092795"/>
                </a:cubicBezTo>
                <a:cubicBezTo>
                  <a:pt x="2120144" y="4095196"/>
                  <a:pt x="2115340" y="4086877"/>
                  <a:pt x="2116863" y="4094316"/>
                </a:cubicBezTo>
                <a:cubicBezTo>
                  <a:pt x="2120144" y="4095196"/>
                  <a:pt x="2121665" y="4102634"/>
                  <a:pt x="2124946" y="4103514"/>
                </a:cubicBezTo>
                <a:cubicBezTo>
                  <a:pt x="2124946" y="4103514"/>
                  <a:pt x="2124068" y="4106796"/>
                  <a:pt x="2127347" y="4107674"/>
                </a:cubicBezTo>
                <a:cubicBezTo>
                  <a:pt x="2126469" y="4110953"/>
                  <a:pt x="2126469" y="4110953"/>
                  <a:pt x="2126469" y="4110953"/>
                </a:cubicBezTo>
                <a:cubicBezTo>
                  <a:pt x="2129749" y="4111834"/>
                  <a:pt x="2129749" y="4111834"/>
                  <a:pt x="2129749" y="4111834"/>
                </a:cubicBezTo>
                <a:cubicBezTo>
                  <a:pt x="2127347" y="4107674"/>
                  <a:pt x="2127347" y="4107674"/>
                  <a:pt x="2127347" y="4107674"/>
                </a:cubicBezTo>
                <a:cubicBezTo>
                  <a:pt x="2128226" y="4104393"/>
                  <a:pt x="2128226" y="4104393"/>
                  <a:pt x="2128226" y="4104393"/>
                </a:cubicBezTo>
                <a:cubicBezTo>
                  <a:pt x="2134551" y="4120150"/>
                  <a:pt x="2134551" y="4120150"/>
                  <a:pt x="2134551" y="4120150"/>
                </a:cubicBezTo>
                <a:cubicBezTo>
                  <a:pt x="2132150" y="4115992"/>
                  <a:pt x="2128870" y="4115113"/>
                  <a:pt x="2131272" y="4119272"/>
                </a:cubicBezTo>
                <a:cubicBezTo>
                  <a:pt x="2149602" y="4155826"/>
                  <a:pt x="2179533" y="4188456"/>
                  <a:pt x="2205304" y="4223489"/>
                </a:cubicBezTo>
                <a:cubicBezTo>
                  <a:pt x="2235233" y="4256119"/>
                  <a:pt x="2261885" y="4287869"/>
                  <a:pt x="2288534" y="4319621"/>
                </a:cubicBezTo>
                <a:cubicBezTo>
                  <a:pt x="2286776" y="4326183"/>
                  <a:pt x="2283495" y="4325304"/>
                  <a:pt x="2276936" y="4323545"/>
                </a:cubicBezTo>
                <a:cubicBezTo>
                  <a:pt x="2302064" y="4347856"/>
                  <a:pt x="2318229" y="4366253"/>
                  <a:pt x="2338554" y="4382245"/>
                </a:cubicBezTo>
                <a:cubicBezTo>
                  <a:pt x="2358000" y="4401520"/>
                  <a:pt x="2378325" y="4417513"/>
                  <a:pt x="2402574" y="4445104"/>
                </a:cubicBezTo>
                <a:cubicBezTo>
                  <a:pt x="2400173" y="4440946"/>
                  <a:pt x="2400173" y="4440946"/>
                  <a:pt x="2399295" y="4444226"/>
                </a:cubicBezTo>
                <a:cubicBezTo>
                  <a:pt x="2399295" y="4444226"/>
                  <a:pt x="2398414" y="4447507"/>
                  <a:pt x="2400815" y="4451665"/>
                </a:cubicBezTo>
                <a:cubicBezTo>
                  <a:pt x="2399937" y="4454946"/>
                  <a:pt x="2399937" y="4454946"/>
                  <a:pt x="2399937" y="4454946"/>
                </a:cubicBezTo>
                <a:cubicBezTo>
                  <a:pt x="2405619" y="4459984"/>
                  <a:pt x="2410421" y="4468302"/>
                  <a:pt x="2414581" y="4465901"/>
                </a:cubicBezTo>
                <a:cubicBezTo>
                  <a:pt x="2413701" y="4469181"/>
                  <a:pt x="2416102" y="4473341"/>
                  <a:pt x="2419383" y="4474219"/>
                </a:cubicBezTo>
                <a:cubicBezTo>
                  <a:pt x="2421785" y="4478379"/>
                  <a:pt x="2422665" y="4475099"/>
                  <a:pt x="2422665" y="4475099"/>
                </a:cubicBezTo>
                <a:cubicBezTo>
                  <a:pt x="2423543" y="4471818"/>
                  <a:pt x="2423543" y="4471818"/>
                  <a:pt x="2423543" y="4471818"/>
                </a:cubicBezTo>
                <a:cubicBezTo>
                  <a:pt x="2436427" y="4489334"/>
                  <a:pt x="2446268" y="4491971"/>
                  <a:pt x="2459154" y="4509487"/>
                </a:cubicBezTo>
                <a:cubicBezTo>
                  <a:pt x="2461791" y="4499646"/>
                  <a:pt x="2465714" y="4511245"/>
                  <a:pt x="2468994" y="4512124"/>
                </a:cubicBezTo>
                <a:cubicBezTo>
                  <a:pt x="2460913" y="4502926"/>
                  <a:pt x="2467473" y="4504684"/>
                  <a:pt x="2462671" y="4496365"/>
                </a:cubicBezTo>
                <a:cubicBezTo>
                  <a:pt x="2456989" y="4491328"/>
                  <a:pt x="2464194" y="4503806"/>
                  <a:pt x="2455230" y="4497888"/>
                </a:cubicBezTo>
                <a:cubicBezTo>
                  <a:pt x="2451306" y="4486290"/>
                  <a:pt x="2442344" y="4480372"/>
                  <a:pt x="2440823" y="4472932"/>
                </a:cubicBezTo>
                <a:cubicBezTo>
                  <a:pt x="2443224" y="4477092"/>
                  <a:pt x="2445625" y="4481252"/>
                  <a:pt x="2448905" y="4482130"/>
                </a:cubicBezTo>
                <a:cubicBezTo>
                  <a:pt x="2436021" y="4464614"/>
                  <a:pt x="2420734" y="4442939"/>
                  <a:pt x="2402166" y="4420385"/>
                </a:cubicBezTo>
                <a:cubicBezTo>
                  <a:pt x="2383599" y="4397831"/>
                  <a:pt x="2365032" y="4375276"/>
                  <a:pt x="2348865" y="4356882"/>
                </a:cubicBezTo>
                <a:cubicBezTo>
                  <a:pt x="2352147" y="4357761"/>
                  <a:pt x="2353025" y="4354481"/>
                  <a:pt x="2350624" y="4350321"/>
                </a:cubicBezTo>
                <a:cubicBezTo>
                  <a:pt x="2335337" y="4328647"/>
                  <a:pt x="2322451" y="4311131"/>
                  <a:pt x="2311324" y="4287054"/>
                </a:cubicBezTo>
                <a:cubicBezTo>
                  <a:pt x="2303885" y="4288577"/>
                  <a:pt x="2301719" y="4270417"/>
                  <a:pt x="2296917" y="4262099"/>
                </a:cubicBezTo>
                <a:cubicBezTo>
                  <a:pt x="2294514" y="4257939"/>
                  <a:pt x="2290356" y="4260340"/>
                  <a:pt x="2288833" y="4252901"/>
                </a:cubicBezTo>
                <a:cubicBezTo>
                  <a:pt x="2285552" y="4252022"/>
                  <a:pt x="2284909" y="4241302"/>
                  <a:pt x="2280107" y="4232984"/>
                </a:cubicBezTo>
                <a:cubicBezTo>
                  <a:pt x="2272902" y="4220507"/>
                  <a:pt x="2262419" y="4207150"/>
                  <a:pt x="2255216" y="4194671"/>
                </a:cubicBezTo>
                <a:cubicBezTo>
                  <a:pt x="2245609" y="4178035"/>
                  <a:pt x="2242330" y="4177155"/>
                  <a:pt x="2233602" y="4157238"/>
                </a:cubicBezTo>
                <a:cubicBezTo>
                  <a:pt x="2208711" y="4118927"/>
                  <a:pt x="2191494" y="4065092"/>
                  <a:pt x="2178608" y="4047576"/>
                </a:cubicBezTo>
                <a:cubicBezTo>
                  <a:pt x="2181245" y="4037736"/>
                  <a:pt x="2167482" y="4023500"/>
                  <a:pt x="2162677" y="4015182"/>
                </a:cubicBezTo>
                <a:cubicBezTo>
                  <a:pt x="2168360" y="4020220"/>
                  <a:pt x="2165958" y="4016061"/>
                  <a:pt x="2166837" y="4012780"/>
                </a:cubicBezTo>
                <a:cubicBezTo>
                  <a:pt x="2150027" y="3983666"/>
                  <a:pt x="2146576" y="3944067"/>
                  <a:pt x="2126722" y="3900073"/>
                </a:cubicBezTo>
                <a:cubicBezTo>
                  <a:pt x="2117115" y="3883437"/>
                  <a:pt x="2121040" y="3895035"/>
                  <a:pt x="2116473" y="3872717"/>
                </a:cubicBezTo>
                <a:cubicBezTo>
                  <a:pt x="2113428" y="3857837"/>
                  <a:pt x="2106223" y="3845361"/>
                  <a:pt x="2103179" y="3830480"/>
                </a:cubicBezTo>
                <a:cubicBezTo>
                  <a:pt x="2089243" y="3777526"/>
                  <a:pt x="2078585" y="3725448"/>
                  <a:pt x="2069451" y="3680812"/>
                </a:cubicBezTo>
                <a:cubicBezTo>
                  <a:pt x="2064005" y="3661772"/>
                  <a:pt x="2064241" y="3647773"/>
                  <a:pt x="2057037" y="3635295"/>
                </a:cubicBezTo>
                <a:cubicBezTo>
                  <a:pt x="2057916" y="3632014"/>
                  <a:pt x="2057916" y="3632014"/>
                  <a:pt x="2058794" y="3628734"/>
                </a:cubicBezTo>
                <a:cubicBezTo>
                  <a:pt x="2059674" y="3625453"/>
                  <a:pt x="2062311" y="3615613"/>
                  <a:pt x="2056865" y="3596574"/>
                </a:cubicBezTo>
                <a:cubicBezTo>
                  <a:pt x="2055343" y="3589135"/>
                  <a:pt x="2051419" y="3577537"/>
                  <a:pt x="2049896" y="3570096"/>
                </a:cubicBezTo>
                <a:cubicBezTo>
                  <a:pt x="2047966" y="3537937"/>
                  <a:pt x="2047794" y="3499218"/>
                  <a:pt x="2040589" y="3486740"/>
                </a:cubicBezTo>
                <a:cubicBezTo>
                  <a:pt x="2048673" y="3495938"/>
                  <a:pt x="2039538" y="3451300"/>
                  <a:pt x="2035615" y="3439701"/>
                </a:cubicBezTo>
                <a:cubicBezTo>
                  <a:pt x="2042412" y="3427459"/>
                  <a:pt x="2032161" y="3400103"/>
                  <a:pt x="2035915" y="3372981"/>
                </a:cubicBezTo>
                <a:cubicBezTo>
                  <a:pt x="2036793" y="3369701"/>
                  <a:pt x="2029353" y="3371223"/>
                  <a:pt x="2031990" y="3361383"/>
                </a:cubicBezTo>
                <a:cubicBezTo>
                  <a:pt x="2037029" y="3355701"/>
                  <a:pt x="2036620" y="3330981"/>
                  <a:pt x="2032461" y="3333382"/>
                </a:cubicBezTo>
                <a:cubicBezTo>
                  <a:pt x="2041659" y="3325299"/>
                  <a:pt x="2033811" y="3302102"/>
                  <a:pt x="2038849" y="3296420"/>
                </a:cubicBezTo>
                <a:cubicBezTo>
                  <a:pt x="2032289" y="3294661"/>
                  <a:pt x="2029888" y="3290503"/>
                  <a:pt x="2027486" y="3286343"/>
                </a:cubicBezTo>
                <a:cubicBezTo>
                  <a:pt x="2025963" y="3278904"/>
                  <a:pt x="2026842" y="3275624"/>
                  <a:pt x="2025321" y="3268185"/>
                </a:cubicBezTo>
                <a:cubicBezTo>
                  <a:pt x="2024913" y="3243464"/>
                  <a:pt x="2029543" y="3213062"/>
                  <a:pt x="2033294" y="3185942"/>
                </a:cubicBezTo>
                <a:cubicBezTo>
                  <a:pt x="2035053" y="3179382"/>
                  <a:pt x="2040090" y="3173700"/>
                  <a:pt x="2040090" y="3173700"/>
                </a:cubicBezTo>
                <a:cubicBezTo>
                  <a:pt x="2037689" y="3169540"/>
                  <a:pt x="2038567" y="3166260"/>
                  <a:pt x="2036166" y="3162101"/>
                </a:cubicBezTo>
                <a:cubicBezTo>
                  <a:pt x="2037046" y="3158821"/>
                  <a:pt x="2037046" y="3158821"/>
                  <a:pt x="2037046" y="3158821"/>
                </a:cubicBezTo>
                <a:cubicBezTo>
                  <a:pt x="2049758" y="3137617"/>
                  <a:pt x="2048707" y="3102177"/>
                  <a:pt x="2049179" y="3074176"/>
                </a:cubicBezTo>
                <a:cubicBezTo>
                  <a:pt x="2052459" y="3075055"/>
                  <a:pt x="2052459" y="3075055"/>
                  <a:pt x="2052459" y="3075055"/>
                </a:cubicBezTo>
                <a:cubicBezTo>
                  <a:pt x="2058377" y="3066094"/>
                  <a:pt x="2046134" y="3059297"/>
                  <a:pt x="2056854" y="3058653"/>
                </a:cubicBezTo>
                <a:cubicBezTo>
                  <a:pt x="2061248" y="3042252"/>
                  <a:pt x="2052052" y="3050336"/>
                  <a:pt x="2055566" y="3037215"/>
                </a:cubicBezTo>
                <a:cubicBezTo>
                  <a:pt x="2058847" y="3038094"/>
                  <a:pt x="2060604" y="3031533"/>
                  <a:pt x="2064764" y="3029132"/>
                </a:cubicBezTo>
                <a:cubicBezTo>
                  <a:pt x="2061720" y="3014253"/>
                  <a:pt x="2065236" y="3001131"/>
                  <a:pt x="2072911" y="2985608"/>
                </a:cubicBezTo>
                <a:cubicBezTo>
                  <a:pt x="2064827" y="2976412"/>
                  <a:pt x="2076661" y="2958488"/>
                  <a:pt x="2075140" y="2951048"/>
                </a:cubicBezTo>
                <a:cubicBezTo>
                  <a:pt x="2078420" y="2951927"/>
                  <a:pt x="2079298" y="2948647"/>
                  <a:pt x="2079298" y="2948647"/>
                </a:cubicBezTo>
                <a:cubicBezTo>
                  <a:pt x="2078011" y="2927207"/>
                  <a:pt x="2085687" y="2911684"/>
                  <a:pt x="2090081" y="2895283"/>
                </a:cubicBezTo>
                <a:lnTo>
                  <a:pt x="2091816" y="2888809"/>
                </a:lnTo>
                <a:lnTo>
                  <a:pt x="2099621" y="2853246"/>
                </a:lnTo>
                <a:lnTo>
                  <a:pt x="2099985" y="2845200"/>
                </a:lnTo>
                <a:lnTo>
                  <a:pt x="2100816" y="2847794"/>
                </a:lnTo>
                <a:lnTo>
                  <a:pt x="2110855" y="2802050"/>
                </a:lnTo>
                <a:cubicBezTo>
                  <a:pt x="2139494" y="2686470"/>
                  <a:pt x="2177524" y="2572693"/>
                  <a:pt x="2224554" y="2460779"/>
                </a:cubicBezTo>
                <a:cubicBezTo>
                  <a:pt x="2261933" y="2371289"/>
                  <a:pt x="2306319" y="2285989"/>
                  <a:pt x="2358682" y="2205979"/>
                </a:cubicBezTo>
                <a:close/>
                <a:moveTo>
                  <a:pt x="6077176" y="2118185"/>
                </a:moveTo>
                <a:cubicBezTo>
                  <a:pt x="6090509" y="2134875"/>
                  <a:pt x="6099173" y="2152560"/>
                  <a:pt x="6112507" y="2169248"/>
                </a:cubicBezTo>
                <a:cubicBezTo>
                  <a:pt x="6107837" y="2170245"/>
                  <a:pt x="6107837" y="2170245"/>
                  <a:pt x="6107837" y="2170245"/>
                </a:cubicBezTo>
                <a:cubicBezTo>
                  <a:pt x="6106839" y="2165575"/>
                  <a:pt x="6100172" y="2157231"/>
                  <a:pt x="6099173" y="2152560"/>
                </a:cubicBezTo>
                <a:cubicBezTo>
                  <a:pt x="6093505" y="2148886"/>
                  <a:pt x="6086839" y="2140543"/>
                  <a:pt x="6085839" y="2135872"/>
                </a:cubicBezTo>
                <a:cubicBezTo>
                  <a:pt x="6085839" y="2135872"/>
                  <a:pt x="6080171" y="2132198"/>
                  <a:pt x="6080171" y="2132198"/>
                </a:cubicBezTo>
                <a:cubicBezTo>
                  <a:pt x="6074503" y="2128525"/>
                  <a:pt x="6074503" y="2128525"/>
                  <a:pt x="6073503" y="2123854"/>
                </a:cubicBezTo>
                <a:cubicBezTo>
                  <a:pt x="6072505" y="2119184"/>
                  <a:pt x="6072505" y="2119184"/>
                  <a:pt x="6077176" y="2118185"/>
                </a:cubicBezTo>
                <a:close/>
                <a:moveTo>
                  <a:pt x="2109589" y="1937684"/>
                </a:moveTo>
                <a:lnTo>
                  <a:pt x="2088831" y="1976351"/>
                </a:lnTo>
                <a:cubicBezTo>
                  <a:pt x="2085892" y="1983950"/>
                  <a:pt x="2083769" y="1991818"/>
                  <a:pt x="2082998" y="2000064"/>
                </a:cubicBezTo>
                <a:lnTo>
                  <a:pt x="2083339" y="2004008"/>
                </a:lnTo>
                <a:lnTo>
                  <a:pt x="2078984" y="2013244"/>
                </a:lnTo>
                <a:cubicBezTo>
                  <a:pt x="2076353" y="2018080"/>
                  <a:pt x="2071513" y="2023999"/>
                  <a:pt x="2058996" y="2033998"/>
                </a:cubicBezTo>
                <a:cubicBezTo>
                  <a:pt x="2069337" y="2036673"/>
                  <a:pt x="2023944" y="2075676"/>
                  <a:pt x="2025940" y="2085019"/>
                </a:cubicBezTo>
                <a:cubicBezTo>
                  <a:pt x="2045302" y="2061345"/>
                  <a:pt x="2027935" y="2094361"/>
                  <a:pt x="2020588" y="2105699"/>
                </a:cubicBezTo>
                <a:cubicBezTo>
                  <a:pt x="2015917" y="2106696"/>
                  <a:pt x="2014918" y="2102026"/>
                  <a:pt x="2019591" y="2101027"/>
                </a:cubicBezTo>
                <a:cubicBezTo>
                  <a:pt x="2018592" y="2096357"/>
                  <a:pt x="2018592" y="2096357"/>
                  <a:pt x="2018592" y="2096357"/>
                </a:cubicBezTo>
                <a:cubicBezTo>
                  <a:pt x="2017595" y="2091686"/>
                  <a:pt x="2018592" y="2096357"/>
                  <a:pt x="2013921" y="2097355"/>
                </a:cubicBezTo>
                <a:cubicBezTo>
                  <a:pt x="2010248" y="2103023"/>
                  <a:pt x="2010248" y="2103023"/>
                  <a:pt x="2010248" y="2103023"/>
                </a:cubicBezTo>
                <a:cubicBezTo>
                  <a:pt x="2007573" y="2113364"/>
                  <a:pt x="2013243" y="2117038"/>
                  <a:pt x="2013243" y="2117038"/>
                </a:cubicBezTo>
                <a:cubicBezTo>
                  <a:pt x="2014240" y="2121707"/>
                  <a:pt x="2010567" y="2127376"/>
                  <a:pt x="2006894" y="2133046"/>
                </a:cubicBezTo>
                <a:cubicBezTo>
                  <a:pt x="2002223" y="2134043"/>
                  <a:pt x="2002223" y="2134043"/>
                  <a:pt x="1997551" y="2135041"/>
                </a:cubicBezTo>
                <a:cubicBezTo>
                  <a:pt x="1997551" y="2135041"/>
                  <a:pt x="1996554" y="2130371"/>
                  <a:pt x="1996554" y="2130371"/>
                </a:cubicBezTo>
                <a:cubicBezTo>
                  <a:pt x="1996554" y="2130371"/>
                  <a:pt x="1996554" y="2130371"/>
                  <a:pt x="1991884" y="2131368"/>
                </a:cubicBezTo>
                <a:cubicBezTo>
                  <a:pt x="1991884" y="2131368"/>
                  <a:pt x="1992881" y="2136040"/>
                  <a:pt x="1992881" y="2136040"/>
                </a:cubicBezTo>
                <a:cubicBezTo>
                  <a:pt x="1992881" y="2136040"/>
                  <a:pt x="1993879" y="2140711"/>
                  <a:pt x="1993879" y="2140711"/>
                </a:cubicBezTo>
                <a:cubicBezTo>
                  <a:pt x="1994876" y="2145381"/>
                  <a:pt x="1990205" y="2146379"/>
                  <a:pt x="1991204" y="2151051"/>
                </a:cubicBezTo>
                <a:cubicBezTo>
                  <a:pt x="1986534" y="2152048"/>
                  <a:pt x="1987531" y="2156719"/>
                  <a:pt x="1987531" y="2156719"/>
                </a:cubicBezTo>
                <a:cubicBezTo>
                  <a:pt x="1982860" y="2157718"/>
                  <a:pt x="1982860" y="2157718"/>
                  <a:pt x="1982860" y="2157718"/>
                </a:cubicBezTo>
                <a:cubicBezTo>
                  <a:pt x="1979187" y="2163386"/>
                  <a:pt x="1979187" y="2163386"/>
                  <a:pt x="1979187" y="2163386"/>
                </a:cubicBezTo>
                <a:cubicBezTo>
                  <a:pt x="1983857" y="2162388"/>
                  <a:pt x="1983857" y="2162388"/>
                  <a:pt x="1983857" y="2162388"/>
                </a:cubicBezTo>
                <a:cubicBezTo>
                  <a:pt x="1979187" y="2163386"/>
                  <a:pt x="1980184" y="2168057"/>
                  <a:pt x="1980184" y="2168057"/>
                </a:cubicBezTo>
                <a:cubicBezTo>
                  <a:pt x="1965493" y="2190733"/>
                  <a:pt x="1950798" y="2213409"/>
                  <a:pt x="1939781" y="2230416"/>
                </a:cubicBezTo>
                <a:cubicBezTo>
                  <a:pt x="1935109" y="2231414"/>
                  <a:pt x="1935109" y="2231414"/>
                  <a:pt x="1935109" y="2231414"/>
                </a:cubicBezTo>
                <a:cubicBezTo>
                  <a:pt x="1936107" y="2236085"/>
                  <a:pt x="1936107" y="2236085"/>
                  <a:pt x="1936107" y="2236085"/>
                </a:cubicBezTo>
                <a:cubicBezTo>
                  <a:pt x="1932434" y="2241754"/>
                  <a:pt x="1932434" y="2241754"/>
                  <a:pt x="1932434" y="2241754"/>
                </a:cubicBezTo>
                <a:cubicBezTo>
                  <a:pt x="1933433" y="2246425"/>
                  <a:pt x="1933433" y="2246425"/>
                  <a:pt x="1933433" y="2246425"/>
                </a:cubicBezTo>
                <a:cubicBezTo>
                  <a:pt x="1932434" y="2241754"/>
                  <a:pt x="1932434" y="2241754"/>
                  <a:pt x="1926765" y="2238080"/>
                </a:cubicBezTo>
                <a:cubicBezTo>
                  <a:pt x="1923091" y="2243750"/>
                  <a:pt x="1919419" y="2249418"/>
                  <a:pt x="1912072" y="2260756"/>
                </a:cubicBezTo>
                <a:cubicBezTo>
                  <a:pt x="1912072" y="2260756"/>
                  <a:pt x="1912072" y="2260756"/>
                  <a:pt x="1907402" y="2261755"/>
                </a:cubicBezTo>
                <a:lnTo>
                  <a:pt x="1905146" y="2259025"/>
                </a:lnTo>
                <a:lnTo>
                  <a:pt x="1906944" y="2256251"/>
                </a:lnTo>
                <a:lnTo>
                  <a:pt x="1908825" y="2254124"/>
                </a:lnTo>
                <a:cubicBezTo>
                  <a:pt x="1912413" y="2250916"/>
                  <a:pt x="1916585" y="2247581"/>
                  <a:pt x="1913750" y="2245744"/>
                </a:cubicBezTo>
                <a:lnTo>
                  <a:pt x="1906944" y="2256251"/>
                </a:lnTo>
                <a:lnTo>
                  <a:pt x="1904828" y="2258642"/>
                </a:lnTo>
                <a:lnTo>
                  <a:pt x="1905146" y="2259025"/>
                </a:lnTo>
                <a:lnTo>
                  <a:pt x="1888038" y="2285428"/>
                </a:lnTo>
                <a:cubicBezTo>
                  <a:pt x="1880691" y="2296766"/>
                  <a:pt x="1877020" y="2302434"/>
                  <a:pt x="1869672" y="2313773"/>
                </a:cubicBezTo>
                <a:cubicBezTo>
                  <a:pt x="1865998" y="2319442"/>
                  <a:pt x="1858653" y="2330779"/>
                  <a:pt x="1855978" y="2341119"/>
                </a:cubicBezTo>
                <a:cubicBezTo>
                  <a:pt x="1844959" y="2358126"/>
                  <a:pt x="1836615" y="2364794"/>
                  <a:pt x="1822921" y="2392140"/>
                </a:cubicBezTo>
                <a:cubicBezTo>
                  <a:pt x="1819248" y="2397810"/>
                  <a:pt x="1815574" y="2403479"/>
                  <a:pt x="1816572" y="2408148"/>
                </a:cubicBezTo>
                <a:cubicBezTo>
                  <a:pt x="1811902" y="2409147"/>
                  <a:pt x="1812900" y="2413817"/>
                  <a:pt x="1808228" y="2414816"/>
                </a:cubicBezTo>
                <a:cubicBezTo>
                  <a:pt x="1808228" y="2414816"/>
                  <a:pt x="1804555" y="2420484"/>
                  <a:pt x="1804555" y="2420484"/>
                </a:cubicBezTo>
                <a:cubicBezTo>
                  <a:pt x="1800883" y="2426153"/>
                  <a:pt x="1797209" y="2431823"/>
                  <a:pt x="1794533" y="2442162"/>
                </a:cubicBezTo>
                <a:cubicBezTo>
                  <a:pt x="1793536" y="2437492"/>
                  <a:pt x="1782517" y="2454499"/>
                  <a:pt x="1788184" y="2458170"/>
                </a:cubicBezTo>
                <a:cubicBezTo>
                  <a:pt x="1784512" y="2463840"/>
                  <a:pt x="1780839" y="2469509"/>
                  <a:pt x="1777165" y="2475180"/>
                </a:cubicBezTo>
                <a:cubicBezTo>
                  <a:pt x="1744108" y="2526200"/>
                  <a:pt x="1709374" y="2592231"/>
                  <a:pt x="1685658" y="2641254"/>
                </a:cubicBezTo>
                <a:lnTo>
                  <a:pt x="1682599" y="2641908"/>
                </a:lnTo>
                <a:lnTo>
                  <a:pt x="1683636" y="2638298"/>
                </a:lnTo>
                <a:lnTo>
                  <a:pt x="1750713" y="2461519"/>
                </a:lnTo>
                <a:lnTo>
                  <a:pt x="1758144" y="2444367"/>
                </a:lnTo>
                <a:cubicBezTo>
                  <a:pt x="1760152" y="2441266"/>
                  <a:pt x="1761507" y="2441892"/>
                  <a:pt x="1761837" y="2449148"/>
                </a:cubicBezTo>
                <a:lnTo>
                  <a:pt x="1764852" y="2429816"/>
                </a:lnTo>
                <a:lnTo>
                  <a:pt x="1770123" y="2418679"/>
                </a:lnTo>
                <a:lnTo>
                  <a:pt x="1773535" y="2412460"/>
                </a:lnTo>
                <a:cubicBezTo>
                  <a:pt x="1773535" y="2412460"/>
                  <a:pt x="1774532" y="2417130"/>
                  <a:pt x="1778206" y="2411463"/>
                </a:cubicBezTo>
                <a:cubicBezTo>
                  <a:pt x="1780042" y="2408627"/>
                  <a:pt x="1779543" y="2406292"/>
                  <a:pt x="1779045" y="2403956"/>
                </a:cubicBezTo>
                <a:lnTo>
                  <a:pt x="1779650" y="2398547"/>
                </a:lnTo>
                <a:lnTo>
                  <a:pt x="1780549" y="2396643"/>
                </a:lnTo>
                <a:lnTo>
                  <a:pt x="1783219" y="2397418"/>
                </a:lnTo>
                <a:cubicBezTo>
                  <a:pt x="1790665" y="2392621"/>
                  <a:pt x="1806752" y="2373615"/>
                  <a:pt x="1798250" y="2368106"/>
                </a:cubicBezTo>
                <a:cubicBezTo>
                  <a:pt x="1807590" y="2366111"/>
                  <a:pt x="1819289" y="2329421"/>
                  <a:pt x="1818610" y="2349103"/>
                </a:cubicBezTo>
                <a:cubicBezTo>
                  <a:pt x="1842326" y="2300078"/>
                  <a:pt x="1864365" y="2266065"/>
                  <a:pt x="1881733" y="2233049"/>
                </a:cubicBezTo>
                <a:cubicBezTo>
                  <a:pt x="1885404" y="2227381"/>
                  <a:pt x="1892752" y="2216042"/>
                  <a:pt x="1896425" y="2210374"/>
                </a:cubicBezTo>
                <a:cubicBezTo>
                  <a:pt x="1925809" y="2165022"/>
                  <a:pt x="1956191" y="2124341"/>
                  <a:pt x="1991246" y="2082662"/>
                </a:cubicBezTo>
                <a:cubicBezTo>
                  <a:pt x="1999590" y="2075996"/>
                  <a:pt x="2015280" y="2057991"/>
                  <a:pt x="2014282" y="2053319"/>
                </a:cubicBezTo>
                <a:cubicBezTo>
                  <a:pt x="2014282" y="2053319"/>
                  <a:pt x="2014282" y="2053319"/>
                  <a:pt x="2013284" y="2048648"/>
                </a:cubicBezTo>
                <a:cubicBezTo>
                  <a:pt x="2013284" y="2048648"/>
                  <a:pt x="2018954" y="2052322"/>
                  <a:pt x="2018954" y="2052322"/>
                </a:cubicBezTo>
                <a:cubicBezTo>
                  <a:pt x="2022626" y="2046653"/>
                  <a:pt x="2027297" y="2045655"/>
                  <a:pt x="2026300" y="2040983"/>
                </a:cubicBezTo>
                <a:cubicBezTo>
                  <a:pt x="2030971" y="2039986"/>
                  <a:pt x="2029972" y="2035316"/>
                  <a:pt x="2029972" y="2035316"/>
                </a:cubicBezTo>
                <a:cubicBezTo>
                  <a:pt x="2029972" y="2035316"/>
                  <a:pt x="2029972" y="2035316"/>
                  <a:pt x="2025302" y="2036313"/>
                </a:cubicBezTo>
                <a:cubicBezTo>
                  <a:pt x="2039994" y="2013637"/>
                  <a:pt x="2060356" y="1994635"/>
                  <a:pt x="2079719" y="1970960"/>
                </a:cubicBezTo>
                <a:cubicBezTo>
                  <a:pt x="2090569" y="1958874"/>
                  <a:pt x="2098705" y="1949809"/>
                  <a:pt x="2104808" y="1943012"/>
                </a:cubicBezTo>
                <a:close/>
                <a:moveTo>
                  <a:pt x="5856125" y="1563605"/>
                </a:moveTo>
                <a:lnTo>
                  <a:pt x="5862009" y="1568282"/>
                </a:lnTo>
                <a:cubicBezTo>
                  <a:pt x="5862009" y="1568282"/>
                  <a:pt x="5856339" y="1564609"/>
                  <a:pt x="5856339" y="1564609"/>
                </a:cubicBezTo>
                <a:close/>
                <a:moveTo>
                  <a:pt x="5246583" y="1522365"/>
                </a:moveTo>
                <a:cubicBezTo>
                  <a:pt x="5241635" y="1531357"/>
                  <a:pt x="5271801" y="1546788"/>
                  <a:pt x="5292976" y="1557270"/>
                </a:cubicBezTo>
                <a:cubicBezTo>
                  <a:pt x="5314415" y="1584300"/>
                  <a:pt x="5350379" y="1604094"/>
                  <a:pt x="5381981" y="1629688"/>
                </a:cubicBezTo>
                <a:cubicBezTo>
                  <a:pt x="5378789" y="1629103"/>
                  <a:pt x="5378789" y="1629103"/>
                  <a:pt x="5378789" y="1629103"/>
                </a:cubicBezTo>
                <a:cubicBezTo>
                  <a:pt x="5376183" y="1625324"/>
                  <a:pt x="5372989" y="1624740"/>
                  <a:pt x="5369212" y="1627347"/>
                </a:cubicBezTo>
                <a:cubicBezTo>
                  <a:pt x="5369212" y="1627347"/>
                  <a:pt x="5371821" y="1631126"/>
                  <a:pt x="5375011" y="1631710"/>
                </a:cubicBezTo>
                <a:cubicBezTo>
                  <a:pt x="5342238" y="1612502"/>
                  <a:pt x="5297869" y="1584567"/>
                  <a:pt x="5272066" y="1563336"/>
                </a:cubicBezTo>
                <a:cubicBezTo>
                  <a:pt x="5247699" y="1552269"/>
                  <a:pt x="5223918" y="1538010"/>
                  <a:pt x="5204180" y="1537692"/>
                </a:cubicBezTo>
                <a:cubicBezTo>
                  <a:pt x="5281323" y="1584834"/>
                  <a:pt x="5337291" y="1621495"/>
                  <a:pt x="5381927" y="1665979"/>
                </a:cubicBezTo>
                <a:cubicBezTo>
                  <a:pt x="5400495" y="1672683"/>
                  <a:pt x="5429489" y="1694498"/>
                  <a:pt x="5437310" y="1705833"/>
                </a:cubicBezTo>
                <a:cubicBezTo>
                  <a:pt x="5424542" y="1703492"/>
                  <a:pt x="5435554" y="1715410"/>
                  <a:pt x="5428584" y="1717433"/>
                </a:cubicBezTo>
                <a:cubicBezTo>
                  <a:pt x="5436990" y="1725574"/>
                  <a:pt x="5440768" y="1722967"/>
                  <a:pt x="5445982" y="1730522"/>
                </a:cubicBezTo>
                <a:cubicBezTo>
                  <a:pt x="5461357" y="1736643"/>
                  <a:pt x="5436139" y="1712218"/>
                  <a:pt x="5454121" y="1722114"/>
                </a:cubicBezTo>
                <a:cubicBezTo>
                  <a:pt x="5488331" y="1751486"/>
                  <a:pt x="5507164" y="1774739"/>
                  <a:pt x="5545149" y="1801503"/>
                </a:cubicBezTo>
                <a:cubicBezTo>
                  <a:pt x="5552385" y="1816031"/>
                  <a:pt x="5569197" y="1832312"/>
                  <a:pt x="5589201" y="1849179"/>
                </a:cubicBezTo>
                <a:cubicBezTo>
                  <a:pt x="5606011" y="1865462"/>
                  <a:pt x="5625430" y="1885523"/>
                  <a:pt x="5635857" y="1900633"/>
                </a:cubicBezTo>
                <a:cubicBezTo>
                  <a:pt x="5624845" y="1888715"/>
                  <a:pt x="5621067" y="1891322"/>
                  <a:pt x="5617876" y="1890738"/>
                </a:cubicBezTo>
                <a:cubicBezTo>
                  <a:pt x="5620483" y="1894516"/>
                  <a:pt x="5617289" y="1893930"/>
                  <a:pt x="5616705" y="1897123"/>
                </a:cubicBezTo>
                <a:cubicBezTo>
                  <a:pt x="5633515" y="1913406"/>
                  <a:pt x="5635539" y="1920376"/>
                  <a:pt x="5652350" y="1936657"/>
                </a:cubicBezTo>
                <a:cubicBezTo>
                  <a:pt x="5655543" y="1937242"/>
                  <a:pt x="5655543" y="1937242"/>
                  <a:pt x="5661340" y="1941605"/>
                </a:cubicBezTo>
                <a:cubicBezTo>
                  <a:pt x="5665703" y="1935806"/>
                  <a:pt x="5657883" y="1924472"/>
                  <a:pt x="5666874" y="1929420"/>
                </a:cubicBezTo>
                <a:cubicBezTo>
                  <a:pt x="5683101" y="1948895"/>
                  <a:pt x="5693528" y="1964007"/>
                  <a:pt x="5707147" y="1979705"/>
                </a:cubicBezTo>
                <a:cubicBezTo>
                  <a:pt x="5720766" y="1995402"/>
                  <a:pt x="5734387" y="2011099"/>
                  <a:pt x="5756412" y="2034937"/>
                </a:cubicBezTo>
                <a:cubicBezTo>
                  <a:pt x="5756996" y="2031744"/>
                  <a:pt x="5760189" y="2032328"/>
                  <a:pt x="5762795" y="2036107"/>
                </a:cubicBezTo>
                <a:cubicBezTo>
                  <a:pt x="5779021" y="2055583"/>
                  <a:pt x="5776415" y="2051804"/>
                  <a:pt x="5789449" y="2070695"/>
                </a:cubicBezTo>
                <a:cubicBezTo>
                  <a:pt x="5794662" y="2078250"/>
                  <a:pt x="5803069" y="2086391"/>
                  <a:pt x="5808283" y="2093948"/>
                </a:cubicBezTo>
                <a:cubicBezTo>
                  <a:pt x="5835202" y="2145084"/>
                  <a:pt x="5875208" y="2178819"/>
                  <a:pt x="5910535" y="2238094"/>
                </a:cubicBezTo>
                <a:cubicBezTo>
                  <a:pt x="5913727" y="2238679"/>
                  <a:pt x="5918355" y="2249428"/>
                  <a:pt x="5924153" y="2253791"/>
                </a:cubicBezTo>
                <a:cubicBezTo>
                  <a:pt x="5923568" y="2256984"/>
                  <a:pt x="5934580" y="2268904"/>
                  <a:pt x="5927611" y="2270927"/>
                </a:cubicBezTo>
                <a:cubicBezTo>
                  <a:pt x="5921812" y="2266563"/>
                  <a:pt x="5908779" y="2247673"/>
                  <a:pt x="5904415" y="2253473"/>
                </a:cubicBezTo>
                <a:cubicBezTo>
                  <a:pt x="5911651" y="2268000"/>
                  <a:pt x="5920056" y="2276142"/>
                  <a:pt x="5924685" y="2286890"/>
                </a:cubicBezTo>
                <a:cubicBezTo>
                  <a:pt x="5932506" y="2298224"/>
                  <a:pt x="5940911" y="2306364"/>
                  <a:pt x="5949317" y="2314506"/>
                </a:cubicBezTo>
                <a:cubicBezTo>
                  <a:pt x="5957723" y="2322647"/>
                  <a:pt x="5945274" y="2300565"/>
                  <a:pt x="5949051" y="2297957"/>
                </a:cubicBezTo>
                <a:cubicBezTo>
                  <a:pt x="5949051" y="2297957"/>
                  <a:pt x="5954265" y="2305513"/>
                  <a:pt x="5958042" y="2302905"/>
                </a:cubicBezTo>
                <a:cubicBezTo>
                  <a:pt x="5961819" y="2300299"/>
                  <a:pt x="5952562" y="2278799"/>
                  <a:pt x="5967621" y="2304661"/>
                </a:cubicBezTo>
                <a:cubicBezTo>
                  <a:pt x="5965012" y="2300883"/>
                  <a:pt x="5965012" y="2300883"/>
                  <a:pt x="5965012" y="2300883"/>
                </a:cubicBezTo>
                <a:cubicBezTo>
                  <a:pt x="5965012" y="2300883"/>
                  <a:pt x="5964427" y="2304075"/>
                  <a:pt x="5964427" y="2304075"/>
                </a:cubicBezTo>
                <a:cubicBezTo>
                  <a:pt x="5963841" y="2307269"/>
                  <a:pt x="5963841" y="2307269"/>
                  <a:pt x="5963841" y="2307269"/>
                </a:cubicBezTo>
                <a:cubicBezTo>
                  <a:pt x="5966448" y="2311046"/>
                  <a:pt x="5966448" y="2311046"/>
                  <a:pt x="5969641" y="2311632"/>
                </a:cubicBezTo>
                <a:cubicBezTo>
                  <a:pt x="5963256" y="2310461"/>
                  <a:pt x="5978311" y="2336321"/>
                  <a:pt x="5982091" y="2333714"/>
                </a:cubicBezTo>
                <a:cubicBezTo>
                  <a:pt x="5981505" y="2336907"/>
                  <a:pt x="5984696" y="2337493"/>
                  <a:pt x="5987303" y="2341270"/>
                </a:cubicBezTo>
                <a:cubicBezTo>
                  <a:pt x="5987303" y="2341270"/>
                  <a:pt x="5987889" y="2338077"/>
                  <a:pt x="5985281" y="2334300"/>
                </a:cubicBezTo>
                <a:cubicBezTo>
                  <a:pt x="5985281" y="2334300"/>
                  <a:pt x="5985281" y="2334300"/>
                  <a:pt x="5985867" y="2331106"/>
                </a:cubicBezTo>
                <a:cubicBezTo>
                  <a:pt x="5995708" y="2349412"/>
                  <a:pt x="6030769" y="2392138"/>
                  <a:pt x="6031034" y="2408688"/>
                </a:cubicBezTo>
                <a:cubicBezTo>
                  <a:pt x="6019435" y="2399961"/>
                  <a:pt x="6008423" y="2388044"/>
                  <a:pt x="6004061" y="2393843"/>
                </a:cubicBezTo>
                <a:cubicBezTo>
                  <a:pt x="6006082" y="2400813"/>
                  <a:pt x="6013901" y="2412148"/>
                  <a:pt x="6004326" y="2410392"/>
                </a:cubicBezTo>
                <a:cubicBezTo>
                  <a:pt x="6011561" y="2424918"/>
                  <a:pt x="6018797" y="2439444"/>
                  <a:pt x="6026031" y="2453972"/>
                </a:cubicBezTo>
                <a:cubicBezTo>
                  <a:pt x="6029224" y="2454556"/>
                  <a:pt x="6024595" y="2443807"/>
                  <a:pt x="6029808" y="2451365"/>
                </a:cubicBezTo>
                <a:cubicBezTo>
                  <a:pt x="6033851" y="2465306"/>
                  <a:pt x="6041673" y="2476639"/>
                  <a:pt x="6047737" y="2497552"/>
                </a:cubicBezTo>
                <a:cubicBezTo>
                  <a:pt x="6064547" y="2513833"/>
                  <a:pt x="6070613" y="2534746"/>
                  <a:pt x="6086519" y="2573962"/>
                </a:cubicBezTo>
                <a:cubicBezTo>
                  <a:pt x="6080135" y="2572791"/>
                  <a:pt x="6082156" y="2579763"/>
                  <a:pt x="6082156" y="2579763"/>
                </a:cubicBezTo>
                <a:cubicBezTo>
                  <a:pt x="6092849" y="2611422"/>
                  <a:pt x="6106149" y="2646862"/>
                  <a:pt x="6113651" y="2677937"/>
                </a:cubicBezTo>
                <a:cubicBezTo>
                  <a:pt x="6123757" y="2712792"/>
                  <a:pt x="6134449" y="2744452"/>
                  <a:pt x="6143121" y="2769142"/>
                </a:cubicBezTo>
                <a:cubicBezTo>
                  <a:pt x="6139079" y="2755200"/>
                  <a:pt x="6146899" y="2766533"/>
                  <a:pt x="6149507" y="2770313"/>
                </a:cubicBezTo>
                <a:cubicBezTo>
                  <a:pt x="6150943" y="2780476"/>
                  <a:pt x="6157591" y="2798196"/>
                  <a:pt x="6151794" y="2793831"/>
                </a:cubicBezTo>
                <a:cubicBezTo>
                  <a:pt x="6160465" y="2818522"/>
                  <a:pt x="6165093" y="2829271"/>
                  <a:pt x="6172593" y="2860346"/>
                </a:cubicBezTo>
                <a:cubicBezTo>
                  <a:pt x="6170839" y="2869925"/>
                  <a:pt x="6169667" y="2876311"/>
                  <a:pt x="6171103" y="2886473"/>
                </a:cubicBezTo>
                <a:cubicBezTo>
                  <a:pt x="6176317" y="2894030"/>
                  <a:pt x="6179775" y="2911164"/>
                  <a:pt x="6180041" y="2927712"/>
                </a:cubicBezTo>
                <a:cubicBezTo>
                  <a:pt x="6183497" y="2944847"/>
                  <a:pt x="6187542" y="2958788"/>
                  <a:pt x="6193340" y="2963151"/>
                </a:cubicBezTo>
                <a:cubicBezTo>
                  <a:pt x="6195681" y="2950380"/>
                  <a:pt x="6193978" y="2923668"/>
                  <a:pt x="6188501" y="2899562"/>
                </a:cubicBezTo>
                <a:cubicBezTo>
                  <a:pt x="6183021" y="2875459"/>
                  <a:pt x="6174935" y="2847575"/>
                  <a:pt x="6168869" y="2826663"/>
                </a:cubicBezTo>
                <a:cubicBezTo>
                  <a:pt x="6166264" y="2822885"/>
                  <a:pt x="6164827" y="2812722"/>
                  <a:pt x="6165413" y="2809528"/>
                </a:cubicBezTo>
                <a:cubicBezTo>
                  <a:pt x="6147485" y="2763343"/>
                  <a:pt x="6152753" y="2734608"/>
                  <a:pt x="6141209" y="2689590"/>
                </a:cubicBezTo>
                <a:cubicBezTo>
                  <a:pt x="6109927" y="2644255"/>
                  <a:pt x="6103331" y="2590245"/>
                  <a:pt x="6069763" y="2521391"/>
                </a:cubicBezTo>
                <a:cubicBezTo>
                  <a:pt x="6076146" y="2522559"/>
                  <a:pt x="6072103" y="2508619"/>
                  <a:pt x="6075882" y="2506011"/>
                </a:cubicBezTo>
                <a:cubicBezTo>
                  <a:pt x="6071253" y="2495261"/>
                  <a:pt x="6064017" y="2480736"/>
                  <a:pt x="6059974" y="2466794"/>
                </a:cubicBezTo>
                <a:cubicBezTo>
                  <a:pt x="6062581" y="2470572"/>
                  <a:pt x="6062581" y="2470572"/>
                  <a:pt x="6062581" y="2470572"/>
                </a:cubicBezTo>
                <a:cubicBezTo>
                  <a:pt x="6065188" y="2474350"/>
                  <a:pt x="6065188" y="2474350"/>
                  <a:pt x="6065188" y="2474350"/>
                </a:cubicBezTo>
                <a:cubicBezTo>
                  <a:pt x="6065773" y="2471157"/>
                  <a:pt x="6066357" y="2467964"/>
                  <a:pt x="6063167" y="2467380"/>
                </a:cubicBezTo>
                <a:cubicBezTo>
                  <a:pt x="6060559" y="2463602"/>
                  <a:pt x="6060559" y="2463602"/>
                  <a:pt x="6060559" y="2463602"/>
                </a:cubicBezTo>
                <a:cubicBezTo>
                  <a:pt x="6061145" y="2460410"/>
                  <a:pt x="6061145" y="2460410"/>
                  <a:pt x="6061145" y="2460410"/>
                </a:cubicBezTo>
                <a:cubicBezTo>
                  <a:pt x="6062901" y="2450831"/>
                  <a:pt x="6047845" y="2424970"/>
                  <a:pt x="6030769" y="2392138"/>
                </a:cubicBezTo>
                <a:cubicBezTo>
                  <a:pt x="6010499" y="2358723"/>
                  <a:pt x="5988208" y="2318335"/>
                  <a:pt x="5967939" y="2284919"/>
                </a:cubicBezTo>
                <a:cubicBezTo>
                  <a:pt x="5960703" y="2270393"/>
                  <a:pt x="5958681" y="2263421"/>
                  <a:pt x="5950861" y="2252088"/>
                </a:cubicBezTo>
                <a:cubicBezTo>
                  <a:pt x="5927985" y="2214894"/>
                  <a:pt x="5898140" y="2179721"/>
                  <a:pt x="5874678" y="2145720"/>
                </a:cubicBezTo>
                <a:cubicBezTo>
                  <a:pt x="5869464" y="2138164"/>
                  <a:pt x="5868028" y="2128001"/>
                  <a:pt x="5862229" y="2123637"/>
                </a:cubicBezTo>
                <a:cubicBezTo>
                  <a:pt x="5862229" y="2123637"/>
                  <a:pt x="5865421" y="2124222"/>
                  <a:pt x="5864835" y="2127414"/>
                </a:cubicBezTo>
                <a:cubicBezTo>
                  <a:pt x="5864835" y="2127414"/>
                  <a:pt x="5868028" y="2128001"/>
                  <a:pt x="5868028" y="2128001"/>
                </a:cubicBezTo>
                <a:cubicBezTo>
                  <a:pt x="5865421" y="2124222"/>
                  <a:pt x="5865421" y="2124222"/>
                  <a:pt x="5862814" y="2120444"/>
                </a:cubicBezTo>
                <a:cubicBezTo>
                  <a:pt x="5860207" y="2116666"/>
                  <a:pt x="5860207" y="2116666"/>
                  <a:pt x="5860207" y="2116666"/>
                </a:cubicBezTo>
                <a:cubicBezTo>
                  <a:pt x="5866006" y="2121031"/>
                  <a:pt x="5879041" y="2139920"/>
                  <a:pt x="5888031" y="2144868"/>
                </a:cubicBezTo>
                <a:cubicBezTo>
                  <a:pt x="5891809" y="2142261"/>
                  <a:pt x="5883989" y="2130928"/>
                  <a:pt x="5876167" y="2119593"/>
                </a:cubicBezTo>
                <a:cubicBezTo>
                  <a:pt x="5879361" y="2120179"/>
                  <a:pt x="5879361" y="2120179"/>
                  <a:pt x="5879361" y="2120179"/>
                </a:cubicBezTo>
                <a:cubicBezTo>
                  <a:pt x="5881968" y="2123955"/>
                  <a:pt x="5881968" y="2123955"/>
                  <a:pt x="5881968" y="2123955"/>
                </a:cubicBezTo>
                <a:cubicBezTo>
                  <a:pt x="5885745" y="2121349"/>
                  <a:pt x="5882553" y="2120764"/>
                  <a:pt x="5879947" y="2116985"/>
                </a:cubicBezTo>
                <a:cubicBezTo>
                  <a:pt x="5879947" y="2116985"/>
                  <a:pt x="5877339" y="2113207"/>
                  <a:pt x="5877339" y="2113207"/>
                </a:cubicBezTo>
                <a:cubicBezTo>
                  <a:pt x="5877925" y="2110013"/>
                  <a:pt x="5890373" y="2132097"/>
                  <a:pt x="5888937" y="2121935"/>
                </a:cubicBezTo>
                <a:cubicBezTo>
                  <a:pt x="5875903" y="2103043"/>
                  <a:pt x="5860262" y="2080376"/>
                  <a:pt x="5847227" y="2061487"/>
                </a:cubicBezTo>
                <a:cubicBezTo>
                  <a:pt x="5834193" y="2042597"/>
                  <a:pt x="5823181" y="2030677"/>
                  <a:pt x="5815626" y="2035893"/>
                </a:cubicBezTo>
                <a:cubicBezTo>
                  <a:pt x="5816211" y="2032701"/>
                  <a:pt x="5813019" y="2032114"/>
                  <a:pt x="5813019" y="2032114"/>
                </a:cubicBezTo>
                <a:cubicBezTo>
                  <a:pt x="5813605" y="2028921"/>
                  <a:pt x="5810999" y="2025142"/>
                  <a:pt x="5807807" y="2024558"/>
                </a:cubicBezTo>
                <a:cubicBezTo>
                  <a:pt x="5807807" y="2024558"/>
                  <a:pt x="5807807" y="2024558"/>
                  <a:pt x="5807219" y="2027751"/>
                </a:cubicBezTo>
                <a:cubicBezTo>
                  <a:pt x="5807219" y="2027751"/>
                  <a:pt x="5809827" y="2031530"/>
                  <a:pt x="5809827" y="2031530"/>
                </a:cubicBezTo>
                <a:cubicBezTo>
                  <a:pt x="5806635" y="2030945"/>
                  <a:pt x="5800837" y="2026580"/>
                  <a:pt x="5792431" y="2018439"/>
                </a:cubicBezTo>
                <a:cubicBezTo>
                  <a:pt x="5788653" y="2021048"/>
                  <a:pt x="5781683" y="2023069"/>
                  <a:pt x="5778490" y="2022486"/>
                </a:cubicBezTo>
                <a:cubicBezTo>
                  <a:pt x="5757637" y="1992261"/>
                  <a:pt x="5740824" y="1975978"/>
                  <a:pt x="5713585" y="1944585"/>
                </a:cubicBezTo>
                <a:cubicBezTo>
                  <a:pt x="5708371" y="1937028"/>
                  <a:pt x="5702573" y="1932665"/>
                  <a:pt x="5693582" y="1927717"/>
                </a:cubicBezTo>
                <a:cubicBezTo>
                  <a:pt x="5663735" y="1892545"/>
                  <a:pt x="5633305" y="1860565"/>
                  <a:pt x="5602288" y="1831780"/>
                </a:cubicBezTo>
                <a:cubicBezTo>
                  <a:pt x="5568665" y="1799214"/>
                  <a:pt x="5537649" y="1770429"/>
                  <a:pt x="5510410" y="1739034"/>
                </a:cubicBezTo>
                <a:cubicBezTo>
                  <a:pt x="5513601" y="1739619"/>
                  <a:pt x="5513601" y="1739619"/>
                  <a:pt x="5513601" y="1739619"/>
                </a:cubicBezTo>
                <a:cubicBezTo>
                  <a:pt x="5516208" y="1743398"/>
                  <a:pt x="5519401" y="1743982"/>
                  <a:pt x="5519401" y="1743982"/>
                </a:cubicBezTo>
                <a:cubicBezTo>
                  <a:pt x="5519987" y="1740790"/>
                  <a:pt x="5517379" y="1737011"/>
                  <a:pt x="5514187" y="1736427"/>
                </a:cubicBezTo>
                <a:cubicBezTo>
                  <a:pt x="5511581" y="1732649"/>
                  <a:pt x="5511581" y="1732649"/>
                  <a:pt x="5508389" y="1732064"/>
                </a:cubicBezTo>
                <a:cubicBezTo>
                  <a:pt x="5508974" y="1728870"/>
                  <a:pt x="5512165" y="1729457"/>
                  <a:pt x="5514771" y="1733234"/>
                </a:cubicBezTo>
                <a:cubicBezTo>
                  <a:pt x="5537383" y="1753879"/>
                  <a:pt x="5570421" y="1789637"/>
                  <a:pt x="5602607" y="1812037"/>
                </a:cubicBezTo>
                <a:cubicBezTo>
                  <a:pt x="5605801" y="1812623"/>
                  <a:pt x="5612185" y="1813793"/>
                  <a:pt x="5604365" y="1802460"/>
                </a:cubicBezTo>
                <a:cubicBezTo>
                  <a:pt x="5597979" y="1801288"/>
                  <a:pt x="5589574" y="1793147"/>
                  <a:pt x="5577975" y="1784421"/>
                </a:cubicBezTo>
                <a:cubicBezTo>
                  <a:pt x="5585531" y="1779206"/>
                  <a:pt x="5555951" y="1760583"/>
                  <a:pt x="5541747" y="1748079"/>
                </a:cubicBezTo>
                <a:cubicBezTo>
                  <a:pt x="5502323" y="1711151"/>
                  <a:pt x="5460879" y="1667253"/>
                  <a:pt x="5413903" y="1635540"/>
                </a:cubicBezTo>
                <a:cubicBezTo>
                  <a:pt x="5408104" y="1631177"/>
                  <a:pt x="5404912" y="1630592"/>
                  <a:pt x="5399113" y="1626229"/>
                </a:cubicBezTo>
                <a:cubicBezTo>
                  <a:pt x="5381129" y="1616332"/>
                  <a:pt x="5353305" y="1588131"/>
                  <a:pt x="5340536" y="1585789"/>
                </a:cubicBezTo>
                <a:cubicBezTo>
                  <a:pt x="5344315" y="1583182"/>
                  <a:pt x="5341708" y="1579403"/>
                  <a:pt x="5336494" y="1571849"/>
                </a:cubicBezTo>
                <a:cubicBezTo>
                  <a:pt x="5329525" y="1573869"/>
                  <a:pt x="5305744" y="1559611"/>
                  <a:pt x="5305744" y="1559611"/>
                </a:cubicBezTo>
                <a:cubicBezTo>
                  <a:pt x="5312129" y="1560780"/>
                  <a:pt x="5312713" y="1557588"/>
                  <a:pt x="5312713" y="1557588"/>
                </a:cubicBezTo>
                <a:cubicBezTo>
                  <a:pt x="5286325" y="1539550"/>
                  <a:pt x="5270951" y="1533431"/>
                  <a:pt x="5246583" y="1522365"/>
                </a:cubicBezTo>
                <a:close/>
                <a:moveTo>
                  <a:pt x="4878235" y="1485529"/>
                </a:moveTo>
                <a:cubicBezTo>
                  <a:pt x="4875296" y="1484924"/>
                  <a:pt x="4872549" y="1485647"/>
                  <a:pt x="4870589" y="1490232"/>
                </a:cubicBezTo>
                <a:cubicBezTo>
                  <a:pt x="4867403" y="1496677"/>
                  <a:pt x="4871754" y="1502223"/>
                  <a:pt x="4876107" y="1507769"/>
                </a:cubicBezTo>
                <a:cubicBezTo>
                  <a:pt x="4881823" y="1513679"/>
                  <a:pt x="4888535" y="1521317"/>
                  <a:pt x="4892523" y="1528225"/>
                </a:cubicBezTo>
                <a:lnTo>
                  <a:pt x="4854485" y="1513109"/>
                </a:lnTo>
                <a:lnTo>
                  <a:pt x="4906663" y="1538241"/>
                </a:lnTo>
                <a:cubicBezTo>
                  <a:pt x="5019982" y="1601281"/>
                  <a:pt x="5124259" y="1674344"/>
                  <a:pt x="5219949" y="1757355"/>
                </a:cubicBezTo>
                <a:lnTo>
                  <a:pt x="5244849" y="1781311"/>
                </a:lnTo>
                <a:lnTo>
                  <a:pt x="5285425" y="1812833"/>
                </a:lnTo>
                <a:cubicBezTo>
                  <a:pt x="5332806" y="1853402"/>
                  <a:pt x="5378491" y="1896391"/>
                  <a:pt x="5422531" y="1941767"/>
                </a:cubicBezTo>
                <a:cubicBezTo>
                  <a:pt x="5425887" y="1945586"/>
                  <a:pt x="5426518" y="1948676"/>
                  <a:pt x="5427783" y="1954854"/>
                </a:cubicBezTo>
                <a:lnTo>
                  <a:pt x="5370401" y="1904986"/>
                </a:lnTo>
                <a:lnTo>
                  <a:pt x="5481735" y="2036160"/>
                </a:lnTo>
                <a:cubicBezTo>
                  <a:pt x="5536779" y="2108939"/>
                  <a:pt x="5599796" y="2176603"/>
                  <a:pt x="5639099" y="2260841"/>
                </a:cubicBezTo>
                <a:cubicBezTo>
                  <a:pt x="5738177" y="2476347"/>
                  <a:pt x="5832554" y="2693902"/>
                  <a:pt x="5880519" y="2928041"/>
                </a:cubicBezTo>
                <a:lnTo>
                  <a:pt x="5891569" y="2991409"/>
                </a:lnTo>
                <a:lnTo>
                  <a:pt x="5898861" y="3009164"/>
                </a:lnTo>
                <a:cubicBezTo>
                  <a:pt x="5901033" y="3017408"/>
                  <a:pt x="5902088" y="3025721"/>
                  <a:pt x="5902123" y="3033759"/>
                </a:cubicBezTo>
                <a:cubicBezTo>
                  <a:pt x="5907077" y="3105159"/>
                  <a:pt x="5918367" y="3177434"/>
                  <a:pt x="5917520" y="3250562"/>
                </a:cubicBezTo>
                <a:lnTo>
                  <a:pt x="5916015" y="3270366"/>
                </a:lnTo>
                <a:lnTo>
                  <a:pt x="5917712" y="3301456"/>
                </a:lnTo>
                <a:lnTo>
                  <a:pt x="5917722" y="3321050"/>
                </a:lnTo>
                <a:lnTo>
                  <a:pt x="5920837" y="3319470"/>
                </a:lnTo>
                <a:cubicBezTo>
                  <a:pt x="5927516" y="3313185"/>
                  <a:pt x="5928977" y="3302629"/>
                  <a:pt x="5938043" y="3297393"/>
                </a:cubicBezTo>
                <a:cubicBezTo>
                  <a:pt x="5944995" y="3331373"/>
                  <a:pt x="5943411" y="3364524"/>
                  <a:pt x="5940465" y="3397310"/>
                </a:cubicBezTo>
                <a:cubicBezTo>
                  <a:pt x="5923295" y="3624822"/>
                  <a:pt x="5885697" y="3846860"/>
                  <a:pt x="5799700" y="4058849"/>
                </a:cubicBezTo>
                <a:cubicBezTo>
                  <a:pt x="5738031" y="4207285"/>
                  <a:pt x="5662474" y="4347622"/>
                  <a:pt x="5565591" y="4474942"/>
                </a:cubicBezTo>
                <a:cubicBezTo>
                  <a:pt x="5536207" y="4513783"/>
                  <a:pt x="5497753" y="4542895"/>
                  <a:pt x="5478169" y="4588742"/>
                </a:cubicBezTo>
                <a:cubicBezTo>
                  <a:pt x="5473523" y="4600636"/>
                  <a:pt x="5462699" y="4613792"/>
                  <a:pt x="5480671" y="4622988"/>
                </a:cubicBezTo>
                <a:cubicBezTo>
                  <a:pt x="5498279" y="4633544"/>
                  <a:pt x="5500299" y="4615109"/>
                  <a:pt x="5508667" y="4605673"/>
                </a:cubicBezTo>
                <a:cubicBezTo>
                  <a:pt x="5516403" y="4593146"/>
                  <a:pt x="5523870" y="4576170"/>
                  <a:pt x="5545127" y="4573107"/>
                </a:cubicBezTo>
                <a:cubicBezTo>
                  <a:pt x="5512601" y="4656361"/>
                  <a:pt x="5452401" y="4717601"/>
                  <a:pt x="5400007" y="4782392"/>
                </a:cubicBezTo>
                <a:cubicBezTo>
                  <a:pt x="5365175" y="4819774"/>
                  <a:pt x="5322635" y="4847790"/>
                  <a:pt x="5292521" y="4889355"/>
                </a:cubicBezTo>
                <a:cubicBezTo>
                  <a:pt x="5336058" y="4863066"/>
                  <a:pt x="5367799" y="4826316"/>
                  <a:pt x="5403631" y="4790663"/>
                </a:cubicBezTo>
                <a:cubicBezTo>
                  <a:pt x="5456727" y="4745037"/>
                  <a:pt x="5498395" y="4687590"/>
                  <a:pt x="5540062" y="4630142"/>
                </a:cubicBezTo>
                <a:cubicBezTo>
                  <a:pt x="5653512" y="4473684"/>
                  <a:pt x="5755798" y="4309855"/>
                  <a:pt x="5835395" y="4132646"/>
                </a:cubicBezTo>
                <a:cubicBezTo>
                  <a:pt x="5844323" y="4110221"/>
                  <a:pt x="5857703" y="4087529"/>
                  <a:pt x="5860185" y="4061918"/>
                </a:cubicBezTo>
                <a:cubicBezTo>
                  <a:pt x="5845204" y="4057905"/>
                  <a:pt x="5844643" y="4070893"/>
                  <a:pt x="5841093" y="4078700"/>
                </a:cubicBezTo>
                <a:cubicBezTo>
                  <a:pt x="5777332" y="4229495"/>
                  <a:pt x="5699319" y="4373550"/>
                  <a:pt x="5603333" y="4508413"/>
                </a:cubicBezTo>
                <a:cubicBezTo>
                  <a:pt x="5598421" y="4515855"/>
                  <a:pt x="5595403" y="4532565"/>
                  <a:pt x="5582878" y="4524830"/>
                </a:cubicBezTo>
                <a:cubicBezTo>
                  <a:pt x="5570353" y="4517094"/>
                  <a:pt x="5578454" y="4503206"/>
                  <a:pt x="5585095" y="4494767"/>
                </a:cubicBezTo>
                <a:cubicBezTo>
                  <a:pt x="5614211" y="4451475"/>
                  <a:pt x="5648410" y="4411004"/>
                  <a:pt x="5674172" y="4363893"/>
                </a:cubicBezTo>
                <a:cubicBezTo>
                  <a:pt x="5784317" y="4159835"/>
                  <a:pt x="5881211" y="3950765"/>
                  <a:pt x="5923723" y="3721285"/>
                </a:cubicBezTo>
                <a:cubicBezTo>
                  <a:pt x="5956819" y="3543296"/>
                  <a:pt x="5962942" y="3362458"/>
                  <a:pt x="5954351" y="3182057"/>
                </a:cubicBezTo>
                <a:cubicBezTo>
                  <a:pt x="5952579" y="3145087"/>
                  <a:pt x="5951173" y="3106754"/>
                  <a:pt x="5955213" y="3069882"/>
                </a:cubicBezTo>
                <a:cubicBezTo>
                  <a:pt x="5997649" y="3352780"/>
                  <a:pt x="5981957" y="3634701"/>
                  <a:pt x="5905413" y="3914916"/>
                </a:cubicBezTo>
                <a:cubicBezTo>
                  <a:pt x="5924311" y="3909760"/>
                  <a:pt x="5921881" y="3891591"/>
                  <a:pt x="5937521" y="3876803"/>
                </a:cubicBezTo>
                <a:cubicBezTo>
                  <a:pt x="5924383" y="3925837"/>
                  <a:pt x="5913071" y="3968061"/>
                  <a:pt x="5898035" y="4007827"/>
                </a:cubicBezTo>
                <a:cubicBezTo>
                  <a:pt x="5874802" y="4067294"/>
                  <a:pt x="5850207" y="4126396"/>
                  <a:pt x="5827971" y="4187589"/>
                </a:cubicBezTo>
                <a:cubicBezTo>
                  <a:pt x="5825515" y="4191311"/>
                  <a:pt x="5817511" y="4199385"/>
                  <a:pt x="5826681" y="4203302"/>
                </a:cubicBezTo>
                <a:cubicBezTo>
                  <a:pt x="5834123" y="4208217"/>
                  <a:pt x="5836677" y="4198681"/>
                  <a:pt x="5839500" y="4193599"/>
                </a:cubicBezTo>
                <a:cubicBezTo>
                  <a:pt x="5874919" y="4121338"/>
                  <a:pt x="5915055" y="4053263"/>
                  <a:pt x="5929413" y="3972440"/>
                </a:cubicBezTo>
                <a:cubicBezTo>
                  <a:pt x="5931433" y="3954003"/>
                  <a:pt x="5946077" y="3937490"/>
                  <a:pt x="5953909" y="3919150"/>
                </a:cubicBezTo>
                <a:cubicBezTo>
                  <a:pt x="5988697" y="3843802"/>
                  <a:pt x="5993155" y="3761787"/>
                  <a:pt x="6006151" y="3680598"/>
                </a:cubicBezTo>
                <a:cubicBezTo>
                  <a:pt x="6032801" y="3499423"/>
                  <a:pt x="6043375" y="3318318"/>
                  <a:pt x="6033787" y="3136190"/>
                </a:cubicBezTo>
                <a:lnTo>
                  <a:pt x="6028315" y="3093047"/>
                </a:lnTo>
                <a:lnTo>
                  <a:pt x="6025816" y="3080224"/>
                </a:lnTo>
                <a:cubicBezTo>
                  <a:pt x="5935491" y="2657444"/>
                  <a:pt x="5757041" y="2277825"/>
                  <a:pt x="5462620" y="1953402"/>
                </a:cubicBezTo>
                <a:cubicBezTo>
                  <a:pt x="5354097" y="1834635"/>
                  <a:pt x="5233654" y="1726527"/>
                  <a:pt x="5104061" y="1632541"/>
                </a:cubicBezTo>
                <a:cubicBezTo>
                  <a:pt x="5070486" y="1608282"/>
                  <a:pt x="5036425" y="1584127"/>
                  <a:pt x="5003371" y="1558743"/>
                </a:cubicBezTo>
                <a:lnTo>
                  <a:pt x="4962275" y="1523505"/>
                </a:lnTo>
                <a:lnTo>
                  <a:pt x="4951211" y="1516212"/>
                </a:lnTo>
                <a:cubicBezTo>
                  <a:pt x="4931244" y="1503565"/>
                  <a:pt x="4908091" y="1497361"/>
                  <a:pt x="4887030" y="1488798"/>
                </a:cubicBezTo>
                <a:cubicBezTo>
                  <a:pt x="4884306" y="1488068"/>
                  <a:pt x="4881175" y="1486134"/>
                  <a:pt x="4878235" y="1485529"/>
                </a:cubicBezTo>
                <a:close/>
                <a:moveTo>
                  <a:pt x="2488089" y="1468873"/>
                </a:moveTo>
                <a:lnTo>
                  <a:pt x="2483339" y="1472039"/>
                </a:lnTo>
                <a:lnTo>
                  <a:pt x="2486645" y="1469475"/>
                </a:lnTo>
                <a:close/>
                <a:moveTo>
                  <a:pt x="2428360" y="1430993"/>
                </a:moveTo>
                <a:lnTo>
                  <a:pt x="2428663" y="1432410"/>
                </a:lnTo>
                <a:cubicBezTo>
                  <a:pt x="2428663" y="1432410"/>
                  <a:pt x="2428663" y="1432410"/>
                  <a:pt x="2423991" y="1433409"/>
                </a:cubicBezTo>
                <a:close/>
                <a:moveTo>
                  <a:pt x="3312724" y="1415766"/>
                </a:moveTo>
                <a:cubicBezTo>
                  <a:pt x="3298724" y="1415532"/>
                  <a:pt x="3275527" y="1423378"/>
                  <a:pt x="3256489" y="1428825"/>
                </a:cubicBezTo>
                <a:cubicBezTo>
                  <a:pt x="3236572" y="1437551"/>
                  <a:pt x="3220815" y="1443875"/>
                  <a:pt x="3219056" y="1450437"/>
                </a:cubicBezTo>
                <a:cubicBezTo>
                  <a:pt x="3233935" y="1447393"/>
                  <a:pt x="3249693" y="1441068"/>
                  <a:pt x="3264571" y="1438022"/>
                </a:cubicBezTo>
                <a:cubicBezTo>
                  <a:pt x="3226495" y="1448914"/>
                  <a:pt x="3187540" y="1463087"/>
                  <a:pt x="3145305" y="1476381"/>
                </a:cubicBezTo>
                <a:cubicBezTo>
                  <a:pt x="3132183" y="1472865"/>
                  <a:pt x="3100669" y="1485515"/>
                  <a:pt x="3078993" y="1500802"/>
                </a:cubicBezTo>
                <a:cubicBezTo>
                  <a:pt x="3063234" y="1507127"/>
                  <a:pt x="3043317" y="1515853"/>
                  <a:pt x="3032598" y="1516496"/>
                </a:cubicBezTo>
                <a:cubicBezTo>
                  <a:pt x="3030840" y="1523057"/>
                  <a:pt x="3019241" y="1526981"/>
                  <a:pt x="3010922" y="1531783"/>
                </a:cubicBezTo>
                <a:cubicBezTo>
                  <a:pt x="2397416" y="1813901"/>
                  <a:pt x="1938644" y="2397651"/>
                  <a:pt x="1851594" y="3116159"/>
                </a:cubicBezTo>
                <a:cubicBezTo>
                  <a:pt x="1816245" y="3405532"/>
                  <a:pt x="1842815" y="3686884"/>
                  <a:pt x="1924097" y="3947739"/>
                </a:cubicBezTo>
                <a:cubicBezTo>
                  <a:pt x="2106925" y="4538160"/>
                  <a:pt x="2556758" y="5024337"/>
                  <a:pt x="3149544" y="5239426"/>
                </a:cubicBezTo>
                <a:cubicBezTo>
                  <a:pt x="3191309" y="5254132"/>
                  <a:pt x="3229793" y="5267959"/>
                  <a:pt x="3272436" y="5279386"/>
                </a:cubicBezTo>
                <a:cubicBezTo>
                  <a:pt x="3272436" y="5279386"/>
                  <a:pt x="3271557" y="5282667"/>
                  <a:pt x="3274837" y="5283546"/>
                </a:cubicBezTo>
                <a:cubicBezTo>
                  <a:pt x="3284679" y="5286183"/>
                  <a:pt x="3284679" y="5286183"/>
                  <a:pt x="3284679" y="5286183"/>
                </a:cubicBezTo>
                <a:cubicBezTo>
                  <a:pt x="3284679" y="5286183"/>
                  <a:pt x="3287958" y="5287061"/>
                  <a:pt x="3288837" y="5283781"/>
                </a:cubicBezTo>
                <a:lnTo>
                  <a:pt x="3380685" y="5308392"/>
                </a:lnTo>
                <a:cubicBezTo>
                  <a:pt x="3453730" y="5324447"/>
                  <a:pt x="3524373" y="5336344"/>
                  <a:pt x="3599176" y="5345842"/>
                </a:cubicBezTo>
                <a:cubicBezTo>
                  <a:pt x="3840865" y="5375442"/>
                  <a:pt x="4079979" y="5362166"/>
                  <a:pt x="4305801" y="5306654"/>
                </a:cubicBezTo>
                <a:cubicBezTo>
                  <a:pt x="4432271" y="5280773"/>
                  <a:pt x="4559857" y="5237611"/>
                  <a:pt x="4682641" y="5186132"/>
                </a:cubicBezTo>
                <a:cubicBezTo>
                  <a:pt x="4678481" y="5188533"/>
                  <a:pt x="4678481" y="5188533"/>
                  <a:pt x="4677601" y="5191813"/>
                </a:cubicBezTo>
                <a:cubicBezTo>
                  <a:pt x="4689201" y="5187890"/>
                  <a:pt x="4713277" y="5176762"/>
                  <a:pt x="4733195" y="5168036"/>
                </a:cubicBezTo>
                <a:cubicBezTo>
                  <a:pt x="4745671" y="5160831"/>
                  <a:pt x="4757271" y="5156907"/>
                  <a:pt x="4762309" y="5151226"/>
                </a:cubicBezTo>
                <a:cubicBezTo>
                  <a:pt x="4791423" y="5134417"/>
                  <a:pt x="4823817" y="5118487"/>
                  <a:pt x="4852933" y="5101678"/>
                </a:cubicBezTo>
                <a:cubicBezTo>
                  <a:pt x="4864531" y="5097753"/>
                  <a:pt x="4877009" y="5090549"/>
                  <a:pt x="4886205" y="5082466"/>
                </a:cubicBezTo>
                <a:cubicBezTo>
                  <a:pt x="4985149" y="5028114"/>
                  <a:pt x="5076887" y="4961284"/>
                  <a:pt x="5167103" y="4887015"/>
                </a:cubicBezTo>
                <a:cubicBezTo>
                  <a:pt x="5142791" y="4912143"/>
                  <a:pt x="5118479" y="4937271"/>
                  <a:pt x="5099205" y="4956718"/>
                </a:cubicBezTo>
                <a:cubicBezTo>
                  <a:pt x="5092645" y="4954959"/>
                  <a:pt x="5082569" y="4966322"/>
                  <a:pt x="5079289" y="4965443"/>
                </a:cubicBezTo>
                <a:cubicBezTo>
                  <a:pt x="5055855" y="4987291"/>
                  <a:pt x="5021703" y="5009782"/>
                  <a:pt x="5004830" y="5033389"/>
                </a:cubicBezTo>
                <a:cubicBezTo>
                  <a:pt x="5017309" y="5026183"/>
                  <a:pt x="5033945" y="5016579"/>
                  <a:pt x="5039627" y="5021617"/>
                </a:cubicBezTo>
                <a:cubicBezTo>
                  <a:pt x="5057143" y="5008731"/>
                  <a:pt x="5097211" y="4977279"/>
                  <a:pt x="5104007" y="4965035"/>
                </a:cubicBezTo>
                <a:cubicBezTo>
                  <a:pt x="5112326" y="4960233"/>
                  <a:pt x="5119767" y="4958711"/>
                  <a:pt x="5123925" y="4956309"/>
                </a:cubicBezTo>
                <a:cubicBezTo>
                  <a:pt x="5142320" y="4940144"/>
                  <a:pt x="5153275" y="4925499"/>
                  <a:pt x="5168389" y="4908456"/>
                </a:cubicBezTo>
                <a:cubicBezTo>
                  <a:pt x="5181747" y="4897970"/>
                  <a:pt x="5207581" y="4880282"/>
                  <a:pt x="5221817" y="4866518"/>
                </a:cubicBezTo>
                <a:cubicBezTo>
                  <a:pt x="5226855" y="4860837"/>
                  <a:pt x="5224452" y="4856678"/>
                  <a:pt x="5229491" y="4850995"/>
                </a:cubicBezTo>
                <a:cubicBezTo>
                  <a:pt x="5234529" y="4845314"/>
                  <a:pt x="5250287" y="4838989"/>
                  <a:pt x="5255325" y="4833307"/>
                </a:cubicBezTo>
                <a:cubicBezTo>
                  <a:pt x="5273721" y="4817141"/>
                  <a:pt x="5276357" y="4807300"/>
                  <a:pt x="5282919" y="4809059"/>
                </a:cubicBezTo>
                <a:cubicBezTo>
                  <a:pt x="5289714" y="4796816"/>
                  <a:pt x="5304828" y="4779770"/>
                  <a:pt x="5300025" y="4771452"/>
                </a:cubicBezTo>
                <a:cubicBezTo>
                  <a:pt x="5293229" y="4783696"/>
                  <a:pt x="5290828" y="4779536"/>
                  <a:pt x="5287549" y="4778657"/>
                </a:cubicBezTo>
                <a:cubicBezTo>
                  <a:pt x="5535469" y="4535697"/>
                  <a:pt x="5723529" y="4227476"/>
                  <a:pt x="5820215" y="3866642"/>
                </a:cubicBezTo>
                <a:lnTo>
                  <a:pt x="5820377" y="3865901"/>
                </a:lnTo>
                <a:lnTo>
                  <a:pt x="5786815" y="3962149"/>
                </a:lnTo>
                <a:cubicBezTo>
                  <a:pt x="5759509" y="4027726"/>
                  <a:pt x="5725426" y="4090021"/>
                  <a:pt x="5689529" y="4151358"/>
                </a:cubicBezTo>
                <a:lnTo>
                  <a:pt x="5652275" y="4213857"/>
                </a:lnTo>
                <a:lnTo>
                  <a:pt x="5648119" y="4223529"/>
                </a:lnTo>
                <a:cubicBezTo>
                  <a:pt x="5556231" y="4415569"/>
                  <a:pt x="5434887" y="4589609"/>
                  <a:pt x="5290656" y="4740814"/>
                </a:cubicBezTo>
                <a:cubicBezTo>
                  <a:pt x="5292413" y="4734255"/>
                  <a:pt x="5296573" y="4731854"/>
                  <a:pt x="5293293" y="4730974"/>
                </a:cubicBezTo>
                <a:cubicBezTo>
                  <a:pt x="5267459" y="4748662"/>
                  <a:pt x="5268980" y="4756103"/>
                  <a:pt x="5252987" y="4776428"/>
                </a:cubicBezTo>
                <a:cubicBezTo>
                  <a:pt x="5237872" y="4793472"/>
                  <a:pt x="5218599" y="4812919"/>
                  <a:pt x="5200205" y="4829085"/>
                </a:cubicBezTo>
                <a:cubicBezTo>
                  <a:pt x="5192765" y="4830607"/>
                  <a:pt x="5169333" y="4852454"/>
                  <a:pt x="5167573" y="4859015"/>
                </a:cubicBezTo>
                <a:cubicBezTo>
                  <a:pt x="5164293" y="4858136"/>
                  <a:pt x="5164293" y="4858136"/>
                  <a:pt x="5164293" y="4858136"/>
                </a:cubicBezTo>
                <a:cubicBezTo>
                  <a:pt x="5163415" y="4861416"/>
                  <a:pt x="5163415" y="4861416"/>
                  <a:pt x="5163415" y="4861416"/>
                </a:cubicBezTo>
                <a:cubicBezTo>
                  <a:pt x="5160135" y="4860538"/>
                  <a:pt x="5160135" y="4860538"/>
                  <a:pt x="5159255" y="4863817"/>
                </a:cubicBezTo>
                <a:cubicBezTo>
                  <a:pt x="5158377" y="4867098"/>
                  <a:pt x="5158377" y="4867098"/>
                  <a:pt x="5154217" y="4869499"/>
                </a:cubicBezTo>
                <a:cubicBezTo>
                  <a:pt x="5150057" y="4871900"/>
                  <a:pt x="5140859" y="4879984"/>
                  <a:pt x="5139981" y="4883264"/>
                </a:cubicBezTo>
                <a:cubicBezTo>
                  <a:pt x="5122465" y="4896150"/>
                  <a:pt x="5104949" y="4909035"/>
                  <a:pt x="5089836" y="4926080"/>
                </a:cubicBezTo>
                <a:cubicBezTo>
                  <a:pt x="5081517" y="4930882"/>
                  <a:pt x="5073198" y="4935686"/>
                  <a:pt x="5068160" y="4941369"/>
                </a:cubicBezTo>
                <a:cubicBezTo>
                  <a:pt x="5050645" y="4954253"/>
                  <a:pt x="5033129" y="4967138"/>
                  <a:pt x="5019772" y="4977623"/>
                </a:cubicBezTo>
                <a:cubicBezTo>
                  <a:pt x="5019772" y="4977623"/>
                  <a:pt x="5020651" y="4974342"/>
                  <a:pt x="5020651" y="4974342"/>
                </a:cubicBezTo>
                <a:cubicBezTo>
                  <a:pt x="5016491" y="4976743"/>
                  <a:pt x="5012333" y="4979146"/>
                  <a:pt x="5011455" y="4982425"/>
                </a:cubicBezTo>
                <a:cubicBezTo>
                  <a:pt x="4802143" y="5133774"/>
                  <a:pt x="4561379" y="5245050"/>
                  <a:pt x="4305801" y="5306654"/>
                </a:cubicBezTo>
                <a:cubicBezTo>
                  <a:pt x="4014782" y="5369308"/>
                  <a:pt x="3709183" y="5368285"/>
                  <a:pt x="3402360" y="5293105"/>
                </a:cubicBezTo>
                <a:cubicBezTo>
                  <a:pt x="3403239" y="5289824"/>
                  <a:pt x="3403239" y="5289824"/>
                  <a:pt x="3404117" y="5286544"/>
                </a:cubicBezTo>
                <a:cubicBezTo>
                  <a:pt x="3450920" y="5295568"/>
                  <a:pt x="3475876" y="5281161"/>
                  <a:pt x="3508914" y="5275951"/>
                </a:cubicBezTo>
                <a:cubicBezTo>
                  <a:pt x="3508914" y="5275951"/>
                  <a:pt x="3503232" y="5270912"/>
                  <a:pt x="3496671" y="5269154"/>
                </a:cubicBezTo>
                <a:cubicBezTo>
                  <a:pt x="3511551" y="5266108"/>
                  <a:pt x="3536915" y="5276421"/>
                  <a:pt x="3557475" y="5278414"/>
                </a:cubicBezTo>
                <a:cubicBezTo>
                  <a:pt x="3575633" y="5276248"/>
                  <a:pt x="3604513" y="5273439"/>
                  <a:pt x="3604513" y="5273439"/>
                </a:cubicBezTo>
                <a:cubicBezTo>
                  <a:pt x="3602991" y="5265999"/>
                  <a:pt x="3589869" y="5262484"/>
                  <a:pt x="3573468" y="5258088"/>
                </a:cubicBezTo>
                <a:cubicBezTo>
                  <a:pt x="3574346" y="5254808"/>
                  <a:pt x="3577628" y="5255687"/>
                  <a:pt x="3577628" y="5255687"/>
                </a:cubicBezTo>
                <a:cubicBezTo>
                  <a:pt x="3580907" y="5256567"/>
                  <a:pt x="3580907" y="5256567"/>
                  <a:pt x="3580907" y="5256567"/>
                </a:cubicBezTo>
                <a:cubicBezTo>
                  <a:pt x="3580907" y="5256567"/>
                  <a:pt x="3584189" y="5257445"/>
                  <a:pt x="3584189" y="5257445"/>
                </a:cubicBezTo>
                <a:cubicBezTo>
                  <a:pt x="3584189" y="5257445"/>
                  <a:pt x="3587468" y="5258324"/>
                  <a:pt x="3590749" y="5259203"/>
                </a:cubicBezTo>
                <a:cubicBezTo>
                  <a:pt x="3591627" y="5255923"/>
                  <a:pt x="3591627" y="5255923"/>
                  <a:pt x="3588347" y="5255045"/>
                </a:cubicBezTo>
                <a:cubicBezTo>
                  <a:pt x="3588347" y="5255045"/>
                  <a:pt x="3585065" y="5254166"/>
                  <a:pt x="3585065" y="5254166"/>
                </a:cubicBezTo>
                <a:cubicBezTo>
                  <a:pt x="3581787" y="5253286"/>
                  <a:pt x="3581787" y="5253286"/>
                  <a:pt x="3581787" y="5253286"/>
                </a:cubicBezTo>
                <a:cubicBezTo>
                  <a:pt x="3603227" y="5252000"/>
                  <a:pt x="3576983" y="5244968"/>
                  <a:pt x="3572825" y="5247369"/>
                </a:cubicBezTo>
                <a:cubicBezTo>
                  <a:pt x="3569546" y="5246491"/>
                  <a:pt x="3568666" y="5249771"/>
                  <a:pt x="3568666" y="5249771"/>
                </a:cubicBezTo>
                <a:cubicBezTo>
                  <a:pt x="3568666" y="5249771"/>
                  <a:pt x="3571945" y="5250649"/>
                  <a:pt x="3571945" y="5250649"/>
                </a:cubicBezTo>
                <a:cubicBezTo>
                  <a:pt x="3574346" y="5254808"/>
                  <a:pt x="3574346" y="5254808"/>
                  <a:pt x="3574346" y="5254808"/>
                </a:cubicBezTo>
                <a:cubicBezTo>
                  <a:pt x="3574346" y="5254808"/>
                  <a:pt x="3567787" y="5253050"/>
                  <a:pt x="3564507" y="5252171"/>
                </a:cubicBezTo>
                <a:cubicBezTo>
                  <a:pt x="3561226" y="5251293"/>
                  <a:pt x="3561226" y="5251293"/>
                  <a:pt x="3561226" y="5251293"/>
                </a:cubicBezTo>
                <a:cubicBezTo>
                  <a:pt x="3538264" y="5245140"/>
                  <a:pt x="3523621" y="5234185"/>
                  <a:pt x="3539378" y="5227860"/>
                </a:cubicBezTo>
                <a:cubicBezTo>
                  <a:pt x="3555779" y="5232255"/>
                  <a:pt x="3556660" y="5228975"/>
                  <a:pt x="3579620" y="5235127"/>
                </a:cubicBezTo>
                <a:cubicBezTo>
                  <a:pt x="3584659" y="5229445"/>
                  <a:pt x="3571539" y="5225930"/>
                  <a:pt x="3570016" y="5218490"/>
                </a:cubicBezTo>
                <a:cubicBezTo>
                  <a:pt x="3602174" y="5216559"/>
                  <a:pt x="3653138" y="5223183"/>
                  <a:pt x="3657531" y="5206782"/>
                </a:cubicBezTo>
                <a:cubicBezTo>
                  <a:pt x="3657531" y="5206782"/>
                  <a:pt x="3660813" y="5207661"/>
                  <a:pt x="3660813" y="5207661"/>
                </a:cubicBezTo>
                <a:cubicBezTo>
                  <a:pt x="3660813" y="5207661"/>
                  <a:pt x="3667372" y="5209419"/>
                  <a:pt x="3667372" y="5209419"/>
                </a:cubicBezTo>
                <a:cubicBezTo>
                  <a:pt x="3671532" y="5207018"/>
                  <a:pt x="3674811" y="5207897"/>
                  <a:pt x="3671532" y="5207018"/>
                </a:cubicBezTo>
                <a:cubicBezTo>
                  <a:pt x="3678971" y="5205495"/>
                  <a:pt x="3688811" y="5208131"/>
                  <a:pt x="3710251" y="5206844"/>
                </a:cubicBezTo>
                <a:cubicBezTo>
                  <a:pt x="3717691" y="5205323"/>
                  <a:pt x="3720971" y="5206202"/>
                  <a:pt x="3724251" y="5207082"/>
                </a:cubicBezTo>
                <a:cubicBezTo>
                  <a:pt x="3724251" y="5207082"/>
                  <a:pt x="3728411" y="5204679"/>
                  <a:pt x="3728411" y="5204679"/>
                </a:cubicBezTo>
                <a:cubicBezTo>
                  <a:pt x="3731689" y="5205559"/>
                  <a:pt x="3731689" y="5205559"/>
                  <a:pt x="3731689" y="5205559"/>
                </a:cubicBezTo>
                <a:cubicBezTo>
                  <a:pt x="3734971" y="5206438"/>
                  <a:pt x="3732569" y="5202278"/>
                  <a:pt x="3732569" y="5202278"/>
                </a:cubicBezTo>
                <a:cubicBezTo>
                  <a:pt x="3735849" y="5203156"/>
                  <a:pt x="3735849" y="5203156"/>
                  <a:pt x="3735849" y="5203156"/>
                </a:cubicBezTo>
                <a:cubicBezTo>
                  <a:pt x="3736729" y="5199877"/>
                  <a:pt x="3749851" y="5203393"/>
                  <a:pt x="3750729" y="5200112"/>
                </a:cubicBezTo>
                <a:cubicBezTo>
                  <a:pt x="3733448" y="5198998"/>
                  <a:pt x="3747448" y="5199234"/>
                  <a:pt x="3741767" y="5194194"/>
                </a:cubicBezTo>
                <a:cubicBezTo>
                  <a:pt x="3762327" y="5196187"/>
                  <a:pt x="3736085" y="5189156"/>
                  <a:pt x="3750085" y="5189392"/>
                </a:cubicBezTo>
                <a:cubicBezTo>
                  <a:pt x="3770646" y="5191385"/>
                  <a:pt x="3771525" y="5188105"/>
                  <a:pt x="3780485" y="5194022"/>
                </a:cubicBezTo>
                <a:cubicBezTo>
                  <a:pt x="3783123" y="5184181"/>
                  <a:pt x="3830805" y="5189925"/>
                  <a:pt x="3866245" y="5188875"/>
                </a:cubicBezTo>
                <a:cubicBezTo>
                  <a:pt x="3869525" y="5189754"/>
                  <a:pt x="3876965" y="5188230"/>
                  <a:pt x="3887685" y="5187588"/>
                </a:cubicBezTo>
                <a:cubicBezTo>
                  <a:pt x="3919843" y="5185657"/>
                  <a:pt x="3941283" y="5184371"/>
                  <a:pt x="3959442" y="5182205"/>
                </a:cubicBezTo>
                <a:cubicBezTo>
                  <a:pt x="3966881" y="5180683"/>
                  <a:pt x="3962723" y="5183084"/>
                  <a:pt x="3969282" y="5184842"/>
                </a:cubicBezTo>
                <a:cubicBezTo>
                  <a:pt x="3970163" y="5181561"/>
                  <a:pt x="3974321" y="5179160"/>
                  <a:pt x="3977601" y="5180038"/>
                </a:cubicBezTo>
                <a:cubicBezTo>
                  <a:pt x="3980882" y="5180918"/>
                  <a:pt x="3969282" y="5184842"/>
                  <a:pt x="3980003" y="5184199"/>
                </a:cubicBezTo>
                <a:cubicBezTo>
                  <a:pt x="3999041" y="5178752"/>
                  <a:pt x="4001441" y="5182911"/>
                  <a:pt x="4031200" y="5176823"/>
                </a:cubicBezTo>
                <a:cubicBezTo>
                  <a:pt x="4029443" y="5183383"/>
                  <a:pt x="4029443" y="5183383"/>
                  <a:pt x="4029443" y="5183383"/>
                </a:cubicBezTo>
                <a:cubicBezTo>
                  <a:pt x="4047601" y="5181216"/>
                  <a:pt x="4055041" y="5179694"/>
                  <a:pt x="4041919" y="5176178"/>
                </a:cubicBezTo>
                <a:cubicBezTo>
                  <a:pt x="4053518" y="5172254"/>
                  <a:pt x="4055041" y="5179694"/>
                  <a:pt x="4067519" y="5172490"/>
                </a:cubicBezTo>
                <a:cubicBezTo>
                  <a:pt x="4063359" y="5174891"/>
                  <a:pt x="4066640" y="5175770"/>
                  <a:pt x="4070798" y="5173369"/>
                </a:cubicBezTo>
                <a:cubicBezTo>
                  <a:pt x="4069920" y="5176648"/>
                  <a:pt x="4069920" y="5176648"/>
                  <a:pt x="4069920" y="5176648"/>
                </a:cubicBezTo>
                <a:cubicBezTo>
                  <a:pt x="4065760" y="5179051"/>
                  <a:pt x="4069041" y="5179929"/>
                  <a:pt x="4069041" y="5179929"/>
                </a:cubicBezTo>
                <a:cubicBezTo>
                  <a:pt x="4072321" y="5180808"/>
                  <a:pt x="4072321" y="5180808"/>
                  <a:pt x="4072321" y="5180808"/>
                </a:cubicBezTo>
                <a:cubicBezTo>
                  <a:pt x="4057442" y="5183854"/>
                  <a:pt x="4078003" y="5185846"/>
                  <a:pt x="4089601" y="5181922"/>
                </a:cubicBezTo>
                <a:cubicBezTo>
                  <a:pt x="4088723" y="5185204"/>
                  <a:pt x="4088723" y="5185204"/>
                  <a:pt x="4088723" y="5185204"/>
                </a:cubicBezTo>
                <a:cubicBezTo>
                  <a:pt x="4088723" y="5185204"/>
                  <a:pt x="4088723" y="5185204"/>
                  <a:pt x="4092003" y="5186082"/>
                </a:cubicBezTo>
                <a:cubicBezTo>
                  <a:pt x="4092003" y="5186082"/>
                  <a:pt x="4096162" y="5183681"/>
                  <a:pt x="4096162" y="5183681"/>
                </a:cubicBezTo>
                <a:cubicBezTo>
                  <a:pt x="4114321" y="5181514"/>
                  <a:pt x="4139919" y="5177828"/>
                  <a:pt x="4165519" y="5174139"/>
                </a:cubicBezTo>
                <a:cubicBezTo>
                  <a:pt x="4191995" y="5167169"/>
                  <a:pt x="4218473" y="5160202"/>
                  <a:pt x="4237513" y="5154755"/>
                </a:cubicBezTo>
                <a:cubicBezTo>
                  <a:pt x="4244511" y="5154873"/>
                  <a:pt x="4253811" y="5152971"/>
                  <a:pt x="4264671" y="5150166"/>
                </a:cubicBezTo>
                <a:lnTo>
                  <a:pt x="4275426" y="5147224"/>
                </a:lnTo>
                <a:lnTo>
                  <a:pt x="4225547" y="5155482"/>
                </a:lnTo>
                <a:cubicBezTo>
                  <a:pt x="4078476" y="5175336"/>
                  <a:pt x="3929093" y="5177603"/>
                  <a:pt x="3777147" y="5162641"/>
                </a:cubicBezTo>
                <a:cubicBezTo>
                  <a:pt x="3719477" y="5157145"/>
                  <a:pt x="3662833" y="5157785"/>
                  <a:pt x="3607202" y="5141859"/>
                </a:cubicBezTo>
                <a:cubicBezTo>
                  <a:pt x="3601885" y="5140225"/>
                  <a:pt x="3595751" y="5141251"/>
                  <a:pt x="3593293" y="5134094"/>
                </a:cubicBezTo>
                <a:cubicBezTo>
                  <a:pt x="3593495" y="5127754"/>
                  <a:pt x="3598607" y="5128161"/>
                  <a:pt x="3601266" y="5128978"/>
                </a:cubicBezTo>
                <a:cubicBezTo>
                  <a:pt x="3784099" y="5158958"/>
                  <a:pt x="3966912" y="5151101"/>
                  <a:pt x="4150133" y="5138134"/>
                </a:cubicBezTo>
                <a:cubicBezTo>
                  <a:pt x="4246243" y="5132159"/>
                  <a:pt x="4339069" y="5106553"/>
                  <a:pt x="4432718" y="5085854"/>
                </a:cubicBezTo>
                <a:cubicBezTo>
                  <a:pt x="4443555" y="5082783"/>
                  <a:pt x="4455823" y="5080731"/>
                  <a:pt x="4466865" y="5078886"/>
                </a:cubicBezTo>
                <a:cubicBezTo>
                  <a:pt x="4472795" y="5076634"/>
                  <a:pt x="4482203" y="5080106"/>
                  <a:pt x="4480356" y="5069063"/>
                </a:cubicBezTo>
                <a:cubicBezTo>
                  <a:pt x="4478511" y="5058020"/>
                  <a:pt x="4471355" y="5060478"/>
                  <a:pt x="4462767" y="5061914"/>
                </a:cubicBezTo>
                <a:cubicBezTo>
                  <a:pt x="4419420" y="5074203"/>
                  <a:pt x="4374641" y="5085472"/>
                  <a:pt x="4330679" y="5094082"/>
                </a:cubicBezTo>
                <a:cubicBezTo>
                  <a:pt x="4284672" y="5102718"/>
                  <a:pt x="4238818" y="5109910"/>
                  <a:pt x="4193125" y="5115579"/>
                </a:cubicBezTo>
                <a:lnTo>
                  <a:pt x="4089964" y="5124917"/>
                </a:lnTo>
                <a:lnTo>
                  <a:pt x="4090545" y="5125923"/>
                </a:lnTo>
                <a:cubicBezTo>
                  <a:pt x="4075664" y="5128968"/>
                  <a:pt x="4061664" y="5128732"/>
                  <a:pt x="4046787" y="5131776"/>
                </a:cubicBezTo>
                <a:cubicBezTo>
                  <a:pt x="4047666" y="5128497"/>
                  <a:pt x="4047666" y="5128497"/>
                  <a:pt x="4047666" y="5128497"/>
                </a:cubicBezTo>
                <a:cubicBezTo>
                  <a:pt x="4050945" y="5129375"/>
                  <a:pt x="4058384" y="5127852"/>
                  <a:pt x="4061664" y="5128732"/>
                </a:cubicBezTo>
                <a:lnTo>
                  <a:pt x="4072652" y="5126484"/>
                </a:lnTo>
                <a:lnTo>
                  <a:pt x="4056543" y="5127942"/>
                </a:lnTo>
                <a:lnTo>
                  <a:pt x="4025363" y="5128577"/>
                </a:lnTo>
                <a:lnTo>
                  <a:pt x="4022586" y="5131884"/>
                </a:lnTo>
                <a:cubicBezTo>
                  <a:pt x="4021846" y="5133005"/>
                  <a:pt x="4021627" y="5133825"/>
                  <a:pt x="4021187" y="5135465"/>
                </a:cubicBezTo>
                <a:cubicBezTo>
                  <a:pt x="4017907" y="5134587"/>
                  <a:pt x="4014626" y="5133707"/>
                  <a:pt x="4014626" y="5133707"/>
                </a:cubicBezTo>
                <a:cubicBezTo>
                  <a:pt x="4015505" y="5130427"/>
                  <a:pt x="4018785" y="5131306"/>
                  <a:pt x="4015505" y="5130427"/>
                </a:cubicBezTo>
                <a:cubicBezTo>
                  <a:pt x="4015505" y="5130427"/>
                  <a:pt x="4015505" y="5130427"/>
                  <a:pt x="4012226" y="5129549"/>
                </a:cubicBezTo>
                <a:lnTo>
                  <a:pt x="4009785" y="5128894"/>
                </a:lnTo>
                <a:lnTo>
                  <a:pt x="3920985" y="5130704"/>
                </a:lnTo>
                <a:lnTo>
                  <a:pt x="3897176" y="5129411"/>
                </a:lnTo>
                <a:lnTo>
                  <a:pt x="3884467" y="5133988"/>
                </a:lnTo>
                <a:cubicBezTo>
                  <a:pt x="3875506" y="5128073"/>
                  <a:pt x="3871346" y="5130474"/>
                  <a:pt x="3866308" y="5136155"/>
                </a:cubicBezTo>
                <a:cubicBezTo>
                  <a:pt x="3859747" y="5134396"/>
                  <a:pt x="3853187" y="5132639"/>
                  <a:pt x="3845748" y="5134162"/>
                </a:cubicBezTo>
                <a:cubicBezTo>
                  <a:pt x="3838309" y="5135685"/>
                  <a:pt x="3828467" y="5133048"/>
                  <a:pt x="3821029" y="5134569"/>
                </a:cubicBezTo>
                <a:cubicBezTo>
                  <a:pt x="3810308" y="5135213"/>
                  <a:pt x="3797187" y="5131697"/>
                  <a:pt x="3786467" y="5132340"/>
                </a:cubicBezTo>
                <a:cubicBezTo>
                  <a:pt x="3779906" y="5130583"/>
                  <a:pt x="3769188" y="5131227"/>
                  <a:pt x="3765027" y="5133628"/>
                </a:cubicBezTo>
                <a:cubicBezTo>
                  <a:pt x="3761746" y="5132748"/>
                  <a:pt x="3761746" y="5132748"/>
                  <a:pt x="3761746" y="5132748"/>
                </a:cubicBezTo>
                <a:cubicBezTo>
                  <a:pt x="3751027" y="5133392"/>
                  <a:pt x="3744467" y="5131634"/>
                  <a:pt x="3733748" y="5132278"/>
                </a:cubicBezTo>
                <a:cubicBezTo>
                  <a:pt x="3727187" y="5130519"/>
                  <a:pt x="3719747" y="5132042"/>
                  <a:pt x="3709028" y="5132686"/>
                </a:cubicBezTo>
                <a:cubicBezTo>
                  <a:pt x="3700066" y="5126768"/>
                  <a:pt x="3699188" y="5130049"/>
                  <a:pt x="3698308" y="5133328"/>
                </a:cubicBezTo>
                <a:cubicBezTo>
                  <a:pt x="3695027" y="5132450"/>
                  <a:pt x="3695027" y="5132450"/>
                  <a:pt x="3695027" y="5132450"/>
                </a:cubicBezTo>
                <a:cubicBezTo>
                  <a:pt x="3691747" y="5131570"/>
                  <a:pt x="3689347" y="5127412"/>
                  <a:pt x="3686065" y="5126532"/>
                </a:cubicBezTo>
                <a:cubicBezTo>
                  <a:pt x="3686065" y="5126532"/>
                  <a:pt x="3682787" y="5125654"/>
                  <a:pt x="3682787" y="5125654"/>
                </a:cubicBezTo>
                <a:cubicBezTo>
                  <a:pt x="3679505" y="5124775"/>
                  <a:pt x="3679505" y="5124775"/>
                  <a:pt x="3675347" y="5127176"/>
                </a:cubicBezTo>
                <a:cubicBezTo>
                  <a:pt x="3675347" y="5127176"/>
                  <a:pt x="3675347" y="5127176"/>
                  <a:pt x="3674467" y="5130457"/>
                </a:cubicBezTo>
                <a:cubicBezTo>
                  <a:pt x="3658065" y="5126062"/>
                  <a:pt x="3658065" y="5126062"/>
                  <a:pt x="3658065" y="5126062"/>
                </a:cubicBezTo>
                <a:cubicBezTo>
                  <a:pt x="3658065" y="5126062"/>
                  <a:pt x="3653907" y="5128463"/>
                  <a:pt x="3653907" y="5128463"/>
                </a:cubicBezTo>
                <a:cubicBezTo>
                  <a:pt x="3653907" y="5128463"/>
                  <a:pt x="3657187" y="5129341"/>
                  <a:pt x="3657187" y="5129341"/>
                </a:cubicBezTo>
                <a:cubicBezTo>
                  <a:pt x="3674467" y="5130457"/>
                  <a:pt x="3674467" y="5130457"/>
                  <a:pt x="3674467" y="5130457"/>
                </a:cubicBezTo>
                <a:cubicBezTo>
                  <a:pt x="3674467" y="5130457"/>
                  <a:pt x="3673588" y="5133737"/>
                  <a:pt x="3673588" y="5133737"/>
                </a:cubicBezTo>
                <a:cubicBezTo>
                  <a:pt x="3670306" y="5132858"/>
                  <a:pt x="3667027" y="5131978"/>
                  <a:pt x="3667027" y="5131978"/>
                </a:cubicBezTo>
                <a:cubicBezTo>
                  <a:pt x="3663747" y="5131100"/>
                  <a:pt x="3663747" y="5131100"/>
                  <a:pt x="3663747" y="5131100"/>
                </a:cubicBezTo>
                <a:cubicBezTo>
                  <a:pt x="3660467" y="5130221"/>
                  <a:pt x="3656309" y="5132623"/>
                  <a:pt x="3653027" y="5131744"/>
                </a:cubicBezTo>
                <a:cubicBezTo>
                  <a:pt x="3649747" y="5130864"/>
                  <a:pt x="3646466" y="5129986"/>
                  <a:pt x="3639907" y="5128227"/>
                </a:cubicBezTo>
                <a:cubicBezTo>
                  <a:pt x="3643186" y="5129107"/>
                  <a:pt x="3644067" y="5125825"/>
                  <a:pt x="3644067" y="5125825"/>
                </a:cubicBezTo>
                <a:cubicBezTo>
                  <a:pt x="3644067" y="5125825"/>
                  <a:pt x="3640785" y="5124947"/>
                  <a:pt x="3637506" y="5124069"/>
                </a:cubicBezTo>
                <a:cubicBezTo>
                  <a:pt x="3637506" y="5124069"/>
                  <a:pt x="3634225" y="5123188"/>
                  <a:pt x="3630945" y="5122310"/>
                </a:cubicBezTo>
                <a:cubicBezTo>
                  <a:pt x="3626785" y="5124711"/>
                  <a:pt x="3623505" y="5123833"/>
                  <a:pt x="3620224" y="5122954"/>
                </a:cubicBezTo>
                <a:cubicBezTo>
                  <a:pt x="3616944" y="5122074"/>
                  <a:pt x="3616944" y="5122074"/>
                  <a:pt x="3613665" y="5121196"/>
                </a:cubicBezTo>
                <a:cubicBezTo>
                  <a:pt x="3609505" y="5123597"/>
                  <a:pt x="3609505" y="5123597"/>
                  <a:pt x="3609505" y="5123597"/>
                </a:cubicBezTo>
                <a:cubicBezTo>
                  <a:pt x="3606225" y="5122719"/>
                  <a:pt x="3602066" y="5125120"/>
                  <a:pt x="3598785" y="5124241"/>
                </a:cubicBezTo>
                <a:cubicBezTo>
                  <a:pt x="3595505" y="5123363"/>
                  <a:pt x="3592225" y="5122483"/>
                  <a:pt x="3592225" y="5122483"/>
                </a:cubicBezTo>
                <a:cubicBezTo>
                  <a:pt x="3593103" y="5119203"/>
                  <a:pt x="3593103" y="5119203"/>
                  <a:pt x="3589823" y="5118324"/>
                </a:cubicBezTo>
                <a:cubicBezTo>
                  <a:pt x="3589823" y="5118324"/>
                  <a:pt x="3586543" y="5117446"/>
                  <a:pt x="3585664" y="5120726"/>
                </a:cubicBezTo>
                <a:cubicBezTo>
                  <a:pt x="3585664" y="5120726"/>
                  <a:pt x="3582383" y="5119845"/>
                  <a:pt x="3579982" y="5115687"/>
                </a:cubicBezTo>
                <a:cubicBezTo>
                  <a:pt x="3572542" y="5117210"/>
                  <a:pt x="3572542" y="5117210"/>
                  <a:pt x="3572542" y="5117210"/>
                </a:cubicBezTo>
                <a:cubicBezTo>
                  <a:pt x="3572542" y="5117210"/>
                  <a:pt x="3575823" y="5118089"/>
                  <a:pt x="3574945" y="5121368"/>
                </a:cubicBezTo>
                <a:cubicBezTo>
                  <a:pt x="3571664" y="5120490"/>
                  <a:pt x="3568383" y="5119611"/>
                  <a:pt x="3565103" y="5118731"/>
                </a:cubicBezTo>
                <a:cubicBezTo>
                  <a:pt x="3561823" y="5117852"/>
                  <a:pt x="3561823" y="5117852"/>
                  <a:pt x="3561823" y="5117852"/>
                </a:cubicBezTo>
                <a:cubicBezTo>
                  <a:pt x="3554384" y="5119375"/>
                  <a:pt x="3551103" y="5118495"/>
                  <a:pt x="3547823" y="5117617"/>
                </a:cubicBezTo>
                <a:cubicBezTo>
                  <a:pt x="3541263" y="5115860"/>
                  <a:pt x="3537981" y="5114981"/>
                  <a:pt x="3534703" y="5114101"/>
                </a:cubicBezTo>
                <a:cubicBezTo>
                  <a:pt x="3531422" y="5113222"/>
                  <a:pt x="3531422" y="5113222"/>
                  <a:pt x="3524861" y="5111464"/>
                </a:cubicBezTo>
                <a:cubicBezTo>
                  <a:pt x="3522460" y="5107306"/>
                  <a:pt x="3511741" y="5107948"/>
                  <a:pt x="3505180" y="5106191"/>
                </a:cubicBezTo>
                <a:cubicBezTo>
                  <a:pt x="3501899" y="5105311"/>
                  <a:pt x="3499499" y="5101153"/>
                  <a:pt x="3496218" y="5100273"/>
                </a:cubicBezTo>
                <a:cubicBezTo>
                  <a:pt x="3496218" y="5100273"/>
                  <a:pt x="3500377" y="5097872"/>
                  <a:pt x="3500377" y="5097872"/>
                </a:cubicBezTo>
                <a:cubicBezTo>
                  <a:pt x="3503657" y="5098752"/>
                  <a:pt x="3504537" y="5095471"/>
                  <a:pt x="3504537" y="5095471"/>
                </a:cubicBezTo>
                <a:cubicBezTo>
                  <a:pt x="3504537" y="5095471"/>
                  <a:pt x="3504537" y="5095471"/>
                  <a:pt x="3501256" y="5094592"/>
                </a:cubicBezTo>
                <a:cubicBezTo>
                  <a:pt x="3497975" y="5093714"/>
                  <a:pt x="3497975" y="5093714"/>
                  <a:pt x="3497975" y="5093714"/>
                </a:cubicBezTo>
                <a:cubicBezTo>
                  <a:pt x="3494695" y="5092834"/>
                  <a:pt x="3494695" y="5092834"/>
                  <a:pt x="3493817" y="5096115"/>
                </a:cubicBezTo>
                <a:cubicBezTo>
                  <a:pt x="3493817" y="5096115"/>
                  <a:pt x="3489659" y="5098516"/>
                  <a:pt x="3489659" y="5098516"/>
                </a:cubicBezTo>
                <a:cubicBezTo>
                  <a:pt x="3488778" y="5101796"/>
                  <a:pt x="3488778" y="5101796"/>
                  <a:pt x="3488778" y="5101796"/>
                </a:cubicBezTo>
                <a:cubicBezTo>
                  <a:pt x="3492058" y="5102676"/>
                  <a:pt x="3497740" y="5107714"/>
                  <a:pt x="3504301" y="5109471"/>
                </a:cubicBezTo>
                <a:cubicBezTo>
                  <a:pt x="3507581" y="5110349"/>
                  <a:pt x="3507581" y="5110349"/>
                  <a:pt x="3507581" y="5110349"/>
                </a:cubicBezTo>
                <a:cubicBezTo>
                  <a:pt x="3510861" y="5111230"/>
                  <a:pt x="3518300" y="5109707"/>
                  <a:pt x="3520701" y="5113865"/>
                </a:cubicBezTo>
                <a:cubicBezTo>
                  <a:pt x="3523982" y="5114745"/>
                  <a:pt x="3523982" y="5114745"/>
                  <a:pt x="3527262" y="5115624"/>
                </a:cubicBezTo>
                <a:cubicBezTo>
                  <a:pt x="3523104" y="5118025"/>
                  <a:pt x="3516543" y="5116266"/>
                  <a:pt x="3509983" y="5114509"/>
                </a:cubicBezTo>
                <a:cubicBezTo>
                  <a:pt x="3503423" y="5112752"/>
                  <a:pt x="3496862" y="5110993"/>
                  <a:pt x="3489421" y="5112516"/>
                </a:cubicBezTo>
                <a:cubicBezTo>
                  <a:pt x="3486142" y="5111638"/>
                  <a:pt x="3487020" y="5108356"/>
                  <a:pt x="3483740" y="5107478"/>
                </a:cubicBezTo>
                <a:cubicBezTo>
                  <a:pt x="3477179" y="5105719"/>
                  <a:pt x="3477179" y="5105719"/>
                  <a:pt x="3477179" y="5105719"/>
                </a:cubicBezTo>
                <a:cubicBezTo>
                  <a:pt x="3470619" y="5103962"/>
                  <a:pt x="3467339" y="5103082"/>
                  <a:pt x="3460778" y="5101325"/>
                </a:cubicBezTo>
                <a:cubicBezTo>
                  <a:pt x="3464938" y="5098924"/>
                  <a:pt x="3464938" y="5098924"/>
                  <a:pt x="3464938" y="5098924"/>
                </a:cubicBezTo>
                <a:cubicBezTo>
                  <a:pt x="3468217" y="5099803"/>
                  <a:pt x="3468217" y="5099803"/>
                  <a:pt x="3465816" y="5095643"/>
                </a:cubicBezTo>
                <a:cubicBezTo>
                  <a:pt x="3465816" y="5095643"/>
                  <a:pt x="3465816" y="5095643"/>
                  <a:pt x="3462537" y="5094765"/>
                </a:cubicBezTo>
                <a:cubicBezTo>
                  <a:pt x="3462537" y="5094765"/>
                  <a:pt x="3459257" y="5093886"/>
                  <a:pt x="3459257" y="5093886"/>
                </a:cubicBezTo>
                <a:cubicBezTo>
                  <a:pt x="3455097" y="5096287"/>
                  <a:pt x="3455097" y="5096287"/>
                  <a:pt x="3455097" y="5096287"/>
                </a:cubicBezTo>
                <a:cubicBezTo>
                  <a:pt x="3455097" y="5096287"/>
                  <a:pt x="3451816" y="5095409"/>
                  <a:pt x="3451816" y="5095409"/>
                </a:cubicBezTo>
                <a:cubicBezTo>
                  <a:pt x="3451816" y="5095409"/>
                  <a:pt x="3451816" y="5095409"/>
                  <a:pt x="3448536" y="5094529"/>
                </a:cubicBezTo>
                <a:cubicBezTo>
                  <a:pt x="3445257" y="5093650"/>
                  <a:pt x="3437817" y="5095173"/>
                  <a:pt x="3434537" y="5094294"/>
                </a:cubicBezTo>
                <a:cubicBezTo>
                  <a:pt x="3424696" y="5091657"/>
                  <a:pt x="3420537" y="5094058"/>
                  <a:pt x="3418134" y="5089898"/>
                </a:cubicBezTo>
                <a:cubicBezTo>
                  <a:pt x="3419013" y="5086619"/>
                  <a:pt x="3415734" y="5085739"/>
                  <a:pt x="3415734" y="5085739"/>
                </a:cubicBezTo>
                <a:cubicBezTo>
                  <a:pt x="3415734" y="5085739"/>
                  <a:pt x="3416612" y="5082459"/>
                  <a:pt x="3419893" y="5083337"/>
                </a:cubicBezTo>
                <a:cubicBezTo>
                  <a:pt x="3433015" y="5086855"/>
                  <a:pt x="3446135" y="5090369"/>
                  <a:pt x="3460135" y="5090605"/>
                </a:cubicBezTo>
                <a:cubicBezTo>
                  <a:pt x="3463417" y="5091485"/>
                  <a:pt x="3463417" y="5091485"/>
                  <a:pt x="3463417" y="5091485"/>
                </a:cubicBezTo>
                <a:cubicBezTo>
                  <a:pt x="3464295" y="5088204"/>
                  <a:pt x="3461014" y="5087326"/>
                  <a:pt x="3461014" y="5087326"/>
                </a:cubicBezTo>
                <a:cubicBezTo>
                  <a:pt x="3447014" y="5087089"/>
                  <a:pt x="3433893" y="5083574"/>
                  <a:pt x="3420771" y="5080058"/>
                </a:cubicBezTo>
                <a:cubicBezTo>
                  <a:pt x="3421650" y="5076777"/>
                  <a:pt x="3422530" y="5073498"/>
                  <a:pt x="3416848" y="5068459"/>
                </a:cubicBezTo>
                <a:cubicBezTo>
                  <a:pt x="3400447" y="5064065"/>
                  <a:pt x="3398925" y="5056626"/>
                  <a:pt x="3382522" y="5052230"/>
                </a:cubicBezTo>
                <a:cubicBezTo>
                  <a:pt x="3344273" y="5024403"/>
                  <a:pt x="3293547" y="5003780"/>
                  <a:pt x="3258344" y="4990831"/>
                </a:cubicBezTo>
                <a:cubicBezTo>
                  <a:pt x="3255064" y="4989952"/>
                  <a:pt x="3255064" y="4989952"/>
                  <a:pt x="3255064" y="4989952"/>
                </a:cubicBezTo>
                <a:cubicBezTo>
                  <a:pt x="3255064" y="4989952"/>
                  <a:pt x="3251783" y="4989072"/>
                  <a:pt x="3251783" y="4989072"/>
                </a:cubicBezTo>
                <a:cubicBezTo>
                  <a:pt x="3250904" y="4992353"/>
                  <a:pt x="3250904" y="4992353"/>
                  <a:pt x="3254186" y="4993232"/>
                </a:cubicBezTo>
                <a:cubicBezTo>
                  <a:pt x="3289390" y="5006181"/>
                  <a:pt x="3336835" y="5025926"/>
                  <a:pt x="3375085" y="5053753"/>
                </a:cubicBezTo>
                <a:cubicBezTo>
                  <a:pt x="3371803" y="5052874"/>
                  <a:pt x="3371803" y="5052874"/>
                  <a:pt x="3371803" y="5052874"/>
                </a:cubicBezTo>
                <a:cubicBezTo>
                  <a:pt x="3370925" y="5056154"/>
                  <a:pt x="3374204" y="5057034"/>
                  <a:pt x="3376606" y="5061192"/>
                </a:cubicBezTo>
                <a:cubicBezTo>
                  <a:pt x="3373326" y="5060314"/>
                  <a:pt x="3370045" y="5059435"/>
                  <a:pt x="3366767" y="5058555"/>
                </a:cubicBezTo>
                <a:cubicBezTo>
                  <a:pt x="3366767" y="5058555"/>
                  <a:pt x="3366767" y="5058555"/>
                  <a:pt x="3367645" y="5055275"/>
                </a:cubicBezTo>
                <a:cubicBezTo>
                  <a:pt x="3364364" y="5054397"/>
                  <a:pt x="3364364" y="5054397"/>
                  <a:pt x="3364364" y="5054397"/>
                </a:cubicBezTo>
                <a:cubicBezTo>
                  <a:pt x="3364364" y="5054397"/>
                  <a:pt x="3364364" y="5054397"/>
                  <a:pt x="3361083" y="5053517"/>
                </a:cubicBezTo>
                <a:cubicBezTo>
                  <a:pt x="3361083" y="5053517"/>
                  <a:pt x="3360205" y="5056798"/>
                  <a:pt x="3360205" y="5056798"/>
                </a:cubicBezTo>
                <a:cubicBezTo>
                  <a:pt x="3354524" y="5051759"/>
                  <a:pt x="3347963" y="5050001"/>
                  <a:pt x="3344683" y="5049123"/>
                </a:cubicBezTo>
                <a:cubicBezTo>
                  <a:pt x="3341402" y="5048244"/>
                  <a:pt x="3341402" y="5048244"/>
                  <a:pt x="3338122" y="5047364"/>
                </a:cubicBezTo>
                <a:cubicBezTo>
                  <a:pt x="3334843" y="5046486"/>
                  <a:pt x="3331561" y="5045605"/>
                  <a:pt x="3328281" y="5044727"/>
                </a:cubicBezTo>
                <a:lnTo>
                  <a:pt x="3325001" y="5043849"/>
                </a:lnTo>
                <a:cubicBezTo>
                  <a:pt x="3325879" y="5040568"/>
                  <a:pt x="3325879" y="5040568"/>
                  <a:pt x="3322599" y="5039690"/>
                </a:cubicBezTo>
                <a:cubicBezTo>
                  <a:pt x="3319320" y="5038810"/>
                  <a:pt x="3319320" y="5038810"/>
                  <a:pt x="3316040" y="5037932"/>
                </a:cubicBezTo>
                <a:cubicBezTo>
                  <a:pt x="3316040" y="5037932"/>
                  <a:pt x="3311880" y="5040333"/>
                  <a:pt x="3311880" y="5040333"/>
                </a:cubicBezTo>
                <a:cubicBezTo>
                  <a:pt x="3284758" y="5036582"/>
                  <a:pt x="3258516" y="5029550"/>
                  <a:pt x="3233153" y="5019238"/>
                </a:cubicBezTo>
                <a:cubicBezTo>
                  <a:pt x="3220911" y="5012442"/>
                  <a:pt x="3211070" y="5009805"/>
                  <a:pt x="3198829" y="5003009"/>
                </a:cubicBezTo>
                <a:cubicBezTo>
                  <a:pt x="3198829" y="5003009"/>
                  <a:pt x="3197949" y="5006290"/>
                  <a:pt x="3201230" y="5007168"/>
                </a:cubicBezTo>
                <a:cubicBezTo>
                  <a:pt x="3179148" y="4997736"/>
                  <a:pt x="3159465" y="4992462"/>
                  <a:pt x="3137383" y="4983030"/>
                </a:cubicBezTo>
                <a:cubicBezTo>
                  <a:pt x="3134102" y="4982150"/>
                  <a:pt x="3134102" y="4982150"/>
                  <a:pt x="3133223" y="4985431"/>
                </a:cubicBezTo>
                <a:cubicBezTo>
                  <a:pt x="3126663" y="4983673"/>
                  <a:pt x="3124263" y="4979514"/>
                  <a:pt x="3117700" y="4977756"/>
                </a:cubicBezTo>
                <a:cubicBezTo>
                  <a:pt x="3120981" y="4978634"/>
                  <a:pt x="3118579" y="4974474"/>
                  <a:pt x="3115299" y="4973596"/>
                </a:cubicBezTo>
                <a:cubicBezTo>
                  <a:pt x="3114421" y="4976877"/>
                  <a:pt x="3111141" y="4975997"/>
                  <a:pt x="3107860" y="4975119"/>
                </a:cubicBezTo>
                <a:cubicBezTo>
                  <a:pt x="3101299" y="4973360"/>
                  <a:pt x="3095618" y="4968321"/>
                  <a:pt x="3089059" y="4966565"/>
                </a:cubicBezTo>
                <a:cubicBezTo>
                  <a:pt x="3089059" y="4966565"/>
                  <a:pt x="3085777" y="4965684"/>
                  <a:pt x="3085777" y="4965684"/>
                </a:cubicBezTo>
                <a:cubicBezTo>
                  <a:pt x="3082497" y="4964806"/>
                  <a:pt x="3080095" y="4960648"/>
                  <a:pt x="3076815" y="4959768"/>
                </a:cubicBezTo>
                <a:cubicBezTo>
                  <a:pt x="3073536" y="4958890"/>
                  <a:pt x="3073536" y="4958890"/>
                  <a:pt x="3073536" y="4958890"/>
                </a:cubicBezTo>
                <a:cubicBezTo>
                  <a:pt x="3073536" y="4958890"/>
                  <a:pt x="3070254" y="4958011"/>
                  <a:pt x="3070254" y="4958011"/>
                </a:cubicBezTo>
                <a:cubicBezTo>
                  <a:pt x="3051452" y="4949457"/>
                  <a:pt x="3033528" y="4937622"/>
                  <a:pt x="3018005" y="4929948"/>
                </a:cubicBezTo>
                <a:cubicBezTo>
                  <a:pt x="3018005" y="4929948"/>
                  <a:pt x="3010567" y="4931469"/>
                  <a:pt x="3008164" y="4927311"/>
                </a:cubicBezTo>
                <a:cubicBezTo>
                  <a:pt x="3008164" y="4927311"/>
                  <a:pt x="3004884" y="4926433"/>
                  <a:pt x="3004884" y="4926433"/>
                </a:cubicBezTo>
                <a:cubicBezTo>
                  <a:pt x="3008164" y="4927311"/>
                  <a:pt x="2998324" y="4924674"/>
                  <a:pt x="2991763" y="4922918"/>
                </a:cubicBezTo>
                <a:cubicBezTo>
                  <a:pt x="2979523" y="4916120"/>
                  <a:pt x="2968159" y="4906044"/>
                  <a:pt x="2959196" y="4900127"/>
                </a:cubicBezTo>
                <a:cubicBezTo>
                  <a:pt x="2907827" y="4868783"/>
                  <a:pt x="2868699" y="4844236"/>
                  <a:pt x="2832851" y="4820566"/>
                </a:cubicBezTo>
                <a:cubicBezTo>
                  <a:pt x="2829571" y="4819688"/>
                  <a:pt x="2829571" y="4819688"/>
                  <a:pt x="2829571" y="4819688"/>
                </a:cubicBezTo>
                <a:cubicBezTo>
                  <a:pt x="2827170" y="4815530"/>
                  <a:pt x="2827170" y="4815530"/>
                  <a:pt x="2827170" y="4815530"/>
                </a:cubicBezTo>
                <a:cubicBezTo>
                  <a:pt x="2814607" y="4803373"/>
                  <a:pt x="2802863" y="4791436"/>
                  <a:pt x="2790300" y="4779282"/>
                </a:cubicBezTo>
                <a:lnTo>
                  <a:pt x="2753001" y="4745754"/>
                </a:lnTo>
                <a:lnTo>
                  <a:pt x="2753847" y="4746386"/>
                </a:lnTo>
                <a:cubicBezTo>
                  <a:pt x="2757549" y="4748972"/>
                  <a:pt x="2760909" y="4751190"/>
                  <a:pt x="2763151" y="4752669"/>
                </a:cubicBezTo>
                <a:cubicBezTo>
                  <a:pt x="2766430" y="4753548"/>
                  <a:pt x="2768833" y="4757708"/>
                  <a:pt x="2768833" y="4757708"/>
                </a:cubicBezTo>
                <a:cubicBezTo>
                  <a:pt x="2780195" y="4767784"/>
                  <a:pt x="2784997" y="4776102"/>
                  <a:pt x="2789157" y="4773703"/>
                </a:cubicBezTo>
                <a:cubicBezTo>
                  <a:pt x="2790679" y="4781141"/>
                  <a:pt x="2808603" y="4792975"/>
                  <a:pt x="2824125" y="4800649"/>
                </a:cubicBezTo>
                <a:cubicBezTo>
                  <a:pt x="2827406" y="4801529"/>
                  <a:pt x="2830687" y="4802408"/>
                  <a:pt x="2829807" y="4805687"/>
                </a:cubicBezTo>
                <a:cubicBezTo>
                  <a:pt x="2829807" y="4805687"/>
                  <a:pt x="2832209" y="4809847"/>
                  <a:pt x="2835489" y="4810727"/>
                </a:cubicBezTo>
                <a:cubicBezTo>
                  <a:pt x="2838769" y="4811605"/>
                  <a:pt x="2842049" y="4812484"/>
                  <a:pt x="2839648" y="4808324"/>
                </a:cubicBezTo>
                <a:cubicBezTo>
                  <a:pt x="2840526" y="4805045"/>
                  <a:pt x="2834845" y="4800006"/>
                  <a:pt x="2829163" y="4794968"/>
                </a:cubicBezTo>
                <a:cubicBezTo>
                  <a:pt x="2825883" y="4794088"/>
                  <a:pt x="2825883" y="4794088"/>
                  <a:pt x="2825883" y="4794088"/>
                </a:cubicBezTo>
                <a:cubicBezTo>
                  <a:pt x="2803157" y="4773937"/>
                  <a:pt x="2795075" y="4764739"/>
                  <a:pt x="2773871" y="4752025"/>
                </a:cubicBezTo>
                <a:cubicBezTo>
                  <a:pt x="2773871" y="4752025"/>
                  <a:pt x="2770590" y="4751147"/>
                  <a:pt x="2770590" y="4751147"/>
                </a:cubicBezTo>
                <a:cubicBezTo>
                  <a:pt x="2768187" y="4746989"/>
                  <a:pt x="2760105" y="4737790"/>
                  <a:pt x="2757705" y="4733631"/>
                </a:cubicBezTo>
                <a:cubicBezTo>
                  <a:pt x="2750264" y="4735154"/>
                  <a:pt x="2752023" y="4728593"/>
                  <a:pt x="2740660" y="4718516"/>
                </a:cubicBezTo>
                <a:cubicBezTo>
                  <a:pt x="2730497" y="4710520"/>
                  <a:pt x="2718095" y="4701044"/>
                  <a:pt x="2706021" y="4690338"/>
                </a:cubicBezTo>
                <a:lnTo>
                  <a:pt x="2678648" y="4660537"/>
                </a:lnTo>
                <a:lnTo>
                  <a:pt x="2682322" y="4660696"/>
                </a:lnTo>
                <a:cubicBezTo>
                  <a:pt x="2636869" y="4620390"/>
                  <a:pt x="2598856" y="4578563"/>
                  <a:pt x="2556040" y="4528415"/>
                </a:cubicBezTo>
                <a:cubicBezTo>
                  <a:pt x="2556040" y="4528415"/>
                  <a:pt x="2556918" y="4525136"/>
                  <a:pt x="2556918" y="4525136"/>
                </a:cubicBezTo>
                <a:cubicBezTo>
                  <a:pt x="2553638" y="4524257"/>
                  <a:pt x="2553638" y="4524257"/>
                  <a:pt x="2553638" y="4524257"/>
                </a:cubicBezTo>
                <a:cubicBezTo>
                  <a:pt x="2553638" y="4524257"/>
                  <a:pt x="2553638" y="4524257"/>
                  <a:pt x="2550359" y="4523378"/>
                </a:cubicBezTo>
                <a:cubicBezTo>
                  <a:pt x="2547958" y="4519219"/>
                  <a:pt x="2546435" y="4511779"/>
                  <a:pt x="2544034" y="4507619"/>
                </a:cubicBezTo>
                <a:cubicBezTo>
                  <a:pt x="2532435" y="4511543"/>
                  <a:pt x="2518905" y="4483308"/>
                  <a:pt x="2505142" y="4469072"/>
                </a:cubicBezTo>
                <a:cubicBezTo>
                  <a:pt x="2509301" y="4466671"/>
                  <a:pt x="2514103" y="4474989"/>
                  <a:pt x="2514981" y="4471709"/>
                </a:cubicBezTo>
                <a:cubicBezTo>
                  <a:pt x="2502975" y="4450912"/>
                  <a:pt x="2509944" y="4477392"/>
                  <a:pt x="2494657" y="4455716"/>
                </a:cubicBezTo>
                <a:cubicBezTo>
                  <a:pt x="2495536" y="4452435"/>
                  <a:pt x="2497937" y="4456594"/>
                  <a:pt x="2498817" y="4453313"/>
                </a:cubicBezTo>
                <a:cubicBezTo>
                  <a:pt x="2479370" y="4434040"/>
                  <a:pt x="2468243" y="4409964"/>
                  <a:pt x="2453599" y="4399008"/>
                </a:cubicBezTo>
                <a:cubicBezTo>
                  <a:pt x="2453599" y="4399008"/>
                  <a:pt x="2459281" y="4404046"/>
                  <a:pt x="2454477" y="4395729"/>
                </a:cubicBezTo>
                <a:cubicBezTo>
                  <a:pt x="2438956" y="4388053"/>
                  <a:pt x="2434388" y="4365736"/>
                  <a:pt x="2424784" y="4349098"/>
                </a:cubicBezTo>
                <a:cubicBezTo>
                  <a:pt x="2407738" y="4333983"/>
                  <a:pt x="2395732" y="4313186"/>
                  <a:pt x="2387006" y="4293271"/>
                </a:cubicBezTo>
                <a:cubicBezTo>
                  <a:pt x="2382643" y="4283312"/>
                  <a:pt x="2378278" y="4273352"/>
                  <a:pt x="2372796" y="4262654"/>
                </a:cubicBezTo>
                <a:lnTo>
                  <a:pt x="2354365" y="4231786"/>
                </a:lnTo>
                <a:lnTo>
                  <a:pt x="2357546" y="4232639"/>
                </a:lnTo>
                <a:cubicBezTo>
                  <a:pt x="2358425" y="4229358"/>
                  <a:pt x="2358425" y="4229358"/>
                  <a:pt x="2355145" y="4228480"/>
                </a:cubicBezTo>
                <a:cubicBezTo>
                  <a:pt x="2349463" y="4223441"/>
                  <a:pt x="2349463" y="4223441"/>
                  <a:pt x="2349463" y="4223441"/>
                </a:cubicBezTo>
                <a:cubicBezTo>
                  <a:pt x="2352745" y="4224320"/>
                  <a:pt x="2352745" y="4224320"/>
                  <a:pt x="2352745" y="4224320"/>
                </a:cubicBezTo>
                <a:cubicBezTo>
                  <a:pt x="2351221" y="4216882"/>
                  <a:pt x="2346419" y="4208563"/>
                  <a:pt x="2338336" y="4199366"/>
                </a:cubicBezTo>
                <a:cubicBezTo>
                  <a:pt x="2338336" y="4199366"/>
                  <a:pt x="2335056" y="4198486"/>
                  <a:pt x="2335056" y="4198486"/>
                </a:cubicBezTo>
                <a:cubicBezTo>
                  <a:pt x="2331775" y="4197608"/>
                  <a:pt x="2332655" y="4194328"/>
                  <a:pt x="2329374" y="4193448"/>
                </a:cubicBezTo>
                <a:cubicBezTo>
                  <a:pt x="2332655" y="4194328"/>
                  <a:pt x="2335056" y="4198486"/>
                  <a:pt x="2335934" y="4195206"/>
                </a:cubicBezTo>
                <a:cubicBezTo>
                  <a:pt x="2333533" y="4191047"/>
                  <a:pt x="2331132" y="4186887"/>
                  <a:pt x="2328731" y="4182729"/>
                </a:cubicBezTo>
                <a:cubicBezTo>
                  <a:pt x="2332011" y="4183607"/>
                  <a:pt x="2332011" y="4183607"/>
                  <a:pt x="2332011" y="4183607"/>
                </a:cubicBezTo>
                <a:cubicBezTo>
                  <a:pt x="2332011" y="4183607"/>
                  <a:pt x="2332011" y="4183607"/>
                  <a:pt x="2335292" y="4184486"/>
                </a:cubicBezTo>
                <a:cubicBezTo>
                  <a:pt x="2335292" y="4184486"/>
                  <a:pt x="2335292" y="4184486"/>
                  <a:pt x="2336170" y="4181206"/>
                </a:cubicBezTo>
                <a:cubicBezTo>
                  <a:pt x="2332891" y="4180326"/>
                  <a:pt x="2329610" y="4179448"/>
                  <a:pt x="2329610" y="4179448"/>
                </a:cubicBezTo>
                <a:cubicBezTo>
                  <a:pt x="2329610" y="4179448"/>
                  <a:pt x="2329610" y="4179448"/>
                  <a:pt x="2326328" y="4178569"/>
                </a:cubicBezTo>
                <a:cubicBezTo>
                  <a:pt x="2326328" y="4178569"/>
                  <a:pt x="2323927" y="4174411"/>
                  <a:pt x="2323927" y="4174411"/>
                </a:cubicBezTo>
                <a:cubicBezTo>
                  <a:pt x="2323927" y="4174411"/>
                  <a:pt x="2324807" y="4171130"/>
                  <a:pt x="2324807" y="4171130"/>
                </a:cubicBezTo>
                <a:cubicBezTo>
                  <a:pt x="2324807" y="4171130"/>
                  <a:pt x="2325686" y="4167850"/>
                  <a:pt x="2325686" y="4167850"/>
                </a:cubicBezTo>
                <a:cubicBezTo>
                  <a:pt x="2322406" y="4166970"/>
                  <a:pt x="2322406" y="4166970"/>
                  <a:pt x="2322406" y="4166970"/>
                </a:cubicBezTo>
                <a:cubicBezTo>
                  <a:pt x="2319125" y="4166091"/>
                  <a:pt x="2319125" y="4166091"/>
                  <a:pt x="2319125" y="4166091"/>
                </a:cubicBezTo>
                <a:cubicBezTo>
                  <a:pt x="2316724" y="4161932"/>
                  <a:pt x="2314323" y="4157774"/>
                  <a:pt x="2315201" y="4154494"/>
                </a:cubicBezTo>
                <a:cubicBezTo>
                  <a:pt x="2315201" y="4154494"/>
                  <a:pt x="2315201" y="4154494"/>
                  <a:pt x="2318482" y="4155373"/>
                </a:cubicBezTo>
                <a:cubicBezTo>
                  <a:pt x="2318482" y="4155373"/>
                  <a:pt x="2316081" y="4151212"/>
                  <a:pt x="2316081" y="4151212"/>
                </a:cubicBezTo>
                <a:cubicBezTo>
                  <a:pt x="2313680" y="4147053"/>
                  <a:pt x="2313680" y="4147053"/>
                  <a:pt x="2313680" y="4147053"/>
                </a:cubicBezTo>
                <a:cubicBezTo>
                  <a:pt x="2313680" y="4147053"/>
                  <a:pt x="2311277" y="4142893"/>
                  <a:pt x="2307998" y="4142015"/>
                </a:cubicBezTo>
                <a:cubicBezTo>
                  <a:pt x="2311277" y="4142893"/>
                  <a:pt x="2311277" y="4142893"/>
                  <a:pt x="2311277" y="4142893"/>
                </a:cubicBezTo>
                <a:cubicBezTo>
                  <a:pt x="2312157" y="4139613"/>
                  <a:pt x="2309756" y="4135454"/>
                  <a:pt x="2308233" y="4128016"/>
                </a:cubicBezTo>
                <a:cubicBezTo>
                  <a:pt x="2313914" y="4133052"/>
                  <a:pt x="2309114" y="4124735"/>
                  <a:pt x="2314794" y="4129773"/>
                </a:cubicBezTo>
                <a:cubicBezTo>
                  <a:pt x="2308469" y="4114014"/>
                  <a:pt x="2308469" y="4114014"/>
                  <a:pt x="2308469" y="4114014"/>
                </a:cubicBezTo>
                <a:cubicBezTo>
                  <a:pt x="2308469" y="4114014"/>
                  <a:pt x="2311749" y="4114894"/>
                  <a:pt x="2311749" y="4114894"/>
                </a:cubicBezTo>
                <a:cubicBezTo>
                  <a:pt x="2314150" y="4119054"/>
                  <a:pt x="2314150" y="4119054"/>
                  <a:pt x="2314150" y="4119054"/>
                </a:cubicBezTo>
                <a:cubicBezTo>
                  <a:pt x="2314150" y="4119054"/>
                  <a:pt x="2313272" y="4122333"/>
                  <a:pt x="2317430" y="4119932"/>
                </a:cubicBezTo>
                <a:cubicBezTo>
                  <a:pt x="2317430" y="4119932"/>
                  <a:pt x="2317430" y="4119932"/>
                  <a:pt x="2315029" y="4115773"/>
                </a:cubicBezTo>
                <a:cubicBezTo>
                  <a:pt x="2312628" y="4111613"/>
                  <a:pt x="2312628" y="4111613"/>
                  <a:pt x="2312628" y="4111613"/>
                </a:cubicBezTo>
                <a:cubicBezTo>
                  <a:pt x="2309348" y="4110734"/>
                  <a:pt x="2310226" y="4107455"/>
                  <a:pt x="2306947" y="4106575"/>
                </a:cubicBezTo>
                <a:cubicBezTo>
                  <a:pt x="2306947" y="4106575"/>
                  <a:pt x="2302787" y="4108977"/>
                  <a:pt x="2305188" y="4113136"/>
                </a:cubicBezTo>
                <a:cubicBezTo>
                  <a:pt x="2302787" y="4108977"/>
                  <a:pt x="2302787" y="4108977"/>
                  <a:pt x="2302787" y="4108977"/>
                </a:cubicBezTo>
                <a:cubicBezTo>
                  <a:pt x="2292302" y="4095620"/>
                  <a:pt x="2296462" y="4093218"/>
                  <a:pt x="2287500" y="4087301"/>
                </a:cubicBezTo>
                <a:cubicBezTo>
                  <a:pt x="2292302" y="4095620"/>
                  <a:pt x="2288144" y="4098021"/>
                  <a:pt x="2287264" y="4101302"/>
                </a:cubicBezTo>
                <a:cubicBezTo>
                  <a:pt x="2284863" y="4097142"/>
                  <a:pt x="2283340" y="4089703"/>
                  <a:pt x="2280939" y="4085543"/>
                </a:cubicBezTo>
                <a:cubicBezTo>
                  <a:pt x="2278538" y="4081385"/>
                  <a:pt x="2276137" y="4077226"/>
                  <a:pt x="2273736" y="4073065"/>
                </a:cubicBezTo>
                <a:cubicBezTo>
                  <a:pt x="2274614" y="4069786"/>
                  <a:pt x="2272213" y="4065626"/>
                  <a:pt x="2272213" y="4065626"/>
                </a:cubicBezTo>
                <a:cubicBezTo>
                  <a:pt x="2273093" y="4062346"/>
                  <a:pt x="2275494" y="4066506"/>
                  <a:pt x="2278774" y="4067385"/>
                </a:cubicBezTo>
                <a:cubicBezTo>
                  <a:pt x="2269169" y="4050747"/>
                  <a:pt x="2269169" y="4050747"/>
                  <a:pt x="2269169" y="4050747"/>
                </a:cubicBezTo>
                <a:cubicBezTo>
                  <a:pt x="2273328" y="4048346"/>
                  <a:pt x="2273328" y="4048346"/>
                  <a:pt x="2273328" y="4048346"/>
                </a:cubicBezTo>
                <a:cubicBezTo>
                  <a:pt x="2273328" y="4048346"/>
                  <a:pt x="2276609" y="4049225"/>
                  <a:pt x="2275729" y="4052506"/>
                </a:cubicBezTo>
                <a:cubicBezTo>
                  <a:pt x="2279010" y="4053384"/>
                  <a:pt x="2279010" y="4053384"/>
                  <a:pt x="2279010" y="4053384"/>
                </a:cubicBezTo>
                <a:cubicBezTo>
                  <a:pt x="2279010" y="4053384"/>
                  <a:pt x="2279010" y="4053384"/>
                  <a:pt x="2279888" y="4050103"/>
                </a:cubicBezTo>
                <a:cubicBezTo>
                  <a:pt x="2280767" y="4046824"/>
                  <a:pt x="2277487" y="4045945"/>
                  <a:pt x="2277487" y="4045945"/>
                </a:cubicBezTo>
                <a:cubicBezTo>
                  <a:pt x="2274206" y="4045065"/>
                  <a:pt x="2274206" y="4045065"/>
                  <a:pt x="2274206" y="4045065"/>
                </a:cubicBezTo>
                <a:cubicBezTo>
                  <a:pt x="2274206" y="4045065"/>
                  <a:pt x="2275086" y="4041785"/>
                  <a:pt x="2271805" y="4040907"/>
                </a:cubicBezTo>
                <a:cubicBezTo>
                  <a:pt x="2271805" y="4040907"/>
                  <a:pt x="2271805" y="4040907"/>
                  <a:pt x="2269404" y="4036747"/>
                </a:cubicBezTo>
                <a:cubicBezTo>
                  <a:pt x="2269404" y="4036747"/>
                  <a:pt x="2269404" y="4036747"/>
                  <a:pt x="2270282" y="4033467"/>
                </a:cubicBezTo>
                <a:cubicBezTo>
                  <a:pt x="2270282" y="4033467"/>
                  <a:pt x="2267003" y="4032587"/>
                  <a:pt x="2267003" y="4032587"/>
                </a:cubicBezTo>
                <a:cubicBezTo>
                  <a:pt x="2267881" y="4029308"/>
                  <a:pt x="2267881" y="4029308"/>
                  <a:pt x="2267881" y="4029308"/>
                </a:cubicBezTo>
                <a:cubicBezTo>
                  <a:pt x="2271162" y="4030186"/>
                  <a:pt x="2271162" y="4030186"/>
                  <a:pt x="2271162" y="4030186"/>
                </a:cubicBezTo>
                <a:cubicBezTo>
                  <a:pt x="2276843" y="4035224"/>
                  <a:pt x="2276843" y="4035224"/>
                  <a:pt x="2276843" y="4035224"/>
                </a:cubicBezTo>
                <a:cubicBezTo>
                  <a:pt x="2279246" y="4039384"/>
                  <a:pt x="2278366" y="4042666"/>
                  <a:pt x="2281647" y="4043544"/>
                </a:cubicBezTo>
                <a:cubicBezTo>
                  <a:pt x="2281647" y="4043544"/>
                  <a:pt x="2281647" y="4043544"/>
                  <a:pt x="2282526" y="4040263"/>
                </a:cubicBezTo>
                <a:cubicBezTo>
                  <a:pt x="2283404" y="4036983"/>
                  <a:pt x="2280124" y="4036104"/>
                  <a:pt x="2280124" y="4036104"/>
                </a:cubicBezTo>
                <a:cubicBezTo>
                  <a:pt x="2278602" y="4028665"/>
                  <a:pt x="2275322" y="4027785"/>
                  <a:pt x="2272919" y="4023625"/>
                </a:cubicBezTo>
                <a:cubicBezTo>
                  <a:pt x="2269640" y="4022747"/>
                  <a:pt x="2269640" y="4022747"/>
                  <a:pt x="2269640" y="4022747"/>
                </a:cubicBezTo>
                <a:cubicBezTo>
                  <a:pt x="2263959" y="4017708"/>
                  <a:pt x="2264837" y="4014429"/>
                  <a:pt x="2261556" y="4013550"/>
                </a:cubicBezTo>
                <a:cubicBezTo>
                  <a:pt x="2255233" y="3997792"/>
                  <a:pt x="2249786" y="3978753"/>
                  <a:pt x="2240180" y="3962117"/>
                </a:cubicBezTo>
                <a:cubicBezTo>
                  <a:pt x="2241060" y="3958836"/>
                  <a:pt x="2241060" y="3958836"/>
                  <a:pt x="2241060" y="3958836"/>
                </a:cubicBezTo>
                <a:cubicBezTo>
                  <a:pt x="2241939" y="3955556"/>
                  <a:pt x="2238659" y="3954676"/>
                  <a:pt x="2238659" y="3954676"/>
                </a:cubicBezTo>
                <a:cubicBezTo>
                  <a:pt x="2239537" y="3951396"/>
                  <a:pt x="2237136" y="3947238"/>
                  <a:pt x="2234735" y="3943079"/>
                </a:cubicBezTo>
                <a:cubicBezTo>
                  <a:pt x="2234735" y="3943079"/>
                  <a:pt x="2234735" y="3943079"/>
                  <a:pt x="2232334" y="3938919"/>
                </a:cubicBezTo>
                <a:cubicBezTo>
                  <a:pt x="2233212" y="3935639"/>
                  <a:pt x="2230811" y="3931479"/>
                  <a:pt x="2228410" y="3927321"/>
                </a:cubicBezTo>
                <a:cubicBezTo>
                  <a:pt x="2229289" y="3924040"/>
                  <a:pt x="2226888" y="3919880"/>
                  <a:pt x="2224486" y="3915722"/>
                </a:cubicBezTo>
                <a:cubicBezTo>
                  <a:pt x="2226243" y="3909161"/>
                  <a:pt x="2215760" y="3895805"/>
                  <a:pt x="2215995" y="3881804"/>
                </a:cubicBezTo>
                <a:cubicBezTo>
                  <a:pt x="2210314" y="3876766"/>
                  <a:pt x="2202466" y="3853568"/>
                  <a:pt x="2195263" y="3841091"/>
                </a:cubicBezTo>
                <a:cubicBezTo>
                  <a:pt x="2195263" y="3841091"/>
                  <a:pt x="2192217" y="3826211"/>
                  <a:pt x="2191339" y="3829493"/>
                </a:cubicBezTo>
                <a:cubicBezTo>
                  <a:pt x="2194062" y="3839011"/>
                  <a:pt x="2191602" y="3838352"/>
                  <a:pt x="2188651" y="3836242"/>
                </a:cubicBezTo>
                <a:lnTo>
                  <a:pt x="2188075" y="3835811"/>
                </a:lnTo>
                <a:lnTo>
                  <a:pt x="2194554" y="3858195"/>
                </a:lnTo>
                <a:lnTo>
                  <a:pt x="2198532" y="3875169"/>
                </a:lnTo>
                <a:lnTo>
                  <a:pt x="2200656" y="3881649"/>
                </a:lnTo>
                <a:cubicBezTo>
                  <a:pt x="2203678" y="3891687"/>
                  <a:pt x="2207002" y="3902246"/>
                  <a:pt x="2210722" y="3901486"/>
                </a:cubicBezTo>
                <a:cubicBezTo>
                  <a:pt x="2204397" y="3885728"/>
                  <a:pt x="2213123" y="3905645"/>
                  <a:pt x="2217047" y="3917243"/>
                </a:cubicBezTo>
                <a:cubicBezTo>
                  <a:pt x="2217047" y="3917243"/>
                  <a:pt x="2217047" y="3917243"/>
                  <a:pt x="2213766" y="3916364"/>
                </a:cubicBezTo>
                <a:cubicBezTo>
                  <a:pt x="2214644" y="3913085"/>
                  <a:pt x="2214644" y="3913085"/>
                  <a:pt x="2214644" y="3913085"/>
                </a:cubicBezTo>
                <a:cubicBezTo>
                  <a:pt x="2212243" y="3908925"/>
                  <a:pt x="2212243" y="3908925"/>
                  <a:pt x="2211364" y="3912205"/>
                </a:cubicBezTo>
                <a:cubicBezTo>
                  <a:pt x="2211364" y="3912205"/>
                  <a:pt x="2211364" y="3912205"/>
                  <a:pt x="2210486" y="3915486"/>
                </a:cubicBezTo>
                <a:cubicBezTo>
                  <a:pt x="2212887" y="3919646"/>
                  <a:pt x="2212887" y="3919646"/>
                  <a:pt x="2212887" y="3919646"/>
                </a:cubicBezTo>
                <a:cubicBezTo>
                  <a:pt x="2215288" y="3923806"/>
                  <a:pt x="2218570" y="3924684"/>
                  <a:pt x="2222728" y="3922281"/>
                </a:cubicBezTo>
                <a:cubicBezTo>
                  <a:pt x="2225129" y="3926441"/>
                  <a:pt x="2227532" y="3930600"/>
                  <a:pt x="2226652" y="3933880"/>
                </a:cubicBezTo>
                <a:cubicBezTo>
                  <a:pt x="2225773" y="3937160"/>
                  <a:pt x="2225773" y="3937160"/>
                  <a:pt x="2224895" y="3940442"/>
                </a:cubicBezTo>
                <a:cubicBezTo>
                  <a:pt x="2224895" y="3940442"/>
                  <a:pt x="2224895" y="3940442"/>
                  <a:pt x="2221613" y="3939563"/>
                </a:cubicBezTo>
                <a:cubicBezTo>
                  <a:pt x="2220735" y="3942843"/>
                  <a:pt x="2224015" y="3943721"/>
                  <a:pt x="2224015" y="3943721"/>
                </a:cubicBezTo>
                <a:cubicBezTo>
                  <a:pt x="2224015" y="3943721"/>
                  <a:pt x="2227296" y="3944601"/>
                  <a:pt x="2227296" y="3944601"/>
                </a:cubicBezTo>
                <a:cubicBezTo>
                  <a:pt x="2230575" y="3945479"/>
                  <a:pt x="2229697" y="3948759"/>
                  <a:pt x="2232977" y="3949639"/>
                </a:cubicBezTo>
                <a:cubicBezTo>
                  <a:pt x="2232098" y="3952919"/>
                  <a:pt x="2234499" y="3957077"/>
                  <a:pt x="2234499" y="3957077"/>
                </a:cubicBezTo>
                <a:cubicBezTo>
                  <a:pt x="2234499" y="3957077"/>
                  <a:pt x="2234499" y="3957077"/>
                  <a:pt x="2233619" y="3960358"/>
                </a:cubicBezTo>
                <a:cubicBezTo>
                  <a:pt x="2236901" y="3961237"/>
                  <a:pt x="2236901" y="3961237"/>
                  <a:pt x="2236901" y="3961237"/>
                </a:cubicBezTo>
                <a:cubicBezTo>
                  <a:pt x="2236901" y="3961237"/>
                  <a:pt x="2236022" y="3964518"/>
                  <a:pt x="2239302" y="3965397"/>
                </a:cubicBezTo>
                <a:cubicBezTo>
                  <a:pt x="2245627" y="3981154"/>
                  <a:pt x="2255233" y="3997792"/>
                  <a:pt x="2257398" y="4015951"/>
                </a:cubicBezTo>
                <a:cubicBezTo>
                  <a:pt x="2259799" y="4020111"/>
                  <a:pt x="2259799" y="4020111"/>
                  <a:pt x="2259799" y="4020111"/>
                </a:cubicBezTo>
                <a:cubicBezTo>
                  <a:pt x="2259799" y="4020111"/>
                  <a:pt x="2263079" y="4020990"/>
                  <a:pt x="2263079" y="4020990"/>
                </a:cubicBezTo>
                <a:cubicBezTo>
                  <a:pt x="2263079" y="4020990"/>
                  <a:pt x="2262200" y="4024269"/>
                  <a:pt x="2262200" y="4024269"/>
                </a:cubicBezTo>
                <a:cubicBezTo>
                  <a:pt x="2262200" y="4024269"/>
                  <a:pt x="2258920" y="4023391"/>
                  <a:pt x="2258920" y="4023391"/>
                </a:cubicBezTo>
                <a:cubicBezTo>
                  <a:pt x="2257162" y="4029950"/>
                  <a:pt x="2259563" y="4034110"/>
                  <a:pt x="2261086" y="4041551"/>
                </a:cubicBezTo>
                <a:cubicBezTo>
                  <a:pt x="2264367" y="4042429"/>
                  <a:pt x="2264367" y="4042429"/>
                  <a:pt x="2264367" y="4042429"/>
                </a:cubicBezTo>
                <a:cubicBezTo>
                  <a:pt x="2258449" y="4051391"/>
                  <a:pt x="2259563" y="4034110"/>
                  <a:pt x="2255405" y="4036511"/>
                </a:cubicBezTo>
                <a:cubicBezTo>
                  <a:pt x="2257804" y="4040671"/>
                  <a:pt x="2260850" y="4055550"/>
                  <a:pt x="2268055" y="4068027"/>
                </a:cubicBezTo>
                <a:cubicBezTo>
                  <a:pt x="2270456" y="4072187"/>
                  <a:pt x="2275258" y="4080505"/>
                  <a:pt x="2276781" y="4087944"/>
                </a:cubicBezTo>
                <a:cubicBezTo>
                  <a:pt x="2279182" y="4092104"/>
                  <a:pt x="2283984" y="4100424"/>
                  <a:pt x="2285507" y="4107863"/>
                </a:cubicBezTo>
                <a:cubicBezTo>
                  <a:pt x="2292710" y="4120339"/>
                  <a:pt x="2293354" y="4131059"/>
                  <a:pt x="2303838" y="4144416"/>
                </a:cubicBezTo>
                <a:cubicBezTo>
                  <a:pt x="2306239" y="4148575"/>
                  <a:pt x="2307761" y="4156015"/>
                  <a:pt x="2307761" y="4156015"/>
                </a:cubicBezTo>
                <a:cubicBezTo>
                  <a:pt x="2310163" y="4160174"/>
                  <a:pt x="2309284" y="4163454"/>
                  <a:pt x="2312564" y="4164333"/>
                </a:cubicBezTo>
                <a:cubicBezTo>
                  <a:pt x="2311686" y="4167614"/>
                  <a:pt x="2311686" y="4167614"/>
                  <a:pt x="2314087" y="4171772"/>
                </a:cubicBezTo>
                <a:cubicBezTo>
                  <a:pt x="2317368" y="4172652"/>
                  <a:pt x="2318890" y="4180092"/>
                  <a:pt x="2321291" y="4184250"/>
                </a:cubicBezTo>
                <a:cubicBezTo>
                  <a:pt x="2318012" y="4183372"/>
                  <a:pt x="2325215" y="4195849"/>
                  <a:pt x="2325215" y="4195849"/>
                </a:cubicBezTo>
                <a:cubicBezTo>
                  <a:pt x="2327617" y="4200009"/>
                  <a:pt x="2330018" y="4204168"/>
                  <a:pt x="2333297" y="4205047"/>
                </a:cubicBezTo>
                <a:cubicBezTo>
                  <a:pt x="2332419" y="4208327"/>
                  <a:pt x="2332419" y="4208327"/>
                  <a:pt x="2332419" y="4208327"/>
                </a:cubicBezTo>
                <a:cubicBezTo>
                  <a:pt x="2346592" y="4247282"/>
                  <a:pt x="2372127" y="4296314"/>
                  <a:pt x="2391338" y="4329589"/>
                </a:cubicBezTo>
                <a:cubicBezTo>
                  <a:pt x="2390458" y="4332868"/>
                  <a:pt x="2390458" y="4332868"/>
                  <a:pt x="2390458" y="4332868"/>
                </a:cubicBezTo>
                <a:cubicBezTo>
                  <a:pt x="2390458" y="4332868"/>
                  <a:pt x="2390458" y="4332868"/>
                  <a:pt x="2389579" y="4336150"/>
                </a:cubicBezTo>
                <a:cubicBezTo>
                  <a:pt x="2387178" y="4331990"/>
                  <a:pt x="2387178" y="4331990"/>
                  <a:pt x="2384777" y="4327831"/>
                </a:cubicBezTo>
                <a:cubicBezTo>
                  <a:pt x="2384777" y="4327831"/>
                  <a:pt x="2382376" y="4323671"/>
                  <a:pt x="2379973" y="4319511"/>
                </a:cubicBezTo>
                <a:cubicBezTo>
                  <a:pt x="2377572" y="4315352"/>
                  <a:pt x="2377572" y="4315352"/>
                  <a:pt x="2375173" y="4311195"/>
                </a:cubicBezTo>
                <a:cubicBezTo>
                  <a:pt x="2375173" y="4311195"/>
                  <a:pt x="2375173" y="4311195"/>
                  <a:pt x="2371891" y="4310315"/>
                </a:cubicBezTo>
                <a:cubicBezTo>
                  <a:pt x="2370368" y="4302875"/>
                  <a:pt x="2364686" y="4297837"/>
                  <a:pt x="2359884" y="4289519"/>
                </a:cubicBezTo>
                <a:cubicBezTo>
                  <a:pt x="2359884" y="4289519"/>
                  <a:pt x="2357483" y="4285359"/>
                  <a:pt x="2356605" y="4288639"/>
                </a:cubicBezTo>
                <a:cubicBezTo>
                  <a:pt x="2353323" y="4287760"/>
                  <a:pt x="2355725" y="4291921"/>
                  <a:pt x="2355725" y="4291921"/>
                </a:cubicBezTo>
                <a:cubicBezTo>
                  <a:pt x="2358127" y="4296080"/>
                  <a:pt x="2358127" y="4296080"/>
                  <a:pt x="2358127" y="4296080"/>
                </a:cubicBezTo>
                <a:cubicBezTo>
                  <a:pt x="2358127" y="4296080"/>
                  <a:pt x="2357248" y="4299359"/>
                  <a:pt x="2360528" y="4300238"/>
                </a:cubicBezTo>
                <a:cubicBezTo>
                  <a:pt x="2362929" y="4304398"/>
                  <a:pt x="2362929" y="4304398"/>
                  <a:pt x="2362929" y="4304398"/>
                </a:cubicBezTo>
                <a:cubicBezTo>
                  <a:pt x="2366209" y="4305277"/>
                  <a:pt x="2365331" y="4308558"/>
                  <a:pt x="2367731" y="4312715"/>
                </a:cubicBezTo>
                <a:cubicBezTo>
                  <a:pt x="2365331" y="4308558"/>
                  <a:pt x="2362425" y="4303822"/>
                  <a:pt x="2359695" y="4299246"/>
                </a:cubicBezTo>
                <a:lnTo>
                  <a:pt x="2353339" y="4287828"/>
                </a:lnTo>
                <a:lnTo>
                  <a:pt x="2353323" y="4287760"/>
                </a:lnTo>
                <a:lnTo>
                  <a:pt x="2353292" y="4287741"/>
                </a:lnTo>
                <a:lnTo>
                  <a:pt x="2352724" y="4286721"/>
                </a:lnTo>
                <a:cubicBezTo>
                  <a:pt x="2349341" y="4279662"/>
                  <a:pt x="2349401" y="4276162"/>
                  <a:pt x="2358361" y="4282080"/>
                </a:cubicBezTo>
                <a:cubicBezTo>
                  <a:pt x="2342196" y="4263684"/>
                  <a:pt x="2340673" y="4256244"/>
                  <a:pt x="2331068" y="4239607"/>
                </a:cubicBezTo>
                <a:cubicBezTo>
                  <a:pt x="2330190" y="4242888"/>
                  <a:pt x="2330190" y="4242888"/>
                  <a:pt x="2330190" y="4242888"/>
                </a:cubicBezTo>
                <a:cubicBezTo>
                  <a:pt x="2322985" y="4230410"/>
                  <a:pt x="2322985" y="4230410"/>
                  <a:pt x="2322985" y="4230410"/>
                </a:cubicBezTo>
                <a:cubicBezTo>
                  <a:pt x="2323865" y="4227129"/>
                  <a:pt x="2323865" y="4227129"/>
                  <a:pt x="2323865" y="4227129"/>
                </a:cubicBezTo>
                <a:cubicBezTo>
                  <a:pt x="2320584" y="4226251"/>
                  <a:pt x="2320584" y="4226251"/>
                  <a:pt x="2320584" y="4226251"/>
                </a:cubicBezTo>
                <a:cubicBezTo>
                  <a:pt x="2321464" y="4222972"/>
                  <a:pt x="2321464" y="4222972"/>
                  <a:pt x="2321464" y="4222972"/>
                </a:cubicBezTo>
                <a:cubicBezTo>
                  <a:pt x="2319061" y="4218812"/>
                  <a:pt x="2315782" y="4217933"/>
                  <a:pt x="2316660" y="4214652"/>
                </a:cubicBezTo>
                <a:cubicBezTo>
                  <a:pt x="2313380" y="4213773"/>
                  <a:pt x="2314259" y="4210493"/>
                  <a:pt x="2310979" y="4209615"/>
                </a:cubicBezTo>
                <a:cubicBezTo>
                  <a:pt x="2311858" y="4206334"/>
                  <a:pt x="2308578" y="4205456"/>
                  <a:pt x="2308578" y="4205456"/>
                </a:cubicBezTo>
                <a:cubicBezTo>
                  <a:pt x="2306175" y="4201296"/>
                  <a:pt x="2303776" y="4197136"/>
                  <a:pt x="2301373" y="4192977"/>
                </a:cubicBezTo>
                <a:cubicBezTo>
                  <a:pt x="2298093" y="4192099"/>
                  <a:pt x="2298093" y="4192099"/>
                  <a:pt x="2298093" y="4192099"/>
                </a:cubicBezTo>
                <a:cubicBezTo>
                  <a:pt x="2298093" y="4192099"/>
                  <a:pt x="2298972" y="4188818"/>
                  <a:pt x="2295692" y="4187939"/>
                </a:cubicBezTo>
                <a:cubicBezTo>
                  <a:pt x="2291768" y="4176340"/>
                  <a:pt x="2284565" y="4163862"/>
                  <a:pt x="2277360" y="4151385"/>
                </a:cubicBezTo>
                <a:cubicBezTo>
                  <a:pt x="2280641" y="4152264"/>
                  <a:pt x="2280641" y="4152264"/>
                  <a:pt x="2281520" y="4148984"/>
                </a:cubicBezTo>
                <a:cubicBezTo>
                  <a:pt x="2283921" y="4153142"/>
                  <a:pt x="2283921" y="4153142"/>
                  <a:pt x="2283921" y="4153142"/>
                </a:cubicBezTo>
                <a:cubicBezTo>
                  <a:pt x="2283042" y="4156423"/>
                  <a:pt x="2286322" y="4157302"/>
                  <a:pt x="2286322" y="4157302"/>
                </a:cubicBezTo>
                <a:cubicBezTo>
                  <a:pt x="2286322" y="4157302"/>
                  <a:pt x="2287202" y="4154022"/>
                  <a:pt x="2287202" y="4154022"/>
                </a:cubicBezTo>
                <a:cubicBezTo>
                  <a:pt x="2284799" y="4149863"/>
                  <a:pt x="2284799" y="4149863"/>
                  <a:pt x="2284799" y="4149863"/>
                </a:cubicBezTo>
                <a:cubicBezTo>
                  <a:pt x="2284799" y="4149863"/>
                  <a:pt x="2282398" y="4145704"/>
                  <a:pt x="2282398" y="4145704"/>
                </a:cubicBezTo>
                <a:cubicBezTo>
                  <a:pt x="2279118" y="4144824"/>
                  <a:pt x="2279118" y="4144824"/>
                  <a:pt x="2279118" y="4144824"/>
                </a:cubicBezTo>
                <a:cubicBezTo>
                  <a:pt x="2279118" y="4144824"/>
                  <a:pt x="2279118" y="4144824"/>
                  <a:pt x="2275837" y="4143945"/>
                </a:cubicBezTo>
                <a:cubicBezTo>
                  <a:pt x="2271915" y="4132347"/>
                  <a:pt x="2264710" y="4119868"/>
                  <a:pt x="2260788" y="4108270"/>
                </a:cubicBezTo>
                <a:cubicBezTo>
                  <a:pt x="2260788" y="4108270"/>
                  <a:pt x="2260788" y="4108270"/>
                  <a:pt x="2257507" y="4107391"/>
                </a:cubicBezTo>
                <a:cubicBezTo>
                  <a:pt x="2247258" y="4080034"/>
                  <a:pt x="2236131" y="4055958"/>
                  <a:pt x="2229163" y="4029480"/>
                </a:cubicBezTo>
                <a:cubicBezTo>
                  <a:pt x="2214110" y="3993804"/>
                  <a:pt x="2202339" y="3959008"/>
                  <a:pt x="2191448" y="3920932"/>
                </a:cubicBezTo>
                <a:cubicBezTo>
                  <a:pt x="2189925" y="3913493"/>
                  <a:pt x="2190161" y="3899493"/>
                  <a:pt x="2183600" y="3897734"/>
                </a:cubicBezTo>
                <a:cubicBezTo>
                  <a:pt x="2183600" y="3897734"/>
                  <a:pt x="2183600" y="3897734"/>
                  <a:pt x="2184480" y="3894454"/>
                </a:cubicBezTo>
                <a:cubicBezTo>
                  <a:pt x="2185358" y="3891175"/>
                  <a:pt x="2182957" y="3887015"/>
                  <a:pt x="2183836" y="3883736"/>
                </a:cubicBezTo>
                <a:cubicBezTo>
                  <a:pt x="2183836" y="3883736"/>
                  <a:pt x="2181435" y="3879574"/>
                  <a:pt x="2181435" y="3879574"/>
                </a:cubicBezTo>
                <a:cubicBezTo>
                  <a:pt x="2181435" y="3879574"/>
                  <a:pt x="2180556" y="3882855"/>
                  <a:pt x="2180556" y="3882855"/>
                </a:cubicBezTo>
                <a:cubicBezTo>
                  <a:pt x="2175110" y="3863817"/>
                  <a:pt x="2169664" y="3844780"/>
                  <a:pt x="2164217" y="3825741"/>
                </a:cubicBezTo>
                <a:cubicBezTo>
                  <a:pt x="2151803" y="3780225"/>
                  <a:pt x="2151803" y="3780225"/>
                  <a:pt x="2151803" y="3780225"/>
                </a:cubicBezTo>
                <a:lnTo>
                  <a:pt x="2151319" y="3777854"/>
                </a:lnTo>
                <a:lnTo>
                  <a:pt x="2151009" y="3776873"/>
                </a:lnTo>
                <a:lnTo>
                  <a:pt x="2132922" y="3694412"/>
                </a:lnTo>
                <a:lnTo>
                  <a:pt x="2132655" y="3694230"/>
                </a:lnTo>
                <a:lnTo>
                  <a:pt x="2130626" y="3683943"/>
                </a:lnTo>
                <a:lnTo>
                  <a:pt x="2101976" y="3553318"/>
                </a:lnTo>
                <a:cubicBezTo>
                  <a:pt x="2077772" y="3400970"/>
                  <a:pt x="2071359" y="3249433"/>
                  <a:pt x="2087236" y="3095430"/>
                </a:cubicBezTo>
                <a:cubicBezTo>
                  <a:pt x="2063581" y="3233075"/>
                  <a:pt x="2066921" y="3373776"/>
                  <a:pt x="2061056" y="3512229"/>
                </a:cubicBezTo>
                <a:lnTo>
                  <a:pt x="2059495" y="3512181"/>
                </a:lnTo>
                <a:lnTo>
                  <a:pt x="2065891" y="3549772"/>
                </a:lnTo>
                <a:cubicBezTo>
                  <a:pt x="2070221" y="3586091"/>
                  <a:pt x="2078713" y="3620008"/>
                  <a:pt x="2079120" y="3644728"/>
                </a:cubicBezTo>
                <a:cubicBezTo>
                  <a:pt x="2083279" y="3642327"/>
                  <a:pt x="2082401" y="3645608"/>
                  <a:pt x="2083923" y="3653046"/>
                </a:cubicBezTo>
                <a:cubicBezTo>
                  <a:pt x="2081521" y="3648887"/>
                  <a:pt x="2078241" y="3648007"/>
                  <a:pt x="2080643" y="3652168"/>
                </a:cubicBezTo>
                <a:cubicBezTo>
                  <a:pt x="2083045" y="3656327"/>
                  <a:pt x="2088018" y="3703364"/>
                  <a:pt x="2093056" y="3697684"/>
                </a:cubicBezTo>
                <a:cubicBezTo>
                  <a:pt x="2098503" y="3716722"/>
                  <a:pt x="2093464" y="3722403"/>
                  <a:pt x="2093464" y="3722403"/>
                </a:cubicBezTo>
                <a:cubicBezTo>
                  <a:pt x="2099789" y="3738162"/>
                  <a:pt x="2096744" y="3723283"/>
                  <a:pt x="2100904" y="3720880"/>
                </a:cubicBezTo>
                <a:cubicBezTo>
                  <a:pt x="2106350" y="3739919"/>
                  <a:pt x="2106350" y="3739919"/>
                  <a:pt x="2106350" y="3739919"/>
                </a:cubicBezTo>
                <a:cubicBezTo>
                  <a:pt x="2098267" y="3730721"/>
                  <a:pt x="2101312" y="3745601"/>
                  <a:pt x="2100433" y="3748881"/>
                </a:cubicBezTo>
                <a:cubicBezTo>
                  <a:pt x="2113319" y="3766397"/>
                  <a:pt x="2113492" y="3805117"/>
                  <a:pt x="2129421" y="3837513"/>
                </a:cubicBezTo>
                <a:cubicBezTo>
                  <a:pt x="2128542" y="3840792"/>
                  <a:pt x="2131822" y="3841671"/>
                  <a:pt x="2130944" y="3844951"/>
                </a:cubicBezTo>
                <a:cubicBezTo>
                  <a:pt x="2130065" y="3848232"/>
                  <a:pt x="2133346" y="3849111"/>
                  <a:pt x="2133346" y="3849111"/>
                </a:cubicBezTo>
                <a:cubicBezTo>
                  <a:pt x="2135746" y="3853270"/>
                  <a:pt x="2136625" y="3849989"/>
                  <a:pt x="2134224" y="3845831"/>
                </a:cubicBezTo>
                <a:cubicBezTo>
                  <a:pt x="2134224" y="3845831"/>
                  <a:pt x="2134224" y="3845831"/>
                  <a:pt x="2135102" y="3842550"/>
                </a:cubicBezTo>
                <a:cubicBezTo>
                  <a:pt x="2149276" y="3881505"/>
                  <a:pt x="2150563" y="3902945"/>
                  <a:pt x="2165614" y="3938620"/>
                </a:cubicBezTo>
                <a:cubicBezTo>
                  <a:pt x="2161454" y="3941022"/>
                  <a:pt x="2163855" y="3945182"/>
                  <a:pt x="2159697" y="3947583"/>
                </a:cubicBezTo>
                <a:cubicBezTo>
                  <a:pt x="2178672" y="3994856"/>
                  <a:pt x="2196767" y="4045411"/>
                  <a:pt x="2219023" y="4093565"/>
                </a:cubicBezTo>
                <a:cubicBezTo>
                  <a:pt x="2240399" y="4144996"/>
                  <a:pt x="2265934" y="4194029"/>
                  <a:pt x="2289069" y="4238901"/>
                </a:cubicBezTo>
                <a:cubicBezTo>
                  <a:pt x="2291705" y="4229060"/>
                  <a:pt x="2272259" y="4209786"/>
                  <a:pt x="2269214" y="4194907"/>
                </a:cubicBezTo>
                <a:cubicBezTo>
                  <a:pt x="2265934" y="4194029"/>
                  <a:pt x="2267692" y="4187468"/>
                  <a:pt x="2268572" y="4184188"/>
                </a:cubicBezTo>
                <a:cubicBezTo>
                  <a:pt x="2255042" y="4155951"/>
                  <a:pt x="2236711" y="4119397"/>
                  <a:pt x="2224939" y="4084603"/>
                </a:cubicBezTo>
                <a:cubicBezTo>
                  <a:pt x="2207487" y="4044767"/>
                  <a:pt x="2187634" y="4000773"/>
                  <a:pt x="2176741" y="3962696"/>
                </a:cubicBezTo>
                <a:cubicBezTo>
                  <a:pt x="2177620" y="3959416"/>
                  <a:pt x="2176977" y="3948697"/>
                  <a:pt x="2176977" y="3948697"/>
                </a:cubicBezTo>
                <a:cubicBezTo>
                  <a:pt x="2169129" y="3925499"/>
                  <a:pt x="2158002" y="3901422"/>
                  <a:pt x="2152556" y="3882385"/>
                </a:cubicBezTo>
                <a:cubicBezTo>
                  <a:pt x="2153434" y="3879104"/>
                  <a:pt x="2155836" y="3883264"/>
                  <a:pt x="2154313" y="3875824"/>
                </a:cubicBezTo>
                <a:cubicBezTo>
                  <a:pt x="2153434" y="3879104"/>
                  <a:pt x="2151034" y="3874946"/>
                  <a:pt x="2147753" y="3874066"/>
                </a:cubicBezTo>
                <a:cubicBezTo>
                  <a:pt x="2138383" y="3843428"/>
                  <a:pt x="2135574" y="3814550"/>
                  <a:pt x="2128605" y="3788073"/>
                </a:cubicBezTo>
                <a:cubicBezTo>
                  <a:pt x="2131007" y="3792231"/>
                  <a:pt x="2130128" y="3795512"/>
                  <a:pt x="2132530" y="3799672"/>
                </a:cubicBezTo>
                <a:cubicBezTo>
                  <a:pt x="2141256" y="3819587"/>
                  <a:pt x="2146701" y="3838626"/>
                  <a:pt x="2145180" y="3831186"/>
                </a:cubicBezTo>
                <a:cubicBezTo>
                  <a:pt x="2150625" y="3850225"/>
                  <a:pt x="2161754" y="3874301"/>
                  <a:pt x="2168079" y="3890059"/>
                </a:cubicBezTo>
                <a:cubicBezTo>
                  <a:pt x="2170478" y="3894219"/>
                  <a:pt x="2170478" y="3894219"/>
                  <a:pt x="2169600" y="3897500"/>
                </a:cubicBezTo>
                <a:cubicBezTo>
                  <a:pt x="2163919" y="3892460"/>
                  <a:pt x="2174404" y="3905817"/>
                  <a:pt x="2167841" y="3904059"/>
                </a:cubicBezTo>
                <a:cubicBezTo>
                  <a:pt x="2172645" y="3912379"/>
                  <a:pt x="2177448" y="3920697"/>
                  <a:pt x="2179849" y="3924856"/>
                </a:cubicBezTo>
                <a:cubicBezTo>
                  <a:pt x="2183772" y="3936454"/>
                  <a:pt x="2185296" y="3943895"/>
                  <a:pt x="2190097" y="3952213"/>
                </a:cubicBezTo>
                <a:cubicBezTo>
                  <a:pt x="2195543" y="3971252"/>
                  <a:pt x="2200112" y="3993570"/>
                  <a:pt x="2201633" y="4001009"/>
                </a:cubicBezTo>
                <a:cubicBezTo>
                  <a:pt x="2202511" y="3997729"/>
                  <a:pt x="2204914" y="4001887"/>
                  <a:pt x="2204914" y="4001887"/>
                </a:cubicBezTo>
                <a:cubicBezTo>
                  <a:pt x="2207315" y="4006047"/>
                  <a:pt x="2209717" y="4010207"/>
                  <a:pt x="2211239" y="4017646"/>
                </a:cubicBezTo>
                <a:cubicBezTo>
                  <a:pt x="2211239" y="4017646"/>
                  <a:pt x="2210359" y="4020926"/>
                  <a:pt x="2213640" y="4021805"/>
                </a:cubicBezTo>
                <a:cubicBezTo>
                  <a:pt x="2217564" y="4033404"/>
                  <a:pt x="2221486" y="4045003"/>
                  <a:pt x="2226290" y="4053321"/>
                </a:cubicBezTo>
                <a:cubicBezTo>
                  <a:pt x="2230214" y="4064920"/>
                  <a:pt x="2230857" y="4075639"/>
                  <a:pt x="2232615" y="4069080"/>
                </a:cubicBezTo>
                <a:cubicBezTo>
                  <a:pt x="2239818" y="4081557"/>
                  <a:pt x="2246143" y="4097315"/>
                  <a:pt x="2251590" y="4116353"/>
                </a:cubicBezTo>
                <a:cubicBezTo>
                  <a:pt x="2253991" y="4120513"/>
                  <a:pt x="2258793" y="4128831"/>
                  <a:pt x="2260316" y="4136270"/>
                </a:cubicBezTo>
                <a:cubicBezTo>
                  <a:pt x="2260316" y="4136270"/>
                  <a:pt x="2259437" y="4139550"/>
                  <a:pt x="2259437" y="4139550"/>
                </a:cubicBezTo>
                <a:cubicBezTo>
                  <a:pt x="2262719" y="4140430"/>
                  <a:pt x="2261839" y="4143710"/>
                  <a:pt x="2261839" y="4143710"/>
                </a:cubicBezTo>
                <a:cubicBezTo>
                  <a:pt x="2265118" y="4144590"/>
                  <a:pt x="2265118" y="4144590"/>
                  <a:pt x="2265118" y="4144590"/>
                </a:cubicBezTo>
                <a:cubicBezTo>
                  <a:pt x="2265118" y="4144590"/>
                  <a:pt x="2265118" y="4144590"/>
                  <a:pt x="2264239" y="4147869"/>
                </a:cubicBezTo>
                <a:cubicBezTo>
                  <a:pt x="2277768" y="4176104"/>
                  <a:pt x="2291298" y="4204339"/>
                  <a:pt x="2303304" y="4225136"/>
                </a:cubicBezTo>
                <a:cubicBezTo>
                  <a:pt x="2302425" y="4228416"/>
                  <a:pt x="2301547" y="4231697"/>
                  <a:pt x="2304827" y="4232576"/>
                </a:cubicBezTo>
                <a:cubicBezTo>
                  <a:pt x="2303948" y="4235857"/>
                  <a:pt x="2303948" y="4235857"/>
                  <a:pt x="2303948" y="4235857"/>
                </a:cubicBezTo>
                <a:cubicBezTo>
                  <a:pt x="2303948" y="4235857"/>
                  <a:pt x="2303068" y="4239137"/>
                  <a:pt x="2306349" y="4240017"/>
                </a:cubicBezTo>
                <a:cubicBezTo>
                  <a:pt x="2309629" y="4240895"/>
                  <a:pt x="2309629" y="4240895"/>
                  <a:pt x="2309629" y="4240895"/>
                </a:cubicBezTo>
                <a:cubicBezTo>
                  <a:pt x="2316832" y="4253373"/>
                  <a:pt x="2330362" y="4281608"/>
                  <a:pt x="2329718" y="4270889"/>
                </a:cubicBezTo>
                <a:cubicBezTo>
                  <a:pt x="2329718" y="4270889"/>
                  <a:pt x="2329718" y="4270889"/>
                  <a:pt x="2332119" y="4275047"/>
                </a:cubicBezTo>
                <a:cubicBezTo>
                  <a:pt x="2331241" y="4278328"/>
                  <a:pt x="2337802" y="4280087"/>
                  <a:pt x="2337802" y="4280087"/>
                </a:cubicBezTo>
                <a:lnTo>
                  <a:pt x="2339523" y="4273662"/>
                </a:lnTo>
                <a:lnTo>
                  <a:pt x="2344252" y="4282253"/>
                </a:lnTo>
                <a:lnTo>
                  <a:pt x="2353292" y="4287741"/>
                </a:lnTo>
                <a:lnTo>
                  <a:pt x="2353339" y="4287828"/>
                </a:lnTo>
                <a:lnTo>
                  <a:pt x="2356398" y="4300890"/>
                </a:lnTo>
                <a:cubicBezTo>
                  <a:pt x="2359210" y="4305159"/>
                  <a:pt x="2363251" y="4309758"/>
                  <a:pt x="2366853" y="4315997"/>
                </a:cubicBezTo>
                <a:cubicBezTo>
                  <a:pt x="2366853" y="4315997"/>
                  <a:pt x="2365974" y="4319277"/>
                  <a:pt x="2365974" y="4319277"/>
                </a:cubicBezTo>
                <a:cubicBezTo>
                  <a:pt x="2369254" y="4320156"/>
                  <a:pt x="2368375" y="4323435"/>
                  <a:pt x="2369254" y="4320156"/>
                </a:cubicBezTo>
                <a:cubicBezTo>
                  <a:pt x="2369254" y="4320156"/>
                  <a:pt x="2369254" y="4320156"/>
                  <a:pt x="2372534" y="4321034"/>
                </a:cubicBezTo>
                <a:cubicBezTo>
                  <a:pt x="2374935" y="4325194"/>
                  <a:pt x="2374056" y="4328473"/>
                  <a:pt x="2373178" y="4331754"/>
                </a:cubicBezTo>
                <a:cubicBezTo>
                  <a:pt x="2370777" y="4327595"/>
                  <a:pt x="2370777" y="4327595"/>
                  <a:pt x="2370777" y="4327595"/>
                </a:cubicBezTo>
                <a:cubicBezTo>
                  <a:pt x="2368375" y="4323435"/>
                  <a:pt x="2365094" y="4322557"/>
                  <a:pt x="2365094" y="4322557"/>
                </a:cubicBezTo>
                <a:cubicBezTo>
                  <a:pt x="2364216" y="4325838"/>
                  <a:pt x="2363338" y="4329117"/>
                  <a:pt x="2366617" y="4329996"/>
                </a:cubicBezTo>
                <a:cubicBezTo>
                  <a:pt x="2365738" y="4333277"/>
                  <a:pt x="2365738" y="4333277"/>
                  <a:pt x="2365738" y="4333277"/>
                </a:cubicBezTo>
                <a:cubicBezTo>
                  <a:pt x="2362457" y="4332397"/>
                  <a:pt x="2357012" y="4313358"/>
                  <a:pt x="2352853" y="4315761"/>
                </a:cubicBezTo>
                <a:cubicBezTo>
                  <a:pt x="2377746" y="4354073"/>
                  <a:pt x="2403280" y="4403105"/>
                  <a:pt x="2430574" y="4445576"/>
                </a:cubicBezTo>
                <a:cubicBezTo>
                  <a:pt x="2432976" y="4449735"/>
                  <a:pt x="2438656" y="4454774"/>
                  <a:pt x="2441059" y="4458934"/>
                </a:cubicBezTo>
                <a:cubicBezTo>
                  <a:pt x="2444338" y="4459812"/>
                  <a:pt x="2441059" y="4458934"/>
                  <a:pt x="2443460" y="4463092"/>
                </a:cubicBezTo>
                <a:cubicBezTo>
                  <a:pt x="2465951" y="4497245"/>
                  <a:pt x="2497403" y="4537315"/>
                  <a:pt x="2533015" y="4574984"/>
                </a:cubicBezTo>
                <a:cubicBezTo>
                  <a:pt x="2535417" y="4579142"/>
                  <a:pt x="2534538" y="4582423"/>
                  <a:pt x="2537817" y="4583302"/>
                </a:cubicBezTo>
                <a:cubicBezTo>
                  <a:pt x="2534538" y="4582423"/>
                  <a:pt x="2531257" y="4581545"/>
                  <a:pt x="2529736" y="4574104"/>
                </a:cubicBezTo>
                <a:cubicBezTo>
                  <a:pt x="2528856" y="4577385"/>
                  <a:pt x="2525577" y="4576505"/>
                  <a:pt x="2523175" y="4572347"/>
                </a:cubicBezTo>
                <a:cubicBezTo>
                  <a:pt x="2527333" y="4569946"/>
                  <a:pt x="2515091" y="4563149"/>
                  <a:pt x="2511810" y="4562270"/>
                </a:cubicBezTo>
                <a:cubicBezTo>
                  <a:pt x="2511810" y="4562270"/>
                  <a:pt x="2512690" y="4558989"/>
                  <a:pt x="2509409" y="4558111"/>
                </a:cubicBezTo>
                <a:cubicBezTo>
                  <a:pt x="2509409" y="4558111"/>
                  <a:pt x="2506129" y="4557232"/>
                  <a:pt x="2506129" y="4557232"/>
                </a:cubicBezTo>
                <a:cubicBezTo>
                  <a:pt x="2497168" y="4551315"/>
                  <a:pt x="2477722" y="4532041"/>
                  <a:pt x="2480123" y="4536200"/>
                </a:cubicBezTo>
                <a:cubicBezTo>
                  <a:pt x="2483403" y="4537079"/>
                  <a:pt x="2482524" y="4540361"/>
                  <a:pt x="2485806" y="4541239"/>
                </a:cubicBezTo>
                <a:cubicBezTo>
                  <a:pt x="2482524" y="4540361"/>
                  <a:pt x="2479243" y="4539480"/>
                  <a:pt x="2479243" y="4539480"/>
                </a:cubicBezTo>
                <a:cubicBezTo>
                  <a:pt x="2479243" y="4539480"/>
                  <a:pt x="2478364" y="4542760"/>
                  <a:pt x="2480766" y="4546920"/>
                </a:cubicBezTo>
                <a:cubicBezTo>
                  <a:pt x="2480766" y="4546920"/>
                  <a:pt x="2480766" y="4546920"/>
                  <a:pt x="2477486" y="4546041"/>
                </a:cubicBezTo>
                <a:cubicBezTo>
                  <a:pt x="2477486" y="4546041"/>
                  <a:pt x="2478364" y="4542760"/>
                  <a:pt x="2475085" y="4541882"/>
                </a:cubicBezTo>
                <a:cubicBezTo>
                  <a:pt x="2475085" y="4541882"/>
                  <a:pt x="2475085" y="4541882"/>
                  <a:pt x="2471804" y="4541004"/>
                </a:cubicBezTo>
                <a:cubicBezTo>
                  <a:pt x="2463722" y="4531805"/>
                  <a:pt x="2458040" y="4526767"/>
                  <a:pt x="2454760" y="4525889"/>
                </a:cubicBezTo>
                <a:cubicBezTo>
                  <a:pt x="2451480" y="4525010"/>
                  <a:pt x="2451480" y="4525010"/>
                  <a:pt x="2451480" y="4525010"/>
                </a:cubicBezTo>
                <a:cubicBezTo>
                  <a:pt x="2451480" y="4525010"/>
                  <a:pt x="2451480" y="4525010"/>
                  <a:pt x="2453881" y="4529170"/>
                </a:cubicBezTo>
                <a:cubicBezTo>
                  <a:pt x="2451480" y="4525010"/>
                  <a:pt x="2450600" y="4528289"/>
                  <a:pt x="2453001" y="4532449"/>
                </a:cubicBezTo>
                <a:cubicBezTo>
                  <a:pt x="2434434" y="4509895"/>
                  <a:pt x="2419790" y="4498940"/>
                  <a:pt x="2402746" y="4483825"/>
                </a:cubicBezTo>
                <a:cubicBezTo>
                  <a:pt x="2388982" y="4469589"/>
                  <a:pt x="2375217" y="4455354"/>
                  <a:pt x="2356651" y="4432800"/>
                </a:cubicBezTo>
                <a:cubicBezTo>
                  <a:pt x="2359052" y="4436959"/>
                  <a:pt x="2355771" y="4436080"/>
                  <a:pt x="2353370" y="4431922"/>
                </a:cubicBezTo>
                <a:cubicBezTo>
                  <a:pt x="2353370" y="4431922"/>
                  <a:pt x="2353370" y="4431922"/>
                  <a:pt x="2354248" y="4428641"/>
                </a:cubicBezTo>
                <a:cubicBezTo>
                  <a:pt x="2354248" y="4428641"/>
                  <a:pt x="2350968" y="4427762"/>
                  <a:pt x="2350968" y="4427762"/>
                </a:cubicBezTo>
                <a:cubicBezTo>
                  <a:pt x="2348567" y="4423602"/>
                  <a:pt x="2348567" y="4423602"/>
                  <a:pt x="2348567" y="4423602"/>
                </a:cubicBezTo>
                <a:cubicBezTo>
                  <a:pt x="2340484" y="4414406"/>
                  <a:pt x="2340484" y="4414406"/>
                  <a:pt x="2340484" y="4414406"/>
                </a:cubicBezTo>
                <a:cubicBezTo>
                  <a:pt x="2339605" y="4417686"/>
                  <a:pt x="2337204" y="4413526"/>
                  <a:pt x="2333924" y="4412648"/>
                </a:cubicBezTo>
                <a:cubicBezTo>
                  <a:pt x="2338726" y="4420965"/>
                  <a:pt x="2339605" y="4417686"/>
                  <a:pt x="2345288" y="4422724"/>
                </a:cubicBezTo>
                <a:cubicBezTo>
                  <a:pt x="2345288" y="4422724"/>
                  <a:pt x="2344408" y="4426004"/>
                  <a:pt x="2344408" y="4426004"/>
                </a:cubicBezTo>
                <a:cubicBezTo>
                  <a:pt x="2344408" y="4426004"/>
                  <a:pt x="2344408" y="4426004"/>
                  <a:pt x="2341128" y="4425125"/>
                </a:cubicBezTo>
                <a:cubicBezTo>
                  <a:pt x="2340249" y="4428405"/>
                  <a:pt x="2343530" y="4429285"/>
                  <a:pt x="2343530" y="4429285"/>
                </a:cubicBezTo>
                <a:cubicBezTo>
                  <a:pt x="2343530" y="4429285"/>
                  <a:pt x="2346809" y="4430163"/>
                  <a:pt x="2346809" y="4430163"/>
                </a:cubicBezTo>
                <a:cubicBezTo>
                  <a:pt x="2349211" y="4434323"/>
                  <a:pt x="2349211" y="4434323"/>
                  <a:pt x="2349211" y="4434323"/>
                </a:cubicBezTo>
                <a:cubicBezTo>
                  <a:pt x="2351612" y="4438481"/>
                  <a:pt x="2361453" y="4441118"/>
                  <a:pt x="2357293" y="4443519"/>
                </a:cubicBezTo>
                <a:cubicBezTo>
                  <a:pt x="2358816" y="4450959"/>
                  <a:pt x="2361453" y="4441118"/>
                  <a:pt x="2363854" y="4445278"/>
                </a:cubicBezTo>
                <a:cubicBezTo>
                  <a:pt x="2366255" y="4449436"/>
                  <a:pt x="2362976" y="4448558"/>
                  <a:pt x="2362096" y="4451837"/>
                </a:cubicBezTo>
                <a:cubicBezTo>
                  <a:pt x="2367778" y="4456877"/>
                  <a:pt x="2382421" y="4467832"/>
                  <a:pt x="2382421" y="4467832"/>
                </a:cubicBezTo>
                <a:cubicBezTo>
                  <a:pt x="2393784" y="4477909"/>
                  <a:pt x="2409071" y="4499583"/>
                  <a:pt x="2414753" y="4504621"/>
                </a:cubicBezTo>
                <a:cubicBezTo>
                  <a:pt x="2417154" y="4508780"/>
                  <a:pt x="2414753" y="4504621"/>
                  <a:pt x="2415632" y="4501341"/>
                </a:cubicBezTo>
                <a:cubicBezTo>
                  <a:pt x="2414753" y="4504621"/>
                  <a:pt x="2420434" y="4509659"/>
                  <a:pt x="2420434" y="4509659"/>
                </a:cubicBezTo>
                <a:cubicBezTo>
                  <a:pt x="2420434" y="4509659"/>
                  <a:pt x="2426995" y="4511417"/>
                  <a:pt x="2426995" y="4511417"/>
                </a:cubicBezTo>
                <a:cubicBezTo>
                  <a:pt x="2429396" y="4515576"/>
                  <a:pt x="2422835" y="4513819"/>
                  <a:pt x="2426115" y="4514697"/>
                </a:cubicBezTo>
                <a:cubicBezTo>
                  <a:pt x="2427638" y="4522137"/>
                  <a:pt x="2435957" y="4517335"/>
                  <a:pt x="2430919" y="4523015"/>
                </a:cubicBezTo>
                <a:cubicBezTo>
                  <a:pt x="2443161" y="4529812"/>
                  <a:pt x="2466765" y="4546684"/>
                  <a:pt x="2470691" y="4558283"/>
                </a:cubicBezTo>
                <a:cubicBezTo>
                  <a:pt x="2467410" y="4557404"/>
                  <a:pt x="2468290" y="4554125"/>
                  <a:pt x="2472448" y="4551724"/>
                </a:cubicBezTo>
                <a:cubicBezTo>
                  <a:pt x="2491015" y="4574276"/>
                  <a:pt x="2521824" y="4603628"/>
                  <a:pt x="2534066" y="4610424"/>
                </a:cubicBezTo>
                <a:cubicBezTo>
                  <a:pt x="2539747" y="4615461"/>
                  <a:pt x="2568798" y="4651372"/>
                  <a:pt x="2585200" y="4655767"/>
                </a:cubicBezTo>
                <a:cubicBezTo>
                  <a:pt x="2590883" y="4660805"/>
                  <a:pt x="2585200" y="4655767"/>
                  <a:pt x="2584321" y="4659048"/>
                </a:cubicBezTo>
                <a:cubicBezTo>
                  <a:pt x="2594162" y="4661685"/>
                  <a:pt x="2610329" y="4680079"/>
                  <a:pt x="2618411" y="4689276"/>
                </a:cubicBezTo>
                <a:cubicBezTo>
                  <a:pt x="2618411" y="4689276"/>
                  <a:pt x="2612728" y="4684238"/>
                  <a:pt x="2608571" y="4686639"/>
                </a:cubicBezTo>
                <a:cubicBezTo>
                  <a:pt x="2629774" y="4699352"/>
                  <a:pt x="2624093" y="4694314"/>
                  <a:pt x="2622570" y="4686874"/>
                </a:cubicBezTo>
                <a:cubicBezTo>
                  <a:pt x="2645297" y="4707027"/>
                  <a:pt x="2648577" y="4707906"/>
                  <a:pt x="2658183" y="4724543"/>
                </a:cubicBezTo>
                <a:cubicBezTo>
                  <a:pt x="2658183" y="4724543"/>
                  <a:pt x="2660584" y="4728703"/>
                  <a:pt x="2660584" y="4728703"/>
                </a:cubicBezTo>
                <a:cubicBezTo>
                  <a:pt x="2660584" y="4728703"/>
                  <a:pt x="2660584" y="4728703"/>
                  <a:pt x="2663864" y="4729582"/>
                </a:cubicBezTo>
                <a:cubicBezTo>
                  <a:pt x="2663864" y="4729582"/>
                  <a:pt x="2664742" y="4726302"/>
                  <a:pt x="2664742" y="4726302"/>
                </a:cubicBezTo>
                <a:cubicBezTo>
                  <a:pt x="2664742" y="4726302"/>
                  <a:pt x="2668024" y="4727180"/>
                  <a:pt x="2670424" y="4731340"/>
                </a:cubicBezTo>
                <a:cubicBezTo>
                  <a:pt x="2670424" y="4731340"/>
                  <a:pt x="2670424" y="4731340"/>
                  <a:pt x="2667143" y="4730462"/>
                </a:cubicBezTo>
                <a:cubicBezTo>
                  <a:pt x="2667143" y="4730462"/>
                  <a:pt x="2667143" y="4730462"/>
                  <a:pt x="2666265" y="4733741"/>
                </a:cubicBezTo>
                <a:cubicBezTo>
                  <a:pt x="2669544" y="4734620"/>
                  <a:pt x="2669544" y="4734620"/>
                  <a:pt x="2672825" y="4735499"/>
                </a:cubicBezTo>
                <a:cubicBezTo>
                  <a:pt x="2675227" y="4739658"/>
                  <a:pt x="2675227" y="4739658"/>
                  <a:pt x="2675227" y="4739658"/>
                </a:cubicBezTo>
                <a:cubicBezTo>
                  <a:pt x="2677628" y="4743816"/>
                  <a:pt x="2692272" y="4754773"/>
                  <a:pt x="2685067" y="4742295"/>
                </a:cubicBezTo>
                <a:cubicBezTo>
                  <a:pt x="2687468" y="4746453"/>
                  <a:pt x="2687468" y="4746453"/>
                  <a:pt x="2690749" y="4747334"/>
                </a:cubicBezTo>
                <a:cubicBezTo>
                  <a:pt x="2690749" y="4747334"/>
                  <a:pt x="2691628" y="4744052"/>
                  <a:pt x="2688348" y="4743174"/>
                </a:cubicBezTo>
                <a:cubicBezTo>
                  <a:pt x="2688348" y="4743174"/>
                  <a:pt x="2689227" y="4739894"/>
                  <a:pt x="2685948" y="4739014"/>
                </a:cubicBezTo>
                <a:cubicBezTo>
                  <a:pt x="2689227" y="4739894"/>
                  <a:pt x="2692507" y="4740773"/>
                  <a:pt x="2692507" y="4740773"/>
                </a:cubicBezTo>
                <a:cubicBezTo>
                  <a:pt x="2694908" y="4744932"/>
                  <a:pt x="2700590" y="4749969"/>
                  <a:pt x="2709552" y="4755887"/>
                </a:cubicBezTo>
                <a:cubicBezTo>
                  <a:pt x="2720915" y="4765962"/>
                  <a:pt x="2732277" y="4776040"/>
                  <a:pt x="2741239" y="4781956"/>
                </a:cubicBezTo>
                <a:cubicBezTo>
                  <a:pt x="2744521" y="4782835"/>
                  <a:pt x="2743642" y="4786115"/>
                  <a:pt x="2743642" y="4786115"/>
                </a:cubicBezTo>
                <a:cubicBezTo>
                  <a:pt x="2743642" y="4786115"/>
                  <a:pt x="2746921" y="4786995"/>
                  <a:pt x="2746921" y="4786995"/>
                </a:cubicBezTo>
                <a:cubicBezTo>
                  <a:pt x="2753482" y="4788752"/>
                  <a:pt x="2759163" y="4793792"/>
                  <a:pt x="2761565" y="4797950"/>
                </a:cubicBezTo>
                <a:cubicBezTo>
                  <a:pt x="2764845" y="4798829"/>
                  <a:pt x="2770527" y="4803867"/>
                  <a:pt x="2773807" y="4804745"/>
                </a:cubicBezTo>
                <a:cubicBezTo>
                  <a:pt x="2779488" y="4809785"/>
                  <a:pt x="2787572" y="4818982"/>
                  <a:pt x="2793253" y="4824020"/>
                </a:cubicBezTo>
                <a:cubicBezTo>
                  <a:pt x="2792374" y="4827301"/>
                  <a:pt x="2792374" y="4827301"/>
                  <a:pt x="2792374" y="4827301"/>
                </a:cubicBezTo>
                <a:cubicBezTo>
                  <a:pt x="2795656" y="4828179"/>
                  <a:pt x="2795656" y="4828179"/>
                  <a:pt x="2798935" y="4829058"/>
                </a:cubicBezTo>
                <a:cubicBezTo>
                  <a:pt x="2801336" y="4833218"/>
                  <a:pt x="2802215" y="4829937"/>
                  <a:pt x="2802215" y="4829937"/>
                </a:cubicBezTo>
                <a:cubicBezTo>
                  <a:pt x="2799813" y="4825779"/>
                  <a:pt x="2799813" y="4825779"/>
                  <a:pt x="2799813" y="4825779"/>
                </a:cubicBezTo>
                <a:cubicBezTo>
                  <a:pt x="2805496" y="4830815"/>
                  <a:pt x="2812700" y="4843294"/>
                  <a:pt x="2820139" y="4841771"/>
                </a:cubicBezTo>
                <a:cubicBezTo>
                  <a:pt x="2819259" y="4845051"/>
                  <a:pt x="2819259" y="4845051"/>
                  <a:pt x="2822540" y="4845931"/>
                </a:cubicBezTo>
                <a:cubicBezTo>
                  <a:pt x="2824941" y="4850090"/>
                  <a:pt x="2825821" y="4846810"/>
                  <a:pt x="2825821" y="4846810"/>
                </a:cubicBezTo>
                <a:cubicBezTo>
                  <a:pt x="2833903" y="4856008"/>
                  <a:pt x="2845502" y="4852082"/>
                  <a:pt x="2847025" y="4859523"/>
                </a:cubicBezTo>
                <a:cubicBezTo>
                  <a:pt x="2843744" y="4858645"/>
                  <a:pt x="2843744" y="4858645"/>
                  <a:pt x="2843744" y="4858645"/>
                </a:cubicBezTo>
                <a:cubicBezTo>
                  <a:pt x="2838063" y="4853605"/>
                  <a:pt x="2834782" y="4852727"/>
                  <a:pt x="2833903" y="4856008"/>
                </a:cubicBezTo>
                <a:cubicBezTo>
                  <a:pt x="2833903" y="4856008"/>
                  <a:pt x="2836304" y="4860166"/>
                  <a:pt x="2839585" y="4861046"/>
                </a:cubicBezTo>
                <a:cubicBezTo>
                  <a:pt x="2841985" y="4865204"/>
                  <a:pt x="2841985" y="4865204"/>
                  <a:pt x="2841985" y="4865204"/>
                </a:cubicBezTo>
                <a:cubicBezTo>
                  <a:pt x="2840228" y="4871765"/>
                  <a:pt x="2831266" y="4865848"/>
                  <a:pt x="2829743" y="4858407"/>
                </a:cubicBezTo>
                <a:cubicBezTo>
                  <a:pt x="2831266" y="4865848"/>
                  <a:pt x="2815743" y="4858173"/>
                  <a:pt x="2824705" y="4864090"/>
                </a:cubicBezTo>
                <a:cubicBezTo>
                  <a:pt x="2833023" y="4859287"/>
                  <a:pt x="2831030" y="4879849"/>
                  <a:pt x="2845031" y="4880083"/>
                </a:cubicBezTo>
                <a:cubicBezTo>
                  <a:pt x="2847433" y="4884243"/>
                  <a:pt x="2847433" y="4884243"/>
                  <a:pt x="2847433" y="4884243"/>
                </a:cubicBezTo>
                <a:cubicBezTo>
                  <a:pt x="2847433" y="4884243"/>
                  <a:pt x="2850711" y="4885122"/>
                  <a:pt x="2850711" y="4885122"/>
                </a:cubicBezTo>
                <a:cubicBezTo>
                  <a:pt x="2853114" y="4889281"/>
                  <a:pt x="2853993" y="4886000"/>
                  <a:pt x="2853993" y="4886000"/>
                </a:cubicBezTo>
                <a:cubicBezTo>
                  <a:pt x="2850711" y="4885122"/>
                  <a:pt x="2851592" y="4881842"/>
                  <a:pt x="2851592" y="4881842"/>
                </a:cubicBezTo>
                <a:cubicBezTo>
                  <a:pt x="2854871" y="4882720"/>
                  <a:pt x="2860553" y="4887759"/>
                  <a:pt x="2861432" y="4884479"/>
                </a:cubicBezTo>
                <a:cubicBezTo>
                  <a:pt x="2859030" y="4880319"/>
                  <a:pt x="2864713" y="4885357"/>
                  <a:pt x="2865592" y="4882076"/>
                </a:cubicBezTo>
                <a:cubicBezTo>
                  <a:pt x="2859909" y="4877039"/>
                  <a:pt x="2856630" y="4876159"/>
                  <a:pt x="2850949" y="4871121"/>
                </a:cubicBezTo>
                <a:cubicBezTo>
                  <a:pt x="2854228" y="4872001"/>
                  <a:pt x="2854228" y="4872001"/>
                  <a:pt x="2854228" y="4872001"/>
                </a:cubicBezTo>
                <a:cubicBezTo>
                  <a:pt x="2857508" y="4872880"/>
                  <a:pt x="2860789" y="4873758"/>
                  <a:pt x="2861667" y="4870478"/>
                </a:cubicBezTo>
                <a:lnTo>
                  <a:pt x="2856769" y="4866135"/>
                </a:lnTo>
                <a:lnTo>
                  <a:pt x="2862737" y="4868128"/>
                </a:lnTo>
                <a:cubicBezTo>
                  <a:pt x="2866808" y="4870976"/>
                  <a:pt x="2871069" y="4874755"/>
                  <a:pt x="2877189" y="4878154"/>
                </a:cubicBezTo>
                <a:cubicBezTo>
                  <a:pt x="2861025" y="4859758"/>
                  <a:pt x="2881349" y="4875751"/>
                  <a:pt x="2889669" y="4870949"/>
                </a:cubicBezTo>
                <a:cubicBezTo>
                  <a:pt x="2892070" y="4875108"/>
                  <a:pt x="2885509" y="4873350"/>
                  <a:pt x="2885509" y="4873350"/>
                </a:cubicBezTo>
                <a:cubicBezTo>
                  <a:pt x="2884630" y="4876631"/>
                  <a:pt x="2884630" y="4876631"/>
                  <a:pt x="2884630" y="4876631"/>
                </a:cubicBezTo>
                <a:cubicBezTo>
                  <a:pt x="2881349" y="4875751"/>
                  <a:pt x="2881349" y="4875751"/>
                  <a:pt x="2883750" y="4879911"/>
                </a:cubicBezTo>
                <a:cubicBezTo>
                  <a:pt x="2883750" y="4879911"/>
                  <a:pt x="2887032" y="4880791"/>
                  <a:pt x="2890311" y="4881670"/>
                </a:cubicBezTo>
                <a:cubicBezTo>
                  <a:pt x="2893590" y="4882548"/>
                  <a:pt x="2893590" y="4882548"/>
                  <a:pt x="2893590" y="4882548"/>
                </a:cubicBezTo>
                <a:cubicBezTo>
                  <a:pt x="2895993" y="4886708"/>
                  <a:pt x="2891834" y="4889109"/>
                  <a:pt x="2898394" y="4890866"/>
                </a:cubicBezTo>
                <a:cubicBezTo>
                  <a:pt x="2895113" y="4889987"/>
                  <a:pt x="2895113" y="4889987"/>
                  <a:pt x="2891834" y="4889109"/>
                </a:cubicBezTo>
                <a:cubicBezTo>
                  <a:pt x="2888554" y="4888230"/>
                  <a:pt x="2887674" y="4891511"/>
                  <a:pt x="2890953" y="4892389"/>
                </a:cubicBezTo>
                <a:cubicBezTo>
                  <a:pt x="2890075" y="4895668"/>
                  <a:pt x="2893356" y="4896549"/>
                  <a:pt x="2896636" y="4897427"/>
                </a:cubicBezTo>
                <a:cubicBezTo>
                  <a:pt x="2899915" y="4898305"/>
                  <a:pt x="2899915" y="4898305"/>
                  <a:pt x="2903197" y="4899185"/>
                </a:cubicBezTo>
                <a:cubicBezTo>
                  <a:pt x="2909757" y="4900942"/>
                  <a:pt x="2917197" y="4899421"/>
                  <a:pt x="2911514" y="4894383"/>
                </a:cubicBezTo>
                <a:cubicBezTo>
                  <a:pt x="2914795" y="4895261"/>
                  <a:pt x="2914795" y="4895261"/>
                  <a:pt x="2915674" y="4891980"/>
                </a:cubicBezTo>
                <a:cubicBezTo>
                  <a:pt x="2915674" y="4891980"/>
                  <a:pt x="2915674" y="4891980"/>
                  <a:pt x="2913273" y="4887822"/>
                </a:cubicBezTo>
                <a:cubicBezTo>
                  <a:pt x="2916553" y="4888701"/>
                  <a:pt x="2922235" y="4893739"/>
                  <a:pt x="2928796" y="4895497"/>
                </a:cubicBezTo>
                <a:cubicBezTo>
                  <a:pt x="2922235" y="4893739"/>
                  <a:pt x="2916553" y="4888701"/>
                  <a:pt x="2918954" y="4892860"/>
                </a:cubicBezTo>
                <a:cubicBezTo>
                  <a:pt x="2920476" y="4900299"/>
                  <a:pt x="2928796" y="4895497"/>
                  <a:pt x="2930317" y="4902935"/>
                </a:cubicBezTo>
                <a:cubicBezTo>
                  <a:pt x="2929439" y="4906217"/>
                  <a:pt x="2929439" y="4906217"/>
                  <a:pt x="2929439" y="4906217"/>
                </a:cubicBezTo>
                <a:cubicBezTo>
                  <a:pt x="2929439" y="4906217"/>
                  <a:pt x="2929439" y="4906217"/>
                  <a:pt x="2932718" y="4907095"/>
                </a:cubicBezTo>
                <a:cubicBezTo>
                  <a:pt x="2932718" y="4907095"/>
                  <a:pt x="2932718" y="4907095"/>
                  <a:pt x="2935999" y="4907975"/>
                </a:cubicBezTo>
                <a:cubicBezTo>
                  <a:pt x="2936878" y="4904694"/>
                  <a:pt x="2936878" y="4904694"/>
                  <a:pt x="2936878" y="4904694"/>
                </a:cubicBezTo>
                <a:cubicBezTo>
                  <a:pt x="2939281" y="4908854"/>
                  <a:pt x="2939281" y="4908854"/>
                  <a:pt x="2941680" y="4913011"/>
                </a:cubicBezTo>
                <a:cubicBezTo>
                  <a:pt x="2949121" y="4911491"/>
                  <a:pt x="2954802" y="4916527"/>
                  <a:pt x="2961363" y="4918285"/>
                </a:cubicBezTo>
                <a:cubicBezTo>
                  <a:pt x="2958082" y="4917407"/>
                  <a:pt x="2954802" y="4916527"/>
                  <a:pt x="2954802" y="4916527"/>
                </a:cubicBezTo>
                <a:cubicBezTo>
                  <a:pt x="2967044" y="4923324"/>
                  <a:pt x="2964643" y="4919164"/>
                  <a:pt x="2972726" y="4928362"/>
                </a:cubicBezTo>
                <a:cubicBezTo>
                  <a:pt x="2969445" y="4927484"/>
                  <a:pt x="2968566" y="4930764"/>
                  <a:pt x="2968566" y="4930764"/>
                </a:cubicBezTo>
                <a:cubicBezTo>
                  <a:pt x="2968566" y="4930764"/>
                  <a:pt x="2971848" y="4931642"/>
                  <a:pt x="2971848" y="4931642"/>
                </a:cubicBezTo>
                <a:cubicBezTo>
                  <a:pt x="2970967" y="4934923"/>
                  <a:pt x="2970967" y="4934923"/>
                  <a:pt x="2970967" y="4934923"/>
                </a:cubicBezTo>
                <a:cubicBezTo>
                  <a:pt x="2953045" y="4923088"/>
                  <a:pt x="2967688" y="4934044"/>
                  <a:pt x="2966810" y="4937324"/>
                </a:cubicBezTo>
                <a:cubicBezTo>
                  <a:pt x="2957847" y="4931407"/>
                  <a:pt x="2948885" y="4925491"/>
                  <a:pt x="2939043" y="4922854"/>
                </a:cubicBezTo>
                <a:cubicBezTo>
                  <a:pt x="2939923" y="4919573"/>
                  <a:pt x="2939923" y="4919573"/>
                  <a:pt x="2939923" y="4919573"/>
                </a:cubicBezTo>
                <a:cubicBezTo>
                  <a:pt x="2934243" y="4914534"/>
                  <a:pt x="2930961" y="4913655"/>
                  <a:pt x="2927680" y="4912777"/>
                </a:cubicBezTo>
                <a:cubicBezTo>
                  <a:pt x="2933362" y="4917815"/>
                  <a:pt x="2936642" y="4918694"/>
                  <a:pt x="2935764" y="4921974"/>
                </a:cubicBezTo>
                <a:cubicBezTo>
                  <a:pt x="2926802" y="4916057"/>
                  <a:pt x="2925924" y="4919338"/>
                  <a:pt x="2920241" y="4914300"/>
                </a:cubicBezTo>
                <a:cubicBezTo>
                  <a:pt x="2920241" y="4914300"/>
                  <a:pt x="2916961" y="4913420"/>
                  <a:pt x="2917839" y="4910140"/>
                </a:cubicBezTo>
                <a:cubicBezTo>
                  <a:pt x="2914560" y="4909260"/>
                  <a:pt x="2914560" y="4909260"/>
                  <a:pt x="2914560" y="4909260"/>
                </a:cubicBezTo>
                <a:cubicBezTo>
                  <a:pt x="2911279" y="4908382"/>
                  <a:pt x="2907999" y="4907503"/>
                  <a:pt x="2910401" y="4911663"/>
                </a:cubicBezTo>
                <a:cubicBezTo>
                  <a:pt x="2912801" y="4915821"/>
                  <a:pt x="2912801" y="4915821"/>
                  <a:pt x="2912801" y="4915821"/>
                </a:cubicBezTo>
                <a:cubicBezTo>
                  <a:pt x="2911923" y="4919100"/>
                  <a:pt x="2915203" y="4919981"/>
                  <a:pt x="2918484" y="4920859"/>
                </a:cubicBezTo>
                <a:cubicBezTo>
                  <a:pt x="2921765" y="4921739"/>
                  <a:pt x="2921765" y="4921739"/>
                  <a:pt x="2921765" y="4921739"/>
                </a:cubicBezTo>
                <a:cubicBezTo>
                  <a:pt x="2922643" y="4918458"/>
                  <a:pt x="2922643" y="4918458"/>
                  <a:pt x="2922643" y="4918458"/>
                </a:cubicBezTo>
                <a:cubicBezTo>
                  <a:pt x="2932484" y="4921095"/>
                  <a:pt x="2952809" y="4937090"/>
                  <a:pt x="2965929" y="4940604"/>
                </a:cubicBezTo>
                <a:cubicBezTo>
                  <a:pt x="2968331" y="4944764"/>
                  <a:pt x="2968331" y="4944764"/>
                  <a:pt x="2968331" y="4944764"/>
                </a:cubicBezTo>
                <a:cubicBezTo>
                  <a:pt x="2968331" y="4944764"/>
                  <a:pt x="2968331" y="4944764"/>
                  <a:pt x="2971612" y="4945642"/>
                </a:cubicBezTo>
                <a:cubicBezTo>
                  <a:pt x="2971612" y="4945642"/>
                  <a:pt x="2974892" y="4946522"/>
                  <a:pt x="2974892" y="4946522"/>
                </a:cubicBezTo>
                <a:cubicBezTo>
                  <a:pt x="2981452" y="4948279"/>
                  <a:pt x="2990414" y="4954196"/>
                  <a:pt x="2992815" y="4958356"/>
                </a:cubicBezTo>
                <a:cubicBezTo>
                  <a:pt x="2993695" y="4955076"/>
                  <a:pt x="2993695" y="4955076"/>
                  <a:pt x="2993695" y="4955076"/>
                </a:cubicBezTo>
                <a:cubicBezTo>
                  <a:pt x="2996095" y="4959234"/>
                  <a:pt x="2996095" y="4959234"/>
                  <a:pt x="2996095" y="4959234"/>
                </a:cubicBezTo>
                <a:cubicBezTo>
                  <a:pt x="2996095" y="4959234"/>
                  <a:pt x="2998496" y="4963394"/>
                  <a:pt x="3001778" y="4964274"/>
                </a:cubicBezTo>
                <a:cubicBezTo>
                  <a:pt x="3001778" y="4964274"/>
                  <a:pt x="3005057" y="4965153"/>
                  <a:pt x="3005937" y="4961873"/>
                </a:cubicBezTo>
                <a:cubicBezTo>
                  <a:pt x="3037859" y="4973942"/>
                  <a:pt x="3051624" y="4988177"/>
                  <a:pt x="3075465" y="4991048"/>
                </a:cubicBezTo>
                <a:cubicBezTo>
                  <a:pt x="3074587" y="4994330"/>
                  <a:pt x="3077866" y="4995208"/>
                  <a:pt x="3081147" y="4996088"/>
                </a:cubicBezTo>
                <a:cubicBezTo>
                  <a:pt x="3081147" y="4996088"/>
                  <a:pt x="3084428" y="4996967"/>
                  <a:pt x="3084428" y="4996967"/>
                </a:cubicBezTo>
                <a:cubicBezTo>
                  <a:pt x="3085306" y="4993685"/>
                  <a:pt x="3085306" y="4993685"/>
                  <a:pt x="3085306" y="4993685"/>
                </a:cubicBezTo>
                <a:cubicBezTo>
                  <a:pt x="3086829" y="5001126"/>
                  <a:pt x="3096669" y="5003762"/>
                  <a:pt x="3103230" y="5005520"/>
                </a:cubicBezTo>
                <a:cubicBezTo>
                  <a:pt x="3103230" y="5005520"/>
                  <a:pt x="3106511" y="5006399"/>
                  <a:pt x="3106511" y="5006399"/>
                </a:cubicBezTo>
                <a:cubicBezTo>
                  <a:pt x="3108911" y="5010558"/>
                  <a:pt x="3108911" y="5010558"/>
                  <a:pt x="3113070" y="5008157"/>
                </a:cubicBezTo>
                <a:cubicBezTo>
                  <a:pt x="3116351" y="5009036"/>
                  <a:pt x="3116351" y="5009036"/>
                  <a:pt x="3116351" y="5009036"/>
                </a:cubicBezTo>
                <a:cubicBezTo>
                  <a:pt x="3116351" y="5009036"/>
                  <a:pt x="3115473" y="5012317"/>
                  <a:pt x="3118751" y="5013195"/>
                </a:cubicBezTo>
                <a:cubicBezTo>
                  <a:pt x="3118751" y="5013195"/>
                  <a:pt x="3118751" y="5013195"/>
                  <a:pt x="3122032" y="5014073"/>
                </a:cubicBezTo>
                <a:cubicBezTo>
                  <a:pt x="3129472" y="5012551"/>
                  <a:pt x="3139956" y="5025909"/>
                  <a:pt x="3141713" y="5019348"/>
                </a:cubicBezTo>
                <a:cubicBezTo>
                  <a:pt x="3141713" y="5019348"/>
                  <a:pt x="3141713" y="5019348"/>
                  <a:pt x="3144995" y="5020227"/>
                </a:cubicBezTo>
                <a:cubicBezTo>
                  <a:pt x="3148274" y="5021105"/>
                  <a:pt x="3151555" y="5021985"/>
                  <a:pt x="3151555" y="5021985"/>
                </a:cubicBezTo>
                <a:cubicBezTo>
                  <a:pt x="3151555" y="5021985"/>
                  <a:pt x="3154835" y="5022864"/>
                  <a:pt x="3154835" y="5022864"/>
                </a:cubicBezTo>
                <a:cubicBezTo>
                  <a:pt x="3156358" y="5030304"/>
                  <a:pt x="3171237" y="5027258"/>
                  <a:pt x="3177797" y="5029016"/>
                </a:cubicBezTo>
                <a:cubicBezTo>
                  <a:pt x="3187638" y="5031653"/>
                  <a:pt x="3179319" y="5036456"/>
                  <a:pt x="3189161" y="5039093"/>
                </a:cubicBezTo>
                <a:cubicBezTo>
                  <a:pt x="3189161" y="5039093"/>
                  <a:pt x="3192440" y="5039972"/>
                  <a:pt x="3191561" y="5043251"/>
                </a:cubicBezTo>
                <a:cubicBezTo>
                  <a:pt x="3191561" y="5043251"/>
                  <a:pt x="3194841" y="5044131"/>
                  <a:pt x="3194841" y="5044131"/>
                </a:cubicBezTo>
                <a:cubicBezTo>
                  <a:pt x="3198123" y="5045010"/>
                  <a:pt x="3198123" y="5045010"/>
                  <a:pt x="3195720" y="5040850"/>
                </a:cubicBezTo>
                <a:cubicBezTo>
                  <a:pt x="3195720" y="5040850"/>
                  <a:pt x="3195720" y="5040850"/>
                  <a:pt x="3192440" y="5039972"/>
                </a:cubicBezTo>
                <a:cubicBezTo>
                  <a:pt x="3199880" y="5038449"/>
                  <a:pt x="3205562" y="5043487"/>
                  <a:pt x="3206440" y="5040207"/>
                </a:cubicBezTo>
                <a:cubicBezTo>
                  <a:pt x="3215401" y="5046124"/>
                  <a:pt x="3205562" y="5043487"/>
                  <a:pt x="3204682" y="5046768"/>
                </a:cubicBezTo>
                <a:lnTo>
                  <a:pt x="3200777" y="5049024"/>
                </a:lnTo>
                <a:lnTo>
                  <a:pt x="3182802" y="5042937"/>
                </a:lnTo>
                <a:cubicBezTo>
                  <a:pt x="3164319" y="5037490"/>
                  <a:pt x="3152140" y="5036205"/>
                  <a:pt x="3134918" y="5031590"/>
                </a:cubicBezTo>
                <a:cubicBezTo>
                  <a:pt x="3134918" y="5031590"/>
                  <a:pt x="3135797" y="5028310"/>
                  <a:pt x="3132517" y="5027430"/>
                </a:cubicBezTo>
                <a:cubicBezTo>
                  <a:pt x="3132517" y="5027430"/>
                  <a:pt x="3129237" y="5026552"/>
                  <a:pt x="3129237" y="5026552"/>
                </a:cubicBezTo>
                <a:cubicBezTo>
                  <a:pt x="3119395" y="5023915"/>
                  <a:pt x="3116116" y="5023036"/>
                  <a:pt x="3111956" y="5025438"/>
                </a:cubicBezTo>
                <a:cubicBezTo>
                  <a:pt x="3125078" y="5028953"/>
                  <a:pt x="3125078" y="5028953"/>
                  <a:pt x="3125078" y="5028953"/>
                </a:cubicBezTo>
                <a:cubicBezTo>
                  <a:pt x="3125078" y="5028953"/>
                  <a:pt x="3121797" y="5028075"/>
                  <a:pt x="3120918" y="5031354"/>
                </a:cubicBezTo>
                <a:cubicBezTo>
                  <a:pt x="3120918" y="5031354"/>
                  <a:pt x="3124199" y="5032234"/>
                  <a:pt x="3124199" y="5032234"/>
                </a:cubicBezTo>
                <a:cubicBezTo>
                  <a:pt x="3127479" y="5033113"/>
                  <a:pt x="3127479" y="5033113"/>
                  <a:pt x="3127479" y="5033113"/>
                </a:cubicBezTo>
                <a:cubicBezTo>
                  <a:pt x="3130758" y="5033991"/>
                  <a:pt x="3130758" y="5033991"/>
                  <a:pt x="3130758" y="5033991"/>
                </a:cubicBezTo>
                <a:cubicBezTo>
                  <a:pt x="3135561" y="5042309"/>
                  <a:pt x="3137083" y="5049750"/>
                  <a:pt x="3159167" y="5059182"/>
                </a:cubicBezTo>
                <a:cubicBezTo>
                  <a:pt x="3172053" y="5076698"/>
                  <a:pt x="3202217" y="5095329"/>
                  <a:pt x="3223421" y="5108042"/>
                </a:cubicBezTo>
                <a:cubicBezTo>
                  <a:pt x="3226702" y="5108920"/>
                  <a:pt x="3225824" y="5112200"/>
                  <a:pt x="3225824" y="5112200"/>
                </a:cubicBezTo>
                <a:cubicBezTo>
                  <a:pt x="3225824" y="5112200"/>
                  <a:pt x="3224945" y="5115481"/>
                  <a:pt x="3228223" y="5116360"/>
                </a:cubicBezTo>
                <a:cubicBezTo>
                  <a:pt x="3228223" y="5116360"/>
                  <a:pt x="3224945" y="5115481"/>
                  <a:pt x="3224065" y="5118761"/>
                </a:cubicBezTo>
                <a:cubicBezTo>
                  <a:pt x="3230626" y="5120519"/>
                  <a:pt x="3233907" y="5121398"/>
                  <a:pt x="3233907" y="5121398"/>
                </a:cubicBezTo>
                <a:cubicBezTo>
                  <a:pt x="3251830" y="5133233"/>
                  <a:pt x="3277193" y="5143544"/>
                  <a:pt x="3292714" y="5151219"/>
                </a:cubicBezTo>
                <a:cubicBezTo>
                  <a:pt x="3295117" y="5155379"/>
                  <a:pt x="3288556" y="5153620"/>
                  <a:pt x="3285275" y="5152742"/>
                </a:cubicBezTo>
                <a:cubicBezTo>
                  <a:pt x="3294237" y="5158659"/>
                  <a:pt x="3331842" y="5175767"/>
                  <a:pt x="3319365" y="5182971"/>
                </a:cubicBezTo>
                <a:cubicBezTo>
                  <a:pt x="3312805" y="5181213"/>
                  <a:pt x="3312805" y="5181213"/>
                  <a:pt x="3312805" y="5181213"/>
                </a:cubicBezTo>
                <a:cubicBezTo>
                  <a:pt x="3309524" y="5180334"/>
                  <a:pt x="3309524" y="5180334"/>
                  <a:pt x="3309524" y="5180334"/>
                </a:cubicBezTo>
                <a:cubicBezTo>
                  <a:pt x="3309524" y="5180334"/>
                  <a:pt x="3308645" y="5183614"/>
                  <a:pt x="3311927" y="5184492"/>
                </a:cubicBezTo>
                <a:cubicBezTo>
                  <a:pt x="3318486" y="5186251"/>
                  <a:pt x="3318486" y="5186251"/>
                  <a:pt x="3318486" y="5186251"/>
                </a:cubicBezTo>
                <a:cubicBezTo>
                  <a:pt x="3304486" y="5186015"/>
                  <a:pt x="3285683" y="5177461"/>
                  <a:pt x="3266002" y="5172187"/>
                </a:cubicBezTo>
                <a:cubicBezTo>
                  <a:pt x="3245205" y="5184194"/>
                  <a:pt x="3297454" y="5212257"/>
                  <a:pt x="3342499" y="5227844"/>
                </a:cubicBezTo>
                <a:cubicBezTo>
                  <a:pt x="3344900" y="5232004"/>
                  <a:pt x="3340742" y="5234405"/>
                  <a:pt x="3348824" y="5243600"/>
                </a:cubicBezTo>
                <a:cubicBezTo>
                  <a:pt x="3339862" y="5237684"/>
                  <a:pt x="3338984" y="5240964"/>
                  <a:pt x="3338105" y="5244245"/>
                </a:cubicBezTo>
                <a:cubicBezTo>
                  <a:pt x="3311863" y="5237212"/>
                  <a:pt x="3286500" y="5226901"/>
                  <a:pt x="3260257" y="5219869"/>
                </a:cubicBezTo>
                <a:cubicBezTo>
                  <a:pt x="3243856" y="5215475"/>
                  <a:pt x="3258499" y="5226430"/>
                  <a:pt x="3243621" y="5229475"/>
                </a:cubicBezTo>
                <a:cubicBezTo>
                  <a:pt x="3228099" y="5221800"/>
                  <a:pt x="3220658" y="5223323"/>
                  <a:pt x="3201857" y="5214769"/>
                </a:cubicBezTo>
                <a:cubicBezTo>
                  <a:pt x="3200977" y="5218050"/>
                  <a:pt x="3206659" y="5223087"/>
                  <a:pt x="3219780" y="5226604"/>
                </a:cubicBezTo>
                <a:cubicBezTo>
                  <a:pt x="3213219" y="5224845"/>
                  <a:pt x="3205781" y="5226368"/>
                  <a:pt x="3193538" y="5219573"/>
                </a:cubicBezTo>
                <a:cubicBezTo>
                  <a:pt x="3199219" y="5224609"/>
                  <a:pt x="3195061" y="5227011"/>
                  <a:pt x="3204023" y="5232929"/>
                </a:cubicBezTo>
                <a:cubicBezTo>
                  <a:pt x="3150016" y="5211425"/>
                  <a:pt x="3096009" y="5189924"/>
                  <a:pt x="3042882" y="5165139"/>
                </a:cubicBezTo>
                <a:cubicBezTo>
                  <a:pt x="3036320" y="5163382"/>
                  <a:pt x="3029761" y="5161624"/>
                  <a:pt x="3027359" y="5157464"/>
                </a:cubicBezTo>
                <a:cubicBezTo>
                  <a:pt x="2396387" y="4861828"/>
                  <a:pt x="1977317" y="4260841"/>
                  <a:pt x="1894782" y="3584788"/>
                </a:cubicBezTo>
                <a:cubicBezTo>
                  <a:pt x="1894782" y="3584788"/>
                  <a:pt x="1894782" y="3584788"/>
                  <a:pt x="1895662" y="3581506"/>
                </a:cubicBezTo>
                <a:cubicBezTo>
                  <a:pt x="1895662" y="3581506"/>
                  <a:pt x="1896540" y="3578226"/>
                  <a:pt x="1896540" y="3578226"/>
                </a:cubicBezTo>
                <a:cubicBezTo>
                  <a:pt x="1898061" y="3585666"/>
                  <a:pt x="1902221" y="3583265"/>
                  <a:pt x="1900698" y="3575825"/>
                </a:cubicBezTo>
                <a:cubicBezTo>
                  <a:pt x="1902221" y="3583265"/>
                  <a:pt x="1902221" y="3583265"/>
                  <a:pt x="1902221" y="3583265"/>
                </a:cubicBezTo>
                <a:cubicBezTo>
                  <a:pt x="1904622" y="3587425"/>
                  <a:pt x="1904622" y="3587425"/>
                  <a:pt x="1908782" y="3585022"/>
                </a:cubicBezTo>
                <a:cubicBezTo>
                  <a:pt x="1908782" y="3585022"/>
                  <a:pt x="1909661" y="3581742"/>
                  <a:pt x="1907259" y="3577584"/>
                </a:cubicBezTo>
                <a:cubicBezTo>
                  <a:pt x="1904858" y="3573425"/>
                  <a:pt x="1904858" y="3573425"/>
                  <a:pt x="1904858" y="3573425"/>
                </a:cubicBezTo>
                <a:cubicBezTo>
                  <a:pt x="1905737" y="3570143"/>
                  <a:pt x="1905737" y="3570143"/>
                  <a:pt x="1905737" y="3570143"/>
                </a:cubicBezTo>
                <a:cubicBezTo>
                  <a:pt x="1912298" y="3571902"/>
                  <a:pt x="1913176" y="3568620"/>
                  <a:pt x="1911655" y="3561181"/>
                </a:cubicBezTo>
                <a:cubicBezTo>
                  <a:pt x="1906851" y="3552863"/>
                  <a:pt x="1908374" y="3560303"/>
                  <a:pt x="1902693" y="3555264"/>
                </a:cubicBezTo>
                <a:cubicBezTo>
                  <a:pt x="1904214" y="3562704"/>
                  <a:pt x="1904214" y="3562704"/>
                  <a:pt x="1904214" y="3562704"/>
                </a:cubicBezTo>
                <a:cubicBezTo>
                  <a:pt x="1901813" y="3558544"/>
                  <a:pt x="1902693" y="3555264"/>
                  <a:pt x="1898533" y="3557666"/>
                </a:cubicBezTo>
                <a:cubicBezTo>
                  <a:pt x="1897653" y="3560947"/>
                  <a:pt x="1896775" y="3564227"/>
                  <a:pt x="1899176" y="3568386"/>
                </a:cubicBezTo>
                <a:cubicBezTo>
                  <a:pt x="1901577" y="3572544"/>
                  <a:pt x="1901577" y="3572544"/>
                  <a:pt x="1901577" y="3572544"/>
                </a:cubicBezTo>
                <a:cubicBezTo>
                  <a:pt x="1898298" y="3571666"/>
                  <a:pt x="1899176" y="3568386"/>
                  <a:pt x="1895896" y="3567506"/>
                </a:cubicBezTo>
                <a:cubicBezTo>
                  <a:pt x="1896775" y="3564227"/>
                  <a:pt x="1896775" y="3564227"/>
                  <a:pt x="1896775" y="3564227"/>
                </a:cubicBezTo>
                <a:cubicBezTo>
                  <a:pt x="1894373" y="3560067"/>
                  <a:pt x="1894373" y="3560067"/>
                  <a:pt x="1894373" y="3560067"/>
                </a:cubicBezTo>
                <a:cubicBezTo>
                  <a:pt x="1891094" y="3559188"/>
                  <a:pt x="1891094" y="3559188"/>
                  <a:pt x="1891094" y="3559188"/>
                </a:cubicBezTo>
                <a:cubicBezTo>
                  <a:pt x="1884597" y="3504711"/>
                  <a:pt x="1882259" y="3447831"/>
                  <a:pt x="1879920" y="3390951"/>
                </a:cubicBezTo>
                <a:cubicBezTo>
                  <a:pt x="1883200" y="3391830"/>
                  <a:pt x="1887359" y="3389429"/>
                  <a:pt x="1885837" y="3381989"/>
                </a:cubicBezTo>
                <a:cubicBezTo>
                  <a:pt x="1882557" y="3381111"/>
                  <a:pt x="1882557" y="3381111"/>
                  <a:pt x="1882557" y="3381111"/>
                </a:cubicBezTo>
                <a:cubicBezTo>
                  <a:pt x="1878180" y="3200631"/>
                  <a:pt x="1900280" y="3013184"/>
                  <a:pt x="1949501" y="2829488"/>
                </a:cubicBezTo>
                <a:cubicBezTo>
                  <a:pt x="2065523" y="2396490"/>
                  <a:pt x="2313805" y="2034089"/>
                  <a:pt x="2643562" y="1774383"/>
                </a:cubicBezTo>
                <a:cubicBezTo>
                  <a:pt x="2638523" y="1780064"/>
                  <a:pt x="2637645" y="1783344"/>
                  <a:pt x="2640925" y="1784224"/>
                </a:cubicBezTo>
                <a:cubicBezTo>
                  <a:pt x="2669161" y="1770694"/>
                  <a:pt x="2664357" y="1762376"/>
                  <a:pt x="2686913" y="1743809"/>
                </a:cubicBezTo>
                <a:cubicBezTo>
                  <a:pt x="2686913" y="1743809"/>
                  <a:pt x="2683632" y="1742931"/>
                  <a:pt x="2683632" y="1742931"/>
                </a:cubicBezTo>
                <a:cubicBezTo>
                  <a:pt x="2705305" y="1727642"/>
                  <a:pt x="2722823" y="1714756"/>
                  <a:pt x="2744497" y="1699471"/>
                </a:cubicBezTo>
                <a:cubicBezTo>
                  <a:pt x="2751936" y="1697948"/>
                  <a:pt x="2777770" y="1680260"/>
                  <a:pt x="2782809" y="1674577"/>
                </a:cubicBezTo>
                <a:cubicBezTo>
                  <a:pt x="2786090" y="1675456"/>
                  <a:pt x="2786969" y="1672176"/>
                  <a:pt x="2786969" y="1672176"/>
                </a:cubicBezTo>
                <a:cubicBezTo>
                  <a:pt x="2791128" y="1669775"/>
                  <a:pt x="2791128" y="1669775"/>
                  <a:pt x="2787847" y="1668896"/>
                </a:cubicBezTo>
                <a:cubicBezTo>
                  <a:pt x="2791128" y="1669775"/>
                  <a:pt x="2792007" y="1666495"/>
                  <a:pt x="2795287" y="1667374"/>
                </a:cubicBezTo>
                <a:cubicBezTo>
                  <a:pt x="2800324" y="1661693"/>
                  <a:pt x="2808643" y="1656889"/>
                  <a:pt x="2812803" y="1654488"/>
                </a:cubicBezTo>
                <a:cubicBezTo>
                  <a:pt x="2830319" y="1641602"/>
                  <a:pt x="2850235" y="1632876"/>
                  <a:pt x="2867751" y="1619990"/>
                </a:cubicBezTo>
                <a:cubicBezTo>
                  <a:pt x="2876070" y="1615187"/>
                  <a:pt x="2884388" y="1610385"/>
                  <a:pt x="2892707" y="1605583"/>
                </a:cubicBezTo>
                <a:cubicBezTo>
                  <a:pt x="2909345" y="1595977"/>
                  <a:pt x="2929260" y="1587250"/>
                  <a:pt x="2945898" y="1577646"/>
                </a:cubicBezTo>
                <a:cubicBezTo>
                  <a:pt x="2945898" y="1577646"/>
                  <a:pt x="2945019" y="1580925"/>
                  <a:pt x="2945019" y="1580925"/>
                </a:cubicBezTo>
                <a:cubicBezTo>
                  <a:pt x="2949179" y="1578524"/>
                  <a:pt x="2950057" y="1575243"/>
                  <a:pt x="2954215" y="1572842"/>
                </a:cubicBezTo>
                <a:cubicBezTo>
                  <a:pt x="3029843" y="1533338"/>
                  <a:pt x="3107651" y="1498813"/>
                  <a:pt x="3187642" y="1469266"/>
                </a:cubicBezTo>
                <a:lnTo>
                  <a:pt x="3206518" y="1462968"/>
                </a:lnTo>
                <a:lnTo>
                  <a:pt x="3279061" y="1433119"/>
                </a:lnTo>
                <a:lnTo>
                  <a:pt x="3268731" y="1435621"/>
                </a:lnTo>
                <a:lnTo>
                  <a:pt x="3291288" y="1428088"/>
                </a:lnTo>
                <a:lnTo>
                  <a:pt x="3299007" y="1424913"/>
                </a:lnTo>
                <a:close/>
                <a:moveTo>
                  <a:pt x="2502762" y="1367737"/>
                </a:moveTo>
                <a:cubicBezTo>
                  <a:pt x="2499088" y="1373406"/>
                  <a:pt x="2499088" y="1373406"/>
                  <a:pt x="2499088" y="1373406"/>
                </a:cubicBezTo>
                <a:cubicBezTo>
                  <a:pt x="2500087" y="1378077"/>
                  <a:pt x="2504758" y="1377078"/>
                  <a:pt x="2508432" y="1371410"/>
                </a:cubicBezTo>
                <a:cubicBezTo>
                  <a:pt x="2496914" y="1386080"/>
                  <a:pt x="2485814" y="1397000"/>
                  <a:pt x="2472589" y="1406541"/>
                </a:cubicBezTo>
                <a:lnTo>
                  <a:pt x="2428360" y="1430993"/>
                </a:lnTo>
                <a:lnTo>
                  <a:pt x="2427665" y="1427740"/>
                </a:lnTo>
                <a:cubicBezTo>
                  <a:pt x="2427665" y="1427740"/>
                  <a:pt x="2423991" y="1433409"/>
                  <a:pt x="2423991" y="1433409"/>
                </a:cubicBezTo>
                <a:cubicBezTo>
                  <a:pt x="2414650" y="1435405"/>
                  <a:pt x="2415648" y="1440075"/>
                  <a:pt x="2406305" y="1442071"/>
                </a:cubicBezTo>
                <a:cubicBezTo>
                  <a:pt x="2401635" y="1443068"/>
                  <a:pt x="2401635" y="1443068"/>
                  <a:pt x="2401635" y="1443068"/>
                </a:cubicBezTo>
                <a:cubicBezTo>
                  <a:pt x="2401635" y="1443068"/>
                  <a:pt x="2402632" y="1447739"/>
                  <a:pt x="2402632" y="1447739"/>
                </a:cubicBezTo>
                <a:cubicBezTo>
                  <a:pt x="2397962" y="1448738"/>
                  <a:pt x="2397962" y="1448738"/>
                  <a:pt x="2397962" y="1448738"/>
                </a:cubicBezTo>
                <a:lnTo>
                  <a:pt x="2368524" y="1462091"/>
                </a:lnTo>
                <a:lnTo>
                  <a:pt x="2436136" y="1405006"/>
                </a:lnTo>
                <a:lnTo>
                  <a:pt x="2447028" y="1404065"/>
                </a:lnTo>
                <a:cubicBezTo>
                  <a:pt x="2460542" y="1398736"/>
                  <a:pt x="2475395" y="1388235"/>
                  <a:pt x="2493419" y="1369732"/>
                </a:cubicBezTo>
                <a:cubicBezTo>
                  <a:pt x="2493419" y="1369732"/>
                  <a:pt x="2498091" y="1368735"/>
                  <a:pt x="2502762" y="1367737"/>
                </a:cubicBezTo>
                <a:close/>
                <a:moveTo>
                  <a:pt x="3694920" y="1351768"/>
                </a:moveTo>
                <a:lnTo>
                  <a:pt x="3592642" y="1364711"/>
                </a:lnTo>
                <a:lnTo>
                  <a:pt x="3590251" y="1366035"/>
                </a:lnTo>
                <a:lnTo>
                  <a:pt x="3570147" y="1371907"/>
                </a:lnTo>
                <a:lnTo>
                  <a:pt x="3581954" y="1369853"/>
                </a:lnTo>
                <a:lnTo>
                  <a:pt x="3656160" y="1363370"/>
                </a:lnTo>
                <a:close/>
                <a:moveTo>
                  <a:pt x="2840435" y="1256522"/>
                </a:moveTo>
                <a:cubicBezTo>
                  <a:pt x="2814405" y="1271852"/>
                  <a:pt x="2779032" y="1289177"/>
                  <a:pt x="2754000" y="1309177"/>
                </a:cubicBezTo>
                <a:cubicBezTo>
                  <a:pt x="2727471" y="1322172"/>
                  <a:pt x="2696248" y="1338915"/>
                  <a:pt x="2675675" y="1354070"/>
                </a:cubicBezTo>
                <a:lnTo>
                  <a:pt x="2664839" y="1363575"/>
                </a:lnTo>
                <a:lnTo>
                  <a:pt x="2606905" y="1394572"/>
                </a:lnTo>
                <a:lnTo>
                  <a:pt x="2606162" y="1394488"/>
                </a:lnTo>
                <a:lnTo>
                  <a:pt x="2606032" y="1395039"/>
                </a:lnTo>
                <a:lnTo>
                  <a:pt x="2569460" y="1414607"/>
                </a:lnTo>
                <a:lnTo>
                  <a:pt x="2535666" y="1437142"/>
                </a:lnTo>
                <a:lnTo>
                  <a:pt x="2557774" y="1419478"/>
                </a:lnTo>
                <a:cubicBezTo>
                  <a:pt x="2617181" y="1377482"/>
                  <a:pt x="2686928" y="1338159"/>
                  <a:pt x="2743660" y="1306503"/>
                </a:cubicBezTo>
                <a:cubicBezTo>
                  <a:pt x="2765019" y="1292171"/>
                  <a:pt x="2787377" y="1282510"/>
                  <a:pt x="2803068" y="1264505"/>
                </a:cubicBezTo>
                <a:cubicBezTo>
                  <a:pt x="2799394" y="1270174"/>
                  <a:pt x="2809734" y="1272849"/>
                  <a:pt x="2840435" y="1256522"/>
                </a:cubicBezTo>
                <a:close/>
                <a:moveTo>
                  <a:pt x="4291945" y="1253435"/>
                </a:moveTo>
                <a:cubicBezTo>
                  <a:pt x="4288620" y="1252908"/>
                  <a:pt x="4285780" y="1253972"/>
                  <a:pt x="4284137" y="1260101"/>
                </a:cubicBezTo>
                <a:cubicBezTo>
                  <a:pt x="4280853" y="1272360"/>
                  <a:pt x="4289390" y="1273187"/>
                  <a:pt x="4298921" y="1275741"/>
                </a:cubicBezTo>
                <a:cubicBezTo>
                  <a:pt x="4349411" y="1283430"/>
                  <a:pt x="4400898" y="1292848"/>
                  <a:pt x="4450293" y="1304623"/>
                </a:cubicBezTo>
                <a:cubicBezTo>
                  <a:pt x="4553327" y="1330041"/>
                  <a:pt x="4653016" y="1361132"/>
                  <a:pt x="4748991" y="1398504"/>
                </a:cubicBezTo>
                <a:lnTo>
                  <a:pt x="4900593" y="1470664"/>
                </a:lnTo>
                <a:lnTo>
                  <a:pt x="4850303" y="1427852"/>
                </a:lnTo>
                <a:lnTo>
                  <a:pt x="4826319" y="1412622"/>
                </a:lnTo>
                <a:lnTo>
                  <a:pt x="4657237" y="1344015"/>
                </a:lnTo>
                <a:cubicBezTo>
                  <a:pt x="4555286" y="1305020"/>
                  <a:pt x="4447497" y="1287816"/>
                  <a:pt x="4341169" y="1265164"/>
                </a:cubicBezTo>
                <a:cubicBezTo>
                  <a:pt x="4328547" y="1263242"/>
                  <a:pt x="4314927" y="1259592"/>
                  <a:pt x="4302669" y="1256309"/>
                </a:cubicBezTo>
                <a:cubicBezTo>
                  <a:pt x="4299082" y="1256077"/>
                  <a:pt x="4295271" y="1253960"/>
                  <a:pt x="4291945" y="1253435"/>
                </a:cubicBezTo>
                <a:close/>
                <a:moveTo>
                  <a:pt x="3498102" y="1245800"/>
                </a:moveTo>
                <a:lnTo>
                  <a:pt x="3459267" y="1255133"/>
                </a:lnTo>
                <a:lnTo>
                  <a:pt x="3459939" y="1258420"/>
                </a:lnTo>
                <a:close/>
                <a:moveTo>
                  <a:pt x="5350802" y="1233036"/>
                </a:moveTo>
                <a:cubicBezTo>
                  <a:pt x="5361142" y="1235710"/>
                  <a:pt x="5361142" y="1235710"/>
                  <a:pt x="5351799" y="1237706"/>
                </a:cubicBezTo>
                <a:cubicBezTo>
                  <a:pt x="5346131" y="1234033"/>
                  <a:pt x="5346131" y="1234033"/>
                  <a:pt x="5346131" y="1234033"/>
                </a:cubicBezTo>
                <a:cubicBezTo>
                  <a:pt x="5350802" y="1233036"/>
                  <a:pt x="5350802" y="1233036"/>
                  <a:pt x="5350802" y="1233036"/>
                </a:cubicBezTo>
                <a:close/>
                <a:moveTo>
                  <a:pt x="5345813" y="1209681"/>
                </a:moveTo>
                <a:cubicBezTo>
                  <a:pt x="5345813" y="1209681"/>
                  <a:pt x="5350483" y="1208682"/>
                  <a:pt x="5351481" y="1213353"/>
                </a:cubicBezTo>
                <a:cubicBezTo>
                  <a:pt x="5346810" y="1214352"/>
                  <a:pt x="5346810" y="1214352"/>
                  <a:pt x="5346810" y="1214352"/>
                </a:cubicBezTo>
                <a:cubicBezTo>
                  <a:pt x="5346810" y="1214352"/>
                  <a:pt x="5345813" y="1209681"/>
                  <a:pt x="5345813" y="1209681"/>
                </a:cubicBezTo>
                <a:close/>
                <a:moveTo>
                  <a:pt x="5343817" y="1200338"/>
                </a:moveTo>
                <a:cubicBezTo>
                  <a:pt x="5344814" y="1205008"/>
                  <a:pt x="5344814" y="1205008"/>
                  <a:pt x="5349485" y="1204011"/>
                </a:cubicBezTo>
                <a:lnTo>
                  <a:pt x="5339148" y="1201337"/>
                </a:lnTo>
                <a:close/>
                <a:moveTo>
                  <a:pt x="2761703" y="1151674"/>
                </a:moveTo>
                <a:lnTo>
                  <a:pt x="2748959" y="1165559"/>
                </a:lnTo>
                <a:cubicBezTo>
                  <a:pt x="2741657" y="1171392"/>
                  <a:pt x="2733065" y="1176892"/>
                  <a:pt x="2722385" y="1184058"/>
                </a:cubicBezTo>
                <a:cubicBezTo>
                  <a:pt x="2726058" y="1178388"/>
                  <a:pt x="2721386" y="1179387"/>
                  <a:pt x="2716716" y="1180384"/>
                </a:cubicBezTo>
                <a:cubicBezTo>
                  <a:pt x="2694359" y="1190045"/>
                  <a:pt x="2674994" y="1213720"/>
                  <a:pt x="2657309" y="1222382"/>
                </a:cubicBezTo>
                <a:cubicBezTo>
                  <a:pt x="2657309" y="1222382"/>
                  <a:pt x="2660982" y="1216713"/>
                  <a:pt x="2660982" y="1216713"/>
                </a:cubicBezTo>
                <a:cubicBezTo>
                  <a:pt x="2630281" y="1233040"/>
                  <a:pt x="2606247" y="1257713"/>
                  <a:pt x="2595906" y="1255037"/>
                </a:cubicBezTo>
                <a:cubicBezTo>
                  <a:pt x="2595906" y="1255037"/>
                  <a:pt x="2596903" y="1259709"/>
                  <a:pt x="2592233" y="1260706"/>
                </a:cubicBezTo>
                <a:cubicBezTo>
                  <a:pt x="2581214" y="1277713"/>
                  <a:pt x="2601576" y="1258710"/>
                  <a:pt x="2606247" y="1257713"/>
                </a:cubicBezTo>
                <a:cubicBezTo>
                  <a:pt x="2593730" y="1267712"/>
                  <a:pt x="2584887" y="1272043"/>
                  <a:pt x="2577796" y="1276001"/>
                </a:cubicBezTo>
                <a:lnTo>
                  <a:pt x="2560312" y="1291636"/>
                </a:lnTo>
                <a:lnTo>
                  <a:pt x="2559859" y="1291860"/>
                </a:lnTo>
                <a:lnTo>
                  <a:pt x="2560069" y="1281620"/>
                </a:lnTo>
                <a:cubicBezTo>
                  <a:pt x="2559696" y="1279869"/>
                  <a:pt x="2557360" y="1280367"/>
                  <a:pt x="2548516" y="1284699"/>
                </a:cubicBezTo>
                <a:cubicBezTo>
                  <a:pt x="2547179" y="1289869"/>
                  <a:pt x="2548846" y="1291955"/>
                  <a:pt x="2549928" y="1294165"/>
                </a:cubicBezTo>
                <a:lnTo>
                  <a:pt x="2549342" y="1297035"/>
                </a:lnTo>
                <a:lnTo>
                  <a:pt x="2541806" y="1300742"/>
                </a:lnTo>
                <a:cubicBezTo>
                  <a:pt x="2519258" y="1309996"/>
                  <a:pt x="2495601" y="1317332"/>
                  <a:pt x="2470077" y="1321264"/>
                </a:cubicBezTo>
                <a:cubicBezTo>
                  <a:pt x="2487552" y="1289140"/>
                  <a:pt x="2510692" y="1274055"/>
                  <a:pt x="2536602" y="1262438"/>
                </a:cubicBezTo>
                <a:cubicBezTo>
                  <a:pt x="2598121" y="1237126"/>
                  <a:pt x="2657282" y="1210292"/>
                  <a:pt x="2712436" y="1174174"/>
                </a:cubicBezTo>
                <a:cubicBezTo>
                  <a:pt x="2723037" y="1166839"/>
                  <a:pt x="2734149" y="1161297"/>
                  <a:pt x="2745575" y="1156796"/>
                </a:cubicBezTo>
                <a:close/>
                <a:moveTo>
                  <a:pt x="4763650" y="1149529"/>
                </a:moveTo>
                <a:lnTo>
                  <a:pt x="4771720" y="1151618"/>
                </a:lnTo>
                <a:cubicBezTo>
                  <a:pt x="4771720" y="1151618"/>
                  <a:pt x="4771720" y="1151618"/>
                  <a:pt x="4767049" y="1152615"/>
                </a:cubicBezTo>
                <a:close/>
                <a:moveTo>
                  <a:pt x="3314885" y="1145389"/>
                </a:moveTo>
                <a:cubicBezTo>
                  <a:pt x="3311211" y="1151058"/>
                  <a:pt x="3311211" y="1151058"/>
                  <a:pt x="3311211" y="1151058"/>
                </a:cubicBezTo>
                <a:cubicBezTo>
                  <a:pt x="3306541" y="1152057"/>
                  <a:pt x="3306541" y="1152057"/>
                  <a:pt x="3306541" y="1152057"/>
                </a:cubicBezTo>
                <a:cubicBezTo>
                  <a:pt x="3297198" y="1154051"/>
                  <a:pt x="3292528" y="1155049"/>
                  <a:pt x="3287857" y="1156047"/>
                </a:cubicBezTo>
                <a:cubicBezTo>
                  <a:pt x="3278514" y="1158043"/>
                  <a:pt x="3273843" y="1159041"/>
                  <a:pt x="3264500" y="1161037"/>
                </a:cubicBezTo>
                <a:lnTo>
                  <a:pt x="3259830" y="1162034"/>
                </a:lnTo>
                <a:close/>
                <a:moveTo>
                  <a:pt x="4063207" y="1058776"/>
                </a:moveTo>
                <a:lnTo>
                  <a:pt x="4059509" y="1058914"/>
                </a:lnTo>
                <a:lnTo>
                  <a:pt x="4059417" y="1058899"/>
                </a:lnTo>
                <a:cubicBezTo>
                  <a:pt x="4058579" y="1058545"/>
                  <a:pt x="4059454" y="1058357"/>
                  <a:pt x="4063207" y="1058776"/>
                </a:cubicBezTo>
                <a:close/>
                <a:moveTo>
                  <a:pt x="4081891" y="1054786"/>
                </a:moveTo>
                <a:cubicBezTo>
                  <a:pt x="4083887" y="1064127"/>
                  <a:pt x="4101574" y="1055465"/>
                  <a:pt x="4111912" y="1058138"/>
                </a:cubicBezTo>
                <a:cubicBezTo>
                  <a:pt x="4097900" y="1061133"/>
                  <a:pt x="4111233" y="1077821"/>
                  <a:pt x="4112910" y="1062810"/>
                </a:cubicBezTo>
                <a:cubicBezTo>
                  <a:pt x="4141935" y="1061494"/>
                  <a:pt x="4171956" y="1064849"/>
                  <a:pt x="4191639" y="1065528"/>
                </a:cubicBezTo>
                <a:cubicBezTo>
                  <a:pt x="4176627" y="1063850"/>
                  <a:pt x="4205653" y="1062533"/>
                  <a:pt x="4224337" y="1058542"/>
                </a:cubicBezTo>
                <a:cubicBezTo>
                  <a:pt x="4225335" y="1063212"/>
                  <a:pt x="4215991" y="1065208"/>
                  <a:pt x="4215991" y="1065208"/>
                </a:cubicBezTo>
                <a:cubicBezTo>
                  <a:pt x="4250685" y="1067565"/>
                  <a:pt x="4270368" y="1068244"/>
                  <a:pt x="4290049" y="1068923"/>
                </a:cubicBezTo>
                <a:cubicBezTo>
                  <a:pt x="4314402" y="1068605"/>
                  <a:pt x="4334085" y="1069284"/>
                  <a:pt x="4379117" y="1074315"/>
                </a:cubicBezTo>
                <a:cubicBezTo>
                  <a:pt x="4375445" y="1079983"/>
                  <a:pt x="4366101" y="1081981"/>
                  <a:pt x="4385785" y="1082660"/>
                </a:cubicBezTo>
                <a:cubicBezTo>
                  <a:pt x="4396125" y="1085335"/>
                  <a:pt x="4374447" y="1075314"/>
                  <a:pt x="4398799" y="1074995"/>
                </a:cubicBezTo>
                <a:cubicBezTo>
                  <a:pt x="4415807" y="1086013"/>
                  <a:pt x="4430817" y="1087691"/>
                  <a:pt x="4443833" y="1080026"/>
                </a:cubicBezTo>
                <a:cubicBezTo>
                  <a:pt x="4460841" y="1091045"/>
                  <a:pt x="4454173" y="1082701"/>
                  <a:pt x="4461839" y="1095716"/>
                </a:cubicBezTo>
                <a:cubicBezTo>
                  <a:pt x="4465511" y="1090048"/>
                  <a:pt x="4474853" y="1088052"/>
                  <a:pt x="4489863" y="1089728"/>
                </a:cubicBezTo>
                <a:cubicBezTo>
                  <a:pt x="4489863" y="1089728"/>
                  <a:pt x="4480522" y="1091724"/>
                  <a:pt x="4486191" y="1095398"/>
                </a:cubicBezTo>
                <a:cubicBezTo>
                  <a:pt x="4509546" y="1090407"/>
                  <a:pt x="4532222" y="1105100"/>
                  <a:pt x="4565917" y="1102785"/>
                </a:cubicBezTo>
                <a:cubicBezTo>
                  <a:pt x="4566915" y="1107457"/>
                  <a:pt x="4546235" y="1102107"/>
                  <a:pt x="4547233" y="1106777"/>
                </a:cubicBezTo>
                <a:cubicBezTo>
                  <a:pt x="4568911" y="1116797"/>
                  <a:pt x="4591269" y="1107139"/>
                  <a:pt x="4609273" y="1122827"/>
                </a:cubicBezTo>
                <a:cubicBezTo>
                  <a:pt x="4613943" y="1121829"/>
                  <a:pt x="4591269" y="1107139"/>
                  <a:pt x="4611947" y="1112488"/>
                </a:cubicBezTo>
                <a:cubicBezTo>
                  <a:pt x="4608275" y="1118157"/>
                  <a:pt x="4613943" y="1121829"/>
                  <a:pt x="4628956" y="1123507"/>
                </a:cubicBezTo>
                <a:cubicBezTo>
                  <a:pt x="4641971" y="1115841"/>
                  <a:pt x="4665645" y="1135205"/>
                  <a:pt x="4668320" y="1124867"/>
                </a:cubicBezTo>
                <a:cubicBezTo>
                  <a:pt x="4669317" y="1129537"/>
                  <a:pt x="4673989" y="1128538"/>
                  <a:pt x="4679657" y="1132212"/>
                </a:cubicBezTo>
                <a:cubicBezTo>
                  <a:pt x="4685326" y="1135884"/>
                  <a:pt x="4685326" y="1135884"/>
                  <a:pt x="4685326" y="1135884"/>
                </a:cubicBezTo>
                <a:cubicBezTo>
                  <a:pt x="4685326" y="1135884"/>
                  <a:pt x="4684329" y="1131215"/>
                  <a:pt x="4684329" y="1131215"/>
                </a:cubicBezTo>
                <a:cubicBezTo>
                  <a:pt x="4679657" y="1132212"/>
                  <a:pt x="4678659" y="1127541"/>
                  <a:pt x="4673989" y="1128538"/>
                </a:cubicBezTo>
                <a:cubicBezTo>
                  <a:pt x="4692673" y="1124547"/>
                  <a:pt x="4705007" y="1136564"/>
                  <a:pt x="4716346" y="1143910"/>
                </a:cubicBezTo>
                <a:cubicBezTo>
                  <a:pt x="4721019" y="1142913"/>
                  <a:pt x="4725689" y="1141914"/>
                  <a:pt x="4737026" y="1149261"/>
                </a:cubicBezTo>
                <a:cubicBezTo>
                  <a:pt x="4750041" y="1141596"/>
                  <a:pt x="4718024" y="1128899"/>
                  <a:pt x="4733035" y="1130577"/>
                </a:cubicBezTo>
                <a:cubicBezTo>
                  <a:pt x="4731029" y="1138331"/>
                  <a:pt x="4750041" y="1141596"/>
                  <a:pt x="4760516" y="1146683"/>
                </a:cubicBezTo>
                <a:lnTo>
                  <a:pt x="4763650" y="1149529"/>
                </a:lnTo>
                <a:lnTo>
                  <a:pt x="4761379" y="1148942"/>
                </a:lnTo>
                <a:cubicBezTo>
                  <a:pt x="4756709" y="1149940"/>
                  <a:pt x="4752037" y="1150938"/>
                  <a:pt x="4752037" y="1150938"/>
                </a:cubicBezTo>
                <a:cubicBezTo>
                  <a:pt x="4752037" y="1150938"/>
                  <a:pt x="4752037" y="1150938"/>
                  <a:pt x="4757706" y="1154611"/>
                </a:cubicBezTo>
                <a:cubicBezTo>
                  <a:pt x="4763375" y="1158284"/>
                  <a:pt x="4768046" y="1157286"/>
                  <a:pt x="4772717" y="1156287"/>
                </a:cubicBezTo>
                <a:cubicBezTo>
                  <a:pt x="4769043" y="1161957"/>
                  <a:pt x="4817750" y="1161320"/>
                  <a:pt x="4799066" y="1165310"/>
                </a:cubicBezTo>
                <a:cubicBezTo>
                  <a:pt x="4824417" y="1169663"/>
                  <a:pt x="4846096" y="1179685"/>
                  <a:pt x="4881786" y="1186712"/>
                </a:cubicBezTo>
                <a:cubicBezTo>
                  <a:pt x="4881786" y="1186712"/>
                  <a:pt x="4881786" y="1186712"/>
                  <a:pt x="4886457" y="1185713"/>
                </a:cubicBezTo>
                <a:cubicBezTo>
                  <a:pt x="4881786" y="1186712"/>
                  <a:pt x="4877116" y="1187711"/>
                  <a:pt x="4878113" y="1192381"/>
                </a:cubicBezTo>
                <a:cubicBezTo>
                  <a:pt x="4878113" y="1192381"/>
                  <a:pt x="4878113" y="1192381"/>
                  <a:pt x="4883782" y="1196053"/>
                </a:cubicBezTo>
                <a:cubicBezTo>
                  <a:pt x="4888453" y="1195056"/>
                  <a:pt x="4887456" y="1190385"/>
                  <a:pt x="4887456" y="1190385"/>
                </a:cubicBezTo>
                <a:cubicBezTo>
                  <a:pt x="4903465" y="1196734"/>
                  <a:pt x="4928816" y="1201086"/>
                  <a:pt x="4920471" y="1207753"/>
                </a:cubicBezTo>
                <a:cubicBezTo>
                  <a:pt x="4941151" y="1213102"/>
                  <a:pt x="4941151" y="1213102"/>
                  <a:pt x="4968499" y="1226796"/>
                </a:cubicBezTo>
                <a:cubicBezTo>
                  <a:pt x="4973169" y="1225799"/>
                  <a:pt x="4972171" y="1221128"/>
                  <a:pt x="4972171" y="1221128"/>
                </a:cubicBezTo>
                <a:cubicBezTo>
                  <a:pt x="4977839" y="1224802"/>
                  <a:pt x="4983509" y="1228474"/>
                  <a:pt x="4988181" y="1227477"/>
                </a:cubicBezTo>
                <a:cubicBezTo>
                  <a:pt x="5000517" y="1239493"/>
                  <a:pt x="5001514" y="1244166"/>
                  <a:pt x="4996843" y="1245163"/>
                </a:cubicBezTo>
                <a:cubicBezTo>
                  <a:pt x="5011854" y="1246838"/>
                  <a:pt x="5016525" y="1245841"/>
                  <a:pt x="5025867" y="1243845"/>
                </a:cubicBezTo>
                <a:cubicBezTo>
                  <a:pt x="5025867" y="1243845"/>
                  <a:pt x="5025867" y="1243845"/>
                  <a:pt x="5026865" y="1248516"/>
                </a:cubicBezTo>
                <a:cubicBezTo>
                  <a:pt x="5032534" y="1252190"/>
                  <a:pt x="5028861" y="1257857"/>
                  <a:pt x="5039201" y="1260533"/>
                </a:cubicBezTo>
                <a:cubicBezTo>
                  <a:pt x="5043871" y="1259535"/>
                  <a:pt x="5042874" y="1254865"/>
                  <a:pt x="5054211" y="1262212"/>
                </a:cubicBezTo>
                <a:cubicBezTo>
                  <a:pt x="5058883" y="1261213"/>
                  <a:pt x="5059881" y="1265883"/>
                  <a:pt x="5059881" y="1265883"/>
                </a:cubicBezTo>
                <a:cubicBezTo>
                  <a:pt x="5059881" y="1265883"/>
                  <a:pt x="5059881" y="1265883"/>
                  <a:pt x="5060879" y="1270554"/>
                </a:cubicBezTo>
                <a:cubicBezTo>
                  <a:pt x="5065550" y="1269557"/>
                  <a:pt x="5065550" y="1269557"/>
                  <a:pt x="5065550" y="1269557"/>
                </a:cubicBezTo>
                <a:cubicBezTo>
                  <a:pt x="5064551" y="1264886"/>
                  <a:pt x="5064551" y="1264886"/>
                  <a:pt x="5063554" y="1260214"/>
                </a:cubicBezTo>
                <a:cubicBezTo>
                  <a:pt x="5063554" y="1260214"/>
                  <a:pt x="5079564" y="1266562"/>
                  <a:pt x="5085233" y="1270236"/>
                </a:cubicBezTo>
                <a:cubicBezTo>
                  <a:pt x="5085233" y="1270236"/>
                  <a:pt x="5089903" y="1269239"/>
                  <a:pt x="5089903" y="1269239"/>
                </a:cubicBezTo>
                <a:cubicBezTo>
                  <a:pt x="5091899" y="1278580"/>
                  <a:pt x="5081559" y="1275906"/>
                  <a:pt x="5092897" y="1283251"/>
                </a:cubicBezTo>
                <a:cubicBezTo>
                  <a:pt x="5091899" y="1278580"/>
                  <a:pt x="5128587" y="1290278"/>
                  <a:pt x="5135255" y="1298622"/>
                </a:cubicBezTo>
                <a:cubicBezTo>
                  <a:pt x="5140923" y="1302296"/>
                  <a:pt x="5140923" y="1302296"/>
                  <a:pt x="5140923" y="1302296"/>
                </a:cubicBezTo>
                <a:cubicBezTo>
                  <a:pt x="5136253" y="1303293"/>
                  <a:pt x="5136253" y="1303293"/>
                  <a:pt x="5136253" y="1303293"/>
                </a:cubicBezTo>
                <a:cubicBezTo>
                  <a:pt x="5135255" y="1298622"/>
                  <a:pt x="5130583" y="1299621"/>
                  <a:pt x="5125914" y="1300618"/>
                </a:cubicBezTo>
                <a:cubicBezTo>
                  <a:pt x="5126911" y="1305290"/>
                  <a:pt x="5126911" y="1305290"/>
                  <a:pt x="5126911" y="1305290"/>
                </a:cubicBezTo>
                <a:cubicBezTo>
                  <a:pt x="5136253" y="1303293"/>
                  <a:pt x="5137251" y="1307965"/>
                  <a:pt x="5141923" y="1306967"/>
                </a:cubicBezTo>
                <a:cubicBezTo>
                  <a:pt x="5161603" y="1307645"/>
                  <a:pt x="5162603" y="1312318"/>
                  <a:pt x="5185279" y="1327010"/>
                </a:cubicBezTo>
                <a:cubicBezTo>
                  <a:pt x="5185279" y="1327010"/>
                  <a:pt x="5189949" y="1326012"/>
                  <a:pt x="5188951" y="1321339"/>
                </a:cubicBezTo>
                <a:cubicBezTo>
                  <a:pt x="5194619" y="1325013"/>
                  <a:pt x="5200289" y="1328686"/>
                  <a:pt x="5201287" y="1333357"/>
                </a:cubicBezTo>
                <a:cubicBezTo>
                  <a:pt x="5206956" y="1337031"/>
                  <a:pt x="5212625" y="1340704"/>
                  <a:pt x="5212625" y="1340704"/>
                </a:cubicBezTo>
                <a:cubicBezTo>
                  <a:pt x="5223963" y="1348049"/>
                  <a:pt x="5228635" y="1347052"/>
                  <a:pt x="5234302" y="1350726"/>
                </a:cubicBezTo>
                <a:cubicBezTo>
                  <a:pt x="5244643" y="1353399"/>
                  <a:pt x="5255981" y="1360746"/>
                  <a:pt x="5261651" y="1364420"/>
                </a:cubicBezTo>
                <a:cubicBezTo>
                  <a:pt x="5262648" y="1369090"/>
                  <a:pt x="5262648" y="1369090"/>
                  <a:pt x="5263645" y="1373761"/>
                </a:cubicBezTo>
                <a:cubicBezTo>
                  <a:pt x="5268317" y="1372762"/>
                  <a:pt x="5269315" y="1377435"/>
                  <a:pt x="5269315" y="1377435"/>
                </a:cubicBezTo>
                <a:cubicBezTo>
                  <a:pt x="5273985" y="1376438"/>
                  <a:pt x="5274984" y="1381108"/>
                  <a:pt x="5279654" y="1380109"/>
                </a:cubicBezTo>
                <a:cubicBezTo>
                  <a:pt x="5279654" y="1380109"/>
                  <a:pt x="5284325" y="1379110"/>
                  <a:pt x="5284325" y="1379110"/>
                </a:cubicBezTo>
                <a:cubicBezTo>
                  <a:pt x="5289994" y="1382784"/>
                  <a:pt x="5301333" y="1390131"/>
                  <a:pt x="5307001" y="1393803"/>
                </a:cubicBezTo>
                <a:cubicBezTo>
                  <a:pt x="5307001" y="1393803"/>
                  <a:pt x="5307001" y="1393803"/>
                  <a:pt x="5311671" y="1392806"/>
                </a:cubicBezTo>
                <a:cubicBezTo>
                  <a:pt x="5329677" y="1408496"/>
                  <a:pt x="5352353" y="1423188"/>
                  <a:pt x="5374031" y="1433210"/>
                </a:cubicBezTo>
                <a:cubicBezTo>
                  <a:pt x="5375029" y="1437880"/>
                  <a:pt x="5375029" y="1437880"/>
                  <a:pt x="5375029" y="1437880"/>
                </a:cubicBezTo>
                <a:cubicBezTo>
                  <a:pt x="5375029" y="1437880"/>
                  <a:pt x="5379701" y="1436882"/>
                  <a:pt x="5379701" y="1436882"/>
                </a:cubicBezTo>
                <a:cubicBezTo>
                  <a:pt x="5420381" y="1467264"/>
                  <a:pt x="5461061" y="1497648"/>
                  <a:pt x="5497073" y="1529027"/>
                </a:cubicBezTo>
                <a:cubicBezTo>
                  <a:pt x="5515075" y="1544718"/>
                  <a:pt x="5555757" y="1575100"/>
                  <a:pt x="5580429" y="1599135"/>
                </a:cubicBezTo>
                <a:cubicBezTo>
                  <a:pt x="5591766" y="1606481"/>
                  <a:pt x="5594761" y="1620493"/>
                  <a:pt x="5606099" y="1627840"/>
                </a:cubicBezTo>
                <a:cubicBezTo>
                  <a:pt x="5649774" y="1672234"/>
                  <a:pt x="5711133" y="1707968"/>
                  <a:pt x="5746464" y="1759030"/>
                </a:cubicBezTo>
                <a:cubicBezTo>
                  <a:pt x="5752134" y="1762703"/>
                  <a:pt x="5753131" y="1767373"/>
                  <a:pt x="5757803" y="1766375"/>
                </a:cubicBezTo>
                <a:cubicBezTo>
                  <a:pt x="5754129" y="1772044"/>
                  <a:pt x="5758800" y="1771047"/>
                  <a:pt x="5758800" y="1771047"/>
                </a:cubicBezTo>
                <a:cubicBezTo>
                  <a:pt x="5775807" y="1782066"/>
                  <a:pt x="5788142" y="1794084"/>
                  <a:pt x="5801477" y="1810771"/>
                </a:cubicBezTo>
                <a:cubicBezTo>
                  <a:pt x="5801477" y="1810771"/>
                  <a:pt x="5802475" y="1815443"/>
                  <a:pt x="5807146" y="1814445"/>
                </a:cubicBezTo>
                <a:cubicBezTo>
                  <a:pt x="5808143" y="1819115"/>
                  <a:pt x="5808143" y="1819115"/>
                  <a:pt x="5812815" y="1818118"/>
                </a:cubicBezTo>
                <a:cubicBezTo>
                  <a:pt x="5826149" y="1834806"/>
                  <a:pt x="5845151" y="1855167"/>
                  <a:pt x="5863156" y="1870858"/>
                </a:cubicBezTo>
                <a:cubicBezTo>
                  <a:pt x="5862157" y="1866187"/>
                  <a:pt x="5855491" y="1857843"/>
                  <a:pt x="5854493" y="1853171"/>
                </a:cubicBezTo>
                <a:cubicBezTo>
                  <a:pt x="5854493" y="1853171"/>
                  <a:pt x="5859165" y="1852174"/>
                  <a:pt x="5860163" y="1856844"/>
                </a:cubicBezTo>
                <a:cubicBezTo>
                  <a:pt x="5860163" y="1856844"/>
                  <a:pt x="5860163" y="1856844"/>
                  <a:pt x="5861160" y="1861515"/>
                </a:cubicBezTo>
                <a:cubicBezTo>
                  <a:pt x="5861160" y="1861515"/>
                  <a:pt x="5865831" y="1860516"/>
                  <a:pt x="5865831" y="1860516"/>
                </a:cubicBezTo>
                <a:cubicBezTo>
                  <a:pt x="5870503" y="1859519"/>
                  <a:pt x="5870503" y="1859519"/>
                  <a:pt x="5870503" y="1859519"/>
                </a:cubicBezTo>
                <a:cubicBezTo>
                  <a:pt x="5871500" y="1864190"/>
                  <a:pt x="5876171" y="1863192"/>
                  <a:pt x="5876171" y="1863192"/>
                </a:cubicBezTo>
                <a:cubicBezTo>
                  <a:pt x="5882839" y="1871536"/>
                  <a:pt x="5888507" y="1875210"/>
                  <a:pt x="5901841" y="1891897"/>
                </a:cubicBezTo>
                <a:cubicBezTo>
                  <a:pt x="5900842" y="1887226"/>
                  <a:pt x="5900842" y="1887226"/>
                  <a:pt x="5900842" y="1887226"/>
                </a:cubicBezTo>
                <a:cubicBezTo>
                  <a:pt x="5906513" y="1890900"/>
                  <a:pt x="5906513" y="1890900"/>
                  <a:pt x="5906513" y="1890900"/>
                </a:cubicBezTo>
                <a:cubicBezTo>
                  <a:pt x="5913179" y="1899244"/>
                  <a:pt x="5913179" y="1899244"/>
                  <a:pt x="5913179" y="1899244"/>
                </a:cubicBezTo>
                <a:cubicBezTo>
                  <a:pt x="5907509" y="1895570"/>
                  <a:pt x="5901841" y="1891897"/>
                  <a:pt x="5897169" y="1892896"/>
                </a:cubicBezTo>
                <a:cubicBezTo>
                  <a:pt x="5902839" y="1896569"/>
                  <a:pt x="5903837" y="1901240"/>
                  <a:pt x="5904836" y="1905910"/>
                </a:cubicBezTo>
                <a:cubicBezTo>
                  <a:pt x="5904836" y="1905910"/>
                  <a:pt x="5900163" y="1906909"/>
                  <a:pt x="5900163" y="1906909"/>
                </a:cubicBezTo>
                <a:cubicBezTo>
                  <a:pt x="5900163" y="1906909"/>
                  <a:pt x="5901161" y="1911580"/>
                  <a:pt x="5901161" y="1911580"/>
                </a:cubicBezTo>
                <a:cubicBezTo>
                  <a:pt x="5906831" y="1915253"/>
                  <a:pt x="5907828" y="1919924"/>
                  <a:pt x="5911502" y="1914255"/>
                </a:cubicBezTo>
                <a:cubicBezTo>
                  <a:pt x="5914495" y="1928268"/>
                  <a:pt x="5920164" y="1931940"/>
                  <a:pt x="5925833" y="1935614"/>
                </a:cubicBezTo>
                <a:cubicBezTo>
                  <a:pt x="5922160" y="1941283"/>
                  <a:pt x="5922160" y="1941283"/>
                  <a:pt x="5922160" y="1941283"/>
                </a:cubicBezTo>
                <a:cubicBezTo>
                  <a:pt x="5929825" y="1954298"/>
                  <a:pt x="5936493" y="1962642"/>
                  <a:pt x="5943160" y="1970986"/>
                </a:cubicBezTo>
                <a:cubicBezTo>
                  <a:pt x="5947829" y="1969987"/>
                  <a:pt x="5948829" y="1974660"/>
                  <a:pt x="5948829" y="1974660"/>
                </a:cubicBezTo>
                <a:cubicBezTo>
                  <a:pt x="5953499" y="1973661"/>
                  <a:pt x="5954497" y="1978332"/>
                  <a:pt x="5955496" y="1983002"/>
                </a:cubicBezTo>
                <a:cubicBezTo>
                  <a:pt x="5956493" y="1987674"/>
                  <a:pt x="5962162" y="1991348"/>
                  <a:pt x="5965836" y="1985679"/>
                </a:cubicBezTo>
                <a:cubicBezTo>
                  <a:pt x="5966833" y="1990349"/>
                  <a:pt x="5966833" y="1990349"/>
                  <a:pt x="5966833" y="1990349"/>
                </a:cubicBezTo>
                <a:cubicBezTo>
                  <a:pt x="5967831" y="1995019"/>
                  <a:pt x="5967831" y="1995019"/>
                  <a:pt x="5963161" y="1996018"/>
                </a:cubicBezTo>
                <a:cubicBezTo>
                  <a:pt x="5963161" y="1996018"/>
                  <a:pt x="5964158" y="2000689"/>
                  <a:pt x="5964158" y="2000689"/>
                </a:cubicBezTo>
                <a:cubicBezTo>
                  <a:pt x="5964158" y="2000689"/>
                  <a:pt x="5969828" y="2004363"/>
                  <a:pt x="5969828" y="2004363"/>
                </a:cubicBezTo>
                <a:cubicBezTo>
                  <a:pt x="5968829" y="1999692"/>
                  <a:pt x="5973499" y="1998694"/>
                  <a:pt x="5973499" y="1998694"/>
                </a:cubicBezTo>
                <a:cubicBezTo>
                  <a:pt x="5972502" y="1994021"/>
                  <a:pt x="5972502" y="1994021"/>
                  <a:pt x="5972502" y="1994021"/>
                </a:cubicBezTo>
                <a:cubicBezTo>
                  <a:pt x="5972502" y="1994021"/>
                  <a:pt x="5972502" y="1994021"/>
                  <a:pt x="5971505" y="1989352"/>
                </a:cubicBezTo>
                <a:cubicBezTo>
                  <a:pt x="5976176" y="1988354"/>
                  <a:pt x="5976176" y="1988354"/>
                  <a:pt x="5975177" y="1983681"/>
                </a:cubicBezTo>
                <a:cubicBezTo>
                  <a:pt x="5975177" y="1983681"/>
                  <a:pt x="5975177" y="1983681"/>
                  <a:pt x="5979849" y="1982684"/>
                </a:cubicBezTo>
                <a:cubicBezTo>
                  <a:pt x="5980846" y="1987355"/>
                  <a:pt x="5980846" y="1987355"/>
                  <a:pt x="5986515" y="1991028"/>
                </a:cubicBezTo>
                <a:cubicBezTo>
                  <a:pt x="5986515" y="1991028"/>
                  <a:pt x="5986515" y="1991028"/>
                  <a:pt x="5987513" y="1995699"/>
                </a:cubicBezTo>
                <a:cubicBezTo>
                  <a:pt x="5987513" y="1995699"/>
                  <a:pt x="5987513" y="1995699"/>
                  <a:pt x="5983841" y="2001368"/>
                </a:cubicBezTo>
                <a:cubicBezTo>
                  <a:pt x="5984838" y="2006039"/>
                  <a:pt x="5990507" y="2009712"/>
                  <a:pt x="5991504" y="2014383"/>
                </a:cubicBezTo>
                <a:cubicBezTo>
                  <a:pt x="5992501" y="2019056"/>
                  <a:pt x="5992501" y="2019056"/>
                  <a:pt x="5997174" y="2018057"/>
                </a:cubicBezTo>
                <a:lnTo>
                  <a:pt x="5996177" y="2013386"/>
                </a:lnTo>
                <a:cubicBezTo>
                  <a:pt x="5996177" y="2013386"/>
                  <a:pt x="5990507" y="2009712"/>
                  <a:pt x="5989508" y="2005041"/>
                </a:cubicBezTo>
                <a:cubicBezTo>
                  <a:pt x="5989508" y="2005041"/>
                  <a:pt x="5993182" y="1999373"/>
                  <a:pt x="5993182" y="1999373"/>
                </a:cubicBezTo>
                <a:cubicBezTo>
                  <a:pt x="5994181" y="2004043"/>
                  <a:pt x="5999848" y="2007716"/>
                  <a:pt x="5999848" y="2007716"/>
                </a:cubicBezTo>
                <a:cubicBezTo>
                  <a:pt x="6008513" y="2025402"/>
                  <a:pt x="6016176" y="2038418"/>
                  <a:pt x="6017173" y="2043089"/>
                </a:cubicBezTo>
                <a:cubicBezTo>
                  <a:pt x="6017173" y="2043089"/>
                  <a:pt x="6012503" y="2044088"/>
                  <a:pt x="6013501" y="2048758"/>
                </a:cubicBezTo>
                <a:cubicBezTo>
                  <a:pt x="6013501" y="2048758"/>
                  <a:pt x="6007833" y="2045085"/>
                  <a:pt x="6002163" y="2041411"/>
                </a:cubicBezTo>
                <a:cubicBezTo>
                  <a:pt x="6012822" y="2068440"/>
                  <a:pt x="6024159" y="2075787"/>
                  <a:pt x="6039490" y="2101816"/>
                </a:cubicBezTo>
                <a:cubicBezTo>
                  <a:pt x="6042164" y="2091476"/>
                  <a:pt x="6058493" y="2122176"/>
                  <a:pt x="6064163" y="2125850"/>
                </a:cubicBezTo>
                <a:cubicBezTo>
                  <a:pt x="6068833" y="2124853"/>
                  <a:pt x="6068833" y="2124853"/>
                  <a:pt x="6068833" y="2124853"/>
                </a:cubicBezTo>
                <a:cubicBezTo>
                  <a:pt x="6069829" y="2129524"/>
                  <a:pt x="6075499" y="2133197"/>
                  <a:pt x="6076497" y="2137868"/>
                </a:cubicBezTo>
                <a:cubicBezTo>
                  <a:pt x="6080171" y="2132198"/>
                  <a:pt x="6080171" y="2132198"/>
                  <a:pt x="6080171" y="2132198"/>
                </a:cubicBezTo>
                <a:cubicBezTo>
                  <a:pt x="6080171" y="2132198"/>
                  <a:pt x="6081170" y="2136869"/>
                  <a:pt x="6081170" y="2136869"/>
                </a:cubicBezTo>
                <a:cubicBezTo>
                  <a:pt x="6087836" y="2145213"/>
                  <a:pt x="6088835" y="2149885"/>
                  <a:pt x="6095499" y="2158228"/>
                </a:cubicBezTo>
                <a:cubicBezTo>
                  <a:pt x="6101169" y="2161901"/>
                  <a:pt x="6102167" y="2166572"/>
                  <a:pt x="6108834" y="2174916"/>
                </a:cubicBezTo>
                <a:cubicBezTo>
                  <a:pt x="6105160" y="2180586"/>
                  <a:pt x="6117496" y="2192603"/>
                  <a:pt x="6118495" y="2197274"/>
                </a:cubicBezTo>
                <a:cubicBezTo>
                  <a:pt x="6128835" y="2199948"/>
                  <a:pt x="6128835" y="2199948"/>
                  <a:pt x="6133507" y="2198951"/>
                </a:cubicBezTo>
                <a:cubicBezTo>
                  <a:pt x="6134505" y="2203622"/>
                  <a:pt x="6135503" y="2208293"/>
                  <a:pt x="6135503" y="2208293"/>
                </a:cubicBezTo>
                <a:cubicBezTo>
                  <a:pt x="6130831" y="2209292"/>
                  <a:pt x="6129833" y="2204621"/>
                  <a:pt x="6130831" y="2209292"/>
                </a:cubicBezTo>
                <a:cubicBezTo>
                  <a:pt x="6130831" y="2209292"/>
                  <a:pt x="6130831" y="2209292"/>
                  <a:pt x="6131829" y="2213962"/>
                </a:cubicBezTo>
                <a:cubicBezTo>
                  <a:pt x="6132827" y="2218633"/>
                  <a:pt x="6132827" y="2218633"/>
                  <a:pt x="6132827" y="2218633"/>
                </a:cubicBezTo>
                <a:cubicBezTo>
                  <a:pt x="6132827" y="2218633"/>
                  <a:pt x="6129153" y="2224302"/>
                  <a:pt x="6124482" y="2225300"/>
                </a:cubicBezTo>
                <a:cubicBezTo>
                  <a:pt x="6145800" y="2279356"/>
                  <a:pt x="6185123" y="2349102"/>
                  <a:pt x="6219136" y="2371140"/>
                </a:cubicBezTo>
                <a:cubicBezTo>
                  <a:pt x="6217458" y="2386151"/>
                  <a:pt x="6223127" y="2389824"/>
                  <a:pt x="6233467" y="2392499"/>
                </a:cubicBezTo>
                <a:cubicBezTo>
                  <a:pt x="6235463" y="2401842"/>
                  <a:pt x="6237459" y="2411185"/>
                  <a:pt x="6244127" y="2419528"/>
                </a:cubicBezTo>
                <a:cubicBezTo>
                  <a:pt x="6250794" y="2427871"/>
                  <a:pt x="6253787" y="2441885"/>
                  <a:pt x="6260453" y="2450229"/>
                </a:cubicBezTo>
                <a:cubicBezTo>
                  <a:pt x="6268118" y="2463244"/>
                  <a:pt x="6272110" y="2481928"/>
                  <a:pt x="6279775" y="2494943"/>
                </a:cubicBezTo>
                <a:cubicBezTo>
                  <a:pt x="6281771" y="2504286"/>
                  <a:pt x="6289436" y="2517300"/>
                  <a:pt x="6295105" y="2520973"/>
                </a:cubicBezTo>
                <a:cubicBezTo>
                  <a:pt x="6296102" y="2525645"/>
                  <a:pt x="6296102" y="2525645"/>
                  <a:pt x="6296102" y="2525645"/>
                </a:cubicBezTo>
                <a:cubicBezTo>
                  <a:pt x="6303768" y="2538660"/>
                  <a:pt x="6305764" y="2548001"/>
                  <a:pt x="6313429" y="2561017"/>
                </a:cubicBezTo>
                <a:cubicBezTo>
                  <a:pt x="6315423" y="2570357"/>
                  <a:pt x="6322091" y="2578701"/>
                  <a:pt x="6329756" y="2591718"/>
                </a:cubicBezTo>
                <a:cubicBezTo>
                  <a:pt x="6328079" y="2606728"/>
                  <a:pt x="6332749" y="2605731"/>
                  <a:pt x="6337421" y="2604732"/>
                </a:cubicBezTo>
                <a:cubicBezTo>
                  <a:pt x="6338419" y="2609405"/>
                  <a:pt x="6338419" y="2609405"/>
                  <a:pt x="6338419" y="2609405"/>
                </a:cubicBezTo>
                <a:cubicBezTo>
                  <a:pt x="6339417" y="2614074"/>
                  <a:pt x="6335743" y="2619745"/>
                  <a:pt x="6336741" y="2624414"/>
                </a:cubicBezTo>
                <a:cubicBezTo>
                  <a:pt x="6336741" y="2624414"/>
                  <a:pt x="6337739" y="2629085"/>
                  <a:pt x="6337739" y="2629085"/>
                </a:cubicBezTo>
                <a:cubicBezTo>
                  <a:pt x="6338737" y="2633756"/>
                  <a:pt x="6338737" y="2633756"/>
                  <a:pt x="6344407" y="2637430"/>
                </a:cubicBezTo>
                <a:cubicBezTo>
                  <a:pt x="6344407" y="2637430"/>
                  <a:pt x="6344407" y="2637430"/>
                  <a:pt x="6349077" y="2636431"/>
                </a:cubicBezTo>
                <a:cubicBezTo>
                  <a:pt x="6354067" y="2659786"/>
                  <a:pt x="6354067" y="2659786"/>
                  <a:pt x="6354067" y="2659786"/>
                </a:cubicBezTo>
                <a:cubicBezTo>
                  <a:pt x="6354067" y="2659786"/>
                  <a:pt x="6359736" y="2663460"/>
                  <a:pt x="6359736" y="2663460"/>
                </a:cubicBezTo>
                <a:cubicBezTo>
                  <a:pt x="6359736" y="2663460"/>
                  <a:pt x="6358737" y="2658789"/>
                  <a:pt x="6358737" y="2658789"/>
                </a:cubicBezTo>
                <a:cubicBezTo>
                  <a:pt x="6349077" y="2636431"/>
                  <a:pt x="6349077" y="2636431"/>
                  <a:pt x="6349077" y="2636431"/>
                </a:cubicBezTo>
                <a:cubicBezTo>
                  <a:pt x="6349077" y="2636431"/>
                  <a:pt x="6353747" y="2635434"/>
                  <a:pt x="6353747" y="2635434"/>
                </a:cubicBezTo>
                <a:cubicBezTo>
                  <a:pt x="6354747" y="2640106"/>
                  <a:pt x="6355743" y="2644776"/>
                  <a:pt x="6355743" y="2644776"/>
                </a:cubicBezTo>
                <a:cubicBezTo>
                  <a:pt x="6356743" y="2649446"/>
                  <a:pt x="6356743" y="2649446"/>
                  <a:pt x="6356743" y="2649446"/>
                </a:cubicBezTo>
                <a:cubicBezTo>
                  <a:pt x="6357740" y="2654118"/>
                  <a:pt x="6363410" y="2657790"/>
                  <a:pt x="6364407" y="2662461"/>
                </a:cubicBezTo>
                <a:cubicBezTo>
                  <a:pt x="6365405" y="2667133"/>
                  <a:pt x="6366403" y="2671804"/>
                  <a:pt x="6368398" y="2681145"/>
                </a:cubicBezTo>
                <a:cubicBezTo>
                  <a:pt x="6367401" y="2676475"/>
                  <a:pt x="6362729" y="2677473"/>
                  <a:pt x="6362729" y="2677473"/>
                </a:cubicBezTo>
                <a:cubicBezTo>
                  <a:pt x="6362729" y="2677473"/>
                  <a:pt x="6363728" y="2682144"/>
                  <a:pt x="6364725" y="2686814"/>
                </a:cubicBezTo>
                <a:cubicBezTo>
                  <a:pt x="6364725" y="2686814"/>
                  <a:pt x="6365723" y="2691487"/>
                  <a:pt x="6366721" y="2696158"/>
                </a:cubicBezTo>
                <a:cubicBezTo>
                  <a:pt x="6372391" y="2699831"/>
                  <a:pt x="6373387" y="2704500"/>
                  <a:pt x="6374387" y="2709173"/>
                </a:cubicBezTo>
                <a:cubicBezTo>
                  <a:pt x="6375383" y="2713843"/>
                  <a:pt x="6375383" y="2713843"/>
                  <a:pt x="6376383" y="2718513"/>
                </a:cubicBezTo>
                <a:cubicBezTo>
                  <a:pt x="6382051" y="2722187"/>
                  <a:pt x="6382051" y="2722187"/>
                  <a:pt x="6382051" y="2722187"/>
                </a:cubicBezTo>
                <a:cubicBezTo>
                  <a:pt x="6383050" y="2726858"/>
                  <a:pt x="6388719" y="2730531"/>
                  <a:pt x="6389717" y="2735202"/>
                </a:cubicBezTo>
                <a:cubicBezTo>
                  <a:pt x="6390715" y="2739873"/>
                  <a:pt x="6391713" y="2744545"/>
                  <a:pt x="6391713" y="2744545"/>
                </a:cubicBezTo>
                <a:cubicBezTo>
                  <a:pt x="6387041" y="2745542"/>
                  <a:pt x="6387041" y="2745542"/>
                  <a:pt x="6388038" y="2750212"/>
                </a:cubicBezTo>
                <a:cubicBezTo>
                  <a:pt x="6388038" y="2750212"/>
                  <a:pt x="6389037" y="2754885"/>
                  <a:pt x="6393708" y="2753886"/>
                </a:cubicBezTo>
                <a:cubicBezTo>
                  <a:pt x="6393708" y="2753886"/>
                  <a:pt x="6394705" y="2758557"/>
                  <a:pt x="6391033" y="2764226"/>
                </a:cubicBezTo>
                <a:cubicBezTo>
                  <a:pt x="6397701" y="2772572"/>
                  <a:pt x="6397701" y="2772572"/>
                  <a:pt x="6397701" y="2772572"/>
                </a:cubicBezTo>
                <a:cubicBezTo>
                  <a:pt x="6397701" y="2772572"/>
                  <a:pt x="6396703" y="2767899"/>
                  <a:pt x="6401373" y="2766901"/>
                </a:cubicBezTo>
                <a:cubicBezTo>
                  <a:pt x="6402371" y="2771573"/>
                  <a:pt x="6403369" y="2776243"/>
                  <a:pt x="6404367" y="2780914"/>
                </a:cubicBezTo>
                <a:cubicBezTo>
                  <a:pt x="6405364" y="2785585"/>
                  <a:pt x="6405364" y="2785585"/>
                  <a:pt x="6405364" y="2785585"/>
                </a:cubicBezTo>
                <a:cubicBezTo>
                  <a:pt x="6412031" y="2793929"/>
                  <a:pt x="6413030" y="2798601"/>
                  <a:pt x="6414027" y="2803272"/>
                </a:cubicBezTo>
                <a:cubicBezTo>
                  <a:pt x="6416023" y="2812613"/>
                  <a:pt x="6417022" y="2817284"/>
                  <a:pt x="6418019" y="2821954"/>
                </a:cubicBezTo>
                <a:cubicBezTo>
                  <a:pt x="6419017" y="2826627"/>
                  <a:pt x="6419017" y="2826627"/>
                  <a:pt x="6421013" y="2835968"/>
                </a:cubicBezTo>
                <a:cubicBezTo>
                  <a:pt x="6417341" y="2841638"/>
                  <a:pt x="6425005" y="2854652"/>
                  <a:pt x="6427000" y="2863995"/>
                </a:cubicBezTo>
                <a:cubicBezTo>
                  <a:pt x="6427999" y="2868666"/>
                  <a:pt x="6424325" y="2874335"/>
                  <a:pt x="6425323" y="2879006"/>
                </a:cubicBezTo>
                <a:cubicBezTo>
                  <a:pt x="6425323" y="2879006"/>
                  <a:pt x="6419655" y="2875334"/>
                  <a:pt x="6419655" y="2875334"/>
                </a:cubicBezTo>
                <a:cubicBezTo>
                  <a:pt x="6418657" y="2870661"/>
                  <a:pt x="6413985" y="2871660"/>
                  <a:pt x="6413985" y="2871660"/>
                </a:cubicBezTo>
                <a:cubicBezTo>
                  <a:pt x="6413985" y="2871660"/>
                  <a:pt x="6413985" y="2871660"/>
                  <a:pt x="6414983" y="2876331"/>
                </a:cubicBezTo>
                <a:cubicBezTo>
                  <a:pt x="6415981" y="2881001"/>
                  <a:pt x="6415981" y="2881001"/>
                  <a:pt x="6415981" y="2881001"/>
                </a:cubicBezTo>
                <a:cubicBezTo>
                  <a:pt x="6416979" y="2885672"/>
                  <a:pt x="6416979" y="2885672"/>
                  <a:pt x="6421651" y="2884673"/>
                </a:cubicBezTo>
                <a:cubicBezTo>
                  <a:pt x="6421651" y="2884673"/>
                  <a:pt x="6427318" y="2888347"/>
                  <a:pt x="6427318" y="2888347"/>
                </a:cubicBezTo>
                <a:cubicBezTo>
                  <a:pt x="6431991" y="2887350"/>
                  <a:pt x="6431991" y="2887350"/>
                  <a:pt x="6431991" y="2887350"/>
                </a:cubicBezTo>
                <a:cubicBezTo>
                  <a:pt x="6430992" y="2882679"/>
                  <a:pt x="6433667" y="2872339"/>
                  <a:pt x="6431673" y="2862996"/>
                </a:cubicBezTo>
                <a:cubicBezTo>
                  <a:pt x="6430674" y="2858326"/>
                  <a:pt x="6430674" y="2858326"/>
                  <a:pt x="6430674" y="2858326"/>
                </a:cubicBezTo>
                <a:cubicBezTo>
                  <a:pt x="6429677" y="2853655"/>
                  <a:pt x="6423009" y="2845311"/>
                  <a:pt x="6426681" y="2839641"/>
                </a:cubicBezTo>
                <a:cubicBezTo>
                  <a:pt x="6425685" y="2834970"/>
                  <a:pt x="6425685" y="2834970"/>
                  <a:pt x="6424687" y="2830300"/>
                </a:cubicBezTo>
                <a:cubicBezTo>
                  <a:pt x="6430354" y="2833972"/>
                  <a:pt x="6432351" y="2843315"/>
                  <a:pt x="6434347" y="2852656"/>
                </a:cubicBezTo>
                <a:cubicBezTo>
                  <a:pt x="6436343" y="2861998"/>
                  <a:pt x="6438339" y="2871341"/>
                  <a:pt x="6445005" y="2879684"/>
                </a:cubicBezTo>
                <a:cubicBezTo>
                  <a:pt x="6446003" y="2884355"/>
                  <a:pt x="6441332" y="2885354"/>
                  <a:pt x="6442331" y="2890025"/>
                </a:cubicBezTo>
                <a:cubicBezTo>
                  <a:pt x="6444325" y="2899366"/>
                  <a:pt x="6444325" y="2899366"/>
                  <a:pt x="6444325" y="2899366"/>
                </a:cubicBezTo>
                <a:cubicBezTo>
                  <a:pt x="6446321" y="2908707"/>
                  <a:pt x="6447319" y="2913380"/>
                  <a:pt x="6449315" y="2922721"/>
                </a:cubicBezTo>
                <a:cubicBezTo>
                  <a:pt x="6443648" y="2919049"/>
                  <a:pt x="6443648" y="2919049"/>
                  <a:pt x="6443648" y="2919049"/>
                </a:cubicBezTo>
                <a:cubicBezTo>
                  <a:pt x="6442649" y="2914378"/>
                  <a:pt x="6442649" y="2914378"/>
                  <a:pt x="6438977" y="2920046"/>
                </a:cubicBezTo>
                <a:cubicBezTo>
                  <a:pt x="6438977" y="2920046"/>
                  <a:pt x="6438977" y="2920046"/>
                  <a:pt x="6439974" y="2924716"/>
                </a:cubicBezTo>
                <a:cubicBezTo>
                  <a:pt x="6439974" y="2924716"/>
                  <a:pt x="6440971" y="2929388"/>
                  <a:pt x="6440971" y="2929388"/>
                </a:cubicBezTo>
                <a:cubicBezTo>
                  <a:pt x="6446641" y="2933062"/>
                  <a:pt x="6446641" y="2933062"/>
                  <a:pt x="6446641" y="2933062"/>
                </a:cubicBezTo>
                <a:cubicBezTo>
                  <a:pt x="6446641" y="2933062"/>
                  <a:pt x="6447639" y="2937733"/>
                  <a:pt x="6447639" y="2937733"/>
                </a:cubicBezTo>
                <a:cubicBezTo>
                  <a:pt x="6447639" y="2937733"/>
                  <a:pt x="6447639" y="2937733"/>
                  <a:pt x="6448636" y="2942403"/>
                </a:cubicBezTo>
                <a:cubicBezTo>
                  <a:pt x="6449635" y="2947074"/>
                  <a:pt x="6456301" y="2955418"/>
                  <a:pt x="6457299" y="2960089"/>
                </a:cubicBezTo>
                <a:cubicBezTo>
                  <a:pt x="6460291" y="2974102"/>
                  <a:pt x="6465961" y="2977776"/>
                  <a:pt x="6462289" y="2983446"/>
                </a:cubicBezTo>
                <a:cubicBezTo>
                  <a:pt x="6457619" y="2984443"/>
                  <a:pt x="6458617" y="2989113"/>
                  <a:pt x="6458617" y="2989113"/>
                </a:cubicBezTo>
                <a:cubicBezTo>
                  <a:pt x="6458617" y="2989113"/>
                  <a:pt x="6453944" y="2990112"/>
                  <a:pt x="6452947" y="2985442"/>
                </a:cubicBezTo>
                <a:cubicBezTo>
                  <a:pt x="6448955" y="2966757"/>
                  <a:pt x="6444963" y="2948073"/>
                  <a:pt x="6436301" y="2930386"/>
                </a:cubicBezTo>
                <a:cubicBezTo>
                  <a:pt x="6435303" y="2925715"/>
                  <a:pt x="6435303" y="2925715"/>
                  <a:pt x="6435303" y="2925715"/>
                </a:cubicBezTo>
                <a:cubicBezTo>
                  <a:pt x="6430633" y="2926712"/>
                  <a:pt x="6431630" y="2931384"/>
                  <a:pt x="6431630" y="2931384"/>
                </a:cubicBezTo>
                <a:cubicBezTo>
                  <a:pt x="6440292" y="2949070"/>
                  <a:pt x="6444285" y="2967756"/>
                  <a:pt x="6448275" y="2986439"/>
                </a:cubicBezTo>
                <a:cubicBezTo>
                  <a:pt x="6443605" y="2987437"/>
                  <a:pt x="6438934" y="2988434"/>
                  <a:pt x="6436259" y="2998774"/>
                </a:cubicBezTo>
                <a:cubicBezTo>
                  <a:pt x="6441249" y="3022129"/>
                  <a:pt x="6432905" y="3028797"/>
                  <a:pt x="6437895" y="3052152"/>
                </a:cubicBezTo>
                <a:cubicBezTo>
                  <a:pt x="6427511" y="3117864"/>
                  <a:pt x="6434137" y="3194596"/>
                  <a:pt x="6440443" y="3246975"/>
                </a:cubicBezTo>
                <a:cubicBezTo>
                  <a:pt x="6441441" y="3251646"/>
                  <a:pt x="6441441" y="3251646"/>
                  <a:pt x="6441441" y="3251646"/>
                </a:cubicBezTo>
                <a:cubicBezTo>
                  <a:pt x="6441441" y="3251646"/>
                  <a:pt x="6442439" y="3256318"/>
                  <a:pt x="6442439" y="3256318"/>
                </a:cubicBezTo>
                <a:cubicBezTo>
                  <a:pt x="6447110" y="3255320"/>
                  <a:pt x="6447110" y="3255320"/>
                  <a:pt x="6446113" y="3250648"/>
                </a:cubicBezTo>
                <a:cubicBezTo>
                  <a:pt x="6439805" y="3198269"/>
                  <a:pt x="6434179" y="3126208"/>
                  <a:pt x="6444561" y="3060496"/>
                </a:cubicBezTo>
                <a:cubicBezTo>
                  <a:pt x="6445559" y="3065167"/>
                  <a:pt x="6445559" y="3065167"/>
                  <a:pt x="6445559" y="3065167"/>
                </a:cubicBezTo>
                <a:cubicBezTo>
                  <a:pt x="6450230" y="3064168"/>
                  <a:pt x="6449231" y="3059497"/>
                  <a:pt x="6452905" y="3053828"/>
                </a:cubicBezTo>
                <a:cubicBezTo>
                  <a:pt x="6453903" y="3058500"/>
                  <a:pt x="6454901" y="3063171"/>
                  <a:pt x="6455899" y="3067841"/>
                </a:cubicBezTo>
                <a:cubicBezTo>
                  <a:pt x="6455899" y="3067841"/>
                  <a:pt x="6455899" y="3067841"/>
                  <a:pt x="6451227" y="3068840"/>
                </a:cubicBezTo>
                <a:cubicBezTo>
                  <a:pt x="6452226" y="3073511"/>
                  <a:pt x="6452226" y="3073511"/>
                  <a:pt x="6452226" y="3073511"/>
                </a:cubicBezTo>
                <a:cubicBezTo>
                  <a:pt x="6452226" y="3073511"/>
                  <a:pt x="6452226" y="3073511"/>
                  <a:pt x="6453223" y="3078181"/>
                </a:cubicBezTo>
                <a:cubicBezTo>
                  <a:pt x="6453223" y="3078181"/>
                  <a:pt x="6457895" y="3077183"/>
                  <a:pt x="6457895" y="3077183"/>
                </a:cubicBezTo>
                <a:cubicBezTo>
                  <a:pt x="6455219" y="3087523"/>
                  <a:pt x="6457215" y="3096865"/>
                  <a:pt x="6458213" y="3101536"/>
                </a:cubicBezTo>
                <a:cubicBezTo>
                  <a:pt x="6459212" y="3106207"/>
                  <a:pt x="6459212" y="3106207"/>
                  <a:pt x="6460209" y="3110879"/>
                </a:cubicBezTo>
                <a:cubicBezTo>
                  <a:pt x="6461207" y="3115548"/>
                  <a:pt x="6462205" y="3120221"/>
                  <a:pt x="6463203" y="3124891"/>
                </a:cubicBezTo>
                <a:lnTo>
                  <a:pt x="6464201" y="3129561"/>
                </a:lnTo>
                <a:cubicBezTo>
                  <a:pt x="6459529" y="3130560"/>
                  <a:pt x="6459529" y="3130560"/>
                  <a:pt x="6460527" y="3135231"/>
                </a:cubicBezTo>
                <a:cubicBezTo>
                  <a:pt x="6461525" y="3139903"/>
                  <a:pt x="6461525" y="3139903"/>
                  <a:pt x="6462523" y="3144574"/>
                </a:cubicBezTo>
                <a:cubicBezTo>
                  <a:pt x="6462523" y="3144574"/>
                  <a:pt x="6468192" y="3148246"/>
                  <a:pt x="6468192" y="3148246"/>
                </a:cubicBezTo>
                <a:cubicBezTo>
                  <a:pt x="6480848" y="3184617"/>
                  <a:pt x="6488831" y="3221985"/>
                  <a:pt x="6492143" y="3260351"/>
                </a:cubicBezTo>
                <a:cubicBezTo>
                  <a:pt x="6491463" y="3280033"/>
                  <a:pt x="6494457" y="3294046"/>
                  <a:pt x="6493779" y="3313728"/>
                </a:cubicBezTo>
                <a:cubicBezTo>
                  <a:pt x="6493779" y="3313728"/>
                  <a:pt x="6498449" y="3312730"/>
                  <a:pt x="6497452" y="3308059"/>
                </a:cubicBezTo>
                <a:cubicBezTo>
                  <a:pt x="6499767" y="3341754"/>
                  <a:pt x="6505755" y="3369779"/>
                  <a:pt x="6508067" y="3403475"/>
                </a:cubicBezTo>
                <a:cubicBezTo>
                  <a:pt x="6509067" y="3408146"/>
                  <a:pt x="6509067" y="3408146"/>
                  <a:pt x="6513737" y="3407147"/>
                </a:cubicBezTo>
                <a:cubicBezTo>
                  <a:pt x="6515734" y="3416490"/>
                  <a:pt x="6512060" y="3422158"/>
                  <a:pt x="6514056" y="3431501"/>
                </a:cubicBezTo>
                <a:cubicBezTo>
                  <a:pt x="6513059" y="3426829"/>
                  <a:pt x="6509385" y="3432498"/>
                  <a:pt x="6510383" y="3437170"/>
                </a:cubicBezTo>
                <a:cubicBezTo>
                  <a:pt x="6515053" y="3436171"/>
                  <a:pt x="6516052" y="3440844"/>
                  <a:pt x="6517049" y="3445513"/>
                </a:cubicBezTo>
                <a:cubicBezTo>
                  <a:pt x="6519045" y="3454856"/>
                  <a:pt x="6516370" y="3465195"/>
                  <a:pt x="6518367" y="3474537"/>
                </a:cubicBezTo>
                <a:cubicBezTo>
                  <a:pt x="6518367" y="3474537"/>
                  <a:pt x="6519363" y="3479209"/>
                  <a:pt x="6519363" y="3479209"/>
                </a:cubicBezTo>
                <a:cubicBezTo>
                  <a:pt x="6520363" y="3483879"/>
                  <a:pt x="6516690" y="3489549"/>
                  <a:pt x="6517687" y="3494220"/>
                </a:cubicBezTo>
                <a:cubicBezTo>
                  <a:pt x="6518686" y="3498890"/>
                  <a:pt x="6518686" y="3498890"/>
                  <a:pt x="6518686" y="3498890"/>
                </a:cubicBezTo>
                <a:cubicBezTo>
                  <a:pt x="6518686" y="3498890"/>
                  <a:pt x="6519683" y="3503561"/>
                  <a:pt x="6519683" y="3503561"/>
                </a:cubicBezTo>
                <a:cubicBezTo>
                  <a:pt x="6521001" y="3532585"/>
                  <a:pt x="6517645" y="3562608"/>
                  <a:pt x="6517965" y="3586960"/>
                </a:cubicBezTo>
                <a:cubicBezTo>
                  <a:pt x="6517965" y="3586960"/>
                  <a:pt x="6524631" y="3595304"/>
                  <a:pt x="6520957" y="3600973"/>
                </a:cubicBezTo>
                <a:cubicBezTo>
                  <a:pt x="6520957" y="3600973"/>
                  <a:pt x="6521957" y="3605644"/>
                  <a:pt x="6521957" y="3605644"/>
                </a:cubicBezTo>
                <a:cubicBezTo>
                  <a:pt x="6520957" y="3600973"/>
                  <a:pt x="6523951" y="3614987"/>
                  <a:pt x="6525949" y="3624328"/>
                </a:cubicBezTo>
                <a:cubicBezTo>
                  <a:pt x="6525268" y="3644009"/>
                  <a:pt x="6519918" y="3664689"/>
                  <a:pt x="6518240" y="3679702"/>
                </a:cubicBezTo>
                <a:cubicBezTo>
                  <a:pt x="6511849" y="3764098"/>
                  <a:pt x="6506139" y="3828814"/>
                  <a:pt x="6499429" y="3888856"/>
                </a:cubicBezTo>
                <a:cubicBezTo>
                  <a:pt x="6500429" y="3893529"/>
                  <a:pt x="6500429" y="3893529"/>
                  <a:pt x="6500429" y="3893529"/>
                </a:cubicBezTo>
                <a:cubicBezTo>
                  <a:pt x="6496756" y="3899196"/>
                  <a:pt x="6496756" y="3899196"/>
                  <a:pt x="6496756" y="3899196"/>
                </a:cubicBezTo>
                <a:cubicBezTo>
                  <a:pt x="6489569" y="3922712"/>
                  <a:pt x="6482133" y="3945057"/>
                  <a:pt x="6474945" y="3968571"/>
                </a:cubicBezTo>
                <a:lnTo>
                  <a:pt x="6456817" y="4036740"/>
                </a:lnTo>
                <a:lnTo>
                  <a:pt x="6457067" y="4035275"/>
                </a:lnTo>
                <a:cubicBezTo>
                  <a:pt x="6457936" y="4028984"/>
                  <a:pt x="6458565" y="4023355"/>
                  <a:pt x="6458983" y="4019603"/>
                </a:cubicBezTo>
                <a:cubicBezTo>
                  <a:pt x="6457986" y="4014933"/>
                  <a:pt x="6461660" y="4009263"/>
                  <a:pt x="6461660" y="4009263"/>
                </a:cubicBezTo>
                <a:cubicBezTo>
                  <a:pt x="6467009" y="3988583"/>
                  <a:pt x="6474355" y="3977246"/>
                  <a:pt x="6468688" y="3973572"/>
                </a:cubicBezTo>
                <a:cubicBezTo>
                  <a:pt x="6477032" y="3966905"/>
                  <a:pt x="6480385" y="3936883"/>
                  <a:pt x="6480067" y="3912531"/>
                </a:cubicBezTo>
                <a:cubicBezTo>
                  <a:pt x="6479069" y="3907860"/>
                  <a:pt x="6478071" y="3903188"/>
                  <a:pt x="6482742" y="3902189"/>
                </a:cubicBezTo>
                <a:cubicBezTo>
                  <a:pt x="6482742" y="3902189"/>
                  <a:pt x="6486415" y="3896521"/>
                  <a:pt x="6485417" y="3891851"/>
                </a:cubicBezTo>
                <a:cubicBezTo>
                  <a:pt x="6484419" y="3887180"/>
                  <a:pt x="6483421" y="3882508"/>
                  <a:pt x="6479749" y="3888177"/>
                </a:cubicBezTo>
                <a:cubicBezTo>
                  <a:pt x="6475079" y="3889174"/>
                  <a:pt x="6472402" y="3899516"/>
                  <a:pt x="6469727" y="3909856"/>
                </a:cubicBezTo>
                <a:cubicBezTo>
                  <a:pt x="6470724" y="3914527"/>
                  <a:pt x="6470724" y="3914527"/>
                  <a:pt x="6470724" y="3914527"/>
                </a:cubicBezTo>
                <a:cubicBezTo>
                  <a:pt x="6460023" y="3955887"/>
                  <a:pt x="6453675" y="3971894"/>
                  <a:pt x="6451319" y="4006588"/>
                </a:cubicBezTo>
                <a:cubicBezTo>
                  <a:pt x="6451319" y="4006588"/>
                  <a:pt x="6452317" y="4011259"/>
                  <a:pt x="6452317" y="4011259"/>
                </a:cubicBezTo>
                <a:cubicBezTo>
                  <a:pt x="6448645" y="4016928"/>
                  <a:pt x="6442295" y="4032937"/>
                  <a:pt x="6438623" y="4038605"/>
                </a:cubicBezTo>
                <a:cubicBezTo>
                  <a:pt x="6445290" y="4046951"/>
                  <a:pt x="6435947" y="4048945"/>
                  <a:pt x="6430597" y="4069625"/>
                </a:cubicBezTo>
                <a:cubicBezTo>
                  <a:pt x="6427083" y="4087471"/>
                  <a:pt x="6423151" y="4109069"/>
                  <a:pt x="6417467" y="4131042"/>
                </a:cubicBezTo>
                <a:lnTo>
                  <a:pt x="6397652" y="4184394"/>
                </a:lnTo>
                <a:lnTo>
                  <a:pt x="6395501" y="4179691"/>
                </a:lnTo>
                <a:cubicBezTo>
                  <a:pt x="6374101" y="4262411"/>
                  <a:pt x="6346031" y="4336787"/>
                  <a:pt x="6310617" y="4422501"/>
                </a:cubicBezTo>
                <a:cubicBezTo>
                  <a:pt x="6310617" y="4422501"/>
                  <a:pt x="6305947" y="4423498"/>
                  <a:pt x="6305947" y="4423498"/>
                </a:cubicBezTo>
                <a:cubicBezTo>
                  <a:pt x="6306945" y="4428171"/>
                  <a:pt x="6306945" y="4428171"/>
                  <a:pt x="6306945" y="4428171"/>
                </a:cubicBezTo>
                <a:cubicBezTo>
                  <a:pt x="6306945" y="4428171"/>
                  <a:pt x="6306945" y="4428171"/>
                  <a:pt x="6307942" y="4432841"/>
                </a:cubicBezTo>
                <a:cubicBezTo>
                  <a:pt x="6304269" y="4438509"/>
                  <a:pt x="6295926" y="4445177"/>
                  <a:pt x="6292252" y="4450844"/>
                </a:cubicBezTo>
                <a:cubicBezTo>
                  <a:pt x="6304588" y="4462863"/>
                  <a:pt x="6277879" y="4497874"/>
                  <a:pt x="6268855" y="4524223"/>
                </a:cubicBezTo>
                <a:cubicBezTo>
                  <a:pt x="6263187" y="4520549"/>
                  <a:pt x="6270533" y="4509212"/>
                  <a:pt x="6265862" y="4510210"/>
                </a:cubicBezTo>
                <a:cubicBezTo>
                  <a:pt x="6247495" y="4538557"/>
                  <a:pt x="6276202" y="4512886"/>
                  <a:pt x="6258833" y="4545902"/>
                </a:cubicBezTo>
                <a:cubicBezTo>
                  <a:pt x="6254163" y="4546899"/>
                  <a:pt x="6257837" y="4541229"/>
                  <a:pt x="6253165" y="4542228"/>
                </a:cubicBezTo>
                <a:cubicBezTo>
                  <a:pt x="6241465" y="4578916"/>
                  <a:pt x="6218430" y="4608260"/>
                  <a:pt x="6214077" y="4633610"/>
                </a:cubicBezTo>
                <a:cubicBezTo>
                  <a:pt x="6214077" y="4633610"/>
                  <a:pt x="6216752" y="4623271"/>
                  <a:pt x="6209407" y="4634608"/>
                </a:cubicBezTo>
                <a:cubicBezTo>
                  <a:pt x="6209725" y="4658961"/>
                  <a:pt x="6184693" y="4678962"/>
                  <a:pt x="6170001" y="4701637"/>
                </a:cubicBezTo>
                <a:cubicBezTo>
                  <a:pt x="6161976" y="4732658"/>
                  <a:pt x="6143609" y="4761003"/>
                  <a:pt x="6124246" y="4784676"/>
                </a:cubicBezTo>
                <a:cubicBezTo>
                  <a:pt x="6114564" y="4796514"/>
                  <a:pt x="6104883" y="4808350"/>
                  <a:pt x="6094991" y="4822064"/>
                </a:cubicBezTo>
                <a:lnTo>
                  <a:pt x="6068122" y="4864900"/>
                </a:lnTo>
                <a:lnTo>
                  <a:pt x="6067155" y="4860368"/>
                </a:lnTo>
                <a:cubicBezTo>
                  <a:pt x="6062481" y="4861367"/>
                  <a:pt x="6062481" y="4861367"/>
                  <a:pt x="6063481" y="4866038"/>
                </a:cubicBezTo>
                <a:cubicBezTo>
                  <a:pt x="6060805" y="4876378"/>
                  <a:pt x="6060805" y="4876378"/>
                  <a:pt x="6060805" y="4876378"/>
                </a:cubicBezTo>
                <a:cubicBezTo>
                  <a:pt x="6059807" y="4871705"/>
                  <a:pt x="6059807" y="4871705"/>
                  <a:pt x="6059807" y="4871705"/>
                </a:cubicBezTo>
                <a:cubicBezTo>
                  <a:pt x="6051464" y="4878373"/>
                  <a:pt x="6044117" y="4889711"/>
                  <a:pt x="6037769" y="4905720"/>
                </a:cubicBezTo>
                <a:cubicBezTo>
                  <a:pt x="6037769" y="4905720"/>
                  <a:pt x="6038767" y="4910391"/>
                  <a:pt x="6038767" y="4910391"/>
                </a:cubicBezTo>
                <a:cubicBezTo>
                  <a:pt x="6039766" y="4915063"/>
                  <a:pt x="6035093" y="4916060"/>
                  <a:pt x="6036091" y="4920731"/>
                </a:cubicBezTo>
                <a:cubicBezTo>
                  <a:pt x="6035093" y="4916060"/>
                  <a:pt x="6038767" y="4910391"/>
                  <a:pt x="6034095" y="4911389"/>
                </a:cubicBezTo>
                <a:cubicBezTo>
                  <a:pt x="6030421" y="4917059"/>
                  <a:pt x="6026751" y="4922726"/>
                  <a:pt x="6023077" y="4928396"/>
                </a:cubicBezTo>
                <a:cubicBezTo>
                  <a:pt x="6022078" y="4923723"/>
                  <a:pt x="6022078" y="4923723"/>
                  <a:pt x="6022078" y="4923723"/>
                </a:cubicBezTo>
                <a:cubicBezTo>
                  <a:pt x="6022078" y="4923723"/>
                  <a:pt x="6022078" y="4923723"/>
                  <a:pt x="6021081" y="4919054"/>
                </a:cubicBezTo>
                <a:cubicBezTo>
                  <a:pt x="6021081" y="4919054"/>
                  <a:pt x="6021081" y="4919054"/>
                  <a:pt x="6016409" y="4920052"/>
                </a:cubicBezTo>
                <a:cubicBezTo>
                  <a:pt x="6017407" y="4924722"/>
                  <a:pt x="6018405" y="4929393"/>
                  <a:pt x="6018405" y="4929393"/>
                </a:cubicBezTo>
                <a:cubicBezTo>
                  <a:pt x="6018405" y="4929393"/>
                  <a:pt x="6018405" y="4929393"/>
                  <a:pt x="6019404" y="4934065"/>
                </a:cubicBezTo>
                <a:cubicBezTo>
                  <a:pt x="6019404" y="4934065"/>
                  <a:pt x="6015730" y="4939735"/>
                  <a:pt x="6015730" y="4939735"/>
                </a:cubicBezTo>
                <a:cubicBezTo>
                  <a:pt x="6015730" y="4939735"/>
                  <a:pt x="6011059" y="4940732"/>
                  <a:pt x="6011059" y="4940732"/>
                </a:cubicBezTo>
                <a:cubicBezTo>
                  <a:pt x="6011059" y="4940732"/>
                  <a:pt x="6006389" y="4941731"/>
                  <a:pt x="6006389" y="4941731"/>
                </a:cubicBezTo>
                <a:cubicBezTo>
                  <a:pt x="6007386" y="4946401"/>
                  <a:pt x="6007386" y="4946401"/>
                  <a:pt x="6007386" y="4946401"/>
                </a:cubicBezTo>
                <a:cubicBezTo>
                  <a:pt x="6008383" y="4951071"/>
                  <a:pt x="6008383" y="4951071"/>
                  <a:pt x="6008383" y="4951071"/>
                </a:cubicBezTo>
                <a:cubicBezTo>
                  <a:pt x="6004711" y="4956741"/>
                  <a:pt x="6001039" y="4962408"/>
                  <a:pt x="5996367" y="4963407"/>
                </a:cubicBezTo>
                <a:cubicBezTo>
                  <a:pt x="5996367" y="4963407"/>
                  <a:pt x="5996367" y="4963407"/>
                  <a:pt x="5995370" y="4958737"/>
                </a:cubicBezTo>
                <a:cubicBezTo>
                  <a:pt x="5995370" y="4958737"/>
                  <a:pt x="5991696" y="4964406"/>
                  <a:pt x="5991696" y="4964406"/>
                </a:cubicBezTo>
                <a:cubicBezTo>
                  <a:pt x="5988022" y="4970074"/>
                  <a:pt x="5988022" y="4970074"/>
                  <a:pt x="5988022" y="4970074"/>
                </a:cubicBezTo>
                <a:cubicBezTo>
                  <a:pt x="5988022" y="4970074"/>
                  <a:pt x="5984349" y="4975743"/>
                  <a:pt x="5985347" y="4980414"/>
                </a:cubicBezTo>
                <a:cubicBezTo>
                  <a:pt x="5984349" y="4975743"/>
                  <a:pt x="5984349" y="4975743"/>
                  <a:pt x="5984349" y="4975743"/>
                </a:cubicBezTo>
                <a:cubicBezTo>
                  <a:pt x="5979678" y="4976742"/>
                  <a:pt x="5976005" y="4982409"/>
                  <a:pt x="5967661" y="4989076"/>
                </a:cubicBezTo>
                <a:cubicBezTo>
                  <a:pt x="5970335" y="4978738"/>
                  <a:pt x="5962990" y="4990075"/>
                  <a:pt x="5965665" y="4979735"/>
                </a:cubicBezTo>
                <a:cubicBezTo>
                  <a:pt x="5949975" y="4997740"/>
                  <a:pt x="5949975" y="4997740"/>
                  <a:pt x="5949975" y="4997740"/>
                </a:cubicBezTo>
                <a:cubicBezTo>
                  <a:pt x="5949975" y="4997740"/>
                  <a:pt x="5948977" y="4993069"/>
                  <a:pt x="5948977" y="4993069"/>
                </a:cubicBezTo>
                <a:cubicBezTo>
                  <a:pt x="5952650" y="4987400"/>
                  <a:pt x="5952650" y="4987400"/>
                  <a:pt x="5952650" y="4987400"/>
                </a:cubicBezTo>
                <a:cubicBezTo>
                  <a:pt x="5952650" y="4987400"/>
                  <a:pt x="5957320" y="4986401"/>
                  <a:pt x="5951653" y="4982729"/>
                </a:cubicBezTo>
                <a:cubicBezTo>
                  <a:pt x="5951653" y="4982729"/>
                  <a:pt x="5951653" y="4982729"/>
                  <a:pt x="5947981" y="4988397"/>
                </a:cubicBezTo>
                <a:cubicBezTo>
                  <a:pt x="5944307" y="4994067"/>
                  <a:pt x="5944307" y="4994067"/>
                  <a:pt x="5944307" y="4994067"/>
                </a:cubicBezTo>
                <a:cubicBezTo>
                  <a:pt x="5945303" y="4998739"/>
                  <a:pt x="5940633" y="4999736"/>
                  <a:pt x="5941631" y="5004407"/>
                </a:cubicBezTo>
                <a:cubicBezTo>
                  <a:pt x="5941631" y="5004407"/>
                  <a:pt x="5947299" y="5008080"/>
                  <a:pt x="5950973" y="5002410"/>
                </a:cubicBezTo>
                <a:cubicBezTo>
                  <a:pt x="5947299" y="5008080"/>
                  <a:pt x="5947299" y="5008080"/>
                  <a:pt x="5947299" y="5008080"/>
                </a:cubicBezTo>
                <a:cubicBezTo>
                  <a:pt x="5937278" y="5029757"/>
                  <a:pt x="5931609" y="5026085"/>
                  <a:pt x="5929931" y="5041095"/>
                </a:cubicBezTo>
                <a:cubicBezTo>
                  <a:pt x="5937278" y="5029757"/>
                  <a:pt x="5942948" y="5033431"/>
                  <a:pt x="5947618" y="5032434"/>
                </a:cubicBezTo>
                <a:cubicBezTo>
                  <a:pt x="5943945" y="5038101"/>
                  <a:pt x="5935601" y="5044769"/>
                  <a:pt x="5931927" y="5050439"/>
                </a:cubicBezTo>
                <a:cubicBezTo>
                  <a:pt x="5928255" y="5056106"/>
                  <a:pt x="5924583" y="5061776"/>
                  <a:pt x="5920909" y="5067445"/>
                </a:cubicBezTo>
                <a:cubicBezTo>
                  <a:pt x="5916239" y="5068442"/>
                  <a:pt x="5912565" y="5074111"/>
                  <a:pt x="5912565" y="5074111"/>
                </a:cubicBezTo>
                <a:cubicBezTo>
                  <a:pt x="5907893" y="5075110"/>
                  <a:pt x="5911567" y="5069441"/>
                  <a:pt x="5910570" y="5064770"/>
                </a:cubicBezTo>
                <a:cubicBezTo>
                  <a:pt x="5895877" y="5087444"/>
                  <a:pt x="5895877" y="5087444"/>
                  <a:pt x="5895877" y="5087444"/>
                </a:cubicBezTo>
                <a:cubicBezTo>
                  <a:pt x="5890208" y="5083772"/>
                  <a:pt x="5890208" y="5083772"/>
                  <a:pt x="5890208" y="5083772"/>
                </a:cubicBezTo>
                <a:cubicBezTo>
                  <a:pt x="5890208" y="5083772"/>
                  <a:pt x="5889209" y="5079100"/>
                  <a:pt x="5893881" y="5078103"/>
                </a:cubicBezTo>
                <a:cubicBezTo>
                  <a:pt x="5892882" y="5073432"/>
                  <a:pt x="5892882" y="5073432"/>
                  <a:pt x="5892882" y="5073432"/>
                </a:cubicBezTo>
                <a:cubicBezTo>
                  <a:pt x="5892882" y="5073432"/>
                  <a:pt x="5892882" y="5073432"/>
                  <a:pt x="5888211" y="5074430"/>
                </a:cubicBezTo>
                <a:cubicBezTo>
                  <a:pt x="5883541" y="5075428"/>
                  <a:pt x="5884539" y="5080098"/>
                  <a:pt x="5884539" y="5080098"/>
                </a:cubicBezTo>
                <a:cubicBezTo>
                  <a:pt x="5885537" y="5084770"/>
                  <a:pt x="5885537" y="5084770"/>
                  <a:pt x="5885537" y="5084770"/>
                </a:cubicBezTo>
                <a:cubicBezTo>
                  <a:pt x="5885537" y="5084770"/>
                  <a:pt x="5880865" y="5085768"/>
                  <a:pt x="5881863" y="5090439"/>
                </a:cubicBezTo>
                <a:cubicBezTo>
                  <a:pt x="5881863" y="5090439"/>
                  <a:pt x="5881863" y="5090439"/>
                  <a:pt x="5878191" y="5096109"/>
                </a:cubicBezTo>
                <a:cubicBezTo>
                  <a:pt x="5878191" y="5096109"/>
                  <a:pt x="5878191" y="5096109"/>
                  <a:pt x="5873519" y="5097107"/>
                </a:cubicBezTo>
                <a:cubicBezTo>
                  <a:pt x="5873519" y="5097107"/>
                  <a:pt x="5874517" y="5101778"/>
                  <a:pt x="5874517" y="5101778"/>
                </a:cubicBezTo>
                <a:cubicBezTo>
                  <a:pt x="5869847" y="5102775"/>
                  <a:pt x="5869847" y="5102775"/>
                  <a:pt x="5869847" y="5102775"/>
                </a:cubicBezTo>
                <a:cubicBezTo>
                  <a:pt x="5868847" y="5098105"/>
                  <a:pt x="5868847" y="5098105"/>
                  <a:pt x="5868847" y="5098105"/>
                </a:cubicBezTo>
                <a:cubicBezTo>
                  <a:pt x="5871523" y="5087764"/>
                  <a:pt x="5871523" y="5087764"/>
                  <a:pt x="5871523" y="5087764"/>
                </a:cubicBezTo>
                <a:cubicBezTo>
                  <a:pt x="5875195" y="5082095"/>
                  <a:pt x="5879868" y="5081096"/>
                  <a:pt x="5878869" y="5076427"/>
                </a:cubicBezTo>
                <a:cubicBezTo>
                  <a:pt x="5878869" y="5076427"/>
                  <a:pt x="5878869" y="5076427"/>
                  <a:pt x="5874198" y="5077424"/>
                </a:cubicBezTo>
                <a:cubicBezTo>
                  <a:pt x="5869528" y="5078423"/>
                  <a:pt x="5870525" y="5083093"/>
                  <a:pt x="5870525" y="5083093"/>
                </a:cubicBezTo>
                <a:cubicBezTo>
                  <a:pt x="5862180" y="5089760"/>
                  <a:pt x="5863179" y="5094431"/>
                  <a:pt x="5859507" y="5100100"/>
                </a:cubicBezTo>
                <a:cubicBezTo>
                  <a:pt x="5860503" y="5104770"/>
                  <a:pt x="5860503" y="5104770"/>
                  <a:pt x="5860503" y="5104770"/>
                </a:cubicBezTo>
                <a:cubicBezTo>
                  <a:pt x="5857829" y="5115111"/>
                  <a:pt x="5853159" y="5116110"/>
                  <a:pt x="5854156" y="5120780"/>
                </a:cubicBezTo>
                <a:cubicBezTo>
                  <a:pt x="5838465" y="5138783"/>
                  <a:pt x="5818104" y="5157787"/>
                  <a:pt x="5803411" y="5180463"/>
                </a:cubicBezTo>
                <a:cubicBezTo>
                  <a:pt x="5798741" y="5181460"/>
                  <a:pt x="5798741" y="5181460"/>
                  <a:pt x="5798741" y="5181460"/>
                </a:cubicBezTo>
                <a:cubicBezTo>
                  <a:pt x="5794069" y="5182459"/>
                  <a:pt x="5795068" y="5187130"/>
                  <a:pt x="5795068" y="5187130"/>
                </a:cubicBezTo>
                <a:cubicBezTo>
                  <a:pt x="5790395" y="5188128"/>
                  <a:pt x="5786723" y="5193798"/>
                  <a:pt x="5783051" y="5199465"/>
                </a:cubicBezTo>
                <a:cubicBezTo>
                  <a:pt x="5783051" y="5199465"/>
                  <a:pt x="5783051" y="5199465"/>
                  <a:pt x="5779378" y="5205135"/>
                </a:cubicBezTo>
                <a:cubicBezTo>
                  <a:pt x="5774707" y="5206133"/>
                  <a:pt x="5771033" y="5211801"/>
                  <a:pt x="5767360" y="5217470"/>
                </a:cubicBezTo>
                <a:cubicBezTo>
                  <a:pt x="5762689" y="5218469"/>
                  <a:pt x="5759016" y="5224137"/>
                  <a:pt x="5755343" y="5229806"/>
                </a:cubicBezTo>
                <a:cubicBezTo>
                  <a:pt x="5746001" y="5231802"/>
                  <a:pt x="5735979" y="5253481"/>
                  <a:pt x="5718293" y="5262142"/>
                </a:cubicBezTo>
                <a:cubicBezTo>
                  <a:pt x="5715617" y="5272484"/>
                  <a:pt x="5691583" y="5297155"/>
                  <a:pt x="5680564" y="5314161"/>
                </a:cubicBezTo>
                <a:cubicBezTo>
                  <a:pt x="5680564" y="5314161"/>
                  <a:pt x="5663876" y="5327495"/>
                  <a:pt x="5668546" y="5326497"/>
                </a:cubicBezTo>
                <a:cubicBezTo>
                  <a:pt x="5688908" y="5307495"/>
                  <a:pt x="5671541" y="5340510"/>
                  <a:pt x="5679885" y="5333842"/>
                </a:cubicBezTo>
                <a:cubicBezTo>
                  <a:pt x="5687230" y="5322506"/>
                  <a:pt x="5686233" y="5317835"/>
                  <a:pt x="5712263" y="5302506"/>
                </a:cubicBezTo>
                <a:cubicBezTo>
                  <a:pt x="5701923" y="5299829"/>
                  <a:pt x="5752987" y="5264500"/>
                  <a:pt x="5746319" y="5256155"/>
                </a:cubicBezTo>
                <a:cubicBezTo>
                  <a:pt x="5730629" y="5274159"/>
                  <a:pt x="5749991" y="5250486"/>
                  <a:pt x="5762009" y="5238151"/>
                </a:cubicBezTo>
                <a:cubicBezTo>
                  <a:pt x="5762009" y="5238151"/>
                  <a:pt x="5762009" y="5238151"/>
                  <a:pt x="5763007" y="5242821"/>
                </a:cubicBezTo>
                <a:cubicBezTo>
                  <a:pt x="5758337" y="5243820"/>
                  <a:pt x="5758337" y="5243820"/>
                  <a:pt x="5758337" y="5243820"/>
                </a:cubicBezTo>
                <a:cubicBezTo>
                  <a:pt x="5754665" y="5249489"/>
                  <a:pt x="5754665" y="5249489"/>
                  <a:pt x="5759335" y="5248491"/>
                </a:cubicBezTo>
                <a:cubicBezTo>
                  <a:pt x="5759335" y="5248491"/>
                  <a:pt x="5759335" y="5248491"/>
                  <a:pt x="5764005" y="5247493"/>
                </a:cubicBezTo>
                <a:cubicBezTo>
                  <a:pt x="5767679" y="5241824"/>
                  <a:pt x="5767679" y="5241824"/>
                  <a:pt x="5767679" y="5241824"/>
                </a:cubicBezTo>
                <a:cubicBezTo>
                  <a:pt x="5771352" y="5236154"/>
                  <a:pt x="5770353" y="5231484"/>
                  <a:pt x="5764685" y="5227811"/>
                </a:cubicBezTo>
                <a:cubicBezTo>
                  <a:pt x="5768359" y="5222141"/>
                  <a:pt x="5772031" y="5216473"/>
                  <a:pt x="5776701" y="5215474"/>
                </a:cubicBezTo>
                <a:cubicBezTo>
                  <a:pt x="5781373" y="5214476"/>
                  <a:pt x="5781373" y="5214476"/>
                  <a:pt x="5786044" y="5213479"/>
                </a:cubicBezTo>
                <a:cubicBezTo>
                  <a:pt x="5786044" y="5213479"/>
                  <a:pt x="5786044" y="5213479"/>
                  <a:pt x="5787043" y="5218150"/>
                </a:cubicBezTo>
                <a:cubicBezTo>
                  <a:pt x="5791713" y="5217152"/>
                  <a:pt x="5790713" y="5212480"/>
                  <a:pt x="5790713" y="5212480"/>
                </a:cubicBezTo>
                <a:cubicBezTo>
                  <a:pt x="5790713" y="5212480"/>
                  <a:pt x="5789717" y="5207810"/>
                  <a:pt x="5789717" y="5207810"/>
                </a:cubicBezTo>
                <a:cubicBezTo>
                  <a:pt x="5788719" y="5203139"/>
                  <a:pt x="5793391" y="5202140"/>
                  <a:pt x="5792393" y="5197469"/>
                </a:cubicBezTo>
                <a:cubicBezTo>
                  <a:pt x="5797063" y="5196472"/>
                  <a:pt x="5800735" y="5190803"/>
                  <a:pt x="5800735" y="5190803"/>
                </a:cubicBezTo>
                <a:cubicBezTo>
                  <a:pt x="5800735" y="5190803"/>
                  <a:pt x="5800735" y="5190803"/>
                  <a:pt x="5805408" y="5189806"/>
                </a:cubicBezTo>
                <a:cubicBezTo>
                  <a:pt x="5804409" y="5185134"/>
                  <a:pt x="5804409" y="5185134"/>
                  <a:pt x="5804409" y="5185134"/>
                </a:cubicBezTo>
                <a:cubicBezTo>
                  <a:pt x="5804409" y="5185134"/>
                  <a:pt x="5809081" y="5184136"/>
                  <a:pt x="5808082" y="5179466"/>
                </a:cubicBezTo>
                <a:cubicBezTo>
                  <a:pt x="5823773" y="5161461"/>
                  <a:pt x="5838465" y="5138783"/>
                  <a:pt x="5859825" y="5124453"/>
                </a:cubicBezTo>
                <a:cubicBezTo>
                  <a:pt x="5863499" y="5118782"/>
                  <a:pt x="5863499" y="5118782"/>
                  <a:pt x="5863499" y="5118782"/>
                </a:cubicBezTo>
                <a:cubicBezTo>
                  <a:pt x="5863499" y="5118782"/>
                  <a:pt x="5862500" y="5114113"/>
                  <a:pt x="5862500" y="5114113"/>
                </a:cubicBezTo>
                <a:cubicBezTo>
                  <a:pt x="5862500" y="5114113"/>
                  <a:pt x="5867171" y="5113115"/>
                  <a:pt x="5867171" y="5113115"/>
                </a:cubicBezTo>
                <a:cubicBezTo>
                  <a:pt x="5867171" y="5113115"/>
                  <a:pt x="5868169" y="5117785"/>
                  <a:pt x="5868169" y="5117785"/>
                </a:cubicBezTo>
                <a:cubicBezTo>
                  <a:pt x="5877511" y="5115790"/>
                  <a:pt x="5881183" y="5110122"/>
                  <a:pt x="5889529" y="5103454"/>
                </a:cubicBezTo>
                <a:cubicBezTo>
                  <a:pt x="5888531" y="5098783"/>
                  <a:pt x="5888531" y="5098783"/>
                  <a:pt x="5888531" y="5098783"/>
                </a:cubicBezTo>
                <a:cubicBezTo>
                  <a:pt x="5903541" y="5100459"/>
                  <a:pt x="5881183" y="5110122"/>
                  <a:pt x="5886853" y="5113794"/>
                </a:cubicBezTo>
                <a:cubicBezTo>
                  <a:pt x="5890527" y="5108126"/>
                  <a:pt x="5907214" y="5094792"/>
                  <a:pt x="5918235" y="5077785"/>
                </a:cubicBezTo>
                <a:cubicBezTo>
                  <a:pt x="5921907" y="5072115"/>
                  <a:pt x="5929254" y="5060777"/>
                  <a:pt x="5937596" y="5054110"/>
                </a:cubicBezTo>
                <a:cubicBezTo>
                  <a:pt x="5941270" y="5048441"/>
                  <a:pt x="5948617" y="5037104"/>
                  <a:pt x="5956961" y="5030438"/>
                </a:cubicBezTo>
                <a:cubicBezTo>
                  <a:pt x="5967979" y="5013430"/>
                  <a:pt x="5980995" y="5005766"/>
                  <a:pt x="5991015" y="4984087"/>
                </a:cubicBezTo>
                <a:cubicBezTo>
                  <a:pt x="5994689" y="4978418"/>
                  <a:pt x="6003035" y="4971752"/>
                  <a:pt x="6003035" y="4971752"/>
                </a:cubicBezTo>
                <a:cubicBezTo>
                  <a:pt x="6006707" y="4966084"/>
                  <a:pt x="6011377" y="4965085"/>
                  <a:pt x="6010379" y="4960413"/>
                </a:cubicBezTo>
                <a:cubicBezTo>
                  <a:pt x="6015051" y="4959416"/>
                  <a:pt x="6015051" y="4959416"/>
                  <a:pt x="6018723" y="4953747"/>
                </a:cubicBezTo>
                <a:cubicBezTo>
                  <a:pt x="6017726" y="4949076"/>
                  <a:pt x="6026070" y="4942409"/>
                  <a:pt x="6029744" y="4936740"/>
                </a:cubicBezTo>
                <a:cubicBezTo>
                  <a:pt x="6030741" y="4941410"/>
                  <a:pt x="6041761" y="4924404"/>
                  <a:pt x="6041761" y="4924404"/>
                </a:cubicBezTo>
                <a:cubicBezTo>
                  <a:pt x="6045433" y="4918735"/>
                  <a:pt x="6049105" y="4913067"/>
                  <a:pt x="6048109" y="4908395"/>
                </a:cubicBezTo>
                <a:cubicBezTo>
                  <a:pt x="6052779" y="4907398"/>
                  <a:pt x="6052779" y="4907398"/>
                  <a:pt x="6052779" y="4907398"/>
                </a:cubicBezTo>
                <a:cubicBezTo>
                  <a:pt x="6092505" y="4864720"/>
                  <a:pt x="6137579" y="4801364"/>
                  <a:pt x="6166964" y="4756012"/>
                </a:cubicBezTo>
                <a:cubicBezTo>
                  <a:pt x="6171634" y="4755014"/>
                  <a:pt x="6171634" y="4755014"/>
                  <a:pt x="6171634" y="4755014"/>
                </a:cubicBezTo>
                <a:cubicBezTo>
                  <a:pt x="6171634" y="4755014"/>
                  <a:pt x="6171634" y="4755014"/>
                  <a:pt x="6176307" y="4754017"/>
                </a:cubicBezTo>
                <a:cubicBezTo>
                  <a:pt x="6172633" y="4759686"/>
                  <a:pt x="6172633" y="4759686"/>
                  <a:pt x="6168961" y="4765354"/>
                </a:cubicBezTo>
                <a:cubicBezTo>
                  <a:pt x="6168961" y="4765354"/>
                  <a:pt x="6165287" y="4771023"/>
                  <a:pt x="6161614" y="4776693"/>
                </a:cubicBezTo>
                <a:cubicBezTo>
                  <a:pt x="6157940" y="4782362"/>
                  <a:pt x="6157940" y="4782362"/>
                  <a:pt x="6154269" y="4788031"/>
                </a:cubicBezTo>
                <a:cubicBezTo>
                  <a:pt x="6154269" y="4788031"/>
                  <a:pt x="6154269" y="4788031"/>
                  <a:pt x="6155266" y="4792702"/>
                </a:cubicBezTo>
                <a:cubicBezTo>
                  <a:pt x="6146921" y="4799369"/>
                  <a:pt x="6144247" y="4809709"/>
                  <a:pt x="6136901" y="4821047"/>
                </a:cubicBezTo>
                <a:cubicBezTo>
                  <a:pt x="6136901" y="4821047"/>
                  <a:pt x="6133227" y="4826715"/>
                  <a:pt x="6137897" y="4825717"/>
                </a:cubicBezTo>
                <a:cubicBezTo>
                  <a:pt x="6138897" y="4830389"/>
                  <a:pt x="6142571" y="4824719"/>
                  <a:pt x="6142571" y="4824719"/>
                </a:cubicBezTo>
                <a:cubicBezTo>
                  <a:pt x="6146243" y="4819049"/>
                  <a:pt x="6146243" y="4819049"/>
                  <a:pt x="6146243" y="4819049"/>
                </a:cubicBezTo>
                <a:cubicBezTo>
                  <a:pt x="6146243" y="4819049"/>
                  <a:pt x="6150913" y="4818052"/>
                  <a:pt x="6149915" y="4813382"/>
                </a:cubicBezTo>
                <a:cubicBezTo>
                  <a:pt x="6153588" y="4807712"/>
                  <a:pt x="6153588" y="4807712"/>
                  <a:pt x="6153588" y="4807712"/>
                </a:cubicBezTo>
                <a:cubicBezTo>
                  <a:pt x="6152591" y="4803042"/>
                  <a:pt x="6157262" y="4802043"/>
                  <a:pt x="6160935" y="4796376"/>
                </a:cubicBezTo>
                <a:cubicBezTo>
                  <a:pt x="6157262" y="4802043"/>
                  <a:pt x="6153192" y="4808713"/>
                  <a:pt x="6149207" y="4815058"/>
                </a:cubicBezTo>
                <a:lnTo>
                  <a:pt x="6138972" y="4830325"/>
                </a:lnTo>
                <a:lnTo>
                  <a:pt x="6138897" y="4830389"/>
                </a:lnTo>
                <a:lnTo>
                  <a:pt x="6138892" y="4830440"/>
                </a:lnTo>
                <a:lnTo>
                  <a:pt x="6137977" y="4831806"/>
                </a:lnTo>
                <a:cubicBezTo>
                  <a:pt x="6131301" y="4840559"/>
                  <a:pt x="6126879" y="4842724"/>
                  <a:pt x="6128557" y="4827713"/>
                </a:cubicBezTo>
                <a:cubicBezTo>
                  <a:pt x="6115859" y="4859731"/>
                  <a:pt x="6107514" y="4866397"/>
                  <a:pt x="6092823" y="4889075"/>
                </a:cubicBezTo>
                <a:cubicBezTo>
                  <a:pt x="6097494" y="4888076"/>
                  <a:pt x="6097494" y="4888076"/>
                  <a:pt x="6097494" y="4888076"/>
                </a:cubicBezTo>
                <a:cubicBezTo>
                  <a:pt x="6086475" y="4905082"/>
                  <a:pt x="6086475" y="4905082"/>
                  <a:pt x="6086475" y="4905082"/>
                </a:cubicBezTo>
                <a:cubicBezTo>
                  <a:pt x="6081803" y="4906081"/>
                  <a:pt x="6081803" y="4906081"/>
                  <a:pt x="6081803" y="4906081"/>
                </a:cubicBezTo>
                <a:cubicBezTo>
                  <a:pt x="6082802" y="4910751"/>
                  <a:pt x="6082802" y="4910751"/>
                  <a:pt x="6082802" y="4910751"/>
                </a:cubicBezTo>
                <a:cubicBezTo>
                  <a:pt x="6078133" y="4911750"/>
                  <a:pt x="6078133" y="4911750"/>
                  <a:pt x="6078133" y="4911750"/>
                </a:cubicBezTo>
                <a:cubicBezTo>
                  <a:pt x="6074459" y="4917418"/>
                  <a:pt x="6075455" y="4922090"/>
                  <a:pt x="6070785" y="4923087"/>
                </a:cubicBezTo>
                <a:cubicBezTo>
                  <a:pt x="6071783" y="4927760"/>
                  <a:pt x="6067111" y="4928757"/>
                  <a:pt x="6068109" y="4933427"/>
                </a:cubicBezTo>
                <a:cubicBezTo>
                  <a:pt x="6063438" y="4934426"/>
                  <a:pt x="6064437" y="4939097"/>
                  <a:pt x="6064437" y="4939097"/>
                </a:cubicBezTo>
                <a:cubicBezTo>
                  <a:pt x="6060764" y="4944766"/>
                  <a:pt x="6057090" y="4950434"/>
                  <a:pt x="6053416" y="4956103"/>
                </a:cubicBezTo>
                <a:cubicBezTo>
                  <a:pt x="6054415" y="4960774"/>
                  <a:pt x="6054415" y="4960774"/>
                  <a:pt x="6054415" y="4960774"/>
                </a:cubicBezTo>
                <a:cubicBezTo>
                  <a:pt x="6054415" y="4960774"/>
                  <a:pt x="6049743" y="4961772"/>
                  <a:pt x="6050743" y="4966443"/>
                </a:cubicBezTo>
                <a:cubicBezTo>
                  <a:pt x="6038725" y="4978779"/>
                  <a:pt x="6027705" y="4995785"/>
                  <a:pt x="6016685" y="5012793"/>
                </a:cubicBezTo>
                <a:cubicBezTo>
                  <a:pt x="6015687" y="5008121"/>
                  <a:pt x="6015687" y="5008121"/>
                  <a:pt x="6011017" y="5009120"/>
                </a:cubicBezTo>
                <a:cubicBezTo>
                  <a:pt x="6014690" y="5003451"/>
                  <a:pt x="6014690" y="5003451"/>
                  <a:pt x="6014690" y="5003451"/>
                </a:cubicBezTo>
                <a:cubicBezTo>
                  <a:pt x="6019361" y="5002453"/>
                  <a:pt x="6018363" y="4997783"/>
                  <a:pt x="6018363" y="4997783"/>
                </a:cubicBezTo>
                <a:cubicBezTo>
                  <a:pt x="6018363" y="4997783"/>
                  <a:pt x="6013693" y="4998780"/>
                  <a:pt x="6013693" y="4998780"/>
                </a:cubicBezTo>
                <a:cubicBezTo>
                  <a:pt x="6010020" y="5004450"/>
                  <a:pt x="6010020" y="5004450"/>
                  <a:pt x="6010020" y="5004450"/>
                </a:cubicBezTo>
                <a:cubicBezTo>
                  <a:pt x="6010020" y="5004450"/>
                  <a:pt x="6006346" y="5010117"/>
                  <a:pt x="6006346" y="5010117"/>
                </a:cubicBezTo>
                <a:cubicBezTo>
                  <a:pt x="6007345" y="5014789"/>
                  <a:pt x="6007345" y="5014789"/>
                  <a:pt x="6007345" y="5014789"/>
                </a:cubicBezTo>
                <a:cubicBezTo>
                  <a:pt x="6007345" y="5014789"/>
                  <a:pt x="6007345" y="5014789"/>
                  <a:pt x="6008343" y="5019460"/>
                </a:cubicBezTo>
                <a:cubicBezTo>
                  <a:pt x="5996325" y="5031796"/>
                  <a:pt x="5985305" y="5048802"/>
                  <a:pt x="5973287" y="5061138"/>
                </a:cubicBezTo>
                <a:cubicBezTo>
                  <a:pt x="5973287" y="5061138"/>
                  <a:pt x="5973287" y="5061138"/>
                  <a:pt x="5974287" y="5065808"/>
                </a:cubicBezTo>
                <a:cubicBezTo>
                  <a:pt x="5946578" y="5096150"/>
                  <a:pt x="5923543" y="5125493"/>
                  <a:pt x="5894837" y="5151162"/>
                </a:cubicBezTo>
                <a:cubicBezTo>
                  <a:pt x="5859782" y="5192842"/>
                  <a:pt x="5823731" y="5229849"/>
                  <a:pt x="5783008" y="5267853"/>
                </a:cubicBezTo>
                <a:cubicBezTo>
                  <a:pt x="5774664" y="5274520"/>
                  <a:pt x="5756977" y="5283184"/>
                  <a:pt x="5758973" y="5292525"/>
                </a:cubicBezTo>
                <a:cubicBezTo>
                  <a:pt x="5758973" y="5292525"/>
                  <a:pt x="5758973" y="5292525"/>
                  <a:pt x="5754302" y="5293524"/>
                </a:cubicBezTo>
                <a:cubicBezTo>
                  <a:pt x="5749632" y="5294521"/>
                  <a:pt x="5745958" y="5300190"/>
                  <a:pt x="5741289" y="5301187"/>
                </a:cubicBezTo>
                <a:cubicBezTo>
                  <a:pt x="5741289" y="5301187"/>
                  <a:pt x="5737613" y="5306857"/>
                  <a:pt x="5737613" y="5306857"/>
                </a:cubicBezTo>
                <a:cubicBezTo>
                  <a:pt x="5737613" y="5306857"/>
                  <a:pt x="5742285" y="5305858"/>
                  <a:pt x="5742285" y="5305858"/>
                </a:cubicBezTo>
                <a:cubicBezTo>
                  <a:pt x="5721925" y="5324862"/>
                  <a:pt x="5701562" y="5343864"/>
                  <a:pt x="5681201" y="5362868"/>
                </a:cubicBezTo>
                <a:cubicBezTo>
                  <a:pt x="5632136" y="5407539"/>
                  <a:pt x="5632136" y="5407539"/>
                  <a:pt x="5632136" y="5407539"/>
                </a:cubicBezTo>
                <a:cubicBezTo>
                  <a:pt x="5615447" y="5420874"/>
                  <a:pt x="5615447" y="5420874"/>
                  <a:pt x="5615447" y="5420874"/>
                </a:cubicBezTo>
                <a:cubicBezTo>
                  <a:pt x="5607101" y="5427540"/>
                  <a:pt x="5585743" y="5441872"/>
                  <a:pt x="5569055" y="5455206"/>
                </a:cubicBezTo>
                <a:cubicBezTo>
                  <a:pt x="5548693" y="5474208"/>
                  <a:pt x="5532003" y="5487543"/>
                  <a:pt x="5536677" y="5486546"/>
                </a:cubicBezTo>
                <a:cubicBezTo>
                  <a:pt x="5478267" y="5533212"/>
                  <a:pt x="5419857" y="5579880"/>
                  <a:pt x="5347435" y="5629544"/>
                </a:cubicBezTo>
                <a:cubicBezTo>
                  <a:pt x="5308391" y="5652537"/>
                  <a:pt x="5238643" y="5691859"/>
                  <a:pt x="5192251" y="5726192"/>
                </a:cubicBezTo>
                <a:cubicBezTo>
                  <a:pt x="5138196" y="5747510"/>
                  <a:pt x="5087133" y="5782839"/>
                  <a:pt x="5029405" y="5809826"/>
                </a:cubicBezTo>
                <a:cubicBezTo>
                  <a:pt x="5021059" y="5816493"/>
                  <a:pt x="5020060" y="5811822"/>
                  <a:pt x="5011718" y="5818489"/>
                </a:cubicBezTo>
                <a:cubicBezTo>
                  <a:pt x="4904601" y="5865795"/>
                  <a:pt x="4795491" y="5903758"/>
                  <a:pt x="4685383" y="5937051"/>
                </a:cubicBezTo>
                <a:cubicBezTo>
                  <a:pt x="4627991" y="5954197"/>
                  <a:pt x="4571271" y="5968757"/>
                  <a:pt x="4514510" y="5980274"/>
                </a:cubicBezTo>
                <a:lnTo>
                  <a:pt x="4434660" y="5991919"/>
                </a:lnTo>
                <a:lnTo>
                  <a:pt x="4450453" y="5989074"/>
                </a:lnTo>
                <a:cubicBezTo>
                  <a:pt x="4468429" y="5984623"/>
                  <a:pt x="4484527" y="5979963"/>
                  <a:pt x="4493869" y="5977967"/>
                </a:cubicBezTo>
                <a:cubicBezTo>
                  <a:pt x="4493869" y="5977967"/>
                  <a:pt x="4498541" y="5976969"/>
                  <a:pt x="4498541" y="5976969"/>
                </a:cubicBezTo>
                <a:cubicBezTo>
                  <a:pt x="4549921" y="5965993"/>
                  <a:pt x="4587289" y="5958008"/>
                  <a:pt x="4637673" y="5942359"/>
                </a:cubicBezTo>
                <a:cubicBezTo>
                  <a:pt x="4642343" y="5941362"/>
                  <a:pt x="4642343" y="5941362"/>
                  <a:pt x="4642343" y="5941362"/>
                </a:cubicBezTo>
                <a:cubicBezTo>
                  <a:pt x="4647017" y="5940363"/>
                  <a:pt x="4647017" y="5940363"/>
                  <a:pt x="4646017" y="5935692"/>
                </a:cubicBezTo>
                <a:cubicBezTo>
                  <a:pt x="4641346" y="5936690"/>
                  <a:pt x="4636675" y="5937688"/>
                  <a:pt x="4636675" y="5937688"/>
                </a:cubicBezTo>
                <a:cubicBezTo>
                  <a:pt x="4637673" y="5942359"/>
                  <a:pt x="4637673" y="5942359"/>
                  <a:pt x="4637673" y="5942359"/>
                </a:cubicBezTo>
                <a:cubicBezTo>
                  <a:pt x="4581622" y="5954334"/>
                  <a:pt x="4548924" y="5961320"/>
                  <a:pt x="4497543" y="5972298"/>
                </a:cubicBezTo>
                <a:cubicBezTo>
                  <a:pt x="4501215" y="5966629"/>
                  <a:pt x="4496545" y="5967627"/>
                  <a:pt x="4490875" y="5963954"/>
                </a:cubicBezTo>
                <a:cubicBezTo>
                  <a:pt x="4486203" y="5964951"/>
                  <a:pt x="4486203" y="5964951"/>
                  <a:pt x="4486203" y="5964951"/>
                </a:cubicBezTo>
                <a:cubicBezTo>
                  <a:pt x="4487203" y="5969623"/>
                  <a:pt x="4487203" y="5969623"/>
                  <a:pt x="4487203" y="5969623"/>
                </a:cubicBezTo>
                <a:cubicBezTo>
                  <a:pt x="4446161" y="5983274"/>
                  <a:pt x="4400129" y="5973572"/>
                  <a:pt x="4389111" y="5990578"/>
                </a:cubicBezTo>
                <a:cubicBezTo>
                  <a:pt x="4390107" y="5995251"/>
                  <a:pt x="4390107" y="5995251"/>
                  <a:pt x="4390107" y="5995251"/>
                </a:cubicBezTo>
                <a:cubicBezTo>
                  <a:pt x="4384439" y="5991577"/>
                  <a:pt x="4375097" y="5993573"/>
                  <a:pt x="4370427" y="5994571"/>
                </a:cubicBezTo>
                <a:cubicBezTo>
                  <a:pt x="4365755" y="5995569"/>
                  <a:pt x="4361085" y="5996567"/>
                  <a:pt x="4361085" y="5996567"/>
                </a:cubicBezTo>
                <a:cubicBezTo>
                  <a:pt x="4360087" y="5991897"/>
                  <a:pt x="4358091" y="5982554"/>
                  <a:pt x="4361763" y="5976885"/>
                </a:cubicBezTo>
                <a:cubicBezTo>
                  <a:pt x="4366434" y="5975888"/>
                  <a:pt x="4375777" y="5973892"/>
                  <a:pt x="4380447" y="5972893"/>
                </a:cubicBezTo>
                <a:cubicBezTo>
                  <a:pt x="4389789" y="5970899"/>
                  <a:pt x="4400129" y="5973572"/>
                  <a:pt x="4408475" y="5966906"/>
                </a:cubicBezTo>
                <a:cubicBezTo>
                  <a:pt x="4408475" y="5966906"/>
                  <a:pt x="4413145" y="5965908"/>
                  <a:pt x="4413145" y="5965908"/>
                </a:cubicBezTo>
                <a:cubicBezTo>
                  <a:pt x="4413145" y="5965908"/>
                  <a:pt x="4413145" y="5965908"/>
                  <a:pt x="4417816" y="5964910"/>
                </a:cubicBezTo>
                <a:cubicBezTo>
                  <a:pt x="4422487" y="5963913"/>
                  <a:pt x="4422487" y="5963913"/>
                  <a:pt x="4427159" y="5962914"/>
                </a:cubicBezTo>
                <a:cubicBezTo>
                  <a:pt x="4431829" y="5961917"/>
                  <a:pt x="4431829" y="5961917"/>
                  <a:pt x="4431829" y="5961917"/>
                </a:cubicBezTo>
                <a:cubicBezTo>
                  <a:pt x="4431829" y="5961917"/>
                  <a:pt x="4430831" y="5957245"/>
                  <a:pt x="4426161" y="5958243"/>
                </a:cubicBezTo>
                <a:cubicBezTo>
                  <a:pt x="4421489" y="5959242"/>
                  <a:pt x="4416819" y="5960239"/>
                  <a:pt x="4416819" y="5960239"/>
                </a:cubicBezTo>
                <a:cubicBezTo>
                  <a:pt x="4412147" y="5961238"/>
                  <a:pt x="4412147" y="5961238"/>
                  <a:pt x="4412147" y="5961238"/>
                </a:cubicBezTo>
                <a:cubicBezTo>
                  <a:pt x="4415820" y="5955568"/>
                  <a:pt x="4411149" y="5956566"/>
                  <a:pt x="4411149" y="5956566"/>
                </a:cubicBezTo>
                <a:cubicBezTo>
                  <a:pt x="4406479" y="5957564"/>
                  <a:pt x="4406479" y="5957564"/>
                  <a:pt x="4406479" y="5957564"/>
                </a:cubicBezTo>
                <a:cubicBezTo>
                  <a:pt x="4406479" y="5957564"/>
                  <a:pt x="4401807" y="5958561"/>
                  <a:pt x="4401807" y="5958561"/>
                </a:cubicBezTo>
                <a:cubicBezTo>
                  <a:pt x="4402805" y="5963232"/>
                  <a:pt x="4402805" y="5963232"/>
                  <a:pt x="4402805" y="5963232"/>
                </a:cubicBezTo>
                <a:cubicBezTo>
                  <a:pt x="4399132" y="5968902"/>
                  <a:pt x="4388792" y="5966227"/>
                  <a:pt x="4379449" y="5968223"/>
                </a:cubicBezTo>
                <a:cubicBezTo>
                  <a:pt x="4374779" y="5969221"/>
                  <a:pt x="4370107" y="5970218"/>
                  <a:pt x="4360765" y="5972214"/>
                </a:cubicBezTo>
                <a:cubicBezTo>
                  <a:pt x="4332741" y="5978202"/>
                  <a:pt x="4332741" y="5978202"/>
                  <a:pt x="4332741" y="5978202"/>
                </a:cubicBezTo>
                <a:cubicBezTo>
                  <a:pt x="4327071" y="5974530"/>
                  <a:pt x="4328067" y="5979200"/>
                  <a:pt x="4328067" y="5979200"/>
                </a:cubicBezTo>
                <a:cubicBezTo>
                  <a:pt x="4328067" y="5979200"/>
                  <a:pt x="4329067" y="5983871"/>
                  <a:pt x="4333738" y="5982874"/>
                </a:cubicBezTo>
                <a:cubicBezTo>
                  <a:pt x="4352421" y="5978882"/>
                  <a:pt x="4352421" y="5978882"/>
                  <a:pt x="4352421" y="5978882"/>
                </a:cubicBezTo>
                <a:cubicBezTo>
                  <a:pt x="4348747" y="5984549"/>
                  <a:pt x="4346073" y="5994892"/>
                  <a:pt x="4347071" y="5999562"/>
                </a:cubicBezTo>
                <a:cubicBezTo>
                  <a:pt x="4342400" y="6000559"/>
                  <a:pt x="4337729" y="6001556"/>
                  <a:pt x="4337729" y="6001556"/>
                </a:cubicBezTo>
                <a:cubicBezTo>
                  <a:pt x="4333057" y="6002555"/>
                  <a:pt x="4333057" y="6002555"/>
                  <a:pt x="4333057" y="6002555"/>
                </a:cubicBezTo>
                <a:cubicBezTo>
                  <a:pt x="4336731" y="5996886"/>
                  <a:pt x="4336731" y="5996886"/>
                  <a:pt x="4336731" y="5996886"/>
                </a:cubicBezTo>
                <a:cubicBezTo>
                  <a:pt x="4336731" y="5996886"/>
                  <a:pt x="4332060" y="5997884"/>
                  <a:pt x="4331061" y="5993214"/>
                </a:cubicBezTo>
                <a:cubicBezTo>
                  <a:pt x="4326391" y="5994211"/>
                  <a:pt x="4327390" y="5998882"/>
                  <a:pt x="4322719" y="5999880"/>
                </a:cubicBezTo>
                <a:cubicBezTo>
                  <a:pt x="4322719" y="5999880"/>
                  <a:pt x="4318046" y="6000879"/>
                  <a:pt x="4318046" y="6000879"/>
                </a:cubicBezTo>
                <a:cubicBezTo>
                  <a:pt x="4313376" y="6001876"/>
                  <a:pt x="4307707" y="5998202"/>
                  <a:pt x="4298365" y="6000199"/>
                </a:cubicBezTo>
                <a:cubicBezTo>
                  <a:pt x="4279681" y="6004190"/>
                  <a:pt x="4302039" y="5994529"/>
                  <a:pt x="4287027" y="5992853"/>
                </a:cubicBezTo>
                <a:cubicBezTo>
                  <a:pt x="4279681" y="6004190"/>
                  <a:pt x="4263672" y="5997842"/>
                  <a:pt x="4253332" y="5995167"/>
                </a:cubicBezTo>
                <a:cubicBezTo>
                  <a:pt x="4254329" y="5999839"/>
                  <a:pt x="4255329" y="6004508"/>
                  <a:pt x="4250657" y="6005506"/>
                </a:cubicBezTo>
                <a:cubicBezTo>
                  <a:pt x="4249659" y="6000836"/>
                  <a:pt x="4248661" y="5996165"/>
                  <a:pt x="4243989" y="5997163"/>
                </a:cubicBezTo>
                <a:cubicBezTo>
                  <a:pt x="4240317" y="6002832"/>
                  <a:pt x="4226303" y="6005825"/>
                  <a:pt x="4216961" y="6007822"/>
                </a:cubicBezTo>
                <a:cubicBezTo>
                  <a:pt x="4219637" y="5997482"/>
                  <a:pt x="4186939" y="6004467"/>
                  <a:pt x="4183267" y="6010136"/>
                </a:cubicBezTo>
                <a:cubicBezTo>
                  <a:pt x="4178595" y="6011135"/>
                  <a:pt x="4178595" y="6011135"/>
                  <a:pt x="4178595" y="6011135"/>
                </a:cubicBezTo>
                <a:cubicBezTo>
                  <a:pt x="4164583" y="6014128"/>
                  <a:pt x="4176599" y="6001792"/>
                  <a:pt x="4162587" y="6004786"/>
                </a:cubicBezTo>
                <a:cubicBezTo>
                  <a:pt x="4154243" y="6011453"/>
                  <a:pt x="4150570" y="6017122"/>
                  <a:pt x="4126216" y="6017440"/>
                </a:cubicBezTo>
                <a:cubicBezTo>
                  <a:pt x="4115876" y="6014765"/>
                  <a:pt x="4100865" y="6013088"/>
                  <a:pt x="4086851" y="6016083"/>
                </a:cubicBezTo>
                <a:cubicBezTo>
                  <a:pt x="4082181" y="6017080"/>
                  <a:pt x="4072838" y="6019077"/>
                  <a:pt x="4067171" y="6015403"/>
                </a:cubicBezTo>
                <a:cubicBezTo>
                  <a:pt x="4038144" y="6016720"/>
                  <a:pt x="4061501" y="6011729"/>
                  <a:pt x="4040821" y="6006380"/>
                </a:cubicBezTo>
                <a:cubicBezTo>
                  <a:pt x="4024132" y="6019713"/>
                  <a:pt x="3962092" y="6003663"/>
                  <a:pt x="3944405" y="6012325"/>
                </a:cubicBezTo>
                <a:cubicBezTo>
                  <a:pt x="3965085" y="6017676"/>
                  <a:pt x="3925723" y="6016317"/>
                  <a:pt x="3925723" y="6016317"/>
                </a:cubicBezTo>
                <a:cubicBezTo>
                  <a:pt x="3921050" y="6017316"/>
                  <a:pt x="3916380" y="6018314"/>
                  <a:pt x="3911709" y="6019311"/>
                </a:cubicBezTo>
                <a:cubicBezTo>
                  <a:pt x="3852664" y="6017274"/>
                  <a:pt x="3818969" y="6019588"/>
                  <a:pt x="3784954" y="5997550"/>
                </a:cubicBezTo>
                <a:cubicBezTo>
                  <a:pt x="3782279" y="6007888"/>
                  <a:pt x="3744593" y="5991520"/>
                  <a:pt x="3731576" y="5999185"/>
                </a:cubicBezTo>
                <a:cubicBezTo>
                  <a:pt x="3741917" y="6001860"/>
                  <a:pt x="3706225" y="5994832"/>
                  <a:pt x="3701555" y="5995831"/>
                </a:cubicBezTo>
                <a:cubicBezTo>
                  <a:pt x="3701555" y="5995831"/>
                  <a:pt x="3706225" y="5994832"/>
                  <a:pt x="3706225" y="5994832"/>
                </a:cubicBezTo>
                <a:cubicBezTo>
                  <a:pt x="3667859" y="5998145"/>
                  <a:pt x="3636839" y="5990119"/>
                  <a:pt x="3591805" y="5985087"/>
                </a:cubicBezTo>
                <a:cubicBezTo>
                  <a:pt x="3603144" y="5992434"/>
                  <a:pt x="3575797" y="5978739"/>
                  <a:pt x="3573122" y="5989079"/>
                </a:cubicBezTo>
                <a:cubicBezTo>
                  <a:pt x="3571125" y="5979738"/>
                  <a:pt x="3553439" y="5988402"/>
                  <a:pt x="3537430" y="5982053"/>
                </a:cubicBezTo>
                <a:cubicBezTo>
                  <a:pt x="3557113" y="5982733"/>
                  <a:pt x="3542781" y="5961373"/>
                  <a:pt x="3541104" y="5976384"/>
                </a:cubicBezTo>
                <a:cubicBezTo>
                  <a:pt x="3512081" y="5977701"/>
                  <a:pt x="3484733" y="5964007"/>
                  <a:pt x="3465050" y="5963328"/>
                </a:cubicBezTo>
                <a:cubicBezTo>
                  <a:pt x="3476388" y="5970674"/>
                  <a:pt x="3445368" y="5962647"/>
                  <a:pt x="3430358" y="5960971"/>
                </a:cubicBezTo>
                <a:cubicBezTo>
                  <a:pt x="3430358" y="5960971"/>
                  <a:pt x="3435029" y="5959972"/>
                  <a:pt x="3439699" y="5958974"/>
                </a:cubicBezTo>
                <a:cubicBezTo>
                  <a:pt x="3404008" y="5951948"/>
                  <a:pt x="3384325" y="5951268"/>
                  <a:pt x="3363648" y="5945918"/>
                </a:cubicBezTo>
                <a:cubicBezTo>
                  <a:pt x="3342967" y="5940568"/>
                  <a:pt x="3323285" y="5939888"/>
                  <a:pt x="3280927" y="5924516"/>
                </a:cubicBezTo>
                <a:cubicBezTo>
                  <a:pt x="3280927" y="5924516"/>
                  <a:pt x="3290268" y="5922520"/>
                  <a:pt x="3275257" y="5920844"/>
                </a:cubicBezTo>
                <a:cubicBezTo>
                  <a:pt x="3260247" y="5919166"/>
                  <a:pt x="3281924" y="5929188"/>
                  <a:pt x="3261244" y="5923839"/>
                </a:cubicBezTo>
                <a:cubicBezTo>
                  <a:pt x="3244238" y="5912818"/>
                  <a:pt x="3229227" y="5911142"/>
                  <a:pt x="3215214" y="5914135"/>
                </a:cubicBezTo>
                <a:cubicBezTo>
                  <a:pt x="3202877" y="5902119"/>
                  <a:pt x="3203875" y="5906789"/>
                  <a:pt x="3201879" y="5897447"/>
                </a:cubicBezTo>
                <a:cubicBezTo>
                  <a:pt x="3192538" y="5899442"/>
                  <a:pt x="3187867" y="5900441"/>
                  <a:pt x="3172855" y="5898763"/>
                </a:cubicBezTo>
                <a:cubicBezTo>
                  <a:pt x="3171857" y="5894093"/>
                  <a:pt x="3182197" y="5896768"/>
                  <a:pt x="3171857" y="5894093"/>
                </a:cubicBezTo>
                <a:cubicBezTo>
                  <a:pt x="3152175" y="5893412"/>
                  <a:pt x="3128502" y="5874051"/>
                  <a:pt x="3099478" y="5875367"/>
                </a:cubicBezTo>
                <a:cubicBezTo>
                  <a:pt x="3097482" y="5866024"/>
                  <a:pt x="3114489" y="5877044"/>
                  <a:pt x="3119159" y="5876046"/>
                </a:cubicBezTo>
                <a:cubicBezTo>
                  <a:pt x="3096485" y="5861354"/>
                  <a:pt x="3073128" y="5866344"/>
                  <a:pt x="3059795" y="5849654"/>
                </a:cubicBezTo>
                <a:cubicBezTo>
                  <a:pt x="3050452" y="5851652"/>
                  <a:pt x="3072131" y="5861672"/>
                  <a:pt x="3056122" y="5855324"/>
                </a:cubicBezTo>
                <a:cubicBezTo>
                  <a:pt x="3060792" y="5854327"/>
                  <a:pt x="3054124" y="5845982"/>
                  <a:pt x="3039115" y="5844305"/>
                </a:cubicBezTo>
                <a:cubicBezTo>
                  <a:pt x="3026099" y="5851970"/>
                  <a:pt x="3001427" y="5827936"/>
                  <a:pt x="3003423" y="5837278"/>
                </a:cubicBezTo>
                <a:cubicBezTo>
                  <a:pt x="2997755" y="5833604"/>
                  <a:pt x="2992086" y="5829932"/>
                  <a:pt x="2986416" y="5826258"/>
                </a:cubicBezTo>
                <a:cubicBezTo>
                  <a:pt x="2986416" y="5826258"/>
                  <a:pt x="2986416" y="5826258"/>
                  <a:pt x="2981746" y="5827257"/>
                </a:cubicBezTo>
                <a:cubicBezTo>
                  <a:pt x="2987413" y="5830929"/>
                  <a:pt x="2993083" y="5834603"/>
                  <a:pt x="2993083" y="5834603"/>
                </a:cubicBezTo>
                <a:cubicBezTo>
                  <a:pt x="2978073" y="5832925"/>
                  <a:pt x="2965737" y="5820909"/>
                  <a:pt x="2953401" y="5808891"/>
                </a:cubicBezTo>
                <a:cubicBezTo>
                  <a:pt x="2949727" y="5814561"/>
                  <a:pt x="2944059" y="5810887"/>
                  <a:pt x="2937391" y="5802543"/>
                </a:cubicBezTo>
                <a:cubicBezTo>
                  <a:pt x="2928048" y="5804539"/>
                  <a:pt x="2934716" y="5812883"/>
                  <a:pt x="2940386" y="5816557"/>
                </a:cubicBezTo>
                <a:cubicBezTo>
                  <a:pt x="2935713" y="5817555"/>
                  <a:pt x="2935713" y="5817555"/>
                  <a:pt x="2935713" y="5817555"/>
                </a:cubicBezTo>
                <a:cubicBezTo>
                  <a:pt x="2929046" y="5809211"/>
                  <a:pt x="2903696" y="5804858"/>
                  <a:pt x="2902699" y="5800186"/>
                </a:cubicBezTo>
                <a:cubicBezTo>
                  <a:pt x="2901701" y="5795516"/>
                  <a:pt x="2901701" y="5795516"/>
                  <a:pt x="2901701" y="5795516"/>
                </a:cubicBezTo>
                <a:cubicBezTo>
                  <a:pt x="2907370" y="5799188"/>
                  <a:pt x="2912041" y="5798190"/>
                  <a:pt x="2912041" y="5798190"/>
                </a:cubicBezTo>
                <a:cubicBezTo>
                  <a:pt x="2917710" y="5801864"/>
                  <a:pt x="2917710" y="5801864"/>
                  <a:pt x="2917710" y="5801864"/>
                </a:cubicBezTo>
                <a:cubicBezTo>
                  <a:pt x="2922381" y="5800865"/>
                  <a:pt x="2916711" y="5797193"/>
                  <a:pt x="2916711" y="5797193"/>
                </a:cubicBezTo>
                <a:cubicBezTo>
                  <a:pt x="2911042" y="5793520"/>
                  <a:pt x="2905374" y="5789848"/>
                  <a:pt x="2900702" y="5790845"/>
                </a:cubicBezTo>
                <a:cubicBezTo>
                  <a:pt x="2904375" y="5785175"/>
                  <a:pt x="2854671" y="5781142"/>
                  <a:pt x="2878026" y="5776152"/>
                </a:cubicBezTo>
                <a:cubicBezTo>
                  <a:pt x="2863016" y="5774474"/>
                  <a:pt x="2847008" y="5768126"/>
                  <a:pt x="2830996" y="5761779"/>
                </a:cubicBezTo>
                <a:cubicBezTo>
                  <a:pt x="2819659" y="5754432"/>
                  <a:pt x="2808323" y="5747087"/>
                  <a:pt x="2802653" y="5743413"/>
                </a:cubicBezTo>
                <a:cubicBezTo>
                  <a:pt x="2801655" y="5738743"/>
                  <a:pt x="2801655" y="5738743"/>
                  <a:pt x="2796984" y="5739740"/>
                </a:cubicBezTo>
                <a:cubicBezTo>
                  <a:pt x="2796984" y="5739740"/>
                  <a:pt x="2795985" y="5735071"/>
                  <a:pt x="2792311" y="5740738"/>
                </a:cubicBezTo>
                <a:cubicBezTo>
                  <a:pt x="2769637" y="5726046"/>
                  <a:pt x="2729955" y="5700335"/>
                  <a:pt x="2707279" y="5685642"/>
                </a:cubicBezTo>
                <a:cubicBezTo>
                  <a:pt x="2695940" y="5678297"/>
                  <a:pt x="2688275" y="5665282"/>
                  <a:pt x="2676938" y="5657935"/>
                </a:cubicBezTo>
                <a:cubicBezTo>
                  <a:pt x="2624918" y="5620207"/>
                  <a:pt x="2565553" y="5593817"/>
                  <a:pt x="2520882" y="5544750"/>
                </a:cubicBezTo>
                <a:cubicBezTo>
                  <a:pt x="2467186" y="5522032"/>
                  <a:pt x="2439519" y="5483984"/>
                  <a:pt x="2389498" y="5455598"/>
                </a:cubicBezTo>
                <a:cubicBezTo>
                  <a:pt x="2396165" y="5463942"/>
                  <a:pt x="2402831" y="5472286"/>
                  <a:pt x="2399159" y="5477954"/>
                </a:cubicBezTo>
                <a:cubicBezTo>
                  <a:pt x="2382151" y="5466937"/>
                  <a:pt x="2376483" y="5463264"/>
                  <a:pt x="2364147" y="5451245"/>
                </a:cubicBezTo>
                <a:cubicBezTo>
                  <a:pt x="2358476" y="5447574"/>
                  <a:pt x="2352809" y="5443900"/>
                  <a:pt x="2347139" y="5440226"/>
                </a:cubicBezTo>
                <a:cubicBezTo>
                  <a:pt x="2346142" y="5435556"/>
                  <a:pt x="2344146" y="5426213"/>
                  <a:pt x="2345143" y="5430885"/>
                </a:cubicBezTo>
                <a:cubicBezTo>
                  <a:pt x="2338477" y="5422541"/>
                  <a:pt x="2339474" y="5427211"/>
                  <a:pt x="2340472" y="5431882"/>
                </a:cubicBezTo>
                <a:cubicBezTo>
                  <a:pt x="2305461" y="5405174"/>
                  <a:pt x="2318476" y="5397508"/>
                  <a:pt x="2322149" y="5391840"/>
                </a:cubicBezTo>
                <a:cubicBezTo>
                  <a:pt x="2321151" y="5387168"/>
                  <a:pt x="2321151" y="5387168"/>
                  <a:pt x="2315481" y="5383495"/>
                </a:cubicBezTo>
                <a:cubicBezTo>
                  <a:pt x="2315481" y="5383495"/>
                  <a:pt x="2313487" y="5374154"/>
                  <a:pt x="2309813" y="5379823"/>
                </a:cubicBezTo>
                <a:cubicBezTo>
                  <a:pt x="2309813" y="5379823"/>
                  <a:pt x="2308814" y="5375151"/>
                  <a:pt x="2304144" y="5376149"/>
                </a:cubicBezTo>
                <a:cubicBezTo>
                  <a:pt x="2311490" y="5364811"/>
                  <a:pt x="2289812" y="5354789"/>
                  <a:pt x="2280470" y="5356786"/>
                </a:cubicBezTo>
                <a:cubicBezTo>
                  <a:pt x="2279473" y="5352116"/>
                  <a:pt x="2274800" y="5353113"/>
                  <a:pt x="2274800" y="5353113"/>
                </a:cubicBezTo>
                <a:cubicBezTo>
                  <a:pt x="2270129" y="5354112"/>
                  <a:pt x="2270129" y="5354112"/>
                  <a:pt x="2275799" y="5357784"/>
                </a:cubicBezTo>
                <a:cubicBezTo>
                  <a:pt x="2276796" y="5362454"/>
                  <a:pt x="2282467" y="5366128"/>
                  <a:pt x="2282467" y="5366128"/>
                </a:cubicBezTo>
                <a:cubicBezTo>
                  <a:pt x="2278793" y="5371797"/>
                  <a:pt x="2254120" y="5347763"/>
                  <a:pt x="2258113" y="5366446"/>
                </a:cubicBezTo>
                <a:cubicBezTo>
                  <a:pt x="2257114" y="5361775"/>
                  <a:pt x="2257114" y="5361775"/>
                  <a:pt x="2257114" y="5361775"/>
                </a:cubicBezTo>
                <a:cubicBezTo>
                  <a:pt x="2238112" y="5341415"/>
                  <a:pt x="2187771" y="5288675"/>
                  <a:pt x="2230129" y="5304046"/>
                </a:cubicBezTo>
                <a:cubicBezTo>
                  <a:pt x="2229131" y="5299376"/>
                  <a:pt x="2229131" y="5299376"/>
                  <a:pt x="2224460" y="5300373"/>
                </a:cubicBezTo>
                <a:cubicBezTo>
                  <a:pt x="2223461" y="5295703"/>
                  <a:pt x="2223461" y="5295703"/>
                  <a:pt x="2223461" y="5295703"/>
                </a:cubicBezTo>
                <a:cubicBezTo>
                  <a:pt x="2210128" y="5279014"/>
                  <a:pt x="2198790" y="5271669"/>
                  <a:pt x="2184458" y="5250308"/>
                </a:cubicBezTo>
                <a:cubicBezTo>
                  <a:pt x="2181783" y="5260648"/>
                  <a:pt x="2161782" y="5235617"/>
                  <a:pt x="2156113" y="5231944"/>
                </a:cubicBezTo>
                <a:cubicBezTo>
                  <a:pt x="2156113" y="5231944"/>
                  <a:pt x="2156113" y="5231944"/>
                  <a:pt x="2155116" y="5227273"/>
                </a:cubicBezTo>
                <a:cubicBezTo>
                  <a:pt x="2155116" y="5227273"/>
                  <a:pt x="2150443" y="5228270"/>
                  <a:pt x="2150443" y="5228270"/>
                </a:cubicBezTo>
                <a:cubicBezTo>
                  <a:pt x="2144775" y="5224598"/>
                  <a:pt x="2144775" y="5224598"/>
                  <a:pt x="2139106" y="5220925"/>
                </a:cubicBezTo>
                <a:cubicBezTo>
                  <a:pt x="2140105" y="5225596"/>
                  <a:pt x="2140105" y="5225596"/>
                  <a:pt x="2140105" y="5225596"/>
                </a:cubicBezTo>
                <a:cubicBezTo>
                  <a:pt x="2145773" y="5229268"/>
                  <a:pt x="2145773" y="5229268"/>
                  <a:pt x="2146772" y="5233939"/>
                </a:cubicBezTo>
                <a:cubicBezTo>
                  <a:pt x="2146772" y="5233939"/>
                  <a:pt x="2136431" y="5231265"/>
                  <a:pt x="2129765" y="5222920"/>
                </a:cubicBezTo>
                <a:cubicBezTo>
                  <a:pt x="2124095" y="5219247"/>
                  <a:pt x="2112757" y="5211902"/>
                  <a:pt x="2109085" y="5217571"/>
                </a:cubicBezTo>
                <a:cubicBezTo>
                  <a:pt x="2107089" y="5208228"/>
                  <a:pt x="2100421" y="5199886"/>
                  <a:pt x="2093754" y="5191540"/>
                </a:cubicBezTo>
                <a:cubicBezTo>
                  <a:pt x="2098425" y="5190542"/>
                  <a:pt x="2098425" y="5190542"/>
                  <a:pt x="2098425" y="5190542"/>
                </a:cubicBezTo>
                <a:cubicBezTo>
                  <a:pt x="2097428" y="5185872"/>
                  <a:pt x="2097428" y="5185872"/>
                  <a:pt x="2097428" y="5185872"/>
                </a:cubicBezTo>
                <a:cubicBezTo>
                  <a:pt x="2097428" y="5185872"/>
                  <a:pt x="2096431" y="5181200"/>
                  <a:pt x="2091758" y="5182198"/>
                </a:cubicBezTo>
                <a:cubicBezTo>
                  <a:pt x="2090760" y="5177526"/>
                  <a:pt x="2085092" y="5173855"/>
                  <a:pt x="2084094" y="5169184"/>
                </a:cubicBezTo>
                <a:cubicBezTo>
                  <a:pt x="2079423" y="5170181"/>
                  <a:pt x="2078424" y="5165510"/>
                  <a:pt x="2078424" y="5165510"/>
                </a:cubicBezTo>
                <a:cubicBezTo>
                  <a:pt x="2071758" y="5157166"/>
                  <a:pt x="2070760" y="5152495"/>
                  <a:pt x="2074434" y="5146826"/>
                </a:cubicBezTo>
                <a:cubicBezTo>
                  <a:pt x="2082098" y="5159841"/>
                  <a:pt x="2088764" y="5168185"/>
                  <a:pt x="2093436" y="5167188"/>
                </a:cubicBezTo>
                <a:cubicBezTo>
                  <a:pt x="2086768" y="5158842"/>
                  <a:pt x="2091440" y="5157844"/>
                  <a:pt x="2090442" y="5153174"/>
                </a:cubicBezTo>
                <a:cubicBezTo>
                  <a:pt x="2084772" y="5149501"/>
                  <a:pt x="2083775" y="5144830"/>
                  <a:pt x="2078108" y="5141157"/>
                </a:cubicBezTo>
                <a:cubicBezTo>
                  <a:pt x="2061779" y="5110457"/>
                  <a:pt x="2038785" y="5071411"/>
                  <a:pt x="2013114" y="5042706"/>
                </a:cubicBezTo>
                <a:cubicBezTo>
                  <a:pt x="2000779" y="5030688"/>
                  <a:pt x="1982773" y="5014999"/>
                  <a:pt x="1971436" y="5007652"/>
                </a:cubicBezTo>
                <a:cubicBezTo>
                  <a:pt x="1970438" y="5002981"/>
                  <a:pt x="1970438" y="5002981"/>
                  <a:pt x="1975108" y="5001984"/>
                </a:cubicBezTo>
                <a:cubicBezTo>
                  <a:pt x="1974111" y="4997311"/>
                  <a:pt x="1974111" y="4997311"/>
                  <a:pt x="1968442" y="4993638"/>
                </a:cubicBezTo>
                <a:cubicBezTo>
                  <a:pt x="1967443" y="4988969"/>
                  <a:pt x="1962774" y="4989966"/>
                  <a:pt x="1962774" y="4989966"/>
                </a:cubicBezTo>
                <a:cubicBezTo>
                  <a:pt x="1962774" y="4989966"/>
                  <a:pt x="1963771" y="4994637"/>
                  <a:pt x="1963771" y="4994637"/>
                </a:cubicBezTo>
                <a:cubicBezTo>
                  <a:pt x="1958102" y="4990965"/>
                  <a:pt x="1957103" y="4986292"/>
                  <a:pt x="1951435" y="4982619"/>
                </a:cubicBezTo>
                <a:cubicBezTo>
                  <a:pt x="1951435" y="4982619"/>
                  <a:pt x="1950437" y="4977949"/>
                  <a:pt x="1955107" y="4976952"/>
                </a:cubicBezTo>
                <a:cubicBezTo>
                  <a:pt x="1942773" y="4964934"/>
                  <a:pt x="1930437" y="4952916"/>
                  <a:pt x="1923769" y="4944572"/>
                </a:cubicBezTo>
                <a:cubicBezTo>
                  <a:pt x="1923769" y="4944572"/>
                  <a:pt x="1923769" y="4944572"/>
                  <a:pt x="1922772" y="4939901"/>
                </a:cubicBezTo>
                <a:cubicBezTo>
                  <a:pt x="1922772" y="4939901"/>
                  <a:pt x="1918100" y="4940898"/>
                  <a:pt x="1918100" y="4940898"/>
                </a:cubicBezTo>
                <a:cubicBezTo>
                  <a:pt x="1913429" y="4941897"/>
                  <a:pt x="1913429" y="4941897"/>
                  <a:pt x="1913429" y="4941897"/>
                </a:cubicBezTo>
                <a:cubicBezTo>
                  <a:pt x="1913429" y="4941897"/>
                  <a:pt x="1913429" y="4941897"/>
                  <a:pt x="1912432" y="4937227"/>
                </a:cubicBezTo>
                <a:cubicBezTo>
                  <a:pt x="1906763" y="4933553"/>
                  <a:pt x="1902092" y="4934551"/>
                  <a:pt x="1902092" y="4934551"/>
                </a:cubicBezTo>
                <a:lnTo>
                  <a:pt x="1904088" y="4943893"/>
                </a:lnTo>
                <a:lnTo>
                  <a:pt x="1898418" y="4940221"/>
                </a:lnTo>
                <a:cubicBezTo>
                  <a:pt x="1891752" y="4931875"/>
                  <a:pt x="1878418" y="4915188"/>
                  <a:pt x="1873746" y="4916186"/>
                </a:cubicBezTo>
                <a:cubicBezTo>
                  <a:pt x="1851750" y="4881812"/>
                  <a:pt x="1858417" y="4890155"/>
                  <a:pt x="1855423" y="4876142"/>
                </a:cubicBezTo>
                <a:cubicBezTo>
                  <a:pt x="1841090" y="4854784"/>
                  <a:pt x="1853746" y="4891153"/>
                  <a:pt x="1845083" y="4873468"/>
                </a:cubicBezTo>
                <a:cubicBezTo>
                  <a:pt x="1844085" y="4868797"/>
                  <a:pt x="1851432" y="4857458"/>
                  <a:pt x="1840093" y="4850113"/>
                </a:cubicBezTo>
                <a:cubicBezTo>
                  <a:pt x="1842089" y="4859454"/>
                  <a:pt x="1838417" y="4865123"/>
                  <a:pt x="1831749" y="4856779"/>
                </a:cubicBezTo>
                <a:cubicBezTo>
                  <a:pt x="1837418" y="4860453"/>
                  <a:pt x="1833427" y="4841769"/>
                  <a:pt x="1828756" y="4842767"/>
                </a:cubicBezTo>
                <a:cubicBezTo>
                  <a:pt x="1811748" y="4831747"/>
                  <a:pt x="1793107" y="4767351"/>
                  <a:pt x="1767437" y="4738646"/>
                </a:cubicBezTo>
                <a:cubicBezTo>
                  <a:pt x="1774784" y="4727309"/>
                  <a:pt x="1757775" y="4716290"/>
                  <a:pt x="1759453" y="4701279"/>
                </a:cubicBezTo>
                <a:cubicBezTo>
                  <a:pt x="1752106" y="4712616"/>
                  <a:pt x="1732786" y="4667902"/>
                  <a:pt x="1748116" y="4693932"/>
                </a:cubicBezTo>
                <a:cubicBezTo>
                  <a:pt x="1740451" y="4680917"/>
                  <a:pt x="1733783" y="4672573"/>
                  <a:pt x="1730789" y="4658560"/>
                </a:cubicBezTo>
                <a:cubicBezTo>
                  <a:pt x="1727117" y="4664228"/>
                  <a:pt x="1729114" y="4673570"/>
                  <a:pt x="1720450" y="4655885"/>
                </a:cubicBezTo>
                <a:cubicBezTo>
                  <a:pt x="1720450" y="4655885"/>
                  <a:pt x="1725121" y="4654886"/>
                  <a:pt x="1724123" y="4650215"/>
                </a:cubicBezTo>
                <a:cubicBezTo>
                  <a:pt x="1709111" y="4648539"/>
                  <a:pt x="1715142" y="4608176"/>
                  <a:pt x="1694462" y="4602826"/>
                </a:cubicBezTo>
                <a:cubicBezTo>
                  <a:pt x="1701807" y="4591488"/>
                  <a:pt x="1679131" y="4576797"/>
                  <a:pt x="1686478" y="4565458"/>
                </a:cubicBezTo>
                <a:cubicBezTo>
                  <a:pt x="1679810" y="4557114"/>
                  <a:pt x="1675140" y="4558111"/>
                  <a:pt x="1667476" y="4545098"/>
                </a:cubicBezTo>
                <a:cubicBezTo>
                  <a:pt x="1684482" y="4556117"/>
                  <a:pt x="1663483" y="4526412"/>
                  <a:pt x="1666159" y="4516074"/>
                </a:cubicBezTo>
                <a:cubicBezTo>
                  <a:pt x="1650149" y="4509724"/>
                  <a:pt x="1652505" y="4475032"/>
                  <a:pt x="1643164" y="4477028"/>
                </a:cubicBezTo>
                <a:cubicBezTo>
                  <a:pt x="1640169" y="4463014"/>
                  <a:pt x="1640169" y="4463014"/>
                  <a:pt x="1647836" y="4476029"/>
                </a:cubicBezTo>
                <a:cubicBezTo>
                  <a:pt x="1639172" y="4458344"/>
                  <a:pt x="1629511" y="4435986"/>
                  <a:pt x="1625519" y="4417302"/>
                </a:cubicBezTo>
                <a:cubicBezTo>
                  <a:pt x="1631188" y="4420976"/>
                  <a:pt x="1632186" y="4425648"/>
                  <a:pt x="1636858" y="4424649"/>
                </a:cubicBezTo>
                <a:lnTo>
                  <a:pt x="1643326" y="4435630"/>
                </a:lnTo>
                <a:lnTo>
                  <a:pt x="1642725" y="4443543"/>
                </a:lnTo>
                <a:cubicBezTo>
                  <a:pt x="1642765" y="4446586"/>
                  <a:pt x="1641849" y="4448003"/>
                  <a:pt x="1636179" y="4444330"/>
                </a:cubicBezTo>
                <a:cubicBezTo>
                  <a:pt x="1642846" y="4452675"/>
                  <a:pt x="1644841" y="4462017"/>
                  <a:pt x="1649512" y="4461018"/>
                </a:cubicBezTo>
                <a:cubicBezTo>
                  <a:pt x="1651508" y="4470362"/>
                  <a:pt x="1659173" y="4483377"/>
                  <a:pt x="1665839" y="4491720"/>
                </a:cubicBezTo>
                <a:cubicBezTo>
                  <a:pt x="1666838" y="4496392"/>
                  <a:pt x="1666838" y="4496392"/>
                  <a:pt x="1666838" y="4496392"/>
                </a:cubicBezTo>
                <a:cubicBezTo>
                  <a:pt x="1667836" y="4501062"/>
                  <a:pt x="1667836" y="4501062"/>
                  <a:pt x="1667836" y="4501062"/>
                </a:cubicBezTo>
                <a:cubicBezTo>
                  <a:pt x="1672506" y="4500064"/>
                  <a:pt x="1672506" y="4500064"/>
                  <a:pt x="1672506" y="4500064"/>
                </a:cubicBezTo>
                <a:cubicBezTo>
                  <a:pt x="1672506" y="4500064"/>
                  <a:pt x="1675182" y="4489725"/>
                  <a:pt x="1672188" y="4475711"/>
                </a:cubicBezTo>
                <a:cubicBezTo>
                  <a:pt x="1666519" y="4472037"/>
                  <a:pt x="1666519" y="4472037"/>
                  <a:pt x="1666519" y="4472037"/>
                </a:cubicBezTo>
                <a:cubicBezTo>
                  <a:pt x="1665521" y="4467367"/>
                  <a:pt x="1665521" y="4467367"/>
                  <a:pt x="1665521" y="4467367"/>
                </a:cubicBezTo>
                <a:cubicBezTo>
                  <a:pt x="1665521" y="4467367"/>
                  <a:pt x="1664523" y="4462696"/>
                  <a:pt x="1659852" y="4463695"/>
                </a:cubicBezTo>
                <a:cubicBezTo>
                  <a:pt x="1661530" y="4448683"/>
                  <a:pt x="1662527" y="4453355"/>
                  <a:pt x="1652866" y="4430997"/>
                </a:cubicBezTo>
                <a:cubicBezTo>
                  <a:pt x="1657538" y="4429998"/>
                  <a:pt x="1662208" y="4429001"/>
                  <a:pt x="1664883" y="4418662"/>
                </a:cubicBezTo>
                <a:cubicBezTo>
                  <a:pt x="1655222" y="4396304"/>
                  <a:pt x="1662570" y="4384965"/>
                  <a:pt x="1653906" y="4367280"/>
                </a:cubicBezTo>
                <a:cubicBezTo>
                  <a:pt x="1653949" y="4298891"/>
                  <a:pt x="1637981" y="4224156"/>
                  <a:pt x="1626006" y="4168104"/>
                </a:cubicBezTo>
                <a:cubicBezTo>
                  <a:pt x="1625007" y="4163433"/>
                  <a:pt x="1620338" y="4164430"/>
                  <a:pt x="1620338" y="4164430"/>
                </a:cubicBezTo>
                <a:cubicBezTo>
                  <a:pt x="1620338" y="4164430"/>
                  <a:pt x="1615666" y="4165427"/>
                  <a:pt x="1616665" y="4170100"/>
                </a:cubicBezTo>
                <a:cubicBezTo>
                  <a:pt x="1632313" y="4220483"/>
                  <a:pt x="1648280" y="4295219"/>
                  <a:pt x="1646242" y="4354265"/>
                </a:cubicBezTo>
                <a:cubicBezTo>
                  <a:pt x="1646242" y="4354265"/>
                  <a:pt x="1646242" y="4354265"/>
                  <a:pt x="1641572" y="4355264"/>
                </a:cubicBezTo>
                <a:cubicBezTo>
                  <a:pt x="1640573" y="4350591"/>
                  <a:pt x="1640573" y="4350591"/>
                  <a:pt x="1634904" y="4346919"/>
                </a:cubicBezTo>
                <a:cubicBezTo>
                  <a:pt x="1640573" y="4350591"/>
                  <a:pt x="1641572" y="4355264"/>
                  <a:pt x="1642569" y="4359934"/>
                </a:cubicBezTo>
                <a:cubicBezTo>
                  <a:pt x="1642569" y="4359934"/>
                  <a:pt x="1642569" y="4359934"/>
                  <a:pt x="1638895" y="4365602"/>
                </a:cubicBezTo>
                <a:cubicBezTo>
                  <a:pt x="1634904" y="4346919"/>
                  <a:pt x="1627919" y="4314222"/>
                  <a:pt x="1623247" y="4315219"/>
                </a:cubicBezTo>
                <a:cubicBezTo>
                  <a:pt x="1629913" y="4323563"/>
                  <a:pt x="1626241" y="4329233"/>
                  <a:pt x="1621571" y="4330231"/>
                </a:cubicBezTo>
                <a:cubicBezTo>
                  <a:pt x="1614903" y="4321887"/>
                  <a:pt x="1612907" y="4312544"/>
                  <a:pt x="1605241" y="4299529"/>
                </a:cubicBezTo>
                <a:cubicBezTo>
                  <a:pt x="1603246" y="4290188"/>
                  <a:pt x="1603925" y="4270505"/>
                  <a:pt x="1595263" y="4252820"/>
                </a:cubicBezTo>
                <a:cubicBezTo>
                  <a:pt x="1593267" y="4243477"/>
                  <a:pt x="1591271" y="4234135"/>
                  <a:pt x="1584604" y="4225791"/>
                </a:cubicBezTo>
                <a:cubicBezTo>
                  <a:pt x="1576621" y="4188423"/>
                  <a:pt x="1569636" y="4155727"/>
                  <a:pt x="1560653" y="4113688"/>
                </a:cubicBezTo>
                <a:cubicBezTo>
                  <a:pt x="1560653" y="4113688"/>
                  <a:pt x="1556981" y="4119356"/>
                  <a:pt x="1557980" y="4124028"/>
                </a:cubicBezTo>
                <a:cubicBezTo>
                  <a:pt x="1557980" y="4124028"/>
                  <a:pt x="1556981" y="4119356"/>
                  <a:pt x="1556981" y="4119356"/>
                </a:cubicBezTo>
                <a:cubicBezTo>
                  <a:pt x="1555983" y="4114685"/>
                  <a:pt x="1555983" y="4114685"/>
                  <a:pt x="1555983" y="4114685"/>
                </a:cubicBezTo>
                <a:cubicBezTo>
                  <a:pt x="1554987" y="4110014"/>
                  <a:pt x="1554987" y="4110014"/>
                  <a:pt x="1553987" y="4105344"/>
                </a:cubicBezTo>
                <a:cubicBezTo>
                  <a:pt x="1548998" y="4081987"/>
                  <a:pt x="1539337" y="4059632"/>
                  <a:pt x="1535347" y="4040947"/>
                </a:cubicBezTo>
                <a:cubicBezTo>
                  <a:pt x="1534347" y="4036277"/>
                  <a:pt x="1534347" y="4036277"/>
                  <a:pt x="1533348" y="4031606"/>
                </a:cubicBezTo>
                <a:cubicBezTo>
                  <a:pt x="1532351" y="4026934"/>
                  <a:pt x="1531352" y="4022263"/>
                  <a:pt x="1530356" y="4017592"/>
                </a:cubicBezTo>
                <a:cubicBezTo>
                  <a:pt x="1528360" y="4008250"/>
                  <a:pt x="1526363" y="3998908"/>
                  <a:pt x="1524368" y="3989566"/>
                </a:cubicBezTo>
                <a:cubicBezTo>
                  <a:pt x="1523369" y="3984895"/>
                  <a:pt x="1523369" y="3984895"/>
                  <a:pt x="1523369" y="3984895"/>
                </a:cubicBezTo>
                <a:cubicBezTo>
                  <a:pt x="1522372" y="3980224"/>
                  <a:pt x="1522372" y="3980224"/>
                  <a:pt x="1522372" y="3980224"/>
                </a:cubicBezTo>
                <a:cubicBezTo>
                  <a:pt x="1522372" y="3980224"/>
                  <a:pt x="1522372" y="3980224"/>
                  <a:pt x="1517699" y="3981221"/>
                </a:cubicBezTo>
                <a:cubicBezTo>
                  <a:pt x="1521375" y="3975553"/>
                  <a:pt x="1521375" y="3975553"/>
                  <a:pt x="1526045" y="3974555"/>
                </a:cubicBezTo>
                <a:cubicBezTo>
                  <a:pt x="1518380" y="3961540"/>
                  <a:pt x="1518380" y="3961540"/>
                  <a:pt x="1518380" y="3961540"/>
                </a:cubicBezTo>
                <a:cubicBezTo>
                  <a:pt x="1518380" y="3961540"/>
                  <a:pt x="1518380" y="3961540"/>
                  <a:pt x="1514707" y="3967209"/>
                </a:cubicBezTo>
                <a:cubicBezTo>
                  <a:pt x="1513708" y="3962537"/>
                  <a:pt x="1513708" y="3962537"/>
                  <a:pt x="1512710" y="3957867"/>
                </a:cubicBezTo>
                <a:cubicBezTo>
                  <a:pt x="1513390" y="3938185"/>
                  <a:pt x="1508401" y="3914830"/>
                  <a:pt x="1504408" y="3896146"/>
                </a:cubicBezTo>
                <a:cubicBezTo>
                  <a:pt x="1508082" y="3890477"/>
                  <a:pt x="1506086" y="3881136"/>
                  <a:pt x="1505087" y="3876464"/>
                </a:cubicBezTo>
                <a:cubicBezTo>
                  <a:pt x="1504090" y="3871793"/>
                  <a:pt x="1504090" y="3871793"/>
                  <a:pt x="1503093" y="3867123"/>
                </a:cubicBezTo>
                <a:cubicBezTo>
                  <a:pt x="1502096" y="3862450"/>
                  <a:pt x="1505767" y="3856782"/>
                  <a:pt x="1505767" y="3856782"/>
                </a:cubicBezTo>
                <a:cubicBezTo>
                  <a:pt x="1510438" y="3855784"/>
                  <a:pt x="1510438" y="3855784"/>
                  <a:pt x="1511436" y="3860456"/>
                </a:cubicBezTo>
                <a:cubicBezTo>
                  <a:pt x="1511436" y="3860456"/>
                  <a:pt x="1516108" y="3859457"/>
                  <a:pt x="1517105" y="3864128"/>
                </a:cubicBezTo>
                <a:cubicBezTo>
                  <a:pt x="1517105" y="3864128"/>
                  <a:pt x="1517105" y="3864128"/>
                  <a:pt x="1516108" y="3859457"/>
                </a:cubicBezTo>
                <a:cubicBezTo>
                  <a:pt x="1520779" y="3858458"/>
                  <a:pt x="1520779" y="3858458"/>
                  <a:pt x="1520779" y="3858458"/>
                </a:cubicBezTo>
                <a:cubicBezTo>
                  <a:pt x="1519780" y="3853788"/>
                  <a:pt x="1515111" y="3854787"/>
                  <a:pt x="1514112" y="3850114"/>
                </a:cubicBezTo>
                <a:cubicBezTo>
                  <a:pt x="1508442" y="3846442"/>
                  <a:pt x="1507444" y="3841772"/>
                  <a:pt x="1502774" y="3842769"/>
                </a:cubicBezTo>
                <a:cubicBezTo>
                  <a:pt x="1503770" y="3847441"/>
                  <a:pt x="1499101" y="3848438"/>
                  <a:pt x="1499101" y="3848438"/>
                </a:cubicBezTo>
                <a:cubicBezTo>
                  <a:pt x="1499101" y="3848438"/>
                  <a:pt x="1497104" y="3839097"/>
                  <a:pt x="1491436" y="3835424"/>
                </a:cubicBezTo>
                <a:cubicBezTo>
                  <a:pt x="1489440" y="3826080"/>
                  <a:pt x="1488442" y="3821410"/>
                  <a:pt x="1491118" y="3811070"/>
                </a:cubicBezTo>
                <a:cubicBezTo>
                  <a:pt x="1492115" y="3815742"/>
                  <a:pt x="1496785" y="3814743"/>
                  <a:pt x="1496785" y="3814743"/>
                </a:cubicBezTo>
                <a:cubicBezTo>
                  <a:pt x="1495787" y="3810073"/>
                  <a:pt x="1495787" y="3810073"/>
                  <a:pt x="1495787" y="3810073"/>
                </a:cubicBezTo>
                <a:cubicBezTo>
                  <a:pt x="1494791" y="3805402"/>
                  <a:pt x="1494791" y="3805402"/>
                  <a:pt x="1493791" y="3800730"/>
                </a:cubicBezTo>
                <a:cubicBezTo>
                  <a:pt x="1492794" y="3796059"/>
                  <a:pt x="1492794" y="3796059"/>
                  <a:pt x="1492794" y="3796059"/>
                </a:cubicBezTo>
                <a:cubicBezTo>
                  <a:pt x="1492794" y="3796059"/>
                  <a:pt x="1492794" y="3796059"/>
                  <a:pt x="1491796" y="3791389"/>
                </a:cubicBezTo>
                <a:cubicBezTo>
                  <a:pt x="1489799" y="3782046"/>
                  <a:pt x="1488802" y="3777375"/>
                  <a:pt x="1487804" y="3772705"/>
                </a:cubicBezTo>
                <a:cubicBezTo>
                  <a:pt x="1486806" y="3768032"/>
                  <a:pt x="1485808" y="3763362"/>
                  <a:pt x="1484809" y="3758693"/>
                </a:cubicBezTo>
                <a:cubicBezTo>
                  <a:pt x="1488483" y="3753022"/>
                  <a:pt x="1487486" y="3748350"/>
                  <a:pt x="1486487" y="3743680"/>
                </a:cubicBezTo>
                <a:cubicBezTo>
                  <a:pt x="1494833" y="3737012"/>
                  <a:pt x="1485170" y="3714656"/>
                  <a:pt x="1484853" y="3690303"/>
                </a:cubicBezTo>
                <a:cubicBezTo>
                  <a:pt x="1480182" y="3691301"/>
                  <a:pt x="1480182" y="3691301"/>
                  <a:pt x="1480182" y="3691301"/>
                </a:cubicBezTo>
                <a:cubicBezTo>
                  <a:pt x="1476870" y="3652934"/>
                  <a:pt x="1475552" y="3623910"/>
                  <a:pt x="1478906" y="3593889"/>
                </a:cubicBezTo>
                <a:cubicBezTo>
                  <a:pt x="1477909" y="3589218"/>
                  <a:pt x="1482579" y="3588219"/>
                  <a:pt x="1481582" y="3583549"/>
                </a:cubicBezTo>
                <a:cubicBezTo>
                  <a:pt x="1480585" y="3578879"/>
                  <a:pt x="1480585" y="3578879"/>
                  <a:pt x="1480585" y="3578879"/>
                </a:cubicBezTo>
                <a:cubicBezTo>
                  <a:pt x="1476911" y="3584548"/>
                  <a:pt x="1476911" y="3584548"/>
                  <a:pt x="1476911" y="3584548"/>
                </a:cubicBezTo>
                <a:cubicBezTo>
                  <a:pt x="1474916" y="3575204"/>
                  <a:pt x="1478589" y="3569537"/>
                  <a:pt x="1476591" y="3560194"/>
                </a:cubicBezTo>
                <a:cubicBezTo>
                  <a:pt x="1475594" y="3555524"/>
                  <a:pt x="1480266" y="3554525"/>
                  <a:pt x="1480266" y="3554525"/>
                </a:cubicBezTo>
                <a:cubicBezTo>
                  <a:pt x="1479268" y="3549854"/>
                  <a:pt x="1479268" y="3549854"/>
                  <a:pt x="1474596" y="3550853"/>
                </a:cubicBezTo>
                <a:cubicBezTo>
                  <a:pt x="1473599" y="3546181"/>
                  <a:pt x="1478268" y="3545184"/>
                  <a:pt x="1477271" y="3540513"/>
                </a:cubicBezTo>
                <a:cubicBezTo>
                  <a:pt x="1476274" y="3535841"/>
                  <a:pt x="1475275" y="3531170"/>
                  <a:pt x="1477950" y="3520831"/>
                </a:cubicBezTo>
                <a:cubicBezTo>
                  <a:pt x="1477950" y="3520831"/>
                  <a:pt x="1477950" y="3520831"/>
                  <a:pt x="1476953" y="3516159"/>
                </a:cubicBezTo>
                <a:cubicBezTo>
                  <a:pt x="1475956" y="3511487"/>
                  <a:pt x="1474959" y="3506818"/>
                  <a:pt x="1473959" y="3502146"/>
                </a:cubicBezTo>
                <a:cubicBezTo>
                  <a:pt x="1478631" y="3501149"/>
                  <a:pt x="1478631" y="3501149"/>
                  <a:pt x="1478631" y="3501149"/>
                </a:cubicBezTo>
                <a:cubicBezTo>
                  <a:pt x="1477993" y="3452442"/>
                  <a:pt x="1481029" y="3398067"/>
                  <a:pt x="1485742" y="3328682"/>
                </a:cubicBezTo>
                <a:cubicBezTo>
                  <a:pt x="1485742" y="3328682"/>
                  <a:pt x="1491412" y="3332354"/>
                  <a:pt x="1490413" y="3327685"/>
                </a:cubicBezTo>
                <a:cubicBezTo>
                  <a:pt x="1492409" y="3337025"/>
                  <a:pt x="1488735" y="3342694"/>
                  <a:pt x="1490732" y="3352037"/>
                </a:cubicBezTo>
                <a:cubicBezTo>
                  <a:pt x="1491730" y="3356707"/>
                  <a:pt x="1488056" y="3362377"/>
                  <a:pt x="1492048" y="3381061"/>
                </a:cubicBezTo>
                <a:cubicBezTo>
                  <a:pt x="1490370" y="3396071"/>
                  <a:pt x="1488692" y="3411082"/>
                  <a:pt x="1488015" y="3430765"/>
                </a:cubicBezTo>
                <a:cubicBezTo>
                  <a:pt x="1488651" y="3479470"/>
                  <a:pt x="1485616" y="3533845"/>
                  <a:pt x="1496593" y="3585226"/>
                </a:cubicBezTo>
                <a:cubicBezTo>
                  <a:pt x="1496593" y="3585226"/>
                  <a:pt x="1492920" y="3590896"/>
                  <a:pt x="1492920" y="3590896"/>
                </a:cubicBezTo>
                <a:cubicBezTo>
                  <a:pt x="1493920" y="3595566"/>
                  <a:pt x="1493920" y="3595566"/>
                  <a:pt x="1494916" y="3600237"/>
                </a:cubicBezTo>
                <a:cubicBezTo>
                  <a:pt x="1491242" y="3605906"/>
                  <a:pt x="1492240" y="3610578"/>
                  <a:pt x="1493239" y="3615248"/>
                </a:cubicBezTo>
                <a:cubicBezTo>
                  <a:pt x="1497910" y="3614251"/>
                  <a:pt x="1497910" y="3614251"/>
                  <a:pt x="1496911" y="3609580"/>
                </a:cubicBezTo>
                <a:cubicBezTo>
                  <a:pt x="1498908" y="3618921"/>
                  <a:pt x="1499906" y="3623594"/>
                  <a:pt x="1495235" y="3624591"/>
                </a:cubicBezTo>
                <a:cubicBezTo>
                  <a:pt x="1496232" y="3629262"/>
                  <a:pt x="1497229" y="3633932"/>
                  <a:pt x="1498229" y="3638603"/>
                </a:cubicBezTo>
                <a:cubicBezTo>
                  <a:pt x="1502899" y="3637605"/>
                  <a:pt x="1502899" y="3637605"/>
                  <a:pt x="1501903" y="3632933"/>
                </a:cubicBezTo>
                <a:cubicBezTo>
                  <a:pt x="1505575" y="3627266"/>
                  <a:pt x="1504577" y="3622595"/>
                  <a:pt x="1504577" y="3622595"/>
                </a:cubicBezTo>
                <a:cubicBezTo>
                  <a:pt x="1502582" y="3613252"/>
                  <a:pt x="1501584" y="3608581"/>
                  <a:pt x="1500585" y="3603911"/>
                </a:cubicBezTo>
                <a:cubicBezTo>
                  <a:pt x="1500585" y="3603911"/>
                  <a:pt x="1504258" y="3598241"/>
                  <a:pt x="1504258" y="3598241"/>
                </a:cubicBezTo>
                <a:cubicBezTo>
                  <a:pt x="1505255" y="3602912"/>
                  <a:pt x="1509927" y="3601915"/>
                  <a:pt x="1508929" y="3597243"/>
                </a:cubicBezTo>
                <a:cubicBezTo>
                  <a:pt x="1508929" y="3597243"/>
                  <a:pt x="1508929" y="3597243"/>
                  <a:pt x="1507930" y="3592574"/>
                </a:cubicBezTo>
                <a:cubicBezTo>
                  <a:pt x="1507930" y="3592574"/>
                  <a:pt x="1506933" y="3587901"/>
                  <a:pt x="1506933" y="3587901"/>
                </a:cubicBezTo>
                <a:cubicBezTo>
                  <a:pt x="1505936" y="3583231"/>
                  <a:pt x="1501265" y="3584228"/>
                  <a:pt x="1500267" y="3579558"/>
                </a:cubicBezTo>
                <a:cubicBezTo>
                  <a:pt x="1500267" y="3579558"/>
                  <a:pt x="1499268" y="3574887"/>
                  <a:pt x="1499268" y="3574887"/>
                </a:cubicBezTo>
                <a:cubicBezTo>
                  <a:pt x="1499268" y="3574887"/>
                  <a:pt x="1498270" y="3570216"/>
                  <a:pt x="1498270" y="3570216"/>
                </a:cubicBezTo>
                <a:cubicBezTo>
                  <a:pt x="1496273" y="3560873"/>
                  <a:pt x="1498950" y="3550533"/>
                  <a:pt x="1497951" y="3545863"/>
                </a:cubicBezTo>
                <a:cubicBezTo>
                  <a:pt x="1496953" y="3541192"/>
                  <a:pt x="1499629" y="3530852"/>
                  <a:pt x="1502303" y="3520512"/>
                </a:cubicBezTo>
                <a:lnTo>
                  <a:pt x="1503052" y="3524015"/>
                </a:lnTo>
                <a:cubicBezTo>
                  <a:pt x="1503302" y="3525183"/>
                  <a:pt x="1503302" y="3525183"/>
                  <a:pt x="1503302" y="3525183"/>
                </a:cubicBezTo>
                <a:cubicBezTo>
                  <a:pt x="1503302" y="3525183"/>
                  <a:pt x="1504300" y="3529853"/>
                  <a:pt x="1504300" y="3529853"/>
                </a:cubicBezTo>
                <a:cubicBezTo>
                  <a:pt x="1504300" y="3529853"/>
                  <a:pt x="1507974" y="3524184"/>
                  <a:pt x="1507974" y="3524184"/>
                </a:cubicBezTo>
                <a:cubicBezTo>
                  <a:pt x="1504979" y="3510172"/>
                  <a:pt x="1504979" y="3510172"/>
                  <a:pt x="1504979" y="3510172"/>
                </a:cubicBezTo>
                <a:cubicBezTo>
                  <a:pt x="1504979" y="3510172"/>
                  <a:pt x="1503981" y="3505501"/>
                  <a:pt x="1502984" y="3500831"/>
                </a:cubicBezTo>
                <a:cubicBezTo>
                  <a:pt x="1511010" y="3469809"/>
                  <a:pt x="1512685" y="3454799"/>
                  <a:pt x="1505701" y="3422101"/>
                </a:cubicBezTo>
                <a:cubicBezTo>
                  <a:pt x="1505701" y="3422101"/>
                  <a:pt x="1504702" y="3417432"/>
                  <a:pt x="1504702" y="3417432"/>
                </a:cubicBezTo>
                <a:cubicBezTo>
                  <a:pt x="1507378" y="3407090"/>
                  <a:pt x="1510053" y="3396751"/>
                  <a:pt x="1513725" y="3391082"/>
                </a:cubicBezTo>
                <a:cubicBezTo>
                  <a:pt x="1506062" y="3378068"/>
                  <a:pt x="1515402" y="3376070"/>
                  <a:pt x="1517081" y="3361059"/>
                </a:cubicBezTo>
                <a:cubicBezTo>
                  <a:pt x="1523110" y="3320699"/>
                  <a:pt x="1522473" y="3271993"/>
                  <a:pt x="1537845" y="3229635"/>
                </a:cubicBezTo>
                <a:lnTo>
                  <a:pt x="1537470" y="3237096"/>
                </a:lnTo>
                <a:lnTo>
                  <a:pt x="1536167" y="3244645"/>
                </a:lnTo>
                <a:cubicBezTo>
                  <a:pt x="1536167" y="3244645"/>
                  <a:pt x="1536836" y="3242059"/>
                  <a:pt x="1537380" y="3238891"/>
                </a:cubicBezTo>
                <a:lnTo>
                  <a:pt x="1537470" y="3237096"/>
                </a:lnTo>
                <a:lnTo>
                  <a:pt x="1547897" y="3176681"/>
                </a:lnTo>
                <a:lnTo>
                  <a:pt x="1545573" y="3277555"/>
                </a:lnTo>
                <a:cubicBezTo>
                  <a:pt x="1546668" y="3464676"/>
                  <a:pt x="1564032" y="3649179"/>
                  <a:pt x="1597367" y="3833692"/>
                </a:cubicBezTo>
                <a:cubicBezTo>
                  <a:pt x="1599024" y="3841449"/>
                  <a:pt x="1600268" y="3847267"/>
                  <a:pt x="1601925" y="3855026"/>
                </a:cubicBezTo>
                <a:cubicBezTo>
                  <a:pt x="1621187" y="3840769"/>
                  <a:pt x="1613581" y="3824145"/>
                  <a:pt x="1610266" y="3808629"/>
                </a:cubicBezTo>
                <a:cubicBezTo>
                  <a:pt x="1558492" y="3537815"/>
                  <a:pt x="1552907" y="3274371"/>
                  <a:pt x="1591906" y="3017877"/>
                </a:cubicBezTo>
                <a:lnTo>
                  <a:pt x="1617063" y="2889971"/>
                </a:lnTo>
                <a:lnTo>
                  <a:pt x="1617864" y="2892622"/>
                </a:lnTo>
                <a:cubicBezTo>
                  <a:pt x="1618030" y="2896252"/>
                  <a:pt x="1618778" y="2899754"/>
                  <a:pt x="1623449" y="2898755"/>
                </a:cubicBezTo>
                <a:cubicBezTo>
                  <a:pt x="1627462" y="2883247"/>
                  <a:pt x="1623709" y="2882826"/>
                  <a:pt x="1621000" y="2881573"/>
                </a:cubicBezTo>
                <a:lnTo>
                  <a:pt x="1619374" y="2878224"/>
                </a:lnTo>
                <a:lnTo>
                  <a:pt x="1620680" y="2871580"/>
                </a:lnTo>
                <a:lnTo>
                  <a:pt x="1624809" y="2859392"/>
                </a:lnTo>
                <a:cubicBezTo>
                  <a:pt x="1624809" y="2859392"/>
                  <a:pt x="1625807" y="2864063"/>
                  <a:pt x="1626805" y="2868734"/>
                </a:cubicBezTo>
                <a:cubicBezTo>
                  <a:pt x="1637504" y="2827374"/>
                  <a:pt x="1654871" y="2794358"/>
                  <a:pt x="1653555" y="2765334"/>
                </a:cubicBezTo>
                <a:cubicBezTo>
                  <a:pt x="1653555" y="2765334"/>
                  <a:pt x="1655550" y="2774676"/>
                  <a:pt x="1659225" y="2769008"/>
                </a:cubicBezTo>
                <a:cubicBezTo>
                  <a:pt x="1653237" y="2740980"/>
                  <a:pt x="1672600" y="2717308"/>
                  <a:pt x="1687292" y="2694632"/>
                </a:cubicBezTo>
                <a:cubicBezTo>
                  <a:pt x="1689650" y="2659938"/>
                  <a:pt x="1703343" y="2632592"/>
                  <a:pt x="1721709" y="2604247"/>
                </a:cubicBezTo>
                <a:cubicBezTo>
                  <a:pt x="1735404" y="2576901"/>
                  <a:pt x="1754767" y="2553227"/>
                  <a:pt x="1765467" y="2511867"/>
                </a:cubicBezTo>
                <a:cubicBezTo>
                  <a:pt x="1770138" y="2510869"/>
                  <a:pt x="1770138" y="2510869"/>
                  <a:pt x="1770138" y="2510869"/>
                </a:cubicBezTo>
                <a:cubicBezTo>
                  <a:pt x="1767464" y="2521209"/>
                  <a:pt x="1767464" y="2521209"/>
                  <a:pt x="1767464" y="2521209"/>
                </a:cubicBezTo>
                <a:cubicBezTo>
                  <a:pt x="1767464" y="2521209"/>
                  <a:pt x="1767464" y="2521209"/>
                  <a:pt x="1772134" y="2520212"/>
                </a:cubicBezTo>
                <a:cubicBezTo>
                  <a:pt x="1771136" y="2515541"/>
                  <a:pt x="1771136" y="2515541"/>
                  <a:pt x="1771136" y="2515541"/>
                </a:cubicBezTo>
                <a:cubicBezTo>
                  <a:pt x="1774810" y="2509871"/>
                  <a:pt x="1774810" y="2509871"/>
                  <a:pt x="1774810" y="2509871"/>
                </a:cubicBezTo>
                <a:cubicBezTo>
                  <a:pt x="1778482" y="2504202"/>
                  <a:pt x="1784831" y="2488195"/>
                  <a:pt x="1792178" y="2476856"/>
                </a:cubicBezTo>
                <a:cubicBezTo>
                  <a:pt x="1791179" y="2472185"/>
                  <a:pt x="1786509" y="2473183"/>
                  <a:pt x="1790180" y="2467514"/>
                </a:cubicBezTo>
                <a:cubicBezTo>
                  <a:pt x="1790180" y="2467514"/>
                  <a:pt x="1789183" y="2462842"/>
                  <a:pt x="1793854" y="2461845"/>
                </a:cubicBezTo>
                <a:cubicBezTo>
                  <a:pt x="1793854" y="2461845"/>
                  <a:pt x="1790180" y="2467514"/>
                  <a:pt x="1795850" y="2471187"/>
                </a:cubicBezTo>
                <a:cubicBezTo>
                  <a:pt x="1798526" y="2460847"/>
                  <a:pt x="1797527" y="2456176"/>
                  <a:pt x="1801201" y="2450507"/>
                </a:cubicBezTo>
                <a:cubicBezTo>
                  <a:pt x="1801201" y="2450507"/>
                  <a:pt x="1801201" y="2450507"/>
                  <a:pt x="1802198" y="2455177"/>
                </a:cubicBezTo>
                <a:cubicBezTo>
                  <a:pt x="1803197" y="2459849"/>
                  <a:pt x="1803197" y="2459849"/>
                  <a:pt x="1803197" y="2459849"/>
                </a:cubicBezTo>
                <a:cubicBezTo>
                  <a:pt x="1803197" y="2459849"/>
                  <a:pt x="1807868" y="2458850"/>
                  <a:pt x="1807868" y="2458850"/>
                </a:cubicBezTo>
                <a:cubicBezTo>
                  <a:pt x="1807868" y="2458850"/>
                  <a:pt x="1806871" y="2454180"/>
                  <a:pt x="1806871" y="2454180"/>
                </a:cubicBezTo>
                <a:cubicBezTo>
                  <a:pt x="1810542" y="2448511"/>
                  <a:pt x="1805872" y="2449510"/>
                  <a:pt x="1804873" y="2444837"/>
                </a:cubicBezTo>
                <a:cubicBezTo>
                  <a:pt x="1803876" y="2440166"/>
                  <a:pt x="1808546" y="2439168"/>
                  <a:pt x="1807549" y="2434499"/>
                </a:cubicBezTo>
                <a:cubicBezTo>
                  <a:pt x="1808546" y="2439168"/>
                  <a:pt x="1813219" y="2438170"/>
                  <a:pt x="1812220" y="2433500"/>
                </a:cubicBezTo>
                <a:cubicBezTo>
                  <a:pt x="1815894" y="2427831"/>
                  <a:pt x="1815894" y="2427831"/>
                  <a:pt x="1815894" y="2427831"/>
                </a:cubicBezTo>
                <a:cubicBezTo>
                  <a:pt x="1815894" y="2427831"/>
                  <a:pt x="1814895" y="2423160"/>
                  <a:pt x="1814895" y="2423160"/>
                </a:cubicBezTo>
                <a:cubicBezTo>
                  <a:pt x="1818568" y="2417492"/>
                  <a:pt x="1817570" y="2412820"/>
                  <a:pt x="1822240" y="2411823"/>
                </a:cubicBezTo>
                <a:lnTo>
                  <a:pt x="1825914" y="2406152"/>
                </a:lnTo>
                <a:lnTo>
                  <a:pt x="1826913" y="2410824"/>
                </a:lnTo>
                <a:cubicBezTo>
                  <a:pt x="1830586" y="2405155"/>
                  <a:pt x="1830586" y="2405155"/>
                  <a:pt x="1830586" y="2405155"/>
                </a:cubicBezTo>
                <a:cubicBezTo>
                  <a:pt x="1829587" y="2400485"/>
                  <a:pt x="1834258" y="2399486"/>
                  <a:pt x="1833261" y="2394815"/>
                </a:cubicBezTo>
                <a:cubicBezTo>
                  <a:pt x="1838929" y="2398489"/>
                  <a:pt x="1841605" y="2388148"/>
                  <a:pt x="1845277" y="2382479"/>
                </a:cubicBezTo>
                <a:cubicBezTo>
                  <a:pt x="1847273" y="2391822"/>
                  <a:pt x="1854620" y="2380483"/>
                  <a:pt x="1851945" y="2390824"/>
                </a:cubicBezTo>
                <a:cubicBezTo>
                  <a:pt x="1861966" y="2369146"/>
                  <a:pt x="1861966" y="2369146"/>
                  <a:pt x="1861966" y="2369146"/>
                </a:cubicBezTo>
                <a:cubicBezTo>
                  <a:pt x="1861966" y="2369146"/>
                  <a:pt x="1866636" y="2368147"/>
                  <a:pt x="1866636" y="2368147"/>
                </a:cubicBezTo>
                <a:cubicBezTo>
                  <a:pt x="1867635" y="2372820"/>
                  <a:pt x="1867635" y="2372820"/>
                  <a:pt x="1867635" y="2372820"/>
                </a:cubicBezTo>
                <a:cubicBezTo>
                  <a:pt x="1863962" y="2378487"/>
                  <a:pt x="1863962" y="2378487"/>
                  <a:pt x="1863962" y="2378487"/>
                </a:cubicBezTo>
                <a:cubicBezTo>
                  <a:pt x="1860289" y="2384157"/>
                  <a:pt x="1860289" y="2384157"/>
                  <a:pt x="1864960" y="2383159"/>
                </a:cubicBezTo>
                <a:cubicBezTo>
                  <a:pt x="1864960" y="2383159"/>
                  <a:pt x="1864960" y="2383159"/>
                  <a:pt x="1869631" y="2382161"/>
                </a:cubicBezTo>
                <a:cubicBezTo>
                  <a:pt x="1868632" y="2377489"/>
                  <a:pt x="1868632" y="2377489"/>
                  <a:pt x="1868632" y="2377489"/>
                </a:cubicBezTo>
                <a:cubicBezTo>
                  <a:pt x="1872306" y="2371821"/>
                  <a:pt x="1872306" y="2371821"/>
                  <a:pt x="1872306" y="2371821"/>
                </a:cubicBezTo>
                <a:cubicBezTo>
                  <a:pt x="1871309" y="2367149"/>
                  <a:pt x="1871309" y="2367149"/>
                  <a:pt x="1870310" y="2362478"/>
                </a:cubicBezTo>
                <a:cubicBezTo>
                  <a:pt x="1870310" y="2362478"/>
                  <a:pt x="1865639" y="2363477"/>
                  <a:pt x="1865639" y="2363477"/>
                </a:cubicBezTo>
                <a:cubicBezTo>
                  <a:pt x="1874662" y="2337128"/>
                  <a:pt x="1874662" y="2337128"/>
                  <a:pt x="1877339" y="2326787"/>
                </a:cubicBezTo>
                <a:cubicBezTo>
                  <a:pt x="1869991" y="2338127"/>
                  <a:pt x="1868993" y="2333455"/>
                  <a:pt x="1864323" y="2334453"/>
                </a:cubicBezTo>
                <a:cubicBezTo>
                  <a:pt x="1867996" y="2328783"/>
                  <a:pt x="1871668" y="2323114"/>
                  <a:pt x="1875342" y="2317445"/>
                </a:cubicBezTo>
                <a:cubicBezTo>
                  <a:pt x="1879015" y="2311777"/>
                  <a:pt x="1882688" y="2306108"/>
                  <a:pt x="1886360" y="2300440"/>
                </a:cubicBezTo>
                <a:cubicBezTo>
                  <a:pt x="1890034" y="2294769"/>
                  <a:pt x="1889037" y="2290099"/>
                  <a:pt x="1893707" y="2289102"/>
                </a:cubicBezTo>
                <a:cubicBezTo>
                  <a:pt x="1893707" y="2289102"/>
                  <a:pt x="1894705" y="2293772"/>
                  <a:pt x="1895703" y="2298443"/>
                </a:cubicBezTo>
                <a:cubicBezTo>
                  <a:pt x="1905725" y="2276764"/>
                  <a:pt x="1905725" y="2276764"/>
                  <a:pt x="1905725" y="2276764"/>
                </a:cubicBezTo>
                <a:cubicBezTo>
                  <a:pt x="1910394" y="2275767"/>
                  <a:pt x="1910394" y="2275767"/>
                  <a:pt x="1910394" y="2275767"/>
                </a:cubicBezTo>
                <a:cubicBezTo>
                  <a:pt x="1911393" y="2280438"/>
                  <a:pt x="1911393" y="2280438"/>
                  <a:pt x="1912391" y="2285110"/>
                </a:cubicBezTo>
                <a:cubicBezTo>
                  <a:pt x="1917063" y="2284111"/>
                  <a:pt x="1917063" y="2284111"/>
                  <a:pt x="1917063" y="2284111"/>
                </a:cubicBezTo>
                <a:cubicBezTo>
                  <a:pt x="1917063" y="2284111"/>
                  <a:pt x="1916065" y="2279441"/>
                  <a:pt x="1916065" y="2279441"/>
                </a:cubicBezTo>
                <a:cubicBezTo>
                  <a:pt x="1920736" y="2278443"/>
                  <a:pt x="1920736" y="2278443"/>
                  <a:pt x="1920736" y="2278443"/>
                </a:cubicBezTo>
                <a:cubicBezTo>
                  <a:pt x="1919737" y="2273771"/>
                  <a:pt x="1919737" y="2273771"/>
                  <a:pt x="1918740" y="2269100"/>
                </a:cubicBezTo>
                <a:cubicBezTo>
                  <a:pt x="1918740" y="2269100"/>
                  <a:pt x="1918740" y="2269100"/>
                  <a:pt x="1922414" y="2263431"/>
                </a:cubicBezTo>
                <a:cubicBezTo>
                  <a:pt x="1922414" y="2263431"/>
                  <a:pt x="1922414" y="2263431"/>
                  <a:pt x="1926085" y="2257763"/>
                </a:cubicBezTo>
                <a:cubicBezTo>
                  <a:pt x="1926085" y="2257763"/>
                  <a:pt x="1930756" y="2256764"/>
                  <a:pt x="1930756" y="2256764"/>
                </a:cubicBezTo>
                <a:cubicBezTo>
                  <a:pt x="1930756" y="2256764"/>
                  <a:pt x="1931755" y="2261436"/>
                  <a:pt x="1931755" y="2261436"/>
                </a:cubicBezTo>
                <a:cubicBezTo>
                  <a:pt x="1928081" y="2267104"/>
                  <a:pt x="1929080" y="2271775"/>
                  <a:pt x="1929080" y="2271775"/>
                </a:cubicBezTo>
                <a:cubicBezTo>
                  <a:pt x="1924410" y="2272774"/>
                  <a:pt x="1925407" y="2277444"/>
                  <a:pt x="1926405" y="2282115"/>
                </a:cubicBezTo>
                <a:cubicBezTo>
                  <a:pt x="1930077" y="2276446"/>
                  <a:pt x="1930077" y="2276446"/>
                  <a:pt x="1934748" y="2275449"/>
                </a:cubicBezTo>
                <a:cubicBezTo>
                  <a:pt x="1937424" y="2265107"/>
                  <a:pt x="1936426" y="2260438"/>
                  <a:pt x="1940099" y="2254769"/>
                </a:cubicBezTo>
                <a:cubicBezTo>
                  <a:pt x="1940099" y="2254769"/>
                  <a:pt x="1939100" y="2250098"/>
                  <a:pt x="1939100" y="2250098"/>
                </a:cubicBezTo>
                <a:cubicBezTo>
                  <a:pt x="1942774" y="2244429"/>
                  <a:pt x="1941777" y="2239758"/>
                  <a:pt x="1940779" y="2235086"/>
                </a:cubicBezTo>
                <a:cubicBezTo>
                  <a:pt x="1945449" y="2234089"/>
                  <a:pt x="1945449" y="2234089"/>
                  <a:pt x="1945449" y="2234089"/>
                </a:cubicBezTo>
                <a:cubicBezTo>
                  <a:pt x="1956468" y="2217082"/>
                  <a:pt x="1975833" y="2193408"/>
                  <a:pt x="1985855" y="2171731"/>
                </a:cubicBezTo>
                <a:cubicBezTo>
                  <a:pt x="1985855" y="2171731"/>
                  <a:pt x="1989527" y="2166061"/>
                  <a:pt x="1989527" y="2166061"/>
                </a:cubicBezTo>
                <a:cubicBezTo>
                  <a:pt x="1989527" y="2166061"/>
                  <a:pt x="1994197" y="2165063"/>
                  <a:pt x="1993200" y="2160392"/>
                </a:cubicBezTo>
                <a:cubicBezTo>
                  <a:pt x="1997871" y="2159393"/>
                  <a:pt x="1996872" y="2154724"/>
                  <a:pt x="2000546" y="2149055"/>
                </a:cubicBezTo>
                <a:cubicBezTo>
                  <a:pt x="2000546" y="2149055"/>
                  <a:pt x="2004219" y="2143386"/>
                  <a:pt x="2004219" y="2143386"/>
                </a:cubicBezTo>
                <a:cubicBezTo>
                  <a:pt x="2007891" y="2137717"/>
                  <a:pt x="2011565" y="2132049"/>
                  <a:pt x="2015238" y="2126379"/>
                </a:cubicBezTo>
                <a:cubicBezTo>
                  <a:pt x="2019909" y="2125381"/>
                  <a:pt x="2023582" y="2119712"/>
                  <a:pt x="2022584" y="2115041"/>
                </a:cubicBezTo>
                <a:cubicBezTo>
                  <a:pt x="2027256" y="2114043"/>
                  <a:pt x="2027256" y="2114043"/>
                  <a:pt x="2027256" y="2114043"/>
                </a:cubicBezTo>
                <a:cubicBezTo>
                  <a:pt x="2030930" y="2108374"/>
                  <a:pt x="2040950" y="2086695"/>
                  <a:pt x="2057639" y="2073362"/>
                </a:cubicBezTo>
                <a:cubicBezTo>
                  <a:pt x="2058976" y="2068192"/>
                  <a:pt x="2064486" y="2059689"/>
                  <a:pt x="2070330" y="2049893"/>
                </a:cubicBezTo>
                <a:lnTo>
                  <a:pt x="2084675" y="2019414"/>
                </a:lnTo>
                <a:lnTo>
                  <a:pt x="2085251" y="2026039"/>
                </a:lnTo>
                <a:cubicBezTo>
                  <a:pt x="2087737" y="2037676"/>
                  <a:pt x="2077757" y="2047919"/>
                  <a:pt x="2069717" y="2057748"/>
                </a:cubicBezTo>
                <a:cubicBezTo>
                  <a:pt x="2017728" y="2127663"/>
                  <a:pt x="1974742" y="2201739"/>
                  <a:pt x="1934524" y="2279281"/>
                </a:cubicBezTo>
                <a:cubicBezTo>
                  <a:pt x="1930361" y="2288281"/>
                  <a:pt x="1909160" y="2302950"/>
                  <a:pt x="1942264" y="2306017"/>
                </a:cubicBezTo>
                <a:cubicBezTo>
                  <a:pt x="1960962" y="2308106"/>
                  <a:pt x="1944468" y="2325825"/>
                  <a:pt x="1939891" y="2332886"/>
                </a:cubicBezTo>
                <a:cubicBezTo>
                  <a:pt x="1849193" y="2506383"/>
                  <a:pt x="1784668" y="2688482"/>
                  <a:pt x="1744379" y="2879600"/>
                </a:cubicBezTo>
                <a:cubicBezTo>
                  <a:pt x="1692415" y="3129990"/>
                  <a:pt x="1689487" y="3382073"/>
                  <a:pt x="1717309" y="3635697"/>
                </a:cubicBezTo>
                <a:cubicBezTo>
                  <a:pt x="1717724" y="3637636"/>
                  <a:pt x="1718552" y="3641516"/>
                  <a:pt x="1724502" y="3650384"/>
                </a:cubicBezTo>
                <a:cubicBezTo>
                  <a:pt x="1752970" y="3536823"/>
                  <a:pt x="1709128" y="3426545"/>
                  <a:pt x="1738840" y="3318804"/>
                </a:cubicBezTo>
                <a:cubicBezTo>
                  <a:pt x="1737957" y="3400107"/>
                  <a:pt x="1779048" y="3478528"/>
                  <a:pt x="1762235" y="3561205"/>
                </a:cubicBezTo>
                <a:cubicBezTo>
                  <a:pt x="1759459" y="3571939"/>
                  <a:pt x="1758032" y="3581877"/>
                  <a:pt x="1759082" y="3591538"/>
                </a:cubicBezTo>
                <a:lnTo>
                  <a:pt x="1769723" y="3617611"/>
                </a:lnTo>
                <a:lnTo>
                  <a:pt x="1769321" y="3612476"/>
                </a:lnTo>
                <a:cubicBezTo>
                  <a:pt x="1768377" y="3343615"/>
                  <a:pt x="1773244" y="3074852"/>
                  <a:pt x="1833782" y="2810787"/>
                </a:cubicBezTo>
                <a:cubicBezTo>
                  <a:pt x="1865196" y="2671762"/>
                  <a:pt x="1915310" y="2539207"/>
                  <a:pt x="1970873" y="2408113"/>
                </a:cubicBezTo>
                <a:cubicBezTo>
                  <a:pt x="1988730" y="2363264"/>
                  <a:pt x="2010672" y="2319508"/>
                  <a:pt x="2031252" y="2275389"/>
                </a:cubicBezTo>
                <a:cubicBezTo>
                  <a:pt x="2040446" y="2257416"/>
                  <a:pt x="2051370" y="2238445"/>
                  <a:pt x="2065646" y="2223293"/>
                </a:cubicBezTo>
                <a:cubicBezTo>
                  <a:pt x="2085835" y="2202426"/>
                  <a:pt x="2098581" y="2176645"/>
                  <a:pt x="2102160" y="2146947"/>
                </a:cubicBezTo>
                <a:cubicBezTo>
                  <a:pt x="2103817" y="2129872"/>
                  <a:pt x="2111187" y="2118708"/>
                  <a:pt x="2129354" y="2116277"/>
                </a:cubicBezTo>
                <a:cubicBezTo>
                  <a:pt x="2150611" y="2113214"/>
                  <a:pt x="2162799" y="2100422"/>
                  <a:pt x="2168272" y="2079992"/>
                </a:cubicBezTo>
                <a:cubicBezTo>
                  <a:pt x="2176666" y="2048665"/>
                  <a:pt x="2195226" y="2022981"/>
                  <a:pt x="2217506" y="1999754"/>
                </a:cubicBezTo>
                <a:cubicBezTo>
                  <a:pt x="2256156" y="1959018"/>
                  <a:pt x="2296168" y="1918645"/>
                  <a:pt x="2332460" y="1875815"/>
                </a:cubicBezTo>
                <a:cubicBezTo>
                  <a:pt x="2437515" y="1750682"/>
                  <a:pt x="2572408" y="1661282"/>
                  <a:pt x="2704943" y="1569790"/>
                </a:cubicBezTo>
                <a:cubicBezTo>
                  <a:pt x="2789027" y="1512030"/>
                  <a:pt x="2871749" y="1453905"/>
                  <a:pt x="2964173" y="1408599"/>
                </a:cubicBezTo>
                <a:cubicBezTo>
                  <a:pt x="2970715" y="1405972"/>
                  <a:pt x="2977624" y="1401982"/>
                  <a:pt x="2984167" y="1399357"/>
                </a:cubicBezTo>
                <a:cubicBezTo>
                  <a:pt x="2995889" y="1393739"/>
                  <a:pt x="3004328" y="1400380"/>
                  <a:pt x="3008948" y="1410376"/>
                </a:cubicBezTo>
                <a:cubicBezTo>
                  <a:pt x="3013203" y="1421736"/>
                  <a:pt x="3003936" y="1423631"/>
                  <a:pt x="2995666" y="1427255"/>
                </a:cubicBezTo>
                <a:cubicBezTo>
                  <a:pt x="2947411" y="1449362"/>
                  <a:pt x="2899789" y="1474555"/>
                  <a:pt x="2856153" y="1506659"/>
                </a:cubicBezTo>
                <a:cubicBezTo>
                  <a:pt x="2848880" y="1512010"/>
                  <a:pt x="2840247" y="1516995"/>
                  <a:pt x="2836329" y="1526166"/>
                </a:cubicBezTo>
                <a:cubicBezTo>
                  <a:pt x="2835965" y="1527527"/>
                  <a:pt x="2833508" y="1531248"/>
                  <a:pt x="2834871" y="1531611"/>
                </a:cubicBezTo>
                <a:cubicBezTo>
                  <a:pt x="2836864" y="1535067"/>
                  <a:pt x="2838957" y="1532707"/>
                  <a:pt x="2839687" y="1529983"/>
                </a:cubicBezTo>
                <a:cubicBezTo>
                  <a:pt x="2929020" y="1485309"/>
                  <a:pt x="3015366" y="1435454"/>
                  <a:pt x="3105334" y="1393869"/>
                </a:cubicBezTo>
                <a:cubicBezTo>
                  <a:pt x="3133597" y="1381004"/>
                  <a:pt x="3161494" y="1369500"/>
                  <a:pt x="3190120" y="1355273"/>
                </a:cubicBezTo>
                <a:cubicBezTo>
                  <a:pt x="3193392" y="1353961"/>
                  <a:pt x="3197253" y="1353171"/>
                  <a:pt x="3200753" y="1351005"/>
                </a:cubicBezTo>
                <a:lnTo>
                  <a:pt x="3205367" y="1344182"/>
                </a:lnTo>
                <a:lnTo>
                  <a:pt x="3191596" y="1347596"/>
                </a:lnTo>
                <a:lnTo>
                  <a:pt x="3208716" y="1339231"/>
                </a:lnTo>
                <a:lnTo>
                  <a:pt x="3209214" y="1338493"/>
                </a:lnTo>
                <a:cubicBezTo>
                  <a:pt x="3157701" y="1350967"/>
                  <a:pt x="3114333" y="1387521"/>
                  <a:pt x="3058956" y="1365383"/>
                </a:cubicBezTo>
                <a:cubicBezTo>
                  <a:pt x="3107759" y="1341234"/>
                  <a:pt x="3157098" y="1319510"/>
                  <a:pt x="3207049" y="1300185"/>
                </a:cubicBezTo>
                <a:lnTo>
                  <a:pt x="3244299" y="1287715"/>
                </a:lnTo>
                <a:lnTo>
                  <a:pt x="3186359" y="1304100"/>
                </a:lnTo>
                <a:cubicBezTo>
                  <a:pt x="3129003" y="1320412"/>
                  <a:pt x="3072475" y="1340600"/>
                  <a:pt x="3018716" y="1364251"/>
                </a:cubicBezTo>
                <a:cubicBezTo>
                  <a:pt x="2962603" y="1386380"/>
                  <a:pt x="2911611" y="1413497"/>
                  <a:pt x="2856327" y="1439503"/>
                </a:cubicBezTo>
                <a:cubicBezTo>
                  <a:pt x="2851074" y="1424403"/>
                  <a:pt x="2869357" y="1424553"/>
                  <a:pt x="2869223" y="1414441"/>
                </a:cubicBezTo>
                <a:cubicBezTo>
                  <a:pt x="2866871" y="1412916"/>
                  <a:pt x="2864517" y="1411392"/>
                  <a:pt x="2862577" y="1411805"/>
                </a:cubicBezTo>
                <a:cubicBezTo>
                  <a:pt x="2823787" y="1420092"/>
                  <a:pt x="2790949" y="1437247"/>
                  <a:pt x="2756585" y="1456757"/>
                </a:cubicBezTo>
                <a:cubicBezTo>
                  <a:pt x="2653905" y="1517224"/>
                  <a:pt x="2556349" y="1582679"/>
                  <a:pt x="2462803" y="1657418"/>
                </a:cubicBezTo>
                <a:cubicBezTo>
                  <a:pt x="2442013" y="1674026"/>
                  <a:pt x="2420397" y="1686755"/>
                  <a:pt x="2392001" y="1686740"/>
                </a:cubicBezTo>
                <a:cubicBezTo>
                  <a:pt x="2365959" y="1688247"/>
                  <a:pt x="2348354" y="1710258"/>
                  <a:pt x="2329505" y="1726455"/>
                </a:cubicBezTo>
                <a:cubicBezTo>
                  <a:pt x="2313151" y="1740088"/>
                  <a:pt x="2296280" y="1751296"/>
                  <a:pt x="2277611" y="1758833"/>
                </a:cubicBezTo>
                <a:lnTo>
                  <a:pt x="2266239" y="1762069"/>
                </a:lnTo>
                <a:lnTo>
                  <a:pt x="2282854" y="1744404"/>
                </a:lnTo>
                <a:cubicBezTo>
                  <a:pt x="2311061" y="1716399"/>
                  <a:pt x="2341603" y="1687893"/>
                  <a:pt x="2374481" y="1658891"/>
                </a:cubicBezTo>
                <a:cubicBezTo>
                  <a:pt x="2407856" y="1632224"/>
                  <a:pt x="2470936" y="1584557"/>
                  <a:pt x="2515332" y="1540883"/>
                </a:cubicBezTo>
                <a:cubicBezTo>
                  <a:pt x="2563719" y="1515893"/>
                  <a:pt x="2608115" y="1472217"/>
                  <a:pt x="2663850" y="1435891"/>
                </a:cubicBezTo>
                <a:cubicBezTo>
                  <a:pt x="2667523" y="1430220"/>
                  <a:pt x="2673191" y="1433894"/>
                  <a:pt x="2681537" y="1427227"/>
                </a:cubicBezTo>
                <a:cubicBezTo>
                  <a:pt x="2776315" y="1367905"/>
                  <a:pt x="2881435" y="1311257"/>
                  <a:pt x="2987551" y="1259281"/>
                </a:cubicBezTo>
                <a:cubicBezTo>
                  <a:pt x="3041109" y="1235627"/>
                  <a:pt x="3095166" y="1214310"/>
                  <a:pt x="3149720" y="1195329"/>
                </a:cubicBezTo>
                <a:lnTo>
                  <a:pt x="3259829" y="1162036"/>
                </a:lnTo>
                <a:lnTo>
                  <a:pt x="3210739" y="1178017"/>
                </a:lnTo>
                <a:cubicBezTo>
                  <a:pt x="3193848" y="1184679"/>
                  <a:pt x="3178247" y="1191675"/>
                  <a:pt x="3169403" y="1196006"/>
                </a:cubicBezTo>
                <a:cubicBezTo>
                  <a:pt x="3164732" y="1197005"/>
                  <a:pt x="3164732" y="1197005"/>
                  <a:pt x="3164732" y="1197005"/>
                </a:cubicBezTo>
                <a:cubicBezTo>
                  <a:pt x="3115346" y="1217324"/>
                  <a:pt x="3083647" y="1228980"/>
                  <a:pt x="3029591" y="1250298"/>
                </a:cubicBezTo>
                <a:cubicBezTo>
                  <a:pt x="3024920" y="1251297"/>
                  <a:pt x="3024920" y="1251297"/>
                  <a:pt x="3024920" y="1251297"/>
                </a:cubicBezTo>
                <a:cubicBezTo>
                  <a:pt x="3025917" y="1255966"/>
                  <a:pt x="3021247" y="1256965"/>
                  <a:pt x="3025917" y="1255966"/>
                </a:cubicBezTo>
                <a:cubicBezTo>
                  <a:pt x="3025917" y="1255966"/>
                  <a:pt x="3030589" y="1254969"/>
                  <a:pt x="3035260" y="1253970"/>
                </a:cubicBezTo>
                <a:cubicBezTo>
                  <a:pt x="3084644" y="1233653"/>
                  <a:pt x="3121016" y="1220997"/>
                  <a:pt x="3165731" y="1201677"/>
                </a:cubicBezTo>
                <a:cubicBezTo>
                  <a:pt x="3166728" y="1206348"/>
                  <a:pt x="3166728" y="1206348"/>
                  <a:pt x="3171401" y="1205351"/>
                </a:cubicBezTo>
                <a:cubicBezTo>
                  <a:pt x="3171401" y="1205351"/>
                  <a:pt x="3176071" y="1204352"/>
                  <a:pt x="3176071" y="1204352"/>
                </a:cubicBezTo>
                <a:cubicBezTo>
                  <a:pt x="3176071" y="1204352"/>
                  <a:pt x="3176071" y="1204352"/>
                  <a:pt x="3175073" y="1199680"/>
                </a:cubicBezTo>
                <a:cubicBezTo>
                  <a:pt x="3215116" y="1181357"/>
                  <a:pt x="3264821" y="1185391"/>
                  <a:pt x="3270170" y="1164711"/>
                </a:cubicBezTo>
                <a:lnTo>
                  <a:pt x="3288855" y="1160719"/>
                </a:lnTo>
                <a:cubicBezTo>
                  <a:pt x="3293525" y="1159721"/>
                  <a:pt x="3298195" y="1158724"/>
                  <a:pt x="3298195" y="1158724"/>
                </a:cubicBezTo>
                <a:cubicBezTo>
                  <a:pt x="3299194" y="1163394"/>
                  <a:pt x="3301190" y="1172736"/>
                  <a:pt x="3297518" y="1178405"/>
                </a:cubicBezTo>
                <a:cubicBezTo>
                  <a:pt x="3292847" y="1179404"/>
                  <a:pt x="3288175" y="1180401"/>
                  <a:pt x="3283504" y="1181399"/>
                </a:cubicBezTo>
                <a:cubicBezTo>
                  <a:pt x="3269491" y="1184393"/>
                  <a:pt x="3261147" y="1191060"/>
                  <a:pt x="3251805" y="1193056"/>
                </a:cubicBezTo>
                <a:cubicBezTo>
                  <a:pt x="3251805" y="1193056"/>
                  <a:pt x="3247133" y="1194053"/>
                  <a:pt x="3247133" y="1194053"/>
                </a:cubicBezTo>
                <a:cubicBezTo>
                  <a:pt x="3243461" y="1199722"/>
                  <a:pt x="3238789" y="1200720"/>
                  <a:pt x="3234118" y="1201718"/>
                </a:cubicBezTo>
                <a:cubicBezTo>
                  <a:pt x="3234118" y="1201718"/>
                  <a:pt x="3229448" y="1202715"/>
                  <a:pt x="3229448" y="1202715"/>
                </a:cubicBezTo>
                <a:cubicBezTo>
                  <a:pt x="3230447" y="1207386"/>
                  <a:pt x="3235117" y="1206389"/>
                  <a:pt x="3235117" y="1206389"/>
                </a:cubicBezTo>
                <a:cubicBezTo>
                  <a:pt x="3244459" y="1204394"/>
                  <a:pt x="3243461" y="1199722"/>
                  <a:pt x="3248132" y="1198724"/>
                </a:cubicBezTo>
                <a:cubicBezTo>
                  <a:pt x="3248132" y="1198724"/>
                  <a:pt x="3248132" y="1198724"/>
                  <a:pt x="3252802" y="1197727"/>
                </a:cubicBezTo>
                <a:cubicBezTo>
                  <a:pt x="3248132" y="1198724"/>
                  <a:pt x="3249131" y="1203396"/>
                  <a:pt x="3249131" y="1203396"/>
                </a:cubicBezTo>
                <a:cubicBezTo>
                  <a:pt x="3249131" y="1203396"/>
                  <a:pt x="3253801" y="1202397"/>
                  <a:pt x="3253801" y="1202397"/>
                </a:cubicBezTo>
                <a:cubicBezTo>
                  <a:pt x="3258472" y="1201400"/>
                  <a:pt x="3263143" y="1200401"/>
                  <a:pt x="3263143" y="1200401"/>
                </a:cubicBezTo>
                <a:cubicBezTo>
                  <a:pt x="3263143" y="1200401"/>
                  <a:pt x="3262146" y="1195729"/>
                  <a:pt x="3262146" y="1195729"/>
                </a:cubicBezTo>
                <a:cubicBezTo>
                  <a:pt x="3266816" y="1194732"/>
                  <a:pt x="3275160" y="1188065"/>
                  <a:pt x="3279831" y="1187067"/>
                </a:cubicBezTo>
                <a:cubicBezTo>
                  <a:pt x="3289174" y="1185071"/>
                  <a:pt x="3293844" y="1184074"/>
                  <a:pt x="3303187" y="1182078"/>
                </a:cubicBezTo>
                <a:cubicBezTo>
                  <a:pt x="3326541" y="1177088"/>
                  <a:pt x="3326541" y="1177088"/>
                  <a:pt x="3326541" y="1177088"/>
                </a:cubicBezTo>
                <a:cubicBezTo>
                  <a:pt x="3331213" y="1176089"/>
                  <a:pt x="3334885" y="1170421"/>
                  <a:pt x="3334885" y="1170421"/>
                </a:cubicBezTo>
                <a:cubicBezTo>
                  <a:pt x="3334885" y="1170421"/>
                  <a:pt x="3330215" y="1171419"/>
                  <a:pt x="3325543" y="1172418"/>
                </a:cubicBezTo>
                <a:cubicBezTo>
                  <a:pt x="3306859" y="1176409"/>
                  <a:pt x="3306859" y="1176409"/>
                  <a:pt x="3306859" y="1176409"/>
                </a:cubicBezTo>
                <a:cubicBezTo>
                  <a:pt x="3309534" y="1166069"/>
                  <a:pt x="3313208" y="1160400"/>
                  <a:pt x="3312209" y="1155729"/>
                </a:cubicBezTo>
                <a:cubicBezTo>
                  <a:pt x="3311211" y="1151058"/>
                  <a:pt x="3311211" y="1151058"/>
                  <a:pt x="3311211" y="1151058"/>
                </a:cubicBezTo>
                <a:cubicBezTo>
                  <a:pt x="3315882" y="1150059"/>
                  <a:pt x="3315882" y="1150059"/>
                  <a:pt x="3320555" y="1149062"/>
                </a:cubicBezTo>
                <a:cubicBezTo>
                  <a:pt x="3324227" y="1143393"/>
                  <a:pt x="3324227" y="1143393"/>
                  <a:pt x="3324227" y="1143393"/>
                </a:cubicBezTo>
                <a:cubicBezTo>
                  <a:pt x="3318557" y="1139720"/>
                  <a:pt x="3318557" y="1139720"/>
                  <a:pt x="3318557" y="1139720"/>
                </a:cubicBezTo>
                <a:cubicBezTo>
                  <a:pt x="3323230" y="1138722"/>
                  <a:pt x="3323230" y="1138722"/>
                  <a:pt x="3323230" y="1138722"/>
                </a:cubicBezTo>
                <a:cubicBezTo>
                  <a:pt x="3342911" y="1139401"/>
                  <a:pt x="3374612" y="1127745"/>
                  <a:pt x="3402637" y="1121757"/>
                </a:cubicBezTo>
                <a:cubicBezTo>
                  <a:pt x="3394293" y="1128423"/>
                  <a:pt x="3346584" y="1133732"/>
                  <a:pt x="3348580" y="1143073"/>
                </a:cubicBezTo>
                <a:lnTo>
                  <a:pt x="3343909" y="1144072"/>
                </a:lnTo>
                <a:cubicBezTo>
                  <a:pt x="3339239" y="1145071"/>
                  <a:pt x="3329895" y="1147066"/>
                  <a:pt x="3325225" y="1148063"/>
                </a:cubicBezTo>
                <a:cubicBezTo>
                  <a:pt x="3321552" y="1153733"/>
                  <a:pt x="3321552" y="1153733"/>
                  <a:pt x="3321552" y="1153733"/>
                </a:cubicBezTo>
                <a:cubicBezTo>
                  <a:pt x="3321552" y="1153733"/>
                  <a:pt x="3327221" y="1157406"/>
                  <a:pt x="3327221" y="1157406"/>
                </a:cubicBezTo>
                <a:cubicBezTo>
                  <a:pt x="3331892" y="1156408"/>
                  <a:pt x="3331892" y="1156408"/>
                  <a:pt x="3331892" y="1156408"/>
                </a:cubicBezTo>
                <a:cubicBezTo>
                  <a:pt x="3331892" y="1156408"/>
                  <a:pt x="3335565" y="1150740"/>
                  <a:pt x="3335565" y="1150740"/>
                </a:cubicBezTo>
                <a:cubicBezTo>
                  <a:pt x="3335565" y="1150740"/>
                  <a:pt x="3340236" y="1149741"/>
                  <a:pt x="3340236" y="1149741"/>
                </a:cubicBezTo>
                <a:cubicBezTo>
                  <a:pt x="3344907" y="1148743"/>
                  <a:pt x="3349577" y="1147746"/>
                  <a:pt x="3358920" y="1145750"/>
                </a:cubicBezTo>
                <a:cubicBezTo>
                  <a:pt x="3377604" y="1141758"/>
                  <a:pt x="3359919" y="1150420"/>
                  <a:pt x="3369260" y="1148425"/>
                </a:cubicBezTo>
                <a:cubicBezTo>
                  <a:pt x="3377604" y="1141758"/>
                  <a:pt x="3398285" y="1147107"/>
                  <a:pt x="3402955" y="1146109"/>
                </a:cubicBezTo>
                <a:cubicBezTo>
                  <a:pt x="3401956" y="1141439"/>
                  <a:pt x="3400959" y="1136768"/>
                  <a:pt x="3405630" y="1135769"/>
                </a:cubicBezTo>
                <a:cubicBezTo>
                  <a:pt x="3411300" y="1139443"/>
                  <a:pt x="3406629" y="1140442"/>
                  <a:pt x="3415970" y="1138446"/>
                </a:cubicBezTo>
                <a:cubicBezTo>
                  <a:pt x="3414971" y="1133775"/>
                  <a:pt x="3428985" y="1130780"/>
                  <a:pt x="3438328" y="1128784"/>
                </a:cubicBezTo>
                <a:cubicBezTo>
                  <a:pt x="3435651" y="1139124"/>
                  <a:pt x="3471025" y="1121798"/>
                  <a:pt x="3471025" y="1121798"/>
                </a:cubicBezTo>
                <a:cubicBezTo>
                  <a:pt x="3474697" y="1116129"/>
                  <a:pt x="3474697" y="1116129"/>
                  <a:pt x="3474697" y="1116129"/>
                </a:cubicBezTo>
                <a:cubicBezTo>
                  <a:pt x="3488711" y="1113136"/>
                  <a:pt x="3476695" y="1125472"/>
                  <a:pt x="3490707" y="1122479"/>
                </a:cubicBezTo>
                <a:cubicBezTo>
                  <a:pt x="3499051" y="1115811"/>
                  <a:pt x="3502725" y="1110142"/>
                  <a:pt x="3526079" y="1105153"/>
                </a:cubicBezTo>
                <a:cubicBezTo>
                  <a:pt x="3540093" y="1102158"/>
                  <a:pt x="3555104" y="1103836"/>
                  <a:pt x="3569117" y="1100842"/>
                </a:cubicBezTo>
                <a:cubicBezTo>
                  <a:pt x="3573788" y="1099844"/>
                  <a:pt x="3578459" y="1098846"/>
                  <a:pt x="3583129" y="1097849"/>
                </a:cubicBezTo>
                <a:cubicBezTo>
                  <a:pt x="3611156" y="1091861"/>
                  <a:pt x="3588799" y="1101522"/>
                  <a:pt x="3613152" y="1101202"/>
                </a:cubicBezTo>
                <a:cubicBezTo>
                  <a:pt x="3629841" y="1087868"/>
                  <a:pt x="3694555" y="1093580"/>
                  <a:pt x="3706573" y="1081242"/>
                </a:cubicBezTo>
                <a:lnTo>
                  <a:pt x="3708908" y="1080744"/>
                </a:lnTo>
                <a:cubicBezTo>
                  <a:pt x="3715914" y="1079247"/>
                  <a:pt x="3725257" y="1077251"/>
                  <a:pt x="3725257" y="1077251"/>
                </a:cubicBezTo>
                <a:cubicBezTo>
                  <a:pt x="3729928" y="1076254"/>
                  <a:pt x="3729928" y="1076254"/>
                  <a:pt x="3729928" y="1076254"/>
                </a:cubicBezTo>
                <a:cubicBezTo>
                  <a:pt x="3729928" y="1076254"/>
                  <a:pt x="3734599" y="1075255"/>
                  <a:pt x="3739269" y="1074258"/>
                </a:cubicBezTo>
                <a:cubicBezTo>
                  <a:pt x="3796321" y="1066953"/>
                  <a:pt x="3829017" y="1059968"/>
                  <a:pt x="3866705" y="1076336"/>
                </a:cubicBezTo>
                <a:cubicBezTo>
                  <a:pt x="3869380" y="1065996"/>
                  <a:pt x="3910740" y="1076699"/>
                  <a:pt x="3919084" y="1070031"/>
                </a:cubicBezTo>
                <a:cubicBezTo>
                  <a:pt x="3908744" y="1067356"/>
                  <a:pt x="3948108" y="1068716"/>
                  <a:pt x="3951782" y="1063046"/>
                </a:cubicBezTo>
                <a:cubicBezTo>
                  <a:pt x="3952779" y="1067717"/>
                  <a:pt x="3948108" y="1068716"/>
                  <a:pt x="3943436" y="1069713"/>
                </a:cubicBezTo>
                <a:cubicBezTo>
                  <a:pt x="3963959" y="1062885"/>
                  <a:pt x="3981973" y="1061480"/>
                  <a:pt x="4000821" y="1061115"/>
                </a:cubicBezTo>
                <a:lnTo>
                  <a:pt x="4059509" y="1058914"/>
                </a:lnTo>
                <a:lnTo>
                  <a:pt x="4065917" y="1060029"/>
                </a:lnTo>
                <a:cubicBezTo>
                  <a:pt x="4072129" y="1060534"/>
                  <a:pt x="4080553" y="1059956"/>
                  <a:pt x="4081891" y="1054786"/>
                </a:cubicBezTo>
                <a:close/>
                <a:moveTo>
                  <a:pt x="3073381" y="1003429"/>
                </a:moveTo>
                <a:lnTo>
                  <a:pt x="3075110" y="1006131"/>
                </a:lnTo>
                <a:cubicBezTo>
                  <a:pt x="3075110" y="1006131"/>
                  <a:pt x="3070439" y="1007129"/>
                  <a:pt x="3070439" y="1007129"/>
                </a:cubicBezTo>
                <a:cubicBezTo>
                  <a:pt x="3065769" y="1008126"/>
                  <a:pt x="3061097" y="1009125"/>
                  <a:pt x="3062096" y="1013796"/>
                </a:cubicBezTo>
                <a:cubicBezTo>
                  <a:pt x="3062096" y="1013796"/>
                  <a:pt x="3062096" y="1013796"/>
                  <a:pt x="3066767" y="1012799"/>
                </a:cubicBezTo>
                <a:cubicBezTo>
                  <a:pt x="3071437" y="1011800"/>
                  <a:pt x="3071437" y="1011800"/>
                  <a:pt x="3071437" y="1011800"/>
                </a:cubicBezTo>
                <a:cubicBezTo>
                  <a:pt x="3038741" y="1018786"/>
                  <a:pt x="2980013" y="1041101"/>
                  <a:pt x="2960649" y="1064775"/>
                </a:cubicBezTo>
                <a:cubicBezTo>
                  <a:pt x="2950141" y="1067019"/>
                  <a:pt x="2938419" y="1070746"/>
                  <a:pt x="2925558" y="1075554"/>
                </a:cubicBezTo>
                <a:lnTo>
                  <a:pt x="2899162" y="1086428"/>
                </a:lnTo>
                <a:lnTo>
                  <a:pt x="2903371" y="1080657"/>
                </a:lnTo>
                <a:cubicBezTo>
                  <a:pt x="2910167" y="1065009"/>
                  <a:pt x="2925269" y="1059755"/>
                  <a:pt x="2939957" y="1052562"/>
                </a:cubicBezTo>
                <a:close/>
                <a:moveTo>
                  <a:pt x="5800514" y="966736"/>
                </a:moveTo>
                <a:lnTo>
                  <a:pt x="5823561" y="985857"/>
                </a:lnTo>
                <a:lnTo>
                  <a:pt x="5812369" y="974867"/>
                </a:lnTo>
                <a:close/>
                <a:moveTo>
                  <a:pt x="4691065" y="966665"/>
                </a:moveTo>
                <a:lnTo>
                  <a:pt x="4697929" y="967981"/>
                </a:lnTo>
                <a:lnTo>
                  <a:pt x="4702739" y="970365"/>
                </a:lnTo>
                <a:close/>
                <a:moveTo>
                  <a:pt x="3242294" y="953477"/>
                </a:moveTo>
                <a:lnTo>
                  <a:pt x="3244945" y="955193"/>
                </a:lnTo>
                <a:cubicBezTo>
                  <a:pt x="3235603" y="957189"/>
                  <a:pt x="3226260" y="959187"/>
                  <a:pt x="3222587" y="964854"/>
                </a:cubicBezTo>
                <a:cubicBezTo>
                  <a:pt x="3217918" y="965853"/>
                  <a:pt x="3208575" y="967849"/>
                  <a:pt x="3203904" y="968846"/>
                </a:cubicBezTo>
                <a:cubicBezTo>
                  <a:pt x="3189891" y="971840"/>
                  <a:pt x="3180549" y="973837"/>
                  <a:pt x="3166536" y="976829"/>
                </a:cubicBezTo>
                <a:cubicBezTo>
                  <a:pt x="3143181" y="981820"/>
                  <a:pt x="3126491" y="995154"/>
                  <a:pt x="3102137" y="995473"/>
                </a:cubicBezTo>
                <a:lnTo>
                  <a:pt x="3102436" y="994324"/>
                </a:lnTo>
                <a:lnTo>
                  <a:pt x="3217427" y="959472"/>
                </a:lnTo>
                <a:close/>
                <a:moveTo>
                  <a:pt x="3376913" y="922116"/>
                </a:moveTo>
                <a:lnTo>
                  <a:pt x="3336954" y="930653"/>
                </a:lnTo>
                <a:lnTo>
                  <a:pt x="3358282" y="925510"/>
                </a:lnTo>
                <a:close/>
                <a:moveTo>
                  <a:pt x="3950309" y="744665"/>
                </a:moveTo>
                <a:cubicBezTo>
                  <a:pt x="4249637" y="736884"/>
                  <a:pt x="4545266" y="777512"/>
                  <a:pt x="4826941" y="861419"/>
                </a:cubicBezTo>
                <a:cubicBezTo>
                  <a:pt x="4817601" y="863415"/>
                  <a:pt x="4811931" y="859742"/>
                  <a:pt x="4812928" y="864412"/>
                </a:cubicBezTo>
                <a:cubicBezTo>
                  <a:pt x="4851613" y="885453"/>
                  <a:pt x="4859958" y="878787"/>
                  <a:pt x="4895649" y="885814"/>
                </a:cubicBezTo>
                <a:cubicBezTo>
                  <a:pt x="4926669" y="893839"/>
                  <a:pt x="4963358" y="905536"/>
                  <a:pt x="4995377" y="918233"/>
                </a:cubicBezTo>
                <a:cubicBezTo>
                  <a:pt x="5002043" y="926578"/>
                  <a:pt x="5044401" y="941949"/>
                  <a:pt x="5053743" y="939953"/>
                </a:cubicBezTo>
                <a:cubicBezTo>
                  <a:pt x="5054740" y="944624"/>
                  <a:pt x="5054740" y="944624"/>
                  <a:pt x="5054740" y="944624"/>
                </a:cubicBezTo>
                <a:cubicBezTo>
                  <a:pt x="5059411" y="943626"/>
                  <a:pt x="5059411" y="943626"/>
                  <a:pt x="5059411" y="943626"/>
                </a:cubicBezTo>
                <a:cubicBezTo>
                  <a:pt x="5060410" y="948297"/>
                  <a:pt x="5060410" y="948297"/>
                  <a:pt x="5065081" y="947300"/>
                </a:cubicBezTo>
                <a:cubicBezTo>
                  <a:pt x="5069751" y="946301"/>
                  <a:pt x="5069751" y="946301"/>
                  <a:pt x="5075420" y="949975"/>
                </a:cubicBezTo>
                <a:cubicBezTo>
                  <a:pt x="5081090" y="953649"/>
                  <a:pt x="5097099" y="959996"/>
                  <a:pt x="5101770" y="958998"/>
                </a:cubicBezTo>
                <a:cubicBezTo>
                  <a:pt x="5129117" y="972692"/>
                  <a:pt x="5156463" y="986386"/>
                  <a:pt x="5187483" y="994412"/>
                </a:cubicBezTo>
                <a:cubicBezTo>
                  <a:pt x="5198821" y="1001757"/>
                  <a:pt x="5210159" y="1009104"/>
                  <a:pt x="5220499" y="1011779"/>
                </a:cubicBezTo>
                <a:cubicBezTo>
                  <a:pt x="5247847" y="1025473"/>
                  <a:pt x="5275193" y="1039168"/>
                  <a:pt x="5296871" y="1049189"/>
                </a:cubicBezTo>
                <a:cubicBezTo>
                  <a:pt x="5296871" y="1049189"/>
                  <a:pt x="5292201" y="1050187"/>
                  <a:pt x="5292201" y="1050187"/>
                </a:cubicBezTo>
                <a:cubicBezTo>
                  <a:pt x="5297869" y="1053861"/>
                  <a:pt x="5303538" y="1057532"/>
                  <a:pt x="5308209" y="1056534"/>
                </a:cubicBezTo>
                <a:cubicBezTo>
                  <a:pt x="5631701" y="1221864"/>
                  <a:pt x="5925129" y="1452227"/>
                  <a:pt x="6165817" y="1732932"/>
                </a:cubicBezTo>
                <a:cubicBezTo>
                  <a:pt x="6298157" y="1895142"/>
                  <a:pt x="6412891" y="2072104"/>
                  <a:pt x="6507308" y="2262564"/>
                </a:cubicBezTo>
                <a:lnTo>
                  <a:pt x="6530564" y="2317112"/>
                </a:lnTo>
                <a:lnTo>
                  <a:pt x="6530564" y="2701060"/>
                </a:lnTo>
                <a:lnTo>
                  <a:pt x="6526175" y="2710932"/>
                </a:lnTo>
                <a:cubicBezTo>
                  <a:pt x="6503179" y="2671888"/>
                  <a:pt x="6478867" y="2603819"/>
                  <a:pt x="6455513" y="2608808"/>
                </a:cubicBezTo>
                <a:cubicBezTo>
                  <a:pt x="6455513" y="2608808"/>
                  <a:pt x="6454515" y="2604137"/>
                  <a:pt x="6454515" y="2604137"/>
                </a:cubicBezTo>
                <a:cubicBezTo>
                  <a:pt x="6454515" y="2604137"/>
                  <a:pt x="6452519" y="2594796"/>
                  <a:pt x="6452519" y="2594796"/>
                </a:cubicBezTo>
                <a:cubicBezTo>
                  <a:pt x="6446850" y="2591122"/>
                  <a:pt x="6445853" y="2586451"/>
                  <a:pt x="6446850" y="2591122"/>
                </a:cubicBezTo>
                <a:cubicBezTo>
                  <a:pt x="6440184" y="2582777"/>
                  <a:pt x="6437191" y="2568765"/>
                  <a:pt x="6421859" y="2542736"/>
                </a:cubicBezTo>
                <a:cubicBezTo>
                  <a:pt x="6415193" y="2534391"/>
                  <a:pt x="6414195" y="2529719"/>
                  <a:pt x="6413197" y="2525048"/>
                </a:cubicBezTo>
                <a:cubicBezTo>
                  <a:pt x="6413197" y="2525048"/>
                  <a:pt x="6407529" y="2521375"/>
                  <a:pt x="6407529" y="2521375"/>
                </a:cubicBezTo>
                <a:cubicBezTo>
                  <a:pt x="6406530" y="2516706"/>
                  <a:pt x="6406530" y="2516706"/>
                  <a:pt x="6406530" y="2516706"/>
                </a:cubicBezTo>
                <a:cubicBezTo>
                  <a:pt x="6405533" y="2512033"/>
                  <a:pt x="6401861" y="2517703"/>
                  <a:pt x="6401861" y="2517703"/>
                </a:cubicBezTo>
                <a:cubicBezTo>
                  <a:pt x="6400861" y="2513032"/>
                  <a:pt x="6400861" y="2513032"/>
                  <a:pt x="6400861" y="2513032"/>
                </a:cubicBezTo>
                <a:cubicBezTo>
                  <a:pt x="6396191" y="2514030"/>
                  <a:pt x="6392199" y="2495345"/>
                  <a:pt x="6387528" y="2496344"/>
                </a:cubicBezTo>
                <a:cubicBezTo>
                  <a:pt x="6397189" y="2518700"/>
                  <a:pt x="6388527" y="2501014"/>
                  <a:pt x="6385850" y="2511354"/>
                </a:cubicBezTo>
                <a:cubicBezTo>
                  <a:pt x="6375192" y="2484326"/>
                  <a:pt x="6383175" y="2521695"/>
                  <a:pt x="6374513" y="2504009"/>
                </a:cubicBezTo>
                <a:cubicBezTo>
                  <a:pt x="6363855" y="2476981"/>
                  <a:pt x="6359182" y="2477980"/>
                  <a:pt x="6360859" y="2462967"/>
                </a:cubicBezTo>
                <a:cubicBezTo>
                  <a:pt x="6346847" y="2465962"/>
                  <a:pt x="6323533" y="2402563"/>
                  <a:pt x="6299541" y="2358847"/>
                </a:cubicBezTo>
                <a:cubicBezTo>
                  <a:pt x="6298543" y="2354175"/>
                  <a:pt x="6291875" y="2345832"/>
                  <a:pt x="6284212" y="2332816"/>
                </a:cubicBezTo>
                <a:cubicBezTo>
                  <a:pt x="6261217" y="2293772"/>
                  <a:pt x="6245888" y="2267742"/>
                  <a:pt x="6231556" y="2246383"/>
                </a:cubicBezTo>
                <a:cubicBezTo>
                  <a:pt x="6224890" y="2238037"/>
                  <a:pt x="6230559" y="2241711"/>
                  <a:pt x="6228563" y="2232369"/>
                </a:cubicBezTo>
                <a:cubicBezTo>
                  <a:pt x="6223891" y="2233367"/>
                  <a:pt x="6218223" y="2229693"/>
                  <a:pt x="6217223" y="2225023"/>
                </a:cubicBezTo>
                <a:cubicBezTo>
                  <a:pt x="6216227" y="2220352"/>
                  <a:pt x="6228563" y="2232369"/>
                  <a:pt x="6220897" y="2219353"/>
                </a:cubicBezTo>
                <a:cubicBezTo>
                  <a:pt x="6201894" y="2198991"/>
                  <a:pt x="6205567" y="2193324"/>
                  <a:pt x="6178901" y="2159947"/>
                </a:cubicBezTo>
                <a:cubicBezTo>
                  <a:pt x="6188241" y="2157951"/>
                  <a:pt x="6188241" y="2157951"/>
                  <a:pt x="6188241" y="2157951"/>
                </a:cubicBezTo>
                <a:cubicBezTo>
                  <a:pt x="6173910" y="2136592"/>
                  <a:pt x="6167243" y="2128248"/>
                  <a:pt x="6171235" y="2146932"/>
                </a:cubicBezTo>
                <a:cubicBezTo>
                  <a:pt x="6158899" y="2134916"/>
                  <a:pt x="6167243" y="2128248"/>
                  <a:pt x="6150235" y="2117229"/>
                </a:cubicBezTo>
                <a:cubicBezTo>
                  <a:pt x="6155904" y="2120903"/>
                  <a:pt x="6154907" y="2116231"/>
                  <a:pt x="6149238" y="2112559"/>
                </a:cubicBezTo>
                <a:cubicBezTo>
                  <a:pt x="6153909" y="2111560"/>
                  <a:pt x="6153909" y="2111560"/>
                  <a:pt x="6153909" y="2111560"/>
                </a:cubicBezTo>
                <a:cubicBezTo>
                  <a:pt x="6159578" y="2115233"/>
                  <a:pt x="6158581" y="2110562"/>
                  <a:pt x="6158581" y="2110562"/>
                </a:cubicBezTo>
                <a:cubicBezTo>
                  <a:pt x="6157582" y="2105892"/>
                  <a:pt x="6157582" y="2105892"/>
                  <a:pt x="6157582" y="2105892"/>
                </a:cubicBezTo>
                <a:cubicBezTo>
                  <a:pt x="6170917" y="2122580"/>
                  <a:pt x="6160257" y="2095550"/>
                  <a:pt x="6147921" y="2083534"/>
                </a:cubicBezTo>
                <a:cubicBezTo>
                  <a:pt x="6152592" y="2082535"/>
                  <a:pt x="6152592" y="2082535"/>
                  <a:pt x="6152592" y="2082535"/>
                </a:cubicBezTo>
                <a:cubicBezTo>
                  <a:pt x="6152592" y="2082535"/>
                  <a:pt x="6152592" y="2082535"/>
                  <a:pt x="6151595" y="2077865"/>
                </a:cubicBezTo>
                <a:cubicBezTo>
                  <a:pt x="6151595" y="2077865"/>
                  <a:pt x="6145926" y="2074193"/>
                  <a:pt x="6145926" y="2074193"/>
                </a:cubicBezTo>
                <a:cubicBezTo>
                  <a:pt x="6131594" y="2052834"/>
                  <a:pt x="6110595" y="2023131"/>
                  <a:pt x="6089597" y="1993426"/>
                </a:cubicBezTo>
                <a:cubicBezTo>
                  <a:pt x="6063927" y="1964722"/>
                  <a:pt x="6038257" y="1936016"/>
                  <a:pt x="6019255" y="1915656"/>
                </a:cubicBezTo>
                <a:cubicBezTo>
                  <a:pt x="6010591" y="1897969"/>
                  <a:pt x="5985919" y="1873934"/>
                  <a:pt x="5960249" y="1845230"/>
                </a:cubicBezTo>
                <a:cubicBezTo>
                  <a:pt x="5940249" y="1820198"/>
                  <a:pt x="5914579" y="1791491"/>
                  <a:pt x="5903921" y="1764465"/>
                </a:cubicBezTo>
                <a:cubicBezTo>
                  <a:pt x="5893581" y="1761789"/>
                  <a:pt x="5881245" y="1749773"/>
                  <a:pt x="5875576" y="1746097"/>
                </a:cubicBezTo>
                <a:cubicBezTo>
                  <a:pt x="5875576" y="1746097"/>
                  <a:pt x="5874577" y="1741428"/>
                  <a:pt x="5874577" y="1741428"/>
                </a:cubicBezTo>
                <a:cubicBezTo>
                  <a:pt x="5868909" y="1737755"/>
                  <a:pt x="5868909" y="1737755"/>
                  <a:pt x="5867911" y="1733084"/>
                </a:cubicBezTo>
                <a:cubicBezTo>
                  <a:pt x="5863240" y="1734081"/>
                  <a:pt x="5863240" y="1734081"/>
                  <a:pt x="5864239" y="1738752"/>
                </a:cubicBezTo>
                <a:cubicBezTo>
                  <a:pt x="5817569" y="1680344"/>
                  <a:pt x="5734213" y="1610238"/>
                  <a:pt x="5653531" y="1529790"/>
                </a:cubicBezTo>
                <a:cubicBezTo>
                  <a:pt x="5653531" y="1529790"/>
                  <a:pt x="5653531" y="1529790"/>
                  <a:pt x="5652531" y="1525119"/>
                </a:cubicBezTo>
                <a:cubicBezTo>
                  <a:pt x="5666545" y="1522125"/>
                  <a:pt x="5664868" y="1537137"/>
                  <a:pt x="5697884" y="1554504"/>
                </a:cubicBezTo>
                <a:cubicBezTo>
                  <a:pt x="5694211" y="1560172"/>
                  <a:pt x="5695209" y="1564844"/>
                  <a:pt x="5701875" y="1573189"/>
                </a:cubicBezTo>
                <a:cubicBezTo>
                  <a:pt x="5707545" y="1576861"/>
                  <a:pt x="5724553" y="1587879"/>
                  <a:pt x="5742557" y="1603571"/>
                </a:cubicBezTo>
                <a:cubicBezTo>
                  <a:pt x="5760562" y="1619260"/>
                  <a:pt x="5778567" y="1634952"/>
                  <a:pt x="5779564" y="1639622"/>
                </a:cubicBezTo>
                <a:cubicBezTo>
                  <a:pt x="5791900" y="1651638"/>
                  <a:pt x="5816573" y="1675674"/>
                  <a:pt x="5840245" y="1695037"/>
                </a:cubicBezTo>
                <a:cubicBezTo>
                  <a:pt x="5859248" y="1715397"/>
                  <a:pt x="5878251" y="1735759"/>
                  <a:pt x="5879249" y="1740430"/>
                </a:cubicBezTo>
                <a:cubicBezTo>
                  <a:pt x="5895259" y="1746778"/>
                  <a:pt x="5917256" y="1781152"/>
                  <a:pt x="5934262" y="1792171"/>
                </a:cubicBezTo>
                <a:cubicBezTo>
                  <a:pt x="5934262" y="1792171"/>
                  <a:pt x="5935261" y="1796841"/>
                  <a:pt x="5935261" y="1796841"/>
                </a:cubicBezTo>
                <a:cubicBezTo>
                  <a:pt x="5936258" y="1801513"/>
                  <a:pt x="5936258" y="1801513"/>
                  <a:pt x="5936258" y="1801513"/>
                </a:cubicBezTo>
                <a:cubicBezTo>
                  <a:pt x="5936258" y="1801513"/>
                  <a:pt x="5940929" y="1800515"/>
                  <a:pt x="5940929" y="1800515"/>
                </a:cubicBezTo>
                <a:cubicBezTo>
                  <a:pt x="5953264" y="1812533"/>
                  <a:pt x="5948594" y="1813530"/>
                  <a:pt x="5955260" y="1821873"/>
                </a:cubicBezTo>
                <a:cubicBezTo>
                  <a:pt x="5955260" y="1821873"/>
                  <a:pt x="5956259" y="1826546"/>
                  <a:pt x="5956259" y="1826546"/>
                </a:cubicBezTo>
                <a:cubicBezTo>
                  <a:pt x="5956259" y="1826546"/>
                  <a:pt x="5961927" y="1830220"/>
                  <a:pt x="5961927" y="1830220"/>
                </a:cubicBezTo>
                <a:cubicBezTo>
                  <a:pt x="5960930" y="1825547"/>
                  <a:pt x="5960930" y="1825547"/>
                  <a:pt x="5960930" y="1825547"/>
                </a:cubicBezTo>
                <a:cubicBezTo>
                  <a:pt x="5979932" y="1845910"/>
                  <a:pt x="5987597" y="1858924"/>
                  <a:pt x="6004605" y="1869943"/>
                </a:cubicBezTo>
                <a:cubicBezTo>
                  <a:pt x="5999933" y="1870942"/>
                  <a:pt x="5999933" y="1870942"/>
                  <a:pt x="5999933" y="1870942"/>
                </a:cubicBezTo>
                <a:lnTo>
                  <a:pt x="6000931" y="1875612"/>
                </a:lnTo>
                <a:cubicBezTo>
                  <a:pt x="6001929" y="1880283"/>
                  <a:pt x="6006601" y="1879284"/>
                  <a:pt x="6006601" y="1879284"/>
                </a:cubicBezTo>
                <a:cubicBezTo>
                  <a:pt x="6006601" y="1879284"/>
                  <a:pt x="6006601" y="1879284"/>
                  <a:pt x="6011271" y="1878287"/>
                </a:cubicBezTo>
                <a:cubicBezTo>
                  <a:pt x="6012269" y="1882958"/>
                  <a:pt x="6012269" y="1882958"/>
                  <a:pt x="6012269" y="1882958"/>
                </a:cubicBezTo>
                <a:cubicBezTo>
                  <a:pt x="6024604" y="1894976"/>
                  <a:pt x="6020931" y="1900645"/>
                  <a:pt x="6027599" y="1908989"/>
                </a:cubicBezTo>
                <a:cubicBezTo>
                  <a:pt x="6032269" y="1907991"/>
                  <a:pt x="6031271" y="1903319"/>
                  <a:pt x="6037939" y="1911662"/>
                </a:cubicBezTo>
                <a:cubicBezTo>
                  <a:pt x="6038936" y="1916334"/>
                  <a:pt x="6043606" y="1915336"/>
                  <a:pt x="6044605" y="1920008"/>
                </a:cubicBezTo>
                <a:cubicBezTo>
                  <a:pt x="6039935" y="1921005"/>
                  <a:pt x="6039935" y="1921005"/>
                  <a:pt x="6040933" y="1925676"/>
                </a:cubicBezTo>
                <a:cubicBezTo>
                  <a:pt x="6040933" y="1925676"/>
                  <a:pt x="6041931" y="1930346"/>
                  <a:pt x="6046601" y="1929349"/>
                </a:cubicBezTo>
                <a:cubicBezTo>
                  <a:pt x="6046601" y="1929349"/>
                  <a:pt x="6047599" y="1934020"/>
                  <a:pt x="6052271" y="1933023"/>
                </a:cubicBezTo>
                <a:cubicBezTo>
                  <a:pt x="6058937" y="1941367"/>
                  <a:pt x="6090275" y="1973745"/>
                  <a:pt x="6084607" y="1970071"/>
                </a:cubicBezTo>
                <a:cubicBezTo>
                  <a:pt x="6092952" y="1963405"/>
                  <a:pt x="6067599" y="1959052"/>
                  <a:pt x="6075945" y="1952386"/>
                </a:cubicBezTo>
                <a:cubicBezTo>
                  <a:pt x="6070275" y="1948713"/>
                  <a:pt x="6064605" y="1945039"/>
                  <a:pt x="6057939" y="1936695"/>
                </a:cubicBezTo>
                <a:cubicBezTo>
                  <a:pt x="6057939" y="1936695"/>
                  <a:pt x="6057939" y="1936695"/>
                  <a:pt x="6056941" y="1932024"/>
                </a:cubicBezTo>
                <a:cubicBezTo>
                  <a:pt x="6056941" y="1932024"/>
                  <a:pt x="6055943" y="1927353"/>
                  <a:pt x="6055943" y="1927353"/>
                </a:cubicBezTo>
                <a:cubicBezTo>
                  <a:pt x="6054946" y="1922683"/>
                  <a:pt x="6049276" y="1919009"/>
                  <a:pt x="6049276" y="1919009"/>
                </a:cubicBezTo>
                <a:cubicBezTo>
                  <a:pt x="6046283" y="1904996"/>
                  <a:pt x="6031271" y="1903319"/>
                  <a:pt x="6017937" y="1886631"/>
                </a:cubicBezTo>
                <a:cubicBezTo>
                  <a:pt x="6022609" y="1885633"/>
                  <a:pt x="6021611" y="1880962"/>
                  <a:pt x="6015942" y="1877290"/>
                </a:cubicBezTo>
                <a:cubicBezTo>
                  <a:pt x="6014943" y="1872617"/>
                  <a:pt x="6014943" y="1872617"/>
                  <a:pt x="6014943" y="1872617"/>
                </a:cubicBezTo>
                <a:cubicBezTo>
                  <a:pt x="6014943" y="1872617"/>
                  <a:pt x="6013945" y="1867947"/>
                  <a:pt x="6012949" y="1863276"/>
                </a:cubicBezTo>
                <a:cubicBezTo>
                  <a:pt x="6008279" y="1864274"/>
                  <a:pt x="6007279" y="1859602"/>
                  <a:pt x="6008279" y="1864274"/>
                </a:cubicBezTo>
                <a:cubicBezTo>
                  <a:pt x="6008279" y="1864274"/>
                  <a:pt x="6003605" y="1865272"/>
                  <a:pt x="6003605" y="1865272"/>
                </a:cubicBezTo>
                <a:cubicBezTo>
                  <a:pt x="6000612" y="1851259"/>
                  <a:pt x="5992267" y="1857927"/>
                  <a:pt x="5985601" y="1849581"/>
                </a:cubicBezTo>
                <a:cubicBezTo>
                  <a:pt x="5977936" y="1836566"/>
                  <a:pt x="5971269" y="1828222"/>
                  <a:pt x="5965600" y="1824550"/>
                </a:cubicBezTo>
                <a:cubicBezTo>
                  <a:pt x="5965600" y="1824550"/>
                  <a:pt x="5964603" y="1819878"/>
                  <a:pt x="5964603" y="1819878"/>
                </a:cubicBezTo>
                <a:cubicBezTo>
                  <a:pt x="5964603" y="1819878"/>
                  <a:pt x="5964603" y="1819878"/>
                  <a:pt x="5963605" y="1815208"/>
                </a:cubicBezTo>
                <a:cubicBezTo>
                  <a:pt x="5952267" y="1807860"/>
                  <a:pt x="5952267" y="1807860"/>
                  <a:pt x="5945599" y="1799518"/>
                </a:cubicBezTo>
                <a:cubicBezTo>
                  <a:pt x="5946598" y="1804188"/>
                  <a:pt x="5946598" y="1804188"/>
                  <a:pt x="5951268" y="1803190"/>
                </a:cubicBezTo>
                <a:cubicBezTo>
                  <a:pt x="5951268" y="1803190"/>
                  <a:pt x="5951268" y="1803190"/>
                  <a:pt x="5950271" y="1798519"/>
                </a:cubicBezTo>
                <a:cubicBezTo>
                  <a:pt x="5950271" y="1798519"/>
                  <a:pt x="5944601" y="1794847"/>
                  <a:pt x="5944601" y="1794847"/>
                </a:cubicBezTo>
                <a:cubicBezTo>
                  <a:pt x="5938933" y="1791173"/>
                  <a:pt x="5938933" y="1791173"/>
                  <a:pt x="5938933" y="1791173"/>
                </a:cubicBezTo>
                <a:cubicBezTo>
                  <a:pt x="5937936" y="1786503"/>
                  <a:pt x="5937936" y="1786503"/>
                  <a:pt x="5931269" y="1778159"/>
                </a:cubicBezTo>
                <a:cubicBezTo>
                  <a:pt x="5932265" y="1782829"/>
                  <a:pt x="5926595" y="1779156"/>
                  <a:pt x="5919929" y="1770811"/>
                </a:cubicBezTo>
                <a:cubicBezTo>
                  <a:pt x="5924601" y="1769814"/>
                  <a:pt x="5925598" y="1774486"/>
                  <a:pt x="5930269" y="1773488"/>
                </a:cubicBezTo>
                <a:cubicBezTo>
                  <a:pt x="5917935" y="1761471"/>
                  <a:pt x="5919929" y="1770811"/>
                  <a:pt x="5913263" y="1762468"/>
                </a:cubicBezTo>
                <a:cubicBezTo>
                  <a:pt x="5905597" y="1749453"/>
                  <a:pt x="5912265" y="1757797"/>
                  <a:pt x="5894260" y="1742107"/>
                </a:cubicBezTo>
                <a:cubicBezTo>
                  <a:pt x="5897933" y="1736438"/>
                  <a:pt x="5903603" y="1740111"/>
                  <a:pt x="5908274" y="1739112"/>
                </a:cubicBezTo>
                <a:cubicBezTo>
                  <a:pt x="5896935" y="1731767"/>
                  <a:pt x="5891267" y="1728094"/>
                  <a:pt x="5885598" y="1724422"/>
                </a:cubicBezTo>
                <a:cubicBezTo>
                  <a:pt x="5890269" y="1723424"/>
                  <a:pt x="5890269" y="1723424"/>
                  <a:pt x="5890269" y="1723424"/>
                </a:cubicBezTo>
                <a:cubicBezTo>
                  <a:pt x="5890269" y="1723424"/>
                  <a:pt x="5890269" y="1723424"/>
                  <a:pt x="5889272" y="1718751"/>
                </a:cubicBezTo>
                <a:cubicBezTo>
                  <a:pt x="5889272" y="1718751"/>
                  <a:pt x="5884601" y="1719750"/>
                  <a:pt x="5883602" y="1715079"/>
                </a:cubicBezTo>
                <a:cubicBezTo>
                  <a:pt x="5877933" y="1711405"/>
                  <a:pt x="5871265" y="1703061"/>
                  <a:pt x="5866595" y="1704060"/>
                </a:cubicBezTo>
                <a:cubicBezTo>
                  <a:pt x="5866595" y="1704060"/>
                  <a:pt x="5860925" y="1700386"/>
                  <a:pt x="5859927" y="1695716"/>
                </a:cubicBezTo>
                <a:cubicBezTo>
                  <a:pt x="5859927" y="1695716"/>
                  <a:pt x="5859927" y="1695716"/>
                  <a:pt x="5854258" y="1692043"/>
                </a:cubicBezTo>
                <a:cubicBezTo>
                  <a:pt x="5854258" y="1692043"/>
                  <a:pt x="5854258" y="1692043"/>
                  <a:pt x="5855257" y="1696713"/>
                </a:cubicBezTo>
                <a:cubicBezTo>
                  <a:pt x="5855257" y="1696713"/>
                  <a:pt x="5855257" y="1696713"/>
                  <a:pt x="5856255" y="1701383"/>
                </a:cubicBezTo>
                <a:cubicBezTo>
                  <a:pt x="5839247" y="1690365"/>
                  <a:pt x="5831582" y="1677350"/>
                  <a:pt x="5824917" y="1669006"/>
                </a:cubicBezTo>
                <a:cubicBezTo>
                  <a:pt x="5829587" y="1668009"/>
                  <a:pt x="5835256" y="1671682"/>
                  <a:pt x="5839927" y="1670683"/>
                </a:cubicBezTo>
                <a:cubicBezTo>
                  <a:pt x="5820924" y="1650321"/>
                  <a:pt x="5801921" y="1629962"/>
                  <a:pt x="5805913" y="1648645"/>
                </a:cubicBezTo>
                <a:cubicBezTo>
                  <a:pt x="5791582" y="1627287"/>
                  <a:pt x="5791582" y="1627287"/>
                  <a:pt x="5774575" y="1616266"/>
                </a:cubicBezTo>
                <a:cubicBezTo>
                  <a:pt x="5774575" y="1616266"/>
                  <a:pt x="5779247" y="1615269"/>
                  <a:pt x="5780245" y="1619939"/>
                </a:cubicBezTo>
                <a:cubicBezTo>
                  <a:pt x="5780245" y="1619939"/>
                  <a:pt x="5784915" y="1618942"/>
                  <a:pt x="5784915" y="1618942"/>
                </a:cubicBezTo>
                <a:cubicBezTo>
                  <a:pt x="5790585" y="1622614"/>
                  <a:pt x="5789585" y="1617944"/>
                  <a:pt x="5789585" y="1617944"/>
                </a:cubicBezTo>
                <a:cubicBezTo>
                  <a:pt x="5788587" y="1613273"/>
                  <a:pt x="5788587" y="1613273"/>
                  <a:pt x="5782919" y="1609599"/>
                </a:cubicBezTo>
                <a:cubicBezTo>
                  <a:pt x="5787589" y="1608602"/>
                  <a:pt x="5787589" y="1608602"/>
                  <a:pt x="5787589" y="1608602"/>
                </a:cubicBezTo>
                <a:cubicBezTo>
                  <a:pt x="5788587" y="1613273"/>
                  <a:pt x="5793259" y="1612274"/>
                  <a:pt x="5793259" y="1612274"/>
                </a:cubicBezTo>
                <a:cubicBezTo>
                  <a:pt x="5794257" y="1616947"/>
                  <a:pt x="5794257" y="1616947"/>
                  <a:pt x="5794257" y="1616947"/>
                </a:cubicBezTo>
                <a:cubicBezTo>
                  <a:pt x="5794257" y="1616947"/>
                  <a:pt x="5799925" y="1620620"/>
                  <a:pt x="5799925" y="1620620"/>
                </a:cubicBezTo>
                <a:cubicBezTo>
                  <a:pt x="5799925" y="1620620"/>
                  <a:pt x="5805595" y="1624292"/>
                  <a:pt x="5805595" y="1624292"/>
                </a:cubicBezTo>
                <a:cubicBezTo>
                  <a:pt x="5849269" y="1668688"/>
                  <a:pt x="5887275" y="1709410"/>
                  <a:pt x="5930950" y="1753805"/>
                </a:cubicBezTo>
                <a:cubicBezTo>
                  <a:pt x="5931947" y="1758476"/>
                  <a:pt x="5931947" y="1758476"/>
                  <a:pt x="5931947" y="1758476"/>
                </a:cubicBezTo>
                <a:cubicBezTo>
                  <a:pt x="5932945" y="1763146"/>
                  <a:pt x="5937615" y="1762149"/>
                  <a:pt x="5937615" y="1762149"/>
                </a:cubicBezTo>
                <a:cubicBezTo>
                  <a:pt x="5954623" y="1773169"/>
                  <a:pt x="5949952" y="1774167"/>
                  <a:pt x="5962289" y="1786184"/>
                </a:cubicBezTo>
                <a:cubicBezTo>
                  <a:pt x="5963285" y="1790854"/>
                  <a:pt x="5964283" y="1795526"/>
                  <a:pt x="5969953" y="1799200"/>
                </a:cubicBezTo>
                <a:cubicBezTo>
                  <a:pt x="5970951" y="1803870"/>
                  <a:pt x="5975622" y="1802871"/>
                  <a:pt x="5975622" y="1802871"/>
                </a:cubicBezTo>
                <a:cubicBezTo>
                  <a:pt x="5987958" y="1814887"/>
                  <a:pt x="5995623" y="1827904"/>
                  <a:pt x="6005963" y="1830579"/>
                </a:cubicBezTo>
                <a:cubicBezTo>
                  <a:pt x="6005963" y="1830579"/>
                  <a:pt x="6011631" y="1834252"/>
                  <a:pt x="6011631" y="1834252"/>
                </a:cubicBezTo>
                <a:cubicBezTo>
                  <a:pt x="6012630" y="1838924"/>
                  <a:pt x="6013627" y="1843594"/>
                  <a:pt x="6014625" y="1848264"/>
                </a:cubicBezTo>
                <a:cubicBezTo>
                  <a:pt x="6019296" y="1847267"/>
                  <a:pt x="6033629" y="1868626"/>
                  <a:pt x="6044965" y="1875972"/>
                </a:cubicBezTo>
                <a:cubicBezTo>
                  <a:pt x="6044965" y="1875972"/>
                  <a:pt x="6045965" y="1880642"/>
                  <a:pt x="6050635" y="1879645"/>
                </a:cubicBezTo>
                <a:cubicBezTo>
                  <a:pt x="6051633" y="1884316"/>
                  <a:pt x="6051633" y="1884316"/>
                  <a:pt x="6051633" y="1884316"/>
                </a:cubicBezTo>
                <a:cubicBezTo>
                  <a:pt x="6079299" y="1922363"/>
                  <a:pt x="6107962" y="1965081"/>
                  <a:pt x="6140299" y="2002132"/>
                </a:cubicBezTo>
                <a:cubicBezTo>
                  <a:pt x="6141296" y="2006801"/>
                  <a:pt x="6146966" y="2010475"/>
                  <a:pt x="6152635" y="2014149"/>
                </a:cubicBezTo>
                <a:cubicBezTo>
                  <a:pt x="6153632" y="2018819"/>
                  <a:pt x="6154629" y="2023491"/>
                  <a:pt x="6155629" y="2028161"/>
                </a:cubicBezTo>
                <a:cubicBezTo>
                  <a:pt x="6154629" y="2023491"/>
                  <a:pt x="6160299" y="2027163"/>
                  <a:pt x="6164971" y="2026165"/>
                </a:cubicBezTo>
                <a:cubicBezTo>
                  <a:pt x="6165969" y="2030835"/>
                  <a:pt x="6171637" y="2034509"/>
                  <a:pt x="6171637" y="2034509"/>
                </a:cubicBezTo>
                <a:cubicBezTo>
                  <a:pt x="6185969" y="2055870"/>
                  <a:pt x="6195630" y="2078225"/>
                  <a:pt x="6208963" y="2094914"/>
                </a:cubicBezTo>
                <a:cubicBezTo>
                  <a:pt x="6208963" y="2094914"/>
                  <a:pt x="6209963" y="2099585"/>
                  <a:pt x="6209963" y="2099585"/>
                </a:cubicBezTo>
                <a:cubicBezTo>
                  <a:pt x="6210959" y="2104255"/>
                  <a:pt x="6210959" y="2104255"/>
                  <a:pt x="6211957" y="2108927"/>
                </a:cubicBezTo>
                <a:cubicBezTo>
                  <a:pt x="6216629" y="2107929"/>
                  <a:pt x="6216629" y="2107929"/>
                  <a:pt x="6216629" y="2107929"/>
                </a:cubicBezTo>
                <a:cubicBezTo>
                  <a:pt x="6236629" y="2132961"/>
                  <a:pt x="6255633" y="2153322"/>
                  <a:pt x="6264295" y="2171008"/>
                </a:cubicBezTo>
                <a:cubicBezTo>
                  <a:pt x="6281303" y="2182027"/>
                  <a:pt x="6299624" y="2222071"/>
                  <a:pt x="6321623" y="2256444"/>
                </a:cubicBezTo>
                <a:cubicBezTo>
                  <a:pt x="6332959" y="2263790"/>
                  <a:pt x="6344617" y="2295490"/>
                  <a:pt x="6351284" y="2303835"/>
                </a:cubicBezTo>
                <a:cubicBezTo>
                  <a:pt x="6351284" y="2303835"/>
                  <a:pt x="6352281" y="2308505"/>
                  <a:pt x="6352281" y="2308505"/>
                </a:cubicBezTo>
                <a:cubicBezTo>
                  <a:pt x="6352281" y="2308505"/>
                  <a:pt x="6353279" y="2313176"/>
                  <a:pt x="6353279" y="2313176"/>
                </a:cubicBezTo>
                <a:cubicBezTo>
                  <a:pt x="6354277" y="2317847"/>
                  <a:pt x="6354277" y="2317847"/>
                  <a:pt x="6354277" y="2317847"/>
                </a:cubicBezTo>
                <a:cubicBezTo>
                  <a:pt x="6359946" y="2321520"/>
                  <a:pt x="6359946" y="2321520"/>
                  <a:pt x="6358947" y="2316850"/>
                </a:cubicBezTo>
                <a:cubicBezTo>
                  <a:pt x="6366612" y="2329865"/>
                  <a:pt x="6364617" y="2320523"/>
                  <a:pt x="6369289" y="2319526"/>
                </a:cubicBezTo>
                <a:cubicBezTo>
                  <a:pt x="6367611" y="2334535"/>
                  <a:pt x="6381625" y="2331542"/>
                  <a:pt x="6385616" y="2350226"/>
                </a:cubicBezTo>
                <a:cubicBezTo>
                  <a:pt x="6389289" y="2344557"/>
                  <a:pt x="6392282" y="2358570"/>
                  <a:pt x="6396955" y="2357572"/>
                </a:cubicBezTo>
                <a:cubicBezTo>
                  <a:pt x="6383619" y="2340883"/>
                  <a:pt x="6371963" y="2309185"/>
                  <a:pt x="6361624" y="2306510"/>
                </a:cubicBezTo>
                <a:cubicBezTo>
                  <a:pt x="6361624" y="2306510"/>
                  <a:pt x="6360625" y="2301837"/>
                  <a:pt x="6359627" y="2297168"/>
                </a:cubicBezTo>
                <a:cubicBezTo>
                  <a:pt x="6359627" y="2297168"/>
                  <a:pt x="6358629" y="2292496"/>
                  <a:pt x="6353959" y="2293494"/>
                </a:cubicBezTo>
                <a:cubicBezTo>
                  <a:pt x="6347971" y="2265469"/>
                  <a:pt x="6328969" y="2245107"/>
                  <a:pt x="6314637" y="2223747"/>
                </a:cubicBezTo>
                <a:cubicBezTo>
                  <a:pt x="6278307" y="2168014"/>
                  <a:pt x="6246649" y="2111283"/>
                  <a:pt x="6212319" y="2064893"/>
                </a:cubicBezTo>
                <a:cubicBezTo>
                  <a:pt x="6184653" y="2026844"/>
                  <a:pt x="6151999" y="1965444"/>
                  <a:pt x="6107325" y="1916375"/>
                </a:cubicBezTo>
                <a:cubicBezTo>
                  <a:pt x="6100658" y="1908032"/>
                  <a:pt x="6090318" y="1905356"/>
                  <a:pt x="6088323" y="1896015"/>
                </a:cubicBezTo>
                <a:cubicBezTo>
                  <a:pt x="6055985" y="1858965"/>
                  <a:pt x="6032992" y="1819921"/>
                  <a:pt x="6007323" y="1791215"/>
                </a:cubicBezTo>
                <a:cubicBezTo>
                  <a:pt x="5983647" y="1771851"/>
                  <a:pt x="5995982" y="1783869"/>
                  <a:pt x="5975983" y="1758836"/>
                </a:cubicBezTo>
                <a:cubicBezTo>
                  <a:pt x="5954985" y="1729134"/>
                  <a:pt x="5930312" y="1705100"/>
                  <a:pt x="5907636" y="1690407"/>
                </a:cubicBezTo>
                <a:cubicBezTo>
                  <a:pt x="5879969" y="1652360"/>
                  <a:pt x="5821285" y="1606287"/>
                  <a:pt x="5789947" y="1573908"/>
                </a:cubicBezTo>
                <a:cubicBezTo>
                  <a:pt x="5777611" y="1561891"/>
                  <a:pt x="5773937" y="1567560"/>
                  <a:pt x="5761602" y="1555544"/>
                </a:cubicBezTo>
                <a:cubicBezTo>
                  <a:pt x="5769945" y="1548876"/>
                  <a:pt x="5746271" y="1529513"/>
                  <a:pt x="5729265" y="1518494"/>
                </a:cubicBezTo>
                <a:cubicBezTo>
                  <a:pt x="5729265" y="1518494"/>
                  <a:pt x="5724593" y="1519493"/>
                  <a:pt x="5718925" y="1515819"/>
                </a:cubicBezTo>
                <a:cubicBezTo>
                  <a:pt x="5701919" y="1504800"/>
                  <a:pt x="5685591" y="1474099"/>
                  <a:pt x="5658243" y="1460405"/>
                </a:cubicBezTo>
                <a:cubicBezTo>
                  <a:pt x="5652575" y="1456732"/>
                  <a:pt x="5648901" y="1462401"/>
                  <a:pt x="5637563" y="1455055"/>
                </a:cubicBezTo>
                <a:cubicBezTo>
                  <a:pt x="5637563" y="1455055"/>
                  <a:pt x="5634569" y="1441042"/>
                  <a:pt x="5624228" y="1438365"/>
                </a:cubicBezTo>
                <a:cubicBezTo>
                  <a:pt x="5575884" y="1394968"/>
                  <a:pt x="5503185" y="1351889"/>
                  <a:pt x="5452165" y="1318832"/>
                </a:cubicBezTo>
                <a:cubicBezTo>
                  <a:pt x="5429489" y="1304140"/>
                  <a:pt x="5405815" y="1284777"/>
                  <a:pt x="5377469" y="1266412"/>
                </a:cubicBezTo>
                <a:cubicBezTo>
                  <a:pt x="5366133" y="1259066"/>
                  <a:pt x="5345452" y="1253715"/>
                  <a:pt x="5334113" y="1246370"/>
                </a:cubicBezTo>
                <a:cubicBezTo>
                  <a:pt x="5334113" y="1246370"/>
                  <a:pt x="5321779" y="1234352"/>
                  <a:pt x="5321779" y="1234352"/>
                </a:cubicBezTo>
                <a:cubicBezTo>
                  <a:pt x="5310439" y="1227007"/>
                  <a:pt x="5305769" y="1228004"/>
                  <a:pt x="5300101" y="1224331"/>
                </a:cubicBezTo>
                <a:cubicBezTo>
                  <a:pt x="5299103" y="1219660"/>
                  <a:pt x="5299103" y="1219660"/>
                  <a:pt x="5299103" y="1219660"/>
                </a:cubicBezTo>
                <a:cubicBezTo>
                  <a:pt x="5313115" y="1216667"/>
                  <a:pt x="5322775" y="1239023"/>
                  <a:pt x="5325451" y="1228683"/>
                </a:cubicBezTo>
                <a:cubicBezTo>
                  <a:pt x="5325451" y="1228683"/>
                  <a:pt x="5325451" y="1228683"/>
                  <a:pt x="5326449" y="1233354"/>
                </a:cubicBezTo>
                <a:cubicBezTo>
                  <a:pt x="5336789" y="1236030"/>
                  <a:pt x="5336789" y="1236030"/>
                  <a:pt x="5336789" y="1236030"/>
                </a:cubicBezTo>
                <a:cubicBezTo>
                  <a:pt x="5336789" y="1236030"/>
                  <a:pt x="5341461" y="1235032"/>
                  <a:pt x="5341461" y="1235032"/>
                </a:cubicBezTo>
                <a:cubicBezTo>
                  <a:pt x="5341461" y="1235032"/>
                  <a:pt x="5342459" y="1239702"/>
                  <a:pt x="5347129" y="1238705"/>
                </a:cubicBezTo>
                <a:cubicBezTo>
                  <a:pt x="5347129" y="1238705"/>
                  <a:pt x="5351799" y="1237706"/>
                  <a:pt x="5351799" y="1237706"/>
                </a:cubicBezTo>
                <a:cubicBezTo>
                  <a:pt x="5368805" y="1248725"/>
                  <a:pt x="5367808" y="1244055"/>
                  <a:pt x="5384815" y="1255074"/>
                </a:cubicBezTo>
                <a:cubicBezTo>
                  <a:pt x="5384815" y="1255074"/>
                  <a:pt x="5390485" y="1258747"/>
                  <a:pt x="5390485" y="1258747"/>
                </a:cubicBezTo>
                <a:cubicBezTo>
                  <a:pt x="5390485" y="1258747"/>
                  <a:pt x="5390485" y="1258747"/>
                  <a:pt x="5395155" y="1257748"/>
                </a:cubicBezTo>
                <a:cubicBezTo>
                  <a:pt x="5395155" y="1257748"/>
                  <a:pt x="5396153" y="1262419"/>
                  <a:pt x="5396153" y="1262419"/>
                </a:cubicBezTo>
                <a:cubicBezTo>
                  <a:pt x="5402821" y="1270763"/>
                  <a:pt x="5376472" y="1261740"/>
                  <a:pt x="5392481" y="1268089"/>
                </a:cubicBezTo>
                <a:cubicBezTo>
                  <a:pt x="5398151" y="1271762"/>
                  <a:pt x="5401823" y="1266093"/>
                  <a:pt x="5416835" y="1267768"/>
                </a:cubicBezTo>
                <a:cubicBezTo>
                  <a:pt x="5424499" y="1280785"/>
                  <a:pt x="5433841" y="1278790"/>
                  <a:pt x="5457515" y="1298152"/>
                </a:cubicBezTo>
                <a:cubicBezTo>
                  <a:pt x="5452843" y="1299151"/>
                  <a:pt x="5452843" y="1299151"/>
                  <a:pt x="5452843" y="1299151"/>
                </a:cubicBezTo>
                <a:cubicBezTo>
                  <a:pt x="5458513" y="1302825"/>
                  <a:pt x="5458513" y="1302825"/>
                  <a:pt x="5458513" y="1302825"/>
                </a:cubicBezTo>
                <a:cubicBezTo>
                  <a:pt x="5460509" y="1312164"/>
                  <a:pt x="5448173" y="1300148"/>
                  <a:pt x="5443501" y="1301145"/>
                </a:cubicBezTo>
                <a:cubicBezTo>
                  <a:pt x="5455837" y="1313163"/>
                  <a:pt x="5460509" y="1312164"/>
                  <a:pt x="5469850" y="1310170"/>
                </a:cubicBezTo>
                <a:cubicBezTo>
                  <a:pt x="5470849" y="1314841"/>
                  <a:pt x="5470849" y="1314841"/>
                  <a:pt x="5476517" y="1318514"/>
                </a:cubicBezTo>
                <a:cubicBezTo>
                  <a:pt x="5477516" y="1323185"/>
                  <a:pt x="5482186" y="1322188"/>
                  <a:pt x="5482186" y="1322188"/>
                </a:cubicBezTo>
                <a:cubicBezTo>
                  <a:pt x="5485860" y="1316519"/>
                  <a:pt x="5485860" y="1316519"/>
                  <a:pt x="5485860" y="1316519"/>
                </a:cubicBezTo>
                <a:cubicBezTo>
                  <a:pt x="5494522" y="1334204"/>
                  <a:pt x="5500870" y="1318194"/>
                  <a:pt x="5519873" y="1338556"/>
                </a:cubicBezTo>
                <a:cubicBezTo>
                  <a:pt x="5525542" y="1342228"/>
                  <a:pt x="5525542" y="1342228"/>
                  <a:pt x="5525542" y="1342228"/>
                </a:cubicBezTo>
                <a:cubicBezTo>
                  <a:pt x="5525542" y="1342228"/>
                  <a:pt x="5530213" y="1341231"/>
                  <a:pt x="5530213" y="1341231"/>
                </a:cubicBezTo>
                <a:cubicBezTo>
                  <a:pt x="5570893" y="1371613"/>
                  <a:pt x="5604908" y="1393651"/>
                  <a:pt x="5637924" y="1411021"/>
                </a:cubicBezTo>
                <a:cubicBezTo>
                  <a:pt x="5633253" y="1412018"/>
                  <a:pt x="5637243" y="1430702"/>
                  <a:pt x="5645589" y="1424035"/>
                </a:cubicBezTo>
                <a:cubicBezTo>
                  <a:pt x="5638921" y="1415691"/>
                  <a:pt x="5649263" y="1418366"/>
                  <a:pt x="5655929" y="1426710"/>
                </a:cubicBezTo>
                <a:cubicBezTo>
                  <a:pt x="5673933" y="1442400"/>
                  <a:pt x="5707947" y="1464437"/>
                  <a:pt x="5738288" y="1492145"/>
                </a:cubicBezTo>
                <a:cubicBezTo>
                  <a:pt x="5767630" y="1515181"/>
                  <a:pt x="5797972" y="1542889"/>
                  <a:pt x="5821645" y="1562252"/>
                </a:cubicBezTo>
                <a:cubicBezTo>
                  <a:pt x="5815977" y="1558580"/>
                  <a:pt x="5824641" y="1576266"/>
                  <a:pt x="5829311" y="1575267"/>
                </a:cubicBezTo>
                <a:cubicBezTo>
                  <a:pt x="5822645" y="1566922"/>
                  <a:pt x="5827315" y="1565925"/>
                  <a:pt x="5832983" y="1569599"/>
                </a:cubicBezTo>
                <a:cubicBezTo>
                  <a:pt x="5834979" y="1578940"/>
                  <a:pt x="5858654" y="1598303"/>
                  <a:pt x="5876659" y="1613995"/>
                </a:cubicBezTo>
                <a:cubicBezTo>
                  <a:pt x="5894663" y="1629684"/>
                  <a:pt x="5911669" y="1640703"/>
                  <a:pt x="5906998" y="1641700"/>
                </a:cubicBezTo>
                <a:cubicBezTo>
                  <a:pt x="5929675" y="1656393"/>
                  <a:pt x="5943009" y="1673082"/>
                  <a:pt x="5956341" y="1689770"/>
                </a:cubicBezTo>
                <a:cubicBezTo>
                  <a:pt x="5975346" y="1710131"/>
                  <a:pt x="5989677" y="1731490"/>
                  <a:pt x="6019021" y="1754527"/>
                </a:cubicBezTo>
                <a:cubicBezTo>
                  <a:pt x="6019021" y="1754527"/>
                  <a:pt x="6020018" y="1759196"/>
                  <a:pt x="6021017" y="1763868"/>
                </a:cubicBezTo>
                <a:cubicBezTo>
                  <a:pt x="6040698" y="1764547"/>
                  <a:pt x="6067685" y="1822276"/>
                  <a:pt x="6085689" y="1837968"/>
                </a:cubicBezTo>
                <a:cubicBezTo>
                  <a:pt x="6091358" y="1841639"/>
                  <a:pt x="6090361" y="1836969"/>
                  <a:pt x="6097027" y="1845313"/>
                </a:cubicBezTo>
                <a:cubicBezTo>
                  <a:pt x="6109363" y="1857330"/>
                  <a:pt x="6112357" y="1871342"/>
                  <a:pt x="6124692" y="1883360"/>
                </a:cubicBezTo>
                <a:cubicBezTo>
                  <a:pt x="6131359" y="1891704"/>
                  <a:pt x="6137029" y="1895377"/>
                  <a:pt x="6148365" y="1902723"/>
                </a:cubicBezTo>
                <a:cubicBezTo>
                  <a:pt x="6168367" y="1927756"/>
                  <a:pt x="6186691" y="1967798"/>
                  <a:pt x="6207689" y="1997502"/>
                </a:cubicBezTo>
                <a:cubicBezTo>
                  <a:pt x="6234356" y="2030879"/>
                  <a:pt x="6265017" y="2082939"/>
                  <a:pt x="6292683" y="2120986"/>
                </a:cubicBezTo>
                <a:cubicBezTo>
                  <a:pt x="6300345" y="2134001"/>
                  <a:pt x="6312681" y="2146017"/>
                  <a:pt x="6319349" y="2154362"/>
                </a:cubicBezTo>
                <a:cubicBezTo>
                  <a:pt x="6319349" y="2154362"/>
                  <a:pt x="6313681" y="2150689"/>
                  <a:pt x="6313681" y="2150689"/>
                </a:cubicBezTo>
                <a:cubicBezTo>
                  <a:pt x="6322344" y="2168375"/>
                  <a:pt x="6335677" y="2185064"/>
                  <a:pt x="6343343" y="2198078"/>
                </a:cubicBezTo>
                <a:cubicBezTo>
                  <a:pt x="6344339" y="2202749"/>
                  <a:pt x="6346335" y="2212090"/>
                  <a:pt x="6346335" y="2212090"/>
                </a:cubicBezTo>
                <a:cubicBezTo>
                  <a:pt x="6370329" y="2255808"/>
                  <a:pt x="6401987" y="2312540"/>
                  <a:pt x="6424979" y="2351584"/>
                </a:cubicBezTo>
                <a:cubicBezTo>
                  <a:pt x="6424979" y="2351584"/>
                  <a:pt x="6424979" y="2351584"/>
                  <a:pt x="6420309" y="2352581"/>
                </a:cubicBezTo>
                <a:cubicBezTo>
                  <a:pt x="6420309" y="2352581"/>
                  <a:pt x="6421307" y="2357252"/>
                  <a:pt x="6421307" y="2357252"/>
                </a:cubicBezTo>
                <a:cubicBezTo>
                  <a:pt x="6421307" y="2357252"/>
                  <a:pt x="6426975" y="2360926"/>
                  <a:pt x="6426975" y="2360926"/>
                </a:cubicBezTo>
                <a:cubicBezTo>
                  <a:pt x="6434641" y="2373942"/>
                  <a:pt x="6450289" y="2424325"/>
                  <a:pt x="6451966" y="2409313"/>
                </a:cubicBezTo>
                <a:cubicBezTo>
                  <a:pt x="6452965" y="2413983"/>
                  <a:pt x="6452965" y="2413983"/>
                  <a:pt x="6452965" y="2413983"/>
                </a:cubicBezTo>
                <a:cubicBezTo>
                  <a:pt x="6453963" y="2418656"/>
                  <a:pt x="6453963" y="2418656"/>
                  <a:pt x="6453963" y="2418656"/>
                </a:cubicBezTo>
                <a:cubicBezTo>
                  <a:pt x="6458633" y="2417657"/>
                  <a:pt x="6458633" y="2417657"/>
                  <a:pt x="6458633" y="2417657"/>
                </a:cubicBezTo>
                <a:cubicBezTo>
                  <a:pt x="6457635" y="2412986"/>
                  <a:pt x="6457635" y="2412986"/>
                  <a:pt x="6457635" y="2412986"/>
                </a:cubicBezTo>
                <a:cubicBezTo>
                  <a:pt x="6465980" y="2406320"/>
                  <a:pt x="6465299" y="2426002"/>
                  <a:pt x="6466299" y="2430673"/>
                </a:cubicBezTo>
                <a:cubicBezTo>
                  <a:pt x="6468972" y="2420333"/>
                  <a:pt x="6484303" y="2446363"/>
                  <a:pt x="6475639" y="2428676"/>
                </a:cubicBezTo>
                <a:cubicBezTo>
                  <a:pt x="6470969" y="2429674"/>
                  <a:pt x="6467975" y="2415661"/>
                  <a:pt x="6467975" y="2415661"/>
                </a:cubicBezTo>
                <a:cubicBezTo>
                  <a:pt x="6474643" y="2424007"/>
                  <a:pt x="6473645" y="2419335"/>
                  <a:pt x="6472646" y="2414663"/>
                </a:cubicBezTo>
                <a:cubicBezTo>
                  <a:pt x="6462306" y="2411989"/>
                  <a:pt x="6458314" y="2393305"/>
                  <a:pt x="6445979" y="2381288"/>
                </a:cubicBezTo>
                <a:cubicBezTo>
                  <a:pt x="6445979" y="2381288"/>
                  <a:pt x="6444981" y="2376615"/>
                  <a:pt x="6443981" y="2371946"/>
                </a:cubicBezTo>
                <a:cubicBezTo>
                  <a:pt x="6443981" y="2371946"/>
                  <a:pt x="6442985" y="2367276"/>
                  <a:pt x="6442985" y="2367276"/>
                </a:cubicBezTo>
                <a:cubicBezTo>
                  <a:pt x="6441987" y="2362603"/>
                  <a:pt x="6441987" y="2362603"/>
                  <a:pt x="6441987" y="2362603"/>
                </a:cubicBezTo>
                <a:cubicBezTo>
                  <a:pt x="6441987" y="2362603"/>
                  <a:pt x="6437315" y="2363602"/>
                  <a:pt x="6437315" y="2363602"/>
                </a:cubicBezTo>
                <a:cubicBezTo>
                  <a:pt x="6436317" y="2358931"/>
                  <a:pt x="6436317" y="2358931"/>
                  <a:pt x="6435319" y="2354259"/>
                </a:cubicBezTo>
                <a:cubicBezTo>
                  <a:pt x="6438993" y="2348590"/>
                  <a:pt x="6440989" y="2357932"/>
                  <a:pt x="6445659" y="2356934"/>
                </a:cubicBezTo>
                <a:cubicBezTo>
                  <a:pt x="6443663" y="2347593"/>
                  <a:pt x="6438993" y="2348590"/>
                  <a:pt x="6437995" y="2343919"/>
                </a:cubicBezTo>
                <a:cubicBezTo>
                  <a:pt x="6437995" y="2343919"/>
                  <a:pt x="6437995" y="2343919"/>
                  <a:pt x="6436996" y="2339248"/>
                </a:cubicBezTo>
                <a:cubicBezTo>
                  <a:pt x="6436996" y="2339248"/>
                  <a:pt x="6435999" y="2334578"/>
                  <a:pt x="6435999" y="2334578"/>
                </a:cubicBezTo>
                <a:cubicBezTo>
                  <a:pt x="6435001" y="2329906"/>
                  <a:pt x="6435001" y="2329906"/>
                  <a:pt x="6435001" y="2329906"/>
                </a:cubicBezTo>
                <a:cubicBezTo>
                  <a:pt x="6426338" y="2312220"/>
                  <a:pt x="6426338" y="2312220"/>
                  <a:pt x="6426338" y="2312220"/>
                </a:cubicBezTo>
                <a:cubicBezTo>
                  <a:pt x="6420669" y="2308548"/>
                  <a:pt x="6420669" y="2308548"/>
                  <a:pt x="6420669" y="2308548"/>
                </a:cubicBezTo>
                <a:cubicBezTo>
                  <a:pt x="6405339" y="2282517"/>
                  <a:pt x="6407335" y="2291860"/>
                  <a:pt x="6396677" y="2264832"/>
                </a:cubicBezTo>
                <a:cubicBezTo>
                  <a:pt x="6395680" y="2260159"/>
                  <a:pt x="6395680" y="2260159"/>
                  <a:pt x="6394681" y="2255488"/>
                </a:cubicBezTo>
                <a:cubicBezTo>
                  <a:pt x="6389013" y="2251817"/>
                  <a:pt x="6389013" y="2251817"/>
                  <a:pt x="6390010" y="2256487"/>
                </a:cubicBezTo>
                <a:cubicBezTo>
                  <a:pt x="6387017" y="2242473"/>
                  <a:pt x="6377355" y="2220118"/>
                  <a:pt x="6367015" y="2217441"/>
                </a:cubicBezTo>
                <a:cubicBezTo>
                  <a:pt x="6373683" y="2225786"/>
                  <a:pt x="6369012" y="2226785"/>
                  <a:pt x="6362345" y="2218440"/>
                </a:cubicBezTo>
                <a:lnTo>
                  <a:pt x="6361347" y="2213768"/>
                </a:lnTo>
                <a:cubicBezTo>
                  <a:pt x="6366017" y="2212771"/>
                  <a:pt x="6366017" y="2212771"/>
                  <a:pt x="6366017" y="2212771"/>
                </a:cubicBezTo>
                <a:cubicBezTo>
                  <a:pt x="6366017" y="2212771"/>
                  <a:pt x="6366017" y="2212771"/>
                  <a:pt x="6365019" y="2208100"/>
                </a:cubicBezTo>
                <a:cubicBezTo>
                  <a:pt x="6365019" y="2208100"/>
                  <a:pt x="6365019" y="2208100"/>
                  <a:pt x="6359351" y="2204426"/>
                </a:cubicBezTo>
                <a:cubicBezTo>
                  <a:pt x="6353364" y="2176401"/>
                  <a:pt x="6305696" y="2113321"/>
                  <a:pt x="6289369" y="2082620"/>
                </a:cubicBezTo>
                <a:cubicBezTo>
                  <a:pt x="6280707" y="2064934"/>
                  <a:pt x="6284379" y="2059265"/>
                  <a:pt x="6272043" y="2047249"/>
                </a:cubicBezTo>
                <a:cubicBezTo>
                  <a:pt x="6270049" y="2037906"/>
                  <a:pt x="6259707" y="2035231"/>
                  <a:pt x="6253041" y="2026887"/>
                </a:cubicBezTo>
                <a:cubicBezTo>
                  <a:pt x="6244378" y="2009200"/>
                  <a:pt x="6241385" y="1995188"/>
                  <a:pt x="6226373" y="1993510"/>
                </a:cubicBezTo>
                <a:cubicBezTo>
                  <a:pt x="6179387" y="1910749"/>
                  <a:pt x="6107048" y="1823635"/>
                  <a:pt x="6037705" y="1750534"/>
                </a:cubicBezTo>
                <a:cubicBezTo>
                  <a:pt x="6041377" y="1744864"/>
                  <a:pt x="6041377" y="1744864"/>
                  <a:pt x="6040378" y="1740194"/>
                </a:cubicBezTo>
                <a:cubicBezTo>
                  <a:pt x="6040378" y="1740194"/>
                  <a:pt x="6041377" y="1744864"/>
                  <a:pt x="6041377" y="1744864"/>
                </a:cubicBezTo>
                <a:cubicBezTo>
                  <a:pt x="6046048" y="1743867"/>
                  <a:pt x="6046048" y="1743867"/>
                  <a:pt x="6046048" y="1743867"/>
                </a:cubicBezTo>
                <a:cubicBezTo>
                  <a:pt x="6046048" y="1743867"/>
                  <a:pt x="6045051" y="1739196"/>
                  <a:pt x="6039381" y="1735524"/>
                </a:cubicBezTo>
                <a:cubicBezTo>
                  <a:pt x="6038383" y="1730853"/>
                  <a:pt x="6043053" y="1729854"/>
                  <a:pt x="6036386" y="1721512"/>
                </a:cubicBezTo>
                <a:cubicBezTo>
                  <a:pt x="6032715" y="1727179"/>
                  <a:pt x="6027046" y="1723507"/>
                  <a:pt x="6014709" y="1711489"/>
                </a:cubicBezTo>
                <a:cubicBezTo>
                  <a:pt x="6013711" y="1706819"/>
                  <a:pt x="6013711" y="1706819"/>
                  <a:pt x="6013711" y="1706819"/>
                </a:cubicBezTo>
                <a:cubicBezTo>
                  <a:pt x="6013711" y="1706819"/>
                  <a:pt x="6009041" y="1707816"/>
                  <a:pt x="6008043" y="1703145"/>
                </a:cubicBezTo>
                <a:cubicBezTo>
                  <a:pt x="6008043" y="1703145"/>
                  <a:pt x="6007045" y="1698475"/>
                  <a:pt x="6007045" y="1698475"/>
                </a:cubicBezTo>
                <a:cubicBezTo>
                  <a:pt x="6002374" y="1699472"/>
                  <a:pt x="6002374" y="1699472"/>
                  <a:pt x="6002374" y="1699472"/>
                </a:cubicBezTo>
                <a:cubicBezTo>
                  <a:pt x="6001375" y="1694802"/>
                  <a:pt x="6001375" y="1694802"/>
                  <a:pt x="5995707" y="1691128"/>
                </a:cubicBezTo>
                <a:cubicBezTo>
                  <a:pt x="5998381" y="1680788"/>
                  <a:pt x="5976703" y="1670768"/>
                  <a:pt x="5981375" y="1669769"/>
                </a:cubicBezTo>
                <a:cubicBezTo>
                  <a:pt x="5981375" y="1669769"/>
                  <a:pt x="5986045" y="1668771"/>
                  <a:pt x="5986045" y="1668771"/>
                </a:cubicBezTo>
                <a:cubicBezTo>
                  <a:pt x="5987045" y="1673440"/>
                  <a:pt x="5991715" y="1672443"/>
                  <a:pt x="5991715" y="1672443"/>
                </a:cubicBezTo>
                <a:cubicBezTo>
                  <a:pt x="5990715" y="1667773"/>
                  <a:pt x="5986045" y="1668771"/>
                  <a:pt x="5985048" y="1664101"/>
                </a:cubicBezTo>
                <a:cubicBezTo>
                  <a:pt x="5985048" y="1664101"/>
                  <a:pt x="5979379" y="1660427"/>
                  <a:pt x="5979379" y="1660427"/>
                </a:cubicBezTo>
                <a:cubicBezTo>
                  <a:pt x="5972712" y="1652083"/>
                  <a:pt x="5966045" y="1643739"/>
                  <a:pt x="5961375" y="1644738"/>
                </a:cubicBezTo>
                <a:cubicBezTo>
                  <a:pt x="5961375" y="1644738"/>
                  <a:pt x="5961375" y="1644738"/>
                  <a:pt x="5960376" y="1640066"/>
                </a:cubicBezTo>
                <a:cubicBezTo>
                  <a:pt x="5960376" y="1640066"/>
                  <a:pt x="5959379" y="1635394"/>
                  <a:pt x="5953710" y="1631721"/>
                </a:cubicBezTo>
                <a:cubicBezTo>
                  <a:pt x="5953710" y="1631721"/>
                  <a:pt x="5949037" y="1632720"/>
                  <a:pt x="5949037" y="1632720"/>
                </a:cubicBezTo>
                <a:cubicBezTo>
                  <a:pt x="5949037" y="1632720"/>
                  <a:pt x="5950036" y="1637390"/>
                  <a:pt x="5950036" y="1637390"/>
                </a:cubicBezTo>
                <a:cubicBezTo>
                  <a:pt x="5949037" y="1632720"/>
                  <a:pt x="5948040" y="1628050"/>
                  <a:pt x="5942371" y="1624375"/>
                </a:cubicBezTo>
                <a:cubicBezTo>
                  <a:pt x="5943369" y="1629047"/>
                  <a:pt x="5938699" y="1630045"/>
                  <a:pt x="5933029" y="1626372"/>
                </a:cubicBezTo>
                <a:cubicBezTo>
                  <a:pt x="5937700" y="1625373"/>
                  <a:pt x="5932031" y="1621701"/>
                  <a:pt x="5931033" y="1617029"/>
                </a:cubicBezTo>
                <a:cubicBezTo>
                  <a:pt x="5925364" y="1613357"/>
                  <a:pt x="5925364" y="1613357"/>
                  <a:pt x="5925364" y="1613357"/>
                </a:cubicBezTo>
                <a:cubicBezTo>
                  <a:pt x="5924365" y="1608686"/>
                  <a:pt x="5924365" y="1608686"/>
                  <a:pt x="5924365" y="1608686"/>
                </a:cubicBezTo>
                <a:cubicBezTo>
                  <a:pt x="5919695" y="1609683"/>
                  <a:pt x="5919695" y="1609683"/>
                  <a:pt x="5919695" y="1609683"/>
                </a:cubicBezTo>
                <a:cubicBezTo>
                  <a:pt x="5919695" y="1609683"/>
                  <a:pt x="5919695" y="1609683"/>
                  <a:pt x="5920694" y="1614354"/>
                </a:cubicBezTo>
                <a:cubicBezTo>
                  <a:pt x="5901691" y="1593994"/>
                  <a:pt x="5882689" y="1573632"/>
                  <a:pt x="5872349" y="1570957"/>
                </a:cubicBezTo>
                <a:cubicBezTo>
                  <a:pt x="5866678" y="1567284"/>
                  <a:pt x="5866678" y="1567284"/>
                  <a:pt x="5865681" y="1562613"/>
                </a:cubicBezTo>
                <a:cubicBezTo>
                  <a:pt x="5860011" y="1558939"/>
                  <a:pt x="5860011" y="1558939"/>
                  <a:pt x="5855341" y="1559936"/>
                </a:cubicBezTo>
                <a:lnTo>
                  <a:pt x="5856125" y="1563605"/>
                </a:lnTo>
                <a:lnTo>
                  <a:pt x="5841049" y="1551621"/>
                </a:lnTo>
                <a:cubicBezTo>
                  <a:pt x="5824309" y="1537567"/>
                  <a:pt x="5816995" y="1529056"/>
                  <a:pt x="5789989" y="1505521"/>
                </a:cubicBezTo>
                <a:cubicBezTo>
                  <a:pt x="5773977" y="1499174"/>
                  <a:pt x="5768311" y="1495498"/>
                  <a:pt x="5763639" y="1496497"/>
                </a:cubicBezTo>
                <a:cubicBezTo>
                  <a:pt x="5762641" y="1491827"/>
                  <a:pt x="5767313" y="1490830"/>
                  <a:pt x="5760645" y="1482484"/>
                </a:cubicBezTo>
                <a:cubicBezTo>
                  <a:pt x="5751305" y="1484481"/>
                  <a:pt x="5748309" y="1470467"/>
                  <a:pt x="5731302" y="1459447"/>
                </a:cubicBezTo>
                <a:cubicBezTo>
                  <a:pt x="5714295" y="1448430"/>
                  <a:pt x="5728629" y="1469789"/>
                  <a:pt x="5710622" y="1454098"/>
                </a:cubicBezTo>
                <a:cubicBezTo>
                  <a:pt x="5726632" y="1460446"/>
                  <a:pt x="5708627" y="1444756"/>
                  <a:pt x="5691620" y="1433737"/>
                </a:cubicBezTo>
                <a:cubicBezTo>
                  <a:pt x="5696290" y="1432738"/>
                  <a:pt x="5696290" y="1432738"/>
                  <a:pt x="5696290" y="1432738"/>
                </a:cubicBezTo>
                <a:cubicBezTo>
                  <a:pt x="5701960" y="1436412"/>
                  <a:pt x="5707630" y="1440085"/>
                  <a:pt x="5706631" y="1435415"/>
                </a:cubicBezTo>
                <a:cubicBezTo>
                  <a:pt x="5706631" y="1435415"/>
                  <a:pt x="5705634" y="1430743"/>
                  <a:pt x="5699964" y="1427069"/>
                </a:cubicBezTo>
                <a:cubicBezTo>
                  <a:pt x="5694295" y="1423397"/>
                  <a:pt x="5694295" y="1423397"/>
                  <a:pt x="5694295" y="1423397"/>
                </a:cubicBezTo>
                <a:cubicBezTo>
                  <a:pt x="5698967" y="1422399"/>
                  <a:pt x="5706631" y="1435415"/>
                  <a:pt x="5710304" y="1429745"/>
                </a:cubicBezTo>
                <a:cubicBezTo>
                  <a:pt x="5698967" y="1422399"/>
                  <a:pt x="5692299" y="1414056"/>
                  <a:pt x="5687628" y="1415053"/>
                </a:cubicBezTo>
                <a:cubicBezTo>
                  <a:pt x="5682958" y="1416052"/>
                  <a:pt x="5682958" y="1416052"/>
                  <a:pt x="5681959" y="1411380"/>
                </a:cubicBezTo>
                <a:cubicBezTo>
                  <a:pt x="5676291" y="1407706"/>
                  <a:pt x="5670621" y="1404035"/>
                  <a:pt x="5665951" y="1405033"/>
                </a:cubicBezTo>
                <a:cubicBezTo>
                  <a:pt x="5665951" y="1405033"/>
                  <a:pt x="5666948" y="1409702"/>
                  <a:pt x="5672618" y="1413376"/>
                </a:cubicBezTo>
                <a:cubicBezTo>
                  <a:pt x="5673615" y="1418048"/>
                  <a:pt x="5673615" y="1418048"/>
                  <a:pt x="5673615" y="1418048"/>
                </a:cubicBezTo>
                <a:cubicBezTo>
                  <a:pt x="5663275" y="1415371"/>
                  <a:pt x="5665271" y="1424714"/>
                  <a:pt x="5656608" y="1407029"/>
                </a:cubicBezTo>
                <a:cubicBezTo>
                  <a:pt x="5652935" y="1412696"/>
                  <a:pt x="5664273" y="1420042"/>
                  <a:pt x="5665271" y="1424714"/>
                </a:cubicBezTo>
                <a:cubicBezTo>
                  <a:pt x="5647267" y="1409023"/>
                  <a:pt x="5650937" y="1403355"/>
                  <a:pt x="5639602" y="1396008"/>
                </a:cubicBezTo>
                <a:cubicBezTo>
                  <a:pt x="5644273" y="1395011"/>
                  <a:pt x="5645271" y="1399681"/>
                  <a:pt x="5645271" y="1399681"/>
                </a:cubicBezTo>
                <a:cubicBezTo>
                  <a:pt x="5650937" y="1403355"/>
                  <a:pt x="5650937" y="1403355"/>
                  <a:pt x="5654611" y="1397686"/>
                </a:cubicBezTo>
                <a:cubicBezTo>
                  <a:pt x="5654611" y="1397686"/>
                  <a:pt x="5648943" y="1394013"/>
                  <a:pt x="5643275" y="1390339"/>
                </a:cubicBezTo>
                <a:cubicBezTo>
                  <a:pt x="5653615" y="1393016"/>
                  <a:pt x="5652617" y="1388343"/>
                  <a:pt x="5642277" y="1385668"/>
                </a:cubicBezTo>
                <a:cubicBezTo>
                  <a:pt x="5641279" y="1380997"/>
                  <a:pt x="5641279" y="1380997"/>
                  <a:pt x="5641279" y="1380997"/>
                </a:cubicBezTo>
                <a:cubicBezTo>
                  <a:pt x="5646947" y="1384671"/>
                  <a:pt x="5645949" y="1379999"/>
                  <a:pt x="5645949" y="1379999"/>
                </a:cubicBezTo>
                <a:cubicBezTo>
                  <a:pt x="5640281" y="1376325"/>
                  <a:pt x="5640281" y="1376325"/>
                  <a:pt x="5635609" y="1377324"/>
                </a:cubicBezTo>
                <a:cubicBezTo>
                  <a:pt x="5634612" y="1372654"/>
                  <a:pt x="5634612" y="1372654"/>
                  <a:pt x="5629939" y="1373652"/>
                </a:cubicBezTo>
                <a:cubicBezTo>
                  <a:pt x="5623273" y="1365308"/>
                  <a:pt x="5623273" y="1365308"/>
                  <a:pt x="5616607" y="1356962"/>
                </a:cubicBezTo>
                <a:cubicBezTo>
                  <a:pt x="5622275" y="1360636"/>
                  <a:pt x="5622275" y="1360636"/>
                  <a:pt x="5622275" y="1360636"/>
                </a:cubicBezTo>
                <a:cubicBezTo>
                  <a:pt x="5627945" y="1364309"/>
                  <a:pt x="5632616" y="1363312"/>
                  <a:pt x="5632616" y="1363312"/>
                </a:cubicBezTo>
                <a:cubicBezTo>
                  <a:pt x="5631617" y="1358640"/>
                  <a:pt x="5625949" y="1354966"/>
                  <a:pt x="5620280" y="1351294"/>
                </a:cubicBezTo>
                <a:cubicBezTo>
                  <a:pt x="5614611" y="1347621"/>
                  <a:pt x="5614611" y="1347621"/>
                  <a:pt x="5614611" y="1347621"/>
                </a:cubicBezTo>
                <a:cubicBezTo>
                  <a:pt x="5608941" y="1343947"/>
                  <a:pt x="5608941" y="1343947"/>
                  <a:pt x="5608941" y="1343947"/>
                </a:cubicBezTo>
                <a:cubicBezTo>
                  <a:pt x="5603273" y="1340275"/>
                  <a:pt x="5598601" y="1341272"/>
                  <a:pt x="5599600" y="1345945"/>
                </a:cubicBezTo>
                <a:cubicBezTo>
                  <a:pt x="5599600" y="1345945"/>
                  <a:pt x="5600599" y="1350615"/>
                  <a:pt x="5606266" y="1354289"/>
                </a:cubicBezTo>
                <a:cubicBezTo>
                  <a:pt x="5606266" y="1354289"/>
                  <a:pt x="5606266" y="1354289"/>
                  <a:pt x="5610937" y="1353291"/>
                </a:cubicBezTo>
                <a:cubicBezTo>
                  <a:pt x="5616607" y="1356962"/>
                  <a:pt x="5616607" y="1356962"/>
                  <a:pt x="5616607" y="1356962"/>
                </a:cubicBezTo>
                <a:cubicBezTo>
                  <a:pt x="5591255" y="1352611"/>
                  <a:pt x="5612933" y="1362633"/>
                  <a:pt x="5625269" y="1374649"/>
                </a:cubicBezTo>
                <a:cubicBezTo>
                  <a:pt x="5619601" y="1370976"/>
                  <a:pt x="5619601" y="1370976"/>
                  <a:pt x="5619601" y="1370976"/>
                </a:cubicBezTo>
                <a:cubicBezTo>
                  <a:pt x="5619601" y="1370976"/>
                  <a:pt x="5620599" y="1375646"/>
                  <a:pt x="5620599" y="1375646"/>
                </a:cubicBezTo>
                <a:cubicBezTo>
                  <a:pt x="5620599" y="1375646"/>
                  <a:pt x="5620599" y="1375646"/>
                  <a:pt x="5621597" y="1380318"/>
                </a:cubicBezTo>
                <a:cubicBezTo>
                  <a:pt x="5626267" y="1379320"/>
                  <a:pt x="5626267" y="1379320"/>
                  <a:pt x="5626267" y="1379320"/>
                </a:cubicBezTo>
                <a:cubicBezTo>
                  <a:pt x="5631935" y="1382993"/>
                  <a:pt x="5631935" y="1382993"/>
                  <a:pt x="5631935" y="1382993"/>
                </a:cubicBezTo>
                <a:cubicBezTo>
                  <a:pt x="5627265" y="1383992"/>
                  <a:pt x="5627265" y="1383992"/>
                  <a:pt x="5627265" y="1383992"/>
                </a:cubicBezTo>
                <a:cubicBezTo>
                  <a:pt x="5627265" y="1383992"/>
                  <a:pt x="5628263" y="1388662"/>
                  <a:pt x="5632935" y="1387664"/>
                </a:cubicBezTo>
                <a:cubicBezTo>
                  <a:pt x="5633931" y="1392336"/>
                  <a:pt x="5633931" y="1392336"/>
                  <a:pt x="5633931" y="1392336"/>
                </a:cubicBezTo>
                <a:cubicBezTo>
                  <a:pt x="5618921" y="1390658"/>
                  <a:pt x="5612255" y="1382314"/>
                  <a:pt x="5594249" y="1366625"/>
                </a:cubicBezTo>
                <a:cubicBezTo>
                  <a:pt x="5598919" y="1365626"/>
                  <a:pt x="5598919" y="1365626"/>
                  <a:pt x="5598919" y="1365626"/>
                </a:cubicBezTo>
                <a:cubicBezTo>
                  <a:pt x="5603592" y="1364627"/>
                  <a:pt x="5603592" y="1364627"/>
                  <a:pt x="5603592" y="1364627"/>
                </a:cubicBezTo>
                <a:cubicBezTo>
                  <a:pt x="5597922" y="1360955"/>
                  <a:pt x="5597922" y="1360955"/>
                  <a:pt x="5597922" y="1360955"/>
                </a:cubicBezTo>
                <a:cubicBezTo>
                  <a:pt x="5593251" y="1361952"/>
                  <a:pt x="5593251" y="1361952"/>
                  <a:pt x="5593251" y="1361952"/>
                </a:cubicBezTo>
                <a:cubicBezTo>
                  <a:pt x="5587582" y="1358280"/>
                  <a:pt x="5587582" y="1358280"/>
                  <a:pt x="5587582" y="1358280"/>
                </a:cubicBezTo>
                <a:cubicBezTo>
                  <a:pt x="5581915" y="1354607"/>
                  <a:pt x="5585586" y="1348938"/>
                  <a:pt x="5574249" y="1341592"/>
                </a:cubicBezTo>
                <a:cubicBezTo>
                  <a:pt x="5573250" y="1336920"/>
                  <a:pt x="5573250" y="1336920"/>
                  <a:pt x="5573250" y="1336920"/>
                </a:cubicBezTo>
                <a:cubicBezTo>
                  <a:pt x="5568580" y="1337918"/>
                  <a:pt x="5567581" y="1333248"/>
                  <a:pt x="5567581" y="1333248"/>
                </a:cubicBezTo>
                <a:cubicBezTo>
                  <a:pt x="5562910" y="1334245"/>
                  <a:pt x="5562910" y="1334245"/>
                  <a:pt x="5562910" y="1334245"/>
                </a:cubicBezTo>
                <a:cubicBezTo>
                  <a:pt x="5563907" y="1338917"/>
                  <a:pt x="5563907" y="1338917"/>
                  <a:pt x="5563907" y="1338917"/>
                </a:cubicBezTo>
                <a:cubicBezTo>
                  <a:pt x="5552570" y="1331570"/>
                  <a:pt x="5549577" y="1317557"/>
                  <a:pt x="5540235" y="1319554"/>
                </a:cubicBezTo>
                <a:cubicBezTo>
                  <a:pt x="5540235" y="1319554"/>
                  <a:pt x="5535564" y="1320551"/>
                  <a:pt x="5534565" y="1315881"/>
                </a:cubicBezTo>
                <a:cubicBezTo>
                  <a:pt x="5534565" y="1315881"/>
                  <a:pt x="5529895" y="1316878"/>
                  <a:pt x="5529895" y="1316878"/>
                </a:cubicBezTo>
                <a:cubicBezTo>
                  <a:pt x="5530893" y="1321550"/>
                  <a:pt x="5530893" y="1321550"/>
                  <a:pt x="5530893" y="1321550"/>
                </a:cubicBezTo>
                <a:cubicBezTo>
                  <a:pt x="5505223" y="1292844"/>
                  <a:pt x="5519555" y="1314203"/>
                  <a:pt x="5510213" y="1316199"/>
                </a:cubicBezTo>
                <a:cubicBezTo>
                  <a:pt x="5501549" y="1298513"/>
                  <a:pt x="5467535" y="1276475"/>
                  <a:pt x="5439193" y="1258110"/>
                </a:cubicBezTo>
                <a:cubicBezTo>
                  <a:pt x="5435519" y="1263778"/>
                  <a:pt x="5435519" y="1263778"/>
                  <a:pt x="5435519" y="1263778"/>
                </a:cubicBezTo>
                <a:cubicBezTo>
                  <a:pt x="5434519" y="1259108"/>
                  <a:pt x="5434519" y="1259108"/>
                  <a:pt x="5434519" y="1259108"/>
                </a:cubicBezTo>
                <a:cubicBezTo>
                  <a:pt x="5434519" y="1259108"/>
                  <a:pt x="5433522" y="1254436"/>
                  <a:pt x="5428851" y="1255434"/>
                </a:cubicBezTo>
                <a:cubicBezTo>
                  <a:pt x="5428851" y="1255434"/>
                  <a:pt x="5429849" y="1260105"/>
                  <a:pt x="5429849" y="1260105"/>
                </a:cubicBezTo>
                <a:cubicBezTo>
                  <a:pt x="5412842" y="1249086"/>
                  <a:pt x="5399507" y="1232398"/>
                  <a:pt x="5392843" y="1224054"/>
                </a:cubicBezTo>
                <a:cubicBezTo>
                  <a:pt x="5389167" y="1229722"/>
                  <a:pt x="5390166" y="1234394"/>
                  <a:pt x="5384497" y="1230720"/>
                </a:cubicBezTo>
                <a:cubicBezTo>
                  <a:pt x="5383499" y="1226050"/>
                  <a:pt x="5383499" y="1226050"/>
                  <a:pt x="5377830" y="1222376"/>
                </a:cubicBezTo>
                <a:cubicBezTo>
                  <a:pt x="5374157" y="1228047"/>
                  <a:pt x="5373160" y="1223374"/>
                  <a:pt x="5366493" y="1215031"/>
                </a:cubicBezTo>
                <a:cubicBezTo>
                  <a:pt x="5366493" y="1215031"/>
                  <a:pt x="5366493" y="1215031"/>
                  <a:pt x="5371164" y="1214034"/>
                </a:cubicBezTo>
                <a:cubicBezTo>
                  <a:pt x="5371164" y="1214034"/>
                  <a:pt x="5371164" y="1214034"/>
                  <a:pt x="5370165" y="1209361"/>
                </a:cubicBezTo>
                <a:cubicBezTo>
                  <a:pt x="5365495" y="1210360"/>
                  <a:pt x="5364497" y="1205689"/>
                  <a:pt x="5359825" y="1206686"/>
                </a:cubicBezTo>
                <a:cubicBezTo>
                  <a:pt x="5359825" y="1206686"/>
                  <a:pt x="5355155" y="1207685"/>
                  <a:pt x="5355155" y="1207685"/>
                </a:cubicBezTo>
                <a:cubicBezTo>
                  <a:pt x="5353159" y="1198342"/>
                  <a:pt x="5305132" y="1179299"/>
                  <a:pt x="5316471" y="1186644"/>
                </a:cubicBezTo>
                <a:cubicBezTo>
                  <a:pt x="5330483" y="1183650"/>
                  <a:pt x="5315790" y="1206325"/>
                  <a:pt x="5328805" y="1198660"/>
                </a:cubicBezTo>
                <a:lnTo>
                  <a:pt x="5339148" y="1201337"/>
                </a:lnTo>
                <a:lnTo>
                  <a:pt x="5339145" y="1201337"/>
                </a:lnTo>
                <a:cubicBezTo>
                  <a:pt x="5334475" y="1202334"/>
                  <a:pt x="5340143" y="1206007"/>
                  <a:pt x="5340143" y="1206007"/>
                </a:cubicBezTo>
                <a:cubicBezTo>
                  <a:pt x="5345813" y="1209681"/>
                  <a:pt x="5345813" y="1209681"/>
                  <a:pt x="5345813" y="1209681"/>
                </a:cubicBezTo>
                <a:cubicBezTo>
                  <a:pt x="5341141" y="1210678"/>
                  <a:pt x="5341141" y="1210678"/>
                  <a:pt x="5341141" y="1210678"/>
                </a:cubicBezTo>
                <a:cubicBezTo>
                  <a:pt x="5340143" y="1206007"/>
                  <a:pt x="5335473" y="1207006"/>
                  <a:pt x="5335473" y="1207006"/>
                </a:cubicBezTo>
                <a:cubicBezTo>
                  <a:pt x="5335473" y="1207006"/>
                  <a:pt x="5336470" y="1211676"/>
                  <a:pt x="5336470" y="1211676"/>
                </a:cubicBezTo>
                <a:cubicBezTo>
                  <a:pt x="5342139" y="1215350"/>
                  <a:pt x="5342139" y="1215350"/>
                  <a:pt x="5342139" y="1215350"/>
                </a:cubicBezTo>
                <a:cubicBezTo>
                  <a:pt x="5347809" y="1219022"/>
                  <a:pt x="5347809" y="1219022"/>
                  <a:pt x="5347809" y="1219022"/>
                </a:cubicBezTo>
                <a:cubicBezTo>
                  <a:pt x="5347809" y="1219022"/>
                  <a:pt x="5337469" y="1216347"/>
                  <a:pt x="5337469" y="1216347"/>
                </a:cubicBezTo>
                <a:cubicBezTo>
                  <a:pt x="5331799" y="1212674"/>
                  <a:pt x="5331799" y="1212674"/>
                  <a:pt x="5331799" y="1212674"/>
                </a:cubicBezTo>
                <a:cubicBezTo>
                  <a:pt x="5326130" y="1209000"/>
                  <a:pt x="5326130" y="1209000"/>
                  <a:pt x="5326130" y="1209000"/>
                </a:cubicBezTo>
                <a:cubicBezTo>
                  <a:pt x="5325133" y="1204330"/>
                  <a:pt x="5319464" y="1200656"/>
                  <a:pt x="5314793" y="1201655"/>
                </a:cubicBezTo>
                <a:cubicBezTo>
                  <a:pt x="5310121" y="1202653"/>
                  <a:pt x="5311119" y="1207324"/>
                  <a:pt x="5316787" y="1210996"/>
                </a:cubicBezTo>
                <a:cubicBezTo>
                  <a:pt x="5316787" y="1210996"/>
                  <a:pt x="5316787" y="1210996"/>
                  <a:pt x="5317786" y="1215668"/>
                </a:cubicBezTo>
                <a:cubicBezTo>
                  <a:pt x="5300780" y="1204649"/>
                  <a:pt x="5314793" y="1201655"/>
                  <a:pt x="5294113" y="1196306"/>
                </a:cubicBezTo>
                <a:cubicBezTo>
                  <a:pt x="5298783" y="1195307"/>
                  <a:pt x="5298783" y="1195307"/>
                  <a:pt x="5298783" y="1195307"/>
                </a:cubicBezTo>
                <a:cubicBezTo>
                  <a:pt x="5298783" y="1195307"/>
                  <a:pt x="5298783" y="1195307"/>
                  <a:pt x="5297785" y="1190636"/>
                </a:cubicBezTo>
                <a:cubicBezTo>
                  <a:pt x="5293114" y="1191633"/>
                  <a:pt x="5293114" y="1191633"/>
                  <a:pt x="5293114" y="1191633"/>
                </a:cubicBezTo>
                <a:cubicBezTo>
                  <a:pt x="5293114" y="1191633"/>
                  <a:pt x="5288443" y="1192631"/>
                  <a:pt x="5288443" y="1192631"/>
                </a:cubicBezTo>
                <a:cubicBezTo>
                  <a:pt x="5282775" y="1188958"/>
                  <a:pt x="5282775" y="1188958"/>
                  <a:pt x="5282775" y="1188958"/>
                </a:cubicBezTo>
                <a:cubicBezTo>
                  <a:pt x="5277105" y="1185286"/>
                  <a:pt x="5277105" y="1185286"/>
                  <a:pt x="5265767" y="1177939"/>
                </a:cubicBezTo>
                <a:cubicBezTo>
                  <a:pt x="5258421" y="1189278"/>
                  <a:pt x="5234748" y="1169914"/>
                  <a:pt x="5237741" y="1183927"/>
                </a:cubicBezTo>
                <a:cubicBezTo>
                  <a:pt x="5247083" y="1181931"/>
                  <a:pt x="5253750" y="1190277"/>
                  <a:pt x="5264090" y="1192949"/>
                </a:cubicBezTo>
                <a:cubicBezTo>
                  <a:pt x="5253750" y="1190277"/>
                  <a:pt x="5253750" y="1190277"/>
                  <a:pt x="5254749" y="1194947"/>
                </a:cubicBezTo>
                <a:cubicBezTo>
                  <a:pt x="5254749" y="1194947"/>
                  <a:pt x="5254749" y="1194947"/>
                  <a:pt x="5255746" y="1199616"/>
                </a:cubicBezTo>
                <a:cubicBezTo>
                  <a:pt x="5243410" y="1187600"/>
                  <a:pt x="5226404" y="1176581"/>
                  <a:pt x="5210394" y="1170233"/>
                </a:cubicBezTo>
                <a:cubicBezTo>
                  <a:pt x="5199057" y="1162887"/>
                  <a:pt x="5182049" y="1151868"/>
                  <a:pt x="5166041" y="1145520"/>
                </a:cubicBezTo>
                <a:cubicBezTo>
                  <a:pt x="5171709" y="1149192"/>
                  <a:pt x="5182049" y="1151868"/>
                  <a:pt x="5175383" y="1143524"/>
                </a:cubicBezTo>
                <a:cubicBezTo>
                  <a:pt x="5154702" y="1138173"/>
                  <a:pt x="5154702" y="1138173"/>
                  <a:pt x="5152707" y="1128832"/>
                </a:cubicBezTo>
                <a:cubicBezTo>
                  <a:pt x="5132025" y="1123480"/>
                  <a:pt x="5124363" y="1110465"/>
                  <a:pt x="5132025" y="1123480"/>
                </a:cubicBezTo>
                <a:cubicBezTo>
                  <a:pt x="5127356" y="1124478"/>
                  <a:pt x="5127356" y="1124478"/>
                  <a:pt x="5122685" y="1125476"/>
                </a:cubicBezTo>
                <a:cubicBezTo>
                  <a:pt x="5095337" y="1111782"/>
                  <a:pt x="5068989" y="1102760"/>
                  <a:pt x="5046313" y="1088067"/>
                </a:cubicBezTo>
                <a:cubicBezTo>
                  <a:pt x="5041643" y="1089066"/>
                  <a:pt x="5035973" y="1085392"/>
                  <a:pt x="5030303" y="1081718"/>
                </a:cubicBezTo>
                <a:cubicBezTo>
                  <a:pt x="5050983" y="1087069"/>
                  <a:pt x="5065997" y="1088746"/>
                  <a:pt x="5086675" y="1094097"/>
                </a:cubicBezTo>
                <a:cubicBezTo>
                  <a:pt x="5086675" y="1094097"/>
                  <a:pt x="5103683" y="1105116"/>
                  <a:pt x="5085676" y="1089426"/>
                </a:cubicBezTo>
                <a:cubicBezTo>
                  <a:pt x="5091346" y="1093098"/>
                  <a:pt x="5101686" y="1095775"/>
                  <a:pt x="5095019" y="1087429"/>
                </a:cubicBezTo>
                <a:cubicBezTo>
                  <a:pt x="5076335" y="1091420"/>
                  <a:pt x="5054656" y="1081400"/>
                  <a:pt x="5029307" y="1077048"/>
                </a:cubicBezTo>
                <a:cubicBezTo>
                  <a:pt x="5033976" y="1076051"/>
                  <a:pt x="5032979" y="1071380"/>
                  <a:pt x="5028309" y="1072377"/>
                </a:cubicBezTo>
                <a:cubicBezTo>
                  <a:pt x="5032979" y="1071380"/>
                  <a:pt x="5032979" y="1071380"/>
                  <a:pt x="5032979" y="1071380"/>
                </a:cubicBezTo>
                <a:cubicBezTo>
                  <a:pt x="5031981" y="1066707"/>
                  <a:pt x="5031981" y="1066707"/>
                  <a:pt x="5027310" y="1067706"/>
                </a:cubicBezTo>
                <a:cubicBezTo>
                  <a:pt x="5026313" y="1063036"/>
                  <a:pt x="5015971" y="1060359"/>
                  <a:pt x="5005631" y="1057685"/>
                </a:cubicBezTo>
                <a:cubicBezTo>
                  <a:pt x="5000961" y="1058683"/>
                  <a:pt x="5000961" y="1058683"/>
                  <a:pt x="5000961" y="1058683"/>
                </a:cubicBezTo>
                <a:cubicBezTo>
                  <a:pt x="4999964" y="1054011"/>
                  <a:pt x="4999964" y="1054011"/>
                  <a:pt x="4995291" y="1055010"/>
                </a:cubicBezTo>
                <a:cubicBezTo>
                  <a:pt x="4989623" y="1051337"/>
                  <a:pt x="4989623" y="1051337"/>
                  <a:pt x="4983954" y="1047662"/>
                </a:cubicBezTo>
                <a:cubicBezTo>
                  <a:pt x="4983954" y="1047662"/>
                  <a:pt x="4982957" y="1042992"/>
                  <a:pt x="4982957" y="1042992"/>
                </a:cubicBezTo>
                <a:cubicBezTo>
                  <a:pt x="4977287" y="1039320"/>
                  <a:pt x="4977287" y="1039320"/>
                  <a:pt x="4977287" y="1039320"/>
                </a:cubicBezTo>
                <a:cubicBezTo>
                  <a:pt x="4973614" y="1044988"/>
                  <a:pt x="4973614" y="1044988"/>
                  <a:pt x="4973614" y="1044988"/>
                </a:cubicBezTo>
                <a:cubicBezTo>
                  <a:pt x="4962277" y="1037643"/>
                  <a:pt x="4952934" y="1039638"/>
                  <a:pt x="4942594" y="1036963"/>
                </a:cubicBezTo>
                <a:cubicBezTo>
                  <a:pt x="4942594" y="1036963"/>
                  <a:pt x="4947265" y="1035964"/>
                  <a:pt x="4947265" y="1035964"/>
                </a:cubicBezTo>
                <a:cubicBezTo>
                  <a:pt x="4947265" y="1035964"/>
                  <a:pt x="4947265" y="1035964"/>
                  <a:pt x="4946267" y="1031294"/>
                </a:cubicBezTo>
                <a:cubicBezTo>
                  <a:pt x="4946267" y="1031294"/>
                  <a:pt x="4941597" y="1032293"/>
                  <a:pt x="4941597" y="1032293"/>
                </a:cubicBezTo>
                <a:cubicBezTo>
                  <a:pt x="4941597" y="1032293"/>
                  <a:pt x="4936925" y="1033290"/>
                  <a:pt x="4936925" y="1033290"/>
                </a:cubicBezTo>
                <a:cubicBezTo>
                  <a:pt x="4945269" y="1026623"/>
                  <a:pt x="4900235" y="1021592"/>
                  <a:pt x="4921914" y="1031612"/>
                </a:cubicBezTo>
                <a:cubicBezTo>
                  <a:pt x="4922913" y="1036284"/>
                  <a:pt x="4927583" y="1035286"/>
                  <a:pt x="4927583" y="1035286"/>
                </a:cubicBezTo>
                <a:cubicBezTo>
                  <a:pt x="4914567" y="1042949"/>
                  <a:pt x="4957604" y="1038641"/>
                  <a:pt x="4973614" y="1044988"/>
                </a:cubicBezTo>
                <a:cubicBezTo>
                  <a:pt x="4968943" y="1045986"/>
                  <a:pt x="4968943" y="1045986"/>
                  <a:pt x="4964271" y="1046983"/>
                </a:cubicBezTo>
                <a:cubicBezTo>
                  <a:pt x="4964271" y="1046983"/>
                  <a:pt x="4965270" y="1051656"/>
                  <a:pt x="4965270" y="1051656"/>
                </a:cubicBezTo>
                <a:cubicBezTo>
                  <a:pt x="4969940" y="1050657"/>
                  <a:pt x="4969940" y="1050657"/>
                  <a:pt x="4969940" y="1050657"/>
                </a:cubicBezTo>
                <a:cubicBezTo>
                  <a:pt x="4970937" y="1055328"/>
                  <a:pt x="4975610" y="1054330"/>
                  <a:pt x="4975610" y="1054330"/>
                </a:cubicBezTo>
                <a:cubicBezTo>
                  <a:pt x="4980281" y="1053332"/>
                  <a:pt x="4980281" y="1053332"/>
                  <a:pt x="4980281" y="1053332"/>
                </a:cubicBezTo>
                <a:cubicBezTo>
                  <a:pt x="5002957" y="1068025"/>
                  <a:pt x="4954930" y="1048979"/>
                  <a:pt x="4976607" y="1059002"/>
                </a:cubicBezTo>
                <a:cubicBezTo>
                  <a:pt x="4966267" y="1056326"/>
                  <a:pt x="4955927" y="1053650"/>
                  <a:pt x="4945587" y="1050975"/>
                </a:cubicBezTo>
                <a:cubicBezTo>
                  <a:pt x="4926745" y="1042790"/>
                  <a:pt x="4906983" y="1036024"/>
                  <a:pt x="4888638" y="1030174"/>
                </a:cubicBezTo>
                <a:lnTo>
                  <a:pt x="4883576" y="1028576"/>
                </a:lnTo>
                <a:lnTo>
                  <a:pt x="4677737" y="918554"/>
                </a:lnTo>
                <a:cubicBezTo>
                  <a:pt x="4618194" y="886663"/>
                  <a:pt x="4554209" y="871943"/>
                  <a:pt x="4486061" y="866223"/>
                </a:cubicBezTo>
                <a:cubicBezTo>
                  <a:pt x="4338547" y="859209"/>
                  <a:pt x="4194645" y="831144"/>
                  <a:pt x="4048372" y="829950"/>
                </a:cubicBezTo>
                <a:cubicBezTo>
                  <a:pt x="3646949" y="830539"/>
                  <a:pt x="3256016" y="889726"/>
                  <a:pt x="2878191" y="1029255"/>
                </a:cubicBezTo>
                <a:cubicBezTo>
                  <a:pt x="2787997" y="1062720"/>
                  <a:pt x="2702509" y="1099236"/>
                  <a:pt x="2628640" y="1161658"/>
                </a:cubicBezTo>
                <a:cubicBezTo>
                  <a:pt x="2511256" y="1257713"/>
                  <a:pt x="2371313" y="1324113"/>
                  <a:pt x="2250745" y="1414763"/>
                </a:cubicBezTo>
                <a:cubicBezTo>
                  <a:pt x="2238411" y="1423482"/>
                  <a:pt x="2220675" y="1435383"/>
                  <a:pt x="2208076" y="1423878"/>
                </a:cubicBezTo>
                <a:cubicBezTo>
                  <a:pt x="2204928" y="1421004"/>
                  <a:pt x="2203060" y="1417600"/>
                  <a:pt x="2202136" y="1413869"/>
                </a:cubicBezTo>
                <a:lnTo>
                  <a:pt x="2202084" y="1411629"/>
                </a:lnTo>
                <a:lnTo>
                  <a:pt x="2206238" y="1407817"/>
                </a:lnTo>
                <a:cubicBezTo>
                  <a:pt x="2380395" y="1260518"/>
                  <a:pt x="2574630" y="1132593"/>
                  <a:pt x="2786866" y="1028640"/>
                </a:cubicBezTo>
                <a:cubicBezTo>
                  <a:pt x="2787863" y="1033311"/>
                  <a:pt x="2787863" y="1033311"/>
                  <a:pt x="2792535" y="1032314"/>
                </a:cubicBezTo>
                <a:cubicBezTo>
                  <a:pt x="2792535" y="1032314"/>
                  <a:pt x="2797204" y="1031315"/>
                  <a:pt x="2797204" y="1031315"/>
                </a:cubicBezTo>
                <a:cubicBezTo>
                  <a:pt x="2792535" y="1032314"/>
                  <a:pt x="2794529" y="1041655"/>
                  <a:pt x="2802875" y="1034988"/>
                </a:cubicBezTo>
                <a:cubicBezTo>
                  <a:pt x="2794529" y="1041655"/>
                  <a:pt x="2794529" y="1041655"/>
                  <a:pt x="2794529" y="1041655"/>
                </a:cubicBezTo>
                <a:cubicBezTo>
                  <a:pt x="2789859" y="1042653"/>
                  <a:pt x="2790857" y="1047324"/>
                  <a:pt x="2795528" y="1046327"/>
                </a:cubicBezTo>
                <a:cubicBezTo>
                  <a:pt x="2795528" y="1046327"/>
                  <a:pt x="2800199" y="1045328"/>
                  <a:pt x="2800199" y="1045328"/>
                </a:cubicBezTo>
                <a:cubicBezTo>
                  <a:pt x="2804871" y="1044330"/>
                  <a:pt x="2804871" y="1044330"/>
                  <a:pt x="2804871" y="1044330"/>
                </a:cubicBezTo>
                <a:cubicBezTo>
                  <a:pt x="2808543" y="1038660"/>
                  <a:pt x="2808543" y="1038660"/>
                  <a:pt x="2808543" y="1038660"/>
                </a:cubicBezTo>
                <a:cubicBezTo>
                  <a:pt x="2813215" y="1037663"/>
                  <a:pt x="2813215" y="1037663"/>
                  <a:pt x="2813215" y="1037663"/>
                </a:cubicBezTo>
                <a:cubicBezTo>
                  <a:pt x="2810539" y="1048003"/>
                  <a:pt x="2815209" y="1047006"/>
                  <a:pt x="2829222" y="1044011"/>
                </a:cubicBezTo>
                <a:cubicBezTo>
                  <a:pt x="2836568" y="1032673"/>
                  <a:pt x="2828224" y="1039341"/>
                  <a:pt x="2830901" y="1029001"/>
                </a:cubicBezTo>
                <a:lnTo>
                  <a:pt x="2826228" y="1029998"/>
                </a:lnTo>
                <a:cubicBezTo>
                  <a:pt x="2830901" y="1029001"/>
                  <a:pt x="2829902" y="1024329"/>
                  <a:pt x="2825231" y="1025328"/>
                </a:cubicBezTo>
                <a:cubicBezTo>
                  <a:pt x="2825231" y="1025328"/>
                  <a:pt x="2815890" y="1027323"/>
                  <a:pt x="2811218" y="1028322"/>
                </a:cubicBezTo>
                <a:cubicBezTo>
                  <a:pt x="2807546" y="1033990"/>
                  <a:pt x="2807546" y="1033990"/>
                  <a:pt x="2807546" y="1033990"/>
                </a:cubicBezTo>
                <a:cubicBezTo>
                  <a:pt x="2806549" y="1029320"/>
                  <a:pt x="2811218" y="1028322"/>
                  <a:pt x="2810219" y="1023650"/>
                </a:cubicBezTo>
                <a:cubicBezTo>
                  <a:pt x="2810219" y="1023650"/>
                  <a:pt x="2814891" y="1022653"/>
                  <a:pt x="2814891" y="1022653"/>
                </a:cubicBezTo>
                <a:cubicBezTo>
                  <a:pt x="2819564" y="1021654"/>
                  <a:pt x="2823235" y="1015986"/>
                  <a:pt x="2823235" y="1015986"/>
                </a:cubicBezTo>
                <a:cubicBezTo>
                  <a:pt x="2823235" y="1015986"/>
                  <a:pt x="2823235" y="1015986"/>
                  <a:pt x="2818565" y="1016983"/>
                </a:cubicBezTo>
                <a:cubicBezTo>
                  <a:pt x="2889309" y="982332"/>
                  <a:pt x="2965723" y="951353"/>
                  <a:pt x="3037465" y="921374"/>
                </a:cubicBezTo>
                <a:cubicBezTo>
                  <a:pt x="3038464" y="926044"/>
                  <a:pt x="3044133" y="929718"/>
                  <a:pt x="3058147" y="926725"/>
                </a:cubicBezTo>
                <a:cubicBezTo>
                  <a:pt x="3057148" y="922053"/>
                  <a:pt x="3051479" y="918379"/>
                  <a:pt x="3046809" y="919377"/>
                </a:cubicBezTo>
                <a:cubicBezTo>
                  <a:pt x="3046809" y="919377"/>
                  <a:pt x="3051479" y="918379"/>
                  <a:pt x="3051479" y="918379"/>
                </a:cubicBezTo>
                <a:cubicBezTo>
                  <a:pt x="3199715" y="863510"/>
                  <a:pt x="3349591" y="822028"/>
                  <a:pt x="3499823" y="793288"/>
                </a:cubicBezTo>
                <a:lnTo>
                  <a:pt x="3644023" y="771778"/>
                </a:lnTo>
                <a:lnTo>
                  <a:pt x="3664087" y="769873"/>
                </a:lnTo>
                <a:cubicBezTo>
                  <a:pt x="3709474" y="766929"/>
                  <a:pt x="3755207" y="765334"/>
                  <a:pt x="3801298" y="765118"/>
                </a:cubicBezTo>
                <a:cubicBezTo>
                  <a:pt x="3825607" y="764994"/>
                  <a:pt x="3838629" y="764240"/>
                  <a:pt x="3849108" y="758706"/>
                </a:cubicBezTo>
                <a:lnTo>
                  <a:pt x="3858639" y="750773"/>
                </a:lnTo>
                <a:close/>
                <a:moveTo>
                  <a:pt x="1876892" y="560831"/>
                </a:moveTo>
                <a:cubicBezTo>
                  <a:pt x="1882274" y="560831"/>
                  <a:pt x="1887657" y="560831"/>
                  <a:pt x="1898421" y="560831"/>
                </a:cubicBezTo>
                <a:cubicBezTo>
                  <a:pt x="1868820" y="611956"/>
                  <a:pt x="1831147" y="646935"/>
                  <a:pt x="1793475" y="681915"/>
                </a:cubicBezTo>
                <a:cubicBezTo>
                  <a:pt x="1330636" y="1093597"/>
                  <a:pt x="988888" y="1588690"/>
                  <a:pt x="776305" y="2172579"/>
                </a:cubicBezTo>
                <a:cubicBezTo>
                  <a:pt x="770924" y="2188723"/>
                  <a:pt x="757469" y="2210249"/>
                  <a:pt x="760159" y="2226393"/>
                </a:cubicBezTo>
                <a:cubicBezTo>
                  <a:pt x="768233" y="2398600"/>
                  <a:pt x="698268" y="2557354"/>
                  <a:pt x="674049" y="2724179"/>
                </a:cubicBezTo>
                <a:cubicBezTo>
                  <a:pt x="652522" y="2874859"/>
                  <a:pt x="622922" y="3022849"/>
                  <a:pt x="622922" y="3181602"/>
                </a:cubicBezTo>
                <a:cubicBezTo>
                  <a:pt x="665977" y="3152004"/>
                  <a:pt x="665977" y="3111643"/>
                  <a:pt x="668667" y="3073973"/>
                </a:cubicBezTo>
                <a:cubicBezTo>
                  <a:pt x="682124" y="2936746"/>
                  <a:pt x="698268" y="2799518"/>
                  <a:pt x="725177" y="2664982"/>
                </a:cubicBezTo>
                <a:cubicBezTo>
                  <a:pt x="835505" y="2102620"/>
                  <a:pt x="1077688" y="1602145"/>
                  <a:pt x="1438272" y="1155483"/>
                </a:cubicBezTo>
                <a:cubicBezTo>
                  <a:pt x="1489400" y="1090906"/>
                  <a:pt x="1562055" y="1047854"/>
                  <a:pt x="1629328" y="999420"/>
                </a:cubicBezTo>
                <a:cubicBezTo>
                  <a:pt x="1653547" y="983276"/>
                  <a:pt x="1675074" y="969822"/>
                  <a:pt x="1669692" y="929461"/>
                </a:cubicBezTo>
                <a:cubicBezTo>
                  <a:pt x="1667001" y="886410"/>
                  <a:pt x="1707365" y="867574"/>
                  <a:pt x="1739655" y="848740"/>
                </a:cubicBezTo>
                <a:cubicBezTo>
                  <a:pt x="1761183" y="837977"/>
                  <a:pt x="1788092" y="835286"/>
                  <a:pt x="1817693" y="837977"/>
                </a:cubicBezTo>
                <a:cubicBezTo>
                  <a:pt x="1782710" y="875647"/>
                  <a:pt x="1750420" y="916008"/>
                  <a:pt x="1715438" y="953679"/>
                </a:cubicBezTo>
                <a:cubicBezTo>
                  <a:pt x="1605109" y="1074761"/>
                  <a:pt x="1494782" y="1198535"/>
                  <a:pt x="1403290" y="1335761"/>
                </a:cubicBezTo>
                <a:cubicBezTo>
                  <a:pt x="1376382" y="1370741"/>
                  <a:pt x="1344091" y="1397649"/>
                  <a:pt x="1352163" y="1448772"/>
                </a:cubicBezTo>
                <a:cubicBezTo>
                  <a:pt x="1357545" y="1478370"/>
                  <a:pt x="1330636" y="1505278"/>
                  <a:pt x="1314489" y="1532185"/>
                </a:cubicBezTo>
                <a:cubicBezTo>
                  <a:pt x="1220307" y="1669413"/>
                  <a:pt x="1144962" y="1817402"/>
                  <a:pt x="1072307" y="1965393"/>
                </a:cubicBezTo>
                <a:cubicBezTo>
                  <a:pt x="1066925" y="1976156"/>
                  <a:pt x="1061543" y="1984227"/>
                  <a:pt x="1069616" y="1997681"/>
                </a:cubicBezTo>
                <a:cubicBezTo>
                  <a:pt x="1091144" y="2003063"/>
                  <a:pt x="1093835" y="1981536"/>
                  <a:pt x="1099217" y="1970774"/>
                </a:cubicBezTo>
                <a:cubicBezTo>
                  <a:pt x="1206853" y="1739372"/>
                  <a:pt x="1344091" y="1529495"/>
                  <a:pt x="1494782" y="1327690"/>
                </a:cubicBezTo>
                <a:cubicBezTo>
                  <a:pt x="1500164" y="1319618"/>
                  <a:pt x="1505545" y="1311545"/>
                  <a:pt x="1510927" y="1303472"/>
                </a:cubicBezTo>
                <a:cubicBezTo>
                  <a:pt x="1519001" y="1292711"/>
                  <a:pt x="1529764" y="1287329"/>
                  <a:pt x="1540528" y="1300782"/>
                </a:cubicBezTo>
                <a:cubicBezTo>
                  <a:pt x="1556672" y="1311545"/>
                  <a:pt x="1548600" y="1319618"/>
                  <a:pt x="1540528" y="1330381"/>
                </a:cubicBezTo>
                <a:cubicBezTo>
                  <a:pt x="1411363" y="1483752"/>
                  <a:pt x="1319872" y="1664031"/>
                  <a:pt x="1217616" y="1836238"/>
                </a:cubicBezTo>
                <a:cubicBezTo>
                  <a:pt x="1212235" y="1847000"/>
                  <a:pt x="1204162" y="1855072"/>
                  <a:pt x="1201472" y="1865836"/>
                </a:cubicBezTo>
                <a:cubicBezTo>
                  <a:pt x="1163799" y="2021897"/>
                  <a:pt x="1077688" y="2159125"/>
                  <a:pt x="1034634" y="2315188"/>
                </a:cubicBezTo>
                <a:cubicBezTo>
                  <a:pt x="945833" y="2646147"/>
                  <a:pt x="897396" y="2977107"/>
                  <a:pt x="886633" y="3316138"/>
                </a:cubicBezTo>
                <a:cubicBezTo>
                  <a:pt x="886633" y="3326902"/>
                  <a:pt x="886633" y="3334975"/>
                  <a:pt x="886633" y="3345737"/>
                </a:cubicBezTo>
                <a:cubicBezTo>
                  <a:pt x="916234" y="3332283"/>
                  <a:pt x="910852" y="3308066"/>
                  <a:pt x="910852" y="3286541"/>
                </a:cubicBezTo>
                <a:lnTo>
                  <a:pt x="912039" y="3267394"/>
                </a:lnTo>
                <a:lnTo>
                  <a:pt x="911945" y="3235898"/>
                </a:lnTo>
                <a:cubicBezTo>
                  <a:pt x="916573" y="3143655"/>
                  <a:pt x="911504" y="3053483"/>
                  <a:pt x="932891" y="2963742"/>
                </a:cubicBezTo>
                <a:cubicBezTo>
                  <a:pt x="934004" y="2959449"/>
                  <a:pt x="934041" y="2954878"/>
                  <a:pt x="935203" y="2950827"/>
                </a:cubicBezTo>
                <a:lnTo>
                  <a:pt x="936942" y="2948948"/>
                </a:lnTo>
                <a:lnTo>
                  <a:pt x="967110" y="2742550"/>
                </a:lnTo>
                <a:cubicBezTo>
                  <a:pt x="1067262" y="2215462"/>
                  <a:pt x="1298344" y="1738698"/>
                  <a:pt x="1653547" y="1308854"/>
                </a:cubicBezTo>
                <a:cubicBezTo>
                  <a:pt x="1782710" y="1152792"/>
                  <a:pt x="1933403" y="1015565"/>
                  <a:pt x="2092167" y="889101"/>
                </a:cubicBezTo>
                <a:cubicBezTo>
                  <a:pt x="2105621" y="878338"/>
                  <a:pt x="2119075" y="867574"/>
                  <a:pt x="2137913" y="856811"/>
                </a:cubicBezTo>
                <a:cubicBezTo>
                  <a:pt x="2148676" y="897172"/>
                  <a:pt x="2127149" y="916008"/>
                  <a:pt x="2108312" y="940224"/>
                </a:cubicBezTo>
                <a:cubicBezTo>
                  <a:pt x="2078713" y="972513"/>
                  <a:pt x="2043730" y="1004802"/>
                  <a:pt x="2046421" y="1055926"/>
                </a:cubicBezTo>
                <a:cubicBezTo>
                  <a:pt x="2046421" y="1072070"/>
                  <a:pt x="2030276" y="1082833"/>
                  <a:pt x="2016821" y="1093597"/>
                </a:cubicBezTo>
                <a:cubicBezTo>
                  <a:pt x="1928020" y="1171627"/>
                  <a:pt x="1849984" y="1257731"/>
                  <a:pt x="1774638" y="1349215"/>
                </a:cubicBezTo>
                <a:cubicBezTo>
                  <a:pt x="1766565" y="1359979"/>
                  <a:pt x="1734274" y="1373431"/>
                  <a:pt x="1777328" y="1386886"/>
                </a:cubicBezTo>
                <a:cubicBezTo>
                  <a:pt x="1801547" y="1394958"/>
                  <a:pt x="1774638" y="1413793"/>
                  <a:pt x="1766565" y="1421865"/>
                </a:cubicBezTo>
                <a:cubicBezTo>
                  <a:pt x="1597036" y="1626361"/>
                  <a:pt x="1459800" y="1849691"/>
                  <a:pt x="1352163" y="2091856"/>
                </a:cubicBezTo>
                <a:cubicBezTo>
                  <a:pt x="1212235" y="2409363"/>
                  <a:pt x="1136890" y="2743013"/>
                  <a:pt x="1101907" y="3087427"/>
                </a:cubicBezTo>
                <a:cubicBezTo>
                  <a:pt x="1101907" y="3088772"/>
                  <a:pt x="1101907" y="3090790"/>
                  <a:pt x="1102580" y="3094154"/>
                </a:cubicBezTo>
                <a:lnTo>
                  <a:pt x="1104570" y="3100406"/>
                </a:lnTo>
                <a:lnTo>
                  <a:pt x="1113843" y="2999101"/>
                </a:lnTo>
                <a:cubicBezTo>
                  <a:pt x="1138226" y="2826084"/>
                  <a:pt x="1179369" y="2655571"/>
                  <a:pt x="1236682" y="2487179"/>
                </a:cubicBezTo>
                <a:cubicBezTo>
                  <a:pt x="1239318" y="2480533"/>
                  <a:pt x="1242783" y="2477764"/>
                  <a:pt x="1249712" y="2472227"/>
                </a:cubicBezTo>
                <a:cubicBezTo>
                  <a:pt x="1202697" y="2647291"/>
                  <a:pt x="1165753" y="2822770"/>
                  <a:pt x="1144152" y="2998820"/>
                </a:cubicBezTo>
                <a:lnTo>
                  <a:pt x="1143877" y="3001792"/>
                </a:lnTo>
                <a:lnTo>
                  <a:pt x="1144625" y="2999599"/>
                </a:lnTo>
                <a:cubicBezTo>
                  <a:pt x="1169853" y="2888481"/>
                  <a:pt x="1167835" y="2773956"/>
                  <a:pt x="1220307" y="2673054"/>
                </a:cubicBezTo>
                <a:cubicBezTo>
                  <a:pt x="1196089" y="2780684"/>
                  <a:pt x="1228380" y="2896384"/>
                  <a:pt x="1182634" y="3001323"/>
                </a:cubicBezTo>
                <a:lnTo>
                  <a:pt x="1177230" y="3017964"/>
                </a:lnTo>
                <a:lnTo>
                  <a:pt x="1193129" y="3023733"/>
                </a:lnTo>
                <a:cubicBezTo>
                  <a:pt x="1206837" y="3030944"/>
                  <a:pt x="1205461" y="3015014"/>
                  <a:pt x="1207684" y="3006427"/>
                </a:cubicBezTo>
                <a:cubicBezTo>
                  <a:pt x="1226207" y="2846324"/>
                  <a:pt x="1272430" y="2692470"/>
                  <a:pt x="1314361" y="2537505"/>
                </a:cubicBezTo>
                <a:cubicBezTo>
                  <a:pt x="1316859" y="2527844"/>
                  <a:pt x="1315153" y="2514521"/>
                  <a:pt x="1324018" y="2510631"/>
                </a:cubicBezTo>
                <a:cubicBezTo>
                  <a:pt x="1326973" y="2509334"/>
                  <a:pt x="1331103" y="2509086"/>
                  <a:pt x="1336954" y="2510369"/>
                </a:cubicBezTo>
                <a:lnTo>
                  <a:pt x="1346335" y="2515455"/>
                </a:lnTo>
                <a:lnTo>
                  <a:pt x="1341475" y="2526822"/>
                </a:lnTo>
                <a:cubicBezTo>
                  <a:pt x="1282033" y="2684987"/>
                  <a:pt x="1236529" y="2849070"/>
                  <a:pt x="1206129" y="3017246"/>
                </a:cubicBezTo>
                <a:lnTo>
                  <a:pt x="1190428" y="3134619"/>
                </a:lnTo>
                <a:lnTo>
                  <a:pt x="1188018" y="3178911"/>
                </a:lnTo>
                <a:cubicBezTo>
                  <a:pt x="1171870" y="3302686"/>
                  <a:pt x="1175907" y="3425785"/>
                  <a:pt x="1189026" y="3548551"/>
                </a:cubicBezTo>
                <a:lnTo>
                  <a:pt x="1205813" y="3671558"/>
                </a:lnTo>
                <a:lnTo>
                  <a:pt x="1210772" y="3356381"/>
                </a:lnTo>
                <a:cubicBezTo>
                  <a:pt x="1228015" y="3130993"/>
                  <a:pt x="1272258" y="2909658"/>
                  <a:pt x="1341421" y="2696971"/>
                </a:cubicBezTo>
                <a:lnTo>
                  <a:pt x="1356818" y="2655264"/>
                </a:lnTo>
                <a:lnTo>
                  <a:pt x="1364300" y="2638368"/>
                </a:lnTo>
                <a:lnTo>
                  <a:pt x="1403642" y="2528432"/>
                </a:lnTo>
                <a:lnTo>
                  <a:pt x="1418816" y="2487337"/>
                </a:lnTo>
                <a:cubicBezTo>
                  <a:pt x="1532878" y="2212122"/>
                  <a:pt x="1690015" y="1955007"/>
                  <a:pt x="1885305" y="1726888"/>
                </a:cubicBezTo>
                <a:lnTo>
                  <a:pt x="1887481" y="1724542"/>
                </a:lnTo>
                <a:lnTo>
                  <a:pt x="1876956" y="1747601"/>
                </a:lnTo>
                <a:cubicBezTo>
                  <a:pt x="1867112" y="1764406"/>
                  <a:pt x="1856228" y="1779912"/>
                  <a:pt x="1845344" y="1795419"/>
                </a:cubicBezTo>
                <a:cubicBezTo>
                  <a:pt x="1575145" y="2163411"/>
                  <a:pt x="1405066" y="2572876"/>
                  <a:pt x="1341756" y="3026454"/>
                </a:cubicBezTo>
                <a:cubicBezTo>
                  <a:pt x="1340364" y="3038918"/>
                  <a:pt x="1333981" y="3056505"/>
                  <a:pt x="1338404" y="3067727"/>
                </a:cubicBezTo>
                <a:cubicBezTo>
                  <a:pt x="1370741" y="3190602"/>
                  <a:pt x="1344761" y="3315799"/>
                  <a:pt x="1352994" y="3439768"/>
                </a:cubicBezTo>
                <a:cubicBezTo>
                  <a:pt x="1360680" y="3551687"/>
                  <a:pt x="1362135" y="3662909"/>
                  <a:pt x="1386580" y="3777331"/>
                </a:cubicBezTo>
                <a:cubicBezTo>
                  <a:pt x="1413055" y="3749368"/>
                  <a:pt x="1406839" y="3720278"/>
                  <a:pt x="1402977" y="3692713"/>
                </a:cubicBezTo>
                <a:cubicBezTo>
                  <a:pt x="1391546" y="3591734"/>
                  <a:pt x="1382050" y="3490340"/>
                  <a:pt x="1380729" y="3389229"/>
                </a:cubicBezTo>
                <a:cubicBezTo>
                  <a:pt x="1373652" y="2966913"/>
                  <a:pt x="1471141" y="2568900"/>
                  <a:pt x="1662254" y="2191442"/>
                </a:cubicBezTo>
                <a:cubicBezTo>
                  <a:pt x="1689160" y="2137024"/>
                  <a:pt x="1734897" y="2094806"/>
                  <a:pt x="1775928" y="2049539"/>
                </a:cubicBezTo>
                <a:cubicBezTo>
                  <a:pt x="1790896" y="2034174"/>
                  <a:pt x="1804341" y="2021163"/>
                  <a:pt x="1794248" y="1992901"/>
                </a:cubicBezTo>
                <a:cubicBezTo>
                  <a:pt x="1785677" y="1962285"/>
                  <a:pt x="1811870" y="1942493"/>
                  <a:pt x="1832245" y="1923946"/>
                </a:cubicBezTo>
                <a:cubicBezTo>
                  <a:pt x="1846103" y="1912874"/>
                  <a:pt x="1865082" y="1906791"/>
                  <a:pt x="1886833" y="1904172"/>
                </a:cubicBezTo>
                <a:cubicBezTo>
                  <a:pt x="1867419" y="1936710"/>
                  <a:pt x="1850361" y="1970773"/>
                  <a:pt x="1830946" y="2003310"/>
                </a:cubicBezTo>
                <a:cubicBezTo>
                  <a:pt x="1770073" y="2107570"/>
                  <a:pt x="1709613" y="2213770"/>
                  <a:pt x="1664800" y="2326766"/>
                </a:cubicBezTo>
                <a:cubicBezTo>
                  <a:pt x="1650792" y="2356122"/>
                  <a:pt x="1631662" y="2380487"/>
                  <a:pt x="1645352" y="2416092"/>
                </a:cubicBezTo>
                <a:cubicBezTo>
                  <a:pt x="1653790" y="2436595"/>
                  <a:pt x="1638537" y="2460134"/>
                  <a:pt x="1631044" y="2482013"/>
                </a:cubicBezTo>
                <a:cubicBezTo>
                  <a:pt x="1584292" y="2595423"/>
                  <a:pt x="1552775" y="2713690"/>
                  <a:pt x="1523196" y="2831542"/>
                </a:cubicBezTo>
                <a:cubicBezTo>
                  <a:pt x="1520975" y="2840128"/>
                  <a:pt x="1518340" y="2846776"/>
                  <a:pt x="1526229" y="2855229"/>
                </a:cubicBezTo>
                <a:lnTo>
                  <a:pt x="1534614" y="2850072"/>
                </a:lnTo>
                <a:lnTo>
                  <a:pt x="1531478" y="2868343"/>
                </a:lnTo>
                <a:lnTo>
                  <a:pt x="1530525" y="2870743"/>
                </a:lnTo>
                <a:lnTo>
                  <a:pt x="1530643" y="2867299"/>
                </a:lnTo>
                <a:cubicBezTo>
                  <a:pt x="1530730" y="2864839"/>
                  <a:pt x="1530230" y="2862503"/>
                  <a:pt x="1527396" y="2860667"/>
                </a:cubicBezTo>
                <a:cubicBezTo>
                  <a:pt x="1527396" y="2860667"/>
                  <a:pt x="1523722" y="2866335"/>
                  <a:pt x="1520049" y="2872005"/>
                </a:cubicBezTo>
                <a:cubicBezTo>
                  <a:pt x="1521048" y="2876676"/>
                  <a:pt x="1521048" y="2876676"/>
                  <a:pt x="1521048" y="2876676"/>
                </a:cubicBezTo>
                <a:cubicBezTo>
                  <a:pt x="1511706" y="2878672"/>
                  <a:pt x="1513382" y="2863661"/>
                  <a:pt x="1521727" y="2856995"/>
                </a:cubicBezTo>
                <a:cubicBezTo>
                  <a:pt x="1513382" y="2863661"/>
                  <a:pt x="1517734" y="2838310"/>
                  <a:pt x="1511385" y="2854318"/>
                </a:cubicBezTo>
                <a:cubicBezTo>
                  <a:pt x="1522725" y="2861665"/>
                  <a:pt x="1494699" y="2867653"/>
                  <a:pt x="1498690" y="2886335"/>
                </a:cubicBezTo>
                <a:cubicBezTo>
                  <a:pt x="1499687" y="2891007"/>
                  <a:pt x="1499687" y="2891007"/>
                  <a:pt x="1499687" y="2891007"/>
                </a:cubicBezTo>
                <a:cubicBezTo>
                  <a:pt x="1499687" y="2891007"/>
                  <a:pt x="1499687" y="2891007"/>
                  <a:pt x="1495017" y="2892005"/>
                </a:cubicBezTo>
                <a:cubicBezTo>
                  <a:pt x="1495017" y="2892005"/>
                  <a:pt x="1496015" y="2896677"/>
                  <a:pt x="1496015" y="2896677"/>
                </a:cubicBezTo>
                <a:cubicBezTo>
                  <a:pt x="1497013" y="2901348"/>
                  <a:pt x="1497013" y="2901348"/>
                  <a:pt x="1497013" y="2901348"/>
                </a:cubicBezTo>
                <a:cubicBezTo>
                  <a:pt x="1496015" y="2896677"/>
                  <a:pt x="1500687" y="2895679"/>
                  <a:pt x="1500687" y="2895679"/>
                </a:cubicBezTo>
                <a:cubicBezTo>
                  <a:pt x="1501683" y="2900350"/>
                  <a:pt x="1499008" y="2910689"/>
                  <a:pt x="1500005" y="2915361"/>
                </a:cubicBezTo>
                <a:cubicBezTo>
                  <a:pt x="1502682" y="2905019"/>
                  <a:pt x="1504677" y="2914363"/>
                  <a:pt x="1504677" y="2914363"/>
                </a:cubicBezTo>
                <a:cubicBezTo>
                  <a:pt x="1508351" y="2908695"/>
                  <a:pt x="1511025" y="2898353"/>
                  <a:pt x="1514701" y="2892685"/>
                </a:cubicBezTo>
                <a:cubicBezTo>
                  <a:pt x="1514701" y="2892685"/>
                  <a:pt x="1514701" y="2892685"/>
                  <a:pt x="1519370" y="2891687"/>
                </a:cubicBezTo>
                <a:cubicBezTo>
                  <a:pt x="1515697" y="2897355"/>
                  <a:pt x="1515697" y="2897355"/>
                  <a:pt x="1515697" y="2897355"/>
                </a:cubicBezTo>
                <a:cubicBezTo>
                  <a:pt x="1516695" y="2902027"/>
                  <a:pt x="1517692" y="2906697"/>
                  <a:pt x="1522365" y="2905700"/>
                </a:cubicBezTo>
                <a:cubicBezTo>
                  <a:pt x="1522365" y="2905700"/>
                  <a:pt x="1526037" y="2900031"/>
                  <a:pt x="1525039" y="2895360"/>
                </a:cubicBezTo>
                <a:cubicBezTo>
                  <a:pt x="1525039" y="2895360"/>
                  <a:pt x="1525039" y="2895360"/>
                  <a:pt x="1524041" y="2890688"/>
                </a:cubicBezTo>
                <a:cubicBezTo>
                  <a:pt x="1527714" y="2885020"/>
                  <a:pt x="1527714" y="2885020"/>
                  <a:pt x="1527714" y="2885020"/>
                </a:cubicBezTo>
                <a:cubicBezTo>
                  <a:pt x="1530708" y="2899032"/>
                  <a:pt x="1523363" y="2910371"/>
                  <a:pt x="1518010" y="2931050"/>
                </a:cubicBezTo>
                <a:cubicBezTo>
                  <a:pt x="1530708" y="2899032"/>
                  <a:pt x="1522684" y="2930053"/>
                  <a:pt x="1529349" y="2938396"/>
                </a:cubicBezTo>
                <a:cubicBezTo>
                  <a:pt x="1529349" y="2938396"/>
                  <a:pt x="1530348" y="2943068"/>
                  <a:pt x="1530348" y="2943068"/>
                </a:cubicBezTo>
                <a:cubicBezTo>
                  <a:pt x="1530348" y="2943068"/>
                  <a:pt x="1529349" y="2938396"/>
                  <a:pt x="1524678" y="2939395"/>
                </a:cubicBezTo>
                <a:cubicBezTo>
                  <a:pt x="1524678" y="2939395"/>
                  <a:pt x="1524678" y="2939395"/>
                  <a:pt x="1523680" y="2934724"/>
                </a:cubicBezTo>
                <a:cubicBezTo>
                  <a:pt x="1523680" y="2934724"/>
                  <a:pt x="1523680" y="2934724"/>
                  <a:pt x="1519008" y="2935721"/>
                </a:cubicBezTo>
                <a:cubicBezTo>
                  <a:pt x="1520006" y="2940394"/>
                  <a:pt x="1516334" y="2946061"/>
                  <a:pt x="1516334" y="2946061"/>
                </a:cubicBezTo>
                <a:cubicBezTo>
                  <a:pt x="1516334" y="2946061"/>
                  <a:pt x="1517333" y="2950732"/>
                  <a:pt x="1517333" y="2950732"/>
                </a:cubicBezTo>
                <a:cubicBezTo>
                  <a:pt x="1513659" y="2956402"/>
                  <a:pt x="1513659" y="2956402"/>
                  <a:pt x="1509986" y="2962070"/>
                </a:cubicBezTo>
                <a:cubicBezTo>
                  <a:pt x="1508989" y="2957400"/>
                  <a:pt x="1508989" y="2957400"/>
                  <a:pt x="1507991" y="2952728"/>
                </a:cubicBezTo>
                <a:cubicBezTo>
                  <a:pt x="1506991" y="2948057"/>
                  <a:pt x="1506991" y="2948057"/>
                  <a:pt x="1503320" y="2953726"/>
                </a:cubicBezTo>
                <a:cubicBezTo>
                  <a:pt x="1503320" y="2953726"/>
                  <a:pt x="1499646" y="2959396"/>
                  <a:pt x="1500643" y="2964066"/>
                </a:cubicBezTo>
                <a:cubicBezTo>
                  <a:pt x="1501642" y="2968737"/>
                  <a:pt x="1501642" y="2968737"/>
                  <a:pt x="1502641" y="2973409"/>
                </a:cubicBezTo>
                <a:cubicBezTo>
                  <a:pt x="1504636" y="2982750"/>
                  <a:pt x="1511303" y="2991095"/>
                  <a:pt x="1514976" y="2985426"/>
                </a:cubicBezTo>
                <a:cubicBezTo>
                  <a:pt x="1515974" y="2990096"/>
                  <a:pt x="1516970" y="2994767"/>
                  <a:pt x="1513299" y="3000436"/>
                </a:cubicBezTo>
                <a:cubicBezTo>
                  <a:pt x="1508946" y="3025786"/>
                  <a:pt x="1499923" y="3052136"/>
                  <a:pt x="1495570" y="3077486"/>
                </a:cubicBezTo>
                <a:cubicBezTo>
                  <a:pt x="1495570" y="3077486"/>
                  <a:pt x="1489902" y="3073814"/>
                  <a:pt x="1489902" y="3073814"/>
                </a:cubicBezTo>
                <a:cubicBezTo>
                  <a:pt x="1489902" y="3073814"/>
                  <a:pt x="1490900" y="3078485"/>
                  <a:pt x="1490900" y="3078485"/>
                </a:cubicBezTo>
                <a:cubicBezTo>
                  <a:pt x="1490900" y="3078485"/>
                  <a:pt x="1486228" y="3079482"/>
                  <a:pt x="1486228" y="3079482"/>
                </a:cubicBezTo>
                <a:cubicBezTo>
                  <a:pt x="1490582" y="3054132"/>
                  <a:pt x="1485230" y="3074812"/>
                  <a:pt x="1480559" y="3075811"/>
                </a:cubicBezTo>
                <a:cubicBezTo>
                  <a:pt x="1482237" y="3060798"/>
                  <a:pt x="1488585" y="3044791"/>
                  <a:pt x="1485591" y="3030777"/>
                </a:cubicBezTo>
                <a:cubicBezTo>
                  <a:pt x="1491260" y="3034450"/>
                  <a:pt x="1491260" y="3034450"/>
                  <a:pt x="1491260" y="3034450"/>
                </a:cubicBezTo>
                <a:cubicBezTo>
                  <a:pt x="1493935" y="3024111"/>
                  <a:pt x="1496610" y="3013770"/>
                  <a:pt x="1496610" y="3013770"/>
                </a:cubicBezTo>
                <a:cubicBezTo>
                  <a:pt x="1493935" y="3024111"/>
                  <a:pt x="1489264" y="3025108"/>
                  <a:pt x="1489264" y="3025108"/>
                </a:cubicBezTo>
                <a:cubicBezTo>
                  <a:pt x="1491939" y="3014767"/>
                  <a:pt x="1486270" y="3011096"/>
                  <a:pt x="1489944" y="3005426"/>
                </a:cubicBezTo>
                <a:cubicBezTo>
                  <a:pt x="1488945" y="3000755"/>
                  <a:pt x="1488945" y="3000755"/>
                  <a:pt x="1488945" y="3000755"/>
                </a:cubicBezTo>
                <a:cubicBezTo>
                  <a:pt x="1488945" y="3000755"/>
                  <a:pt x="1493617" y="2999757"/>
                  <a:pt x="1492619" y="2995087"/>
                </a:cubicBezTo>
                <a:cubicBezTo>
                  <a:pt x="1492619" y="2995087"/>
                  <a:pt x="1492619" y="2995087"/>
                  <a:pt x="1491621" y="2990414"/>
                </a:cubicBezTo>
                <a:cubicBezTo>
                  <a:pt x="1491621" y="2990414"/>
                  <a:pt x="1490623" y="2985745"/>
                  <a:pt x="1490623" y="2985745"/>
                </a:cubicBezTo>
                <a:cubicBezTo>
                  <a:pt x="1482279" y="2992412"/>
                  <a:pt x="1482279" y="2992412"/>
                  <a:pt x="1482279" y="2992412"/>
                </a:cubicBezTo>
                <a:cubicBezTo>
                  <a:pt x="1482279" y="2992412"/>
                  <a:pt x="1478607" y="2998081"/>
                  <a:pt x="1479604" y="3002751"/>
                </a:cubicBezTo>
                <a:lnTo>
                  <a:pt x="1480602" y="3007422"/>
                </a:lnTo>
                <a:cubicBezTo>
                  <a:pt x="1485271" y="3006424"/>
                  <a:pt x="1485271" y="3006424"/>
                  <a:pt x="1485271" y="3006424"/>
                </a:cubicBezTo>
                <a:cubicBezTo>
                  <a:pt x="1483597" y="3021434"/>
                  <a:pt x="1476568" y="3057127"/>
                  <a:pt x="1475889" y="3076809"/>
                </a:cubicBezTo>
                <a:cubicBezTo>
                  <a:pt x="1472215" y="3082477"/>
                  <a:pt x="1472215" y="3082477"/>
                  <a:pt x="1472215" y="3082477"/>
                </a:cubicBezTo>
                <a:cubicBezTo>
                  <a:pt x="1468541" y="3088146"/>
                  <a:pt x="1468541" y="3088146"/>
                  <a:pt x="1469540" y="3092817"/>
                </a:cubicBezTo>
                <a:cubicBezTo>
                  <a:pt x="1474211" y="3091818"/>
                  <a:pt x="1474211" y="3091818"/>
                  <a:pt x="1474211" y="3091818"/>
                </a:cubicBezTo>
                <a:cubicBezTo>
                  <a:pt x="1470538" y="3097487"/>
                  <a:pt x="1468860" y="3112498"/>
                  <a:pt x="1466185" y="3122840"/>
                </a:cubicBezTo>
                <a:cubicBezTo>
                  <a:pt x="1461514" y="3123837"/>
                  <a:pt x="1462511" y="3128508"/>
                  <a:pt x="1463510" y="3133178"/>
                </a:cubicBezTo>
                <a:cubicBezTo>
                  <a:pt x="1464509" y="3137850"/>
                  <a:pt x="1464509" y="3137850"/>
                  <a:pt x="1464509" y="3137850"/>
                </a:cubicBezTo>
                <a:cubicBezTo>
                  <a:pt x="1464509" y="3137850"/>
                  <a:pt x="1464509" y="3137850"/>
                  <a:pt x="1469179" y="3136851"/>
                </a:cubicBezTo>
                <a:cubicBezTo>
                  <a:pt x="1460474" y="3187554"/>
                  <a:pt x="1451452" y="3213902"/>
                  <a:pt x="1458437" y="3246598"/>
                </a:cubicBezTo>
                <a:cubicBezTo>
                  <a:pt x="1458437" y="3246598"/>
                  <a:pt x="1453765" y="3247597"/>
                  <a:pt x="1454763" y="3252269"/>
                </a:cubicBezTo>
                <a:cubicBezTo>
                  <a:pt x="1455762" y="3256940"/>
                  <a:pt x="1455762" y="3256940"/>
                  <a:pt x="1455762" y="3256940"/>
                </a:cubicBezTo>
                <a:cubicBezTo>
                  <a:pt x="1456759" y="3261610"/>
                  <a:pt x="1456759" y="3261610"/>
                  <a:pt x="1456759" y="3261610"/>
                </a:cubicBezTo>
                <a:cubicBezTo>
                  <a:pt x="1452090" y="3262609"/>
                  <a:pt x="1450411" y="3277620"/>
                  <a:pt x="1452407" y="3286961"/>
                </a:cubicBezTo>
                <a:cubicBezTo>
                  <a:pt x="1452407" y="3286961"/>
                  <a:pt x="1453405" y="3291634"/>
                  <a:pt x="1448735" y="3292631"/>
                </a:cubicBezTo>
                <a:cubicBezTo>
                  <a:pt x="1449733" y="3297301"/>
                  <a:pt x="1449733" y="3297301"/>
                  <a:pt x="1450729" y="3301973"/>
                </a:cubicBezTo>
                <a:cubicBezTo>
                  <a:pt x="1450729" y="3301973"/>
                  <a:pt x="1451728" y="3306644"/>
                  <a:pt x="1451728" y="3306644"/>
                </a:cubicBezTo>
                <a:cubicBezTo>
                  <a:pt x="1451728" y="3306644"/>
                  <a:pt x="1451728" y="3306644"/>
                  <a:pt x="1448054" y="3312312"/>
                </a:cubicBezTo>
                <a:cubicBezTo>
                  <a:pt x="1448054" y="3312312"/>
                  <a:pt x="1449053" y="3316984"/>
                  <a:pt x="1449053" y="3316984"/>
                </a:cubicBezTo>
                <a:cubicBezTo>
                  <a:pt x="1455719" y="3325326"/>
                  <a:pt x="1440030" y="3343331"/>
                  <a:pt x="1455040" y="3345009"/>
                </a:cubicBezTo>
                <a:cubicBezTo>
                  <a:pt x="1450369" y="3346008"/>
                  <a:pt x="1450369" y="3346008"/>
                  <a:pt x="1451367" y="3350678"/>
                </a:cubicBezTo>
                <a:cubicBezTo>
                  <a:pt x="1451367" y="3350678"/>
                  <a:pt x="1452366" y="3355351"/>
                  <a:pt x="1452366" y="3355351"/>
                </a:cubicBezTo>
                <a:cubicBezTo>
                  <a:pt x="1453364" y="3360020"/>
                  <a:pt x="1449691" y="3365689"/>
                  <a:pt x="1450688" y="3370360"/>
                </a:cubicBezTo>
                <a:cubicBezTo>
                  <a:pt x="1450688" y="3370360"/>
                  <a:pt x="1450688" y="3370360"/>
                  <a:pt x="1451686" y="3375030"/>
                </a:cubicBezTo>
                <a:cubicBezTo>
                  <a:pt x="1450009" y="3390042"/>
                  <a:pt x="1447334" y="3400383"/>
                  <a:pt x="1445656" y="3415393"/>
                </a:cubicBezTo>
                <a:cubicBezTo>
                  <a:pt x="1446653" y="3420063"/>
                  <a:pt x="1446653" y="3420063"/>
                  <a:pt x="1446653" y="3420063"/>
                </a:cubicBezTo>
                <a:cubicBezTo>
                  <a:pt x="1446653" y="3420063"/>
                  <a:pt x="1446653" y="3420063"/>
                  <a:pt x="1441983" y="3421062"/>
                </a:cubicBezTo>
                <a:cubicBezTo>
                  <a:pt x="1442981" y="3425733"/>
                  <a:pt x="1442981" y="3425733"/>
                  <a:pt x="1442981" y="3425733"/>
                </a:cubicBezTo>
                <a:cubicBezTo>
                  <a:pt x="1443979" y="3430404"/>
                  <a:pt x="1443979" y="3430404"/>
                  <a:pt x="1443979" y="3430404"/>
                </a:cubicBezTo>
                <a:cubicBezTo>
                  <a:pt x="1443979" y="3430404"/>
                  <a:pt x="1448650" y="3429407"/>
                  <a:pt x="1448650" y="3429407"/>
                </a:cubicBezTo>
                <a:cubicBezTo>
                  <a:pt x="1444977" y="3435075"/>
                  <a:pt x="1445976" y="3439745"/>
                  <a:pt x="1446973" y="3444417"/>
                </a:cubicBezTo>
                <a:cubicBezTo>
                  <a:pt x="1446973" y="3444417"/>
                  <a:pt x="1445976" y="3439745"/>
                  <a:pt x="1445976" y="3439745"/>
                </a:cubicBezTo>
                <a:cubicBezTo>
                  <a:pt x="1444296" y="3454757"/>
                  <a:pt x="1444296" y="3454757"/>
                  <a:pt x="1445295" y="3459428"/>
                </a:cubicBezTo>
                <a:cubicBezTo>
                  <a:pt x="1446294" y="3464099"/>
                  <a:pt x="1447291" y="3468769"/>
                  <a:pt x="1448290" y="3473441"/>
                </a:cubicBezTo>
                <a:cubicBezTo>
                  <a:pt x="1448290" y="3473441"/>
                  <a:pt x="1444616" y="3479111"/>
                  <a:pt x="1444616" y="3479111"/>
                </a:cubicBezTo>
                <a:cubicBezTo>
                  <a:pt x="1445615" y="3483781"/>
                  <a:pt x="1445615" y="3483781"/>
                  <a:pt x="1445615" y="3483781"/>
                </a:cubicBezTo>
                <a:cubicBezTo>
                  <a:pt x="1445615" y="3483781"/>
                  <a:pt x="1440943" y="3484778"/>
                  <a:pt x="1441943" y="3489449"/>
                </a:cubicBezTo>
                <a:cubicBezTo>
                  <a:pt x="1441943" y="3489449"/>
                  <a:pt x="1442939" y="3494121"/>
                  <a:pt x="1442939" y="3494121"/>
                </a:cubicBezTo>
                <a:cubicBezTo>
                  <a:pt x="1447611" y="3493123"/>
                  <a:pt x="1447611" y="3493123"/>
                  <a:pt x="1447611" y="3493123"/>
                </a:cubicBezTo>
                <a:cubicBezTo>
                  <a:pt x="1450603" y="3507136"/>
                  <a:pt x="1448928" y="3522147"/>
                  <a:pt x="1456592" y="3535162"/>
                </a:cubicBezTo>
                <a:cubicBezTo>
                  <a:pt x="1455594" y="3530490"/>
                  <a:pt x="1455594" y="3530490"/>
                  <a:pt x="1450922" y="3531488"/>
                </a:cubicBezTo>
                <a:cubicBezTo>
                  <a:pt x="1449926" y="3526818"/>
                  <a:pt x="1449926" y="3526818"/>
                  <a:pt x="1446252" y="3532487"/>
                </a:cubicBezTo>
                <a:cubicBezTo>
                  <a:pt x="1447250" y="3537157"/>
                  <a:pt x="1448249" y="3541828"/>
                  <a:pt x="1448249" y="3541828"/>
                </a:cubicBezTo>
                <a:cubicBezTo>
                  <a:pt x="1449247" y="3546500"/>
                  <a:pt x="1449247" y="3546500"/>
                  <a:pt x="1449247" y="3546500"/>
                </a:cubicBezTo>
                <a:cubicBezTo>
                  <a:pt x="1442897" y="3562510"/>
                  <a:pt x="1459904" y="3573529"/>
                  <a:pt x="1449883" y="3595205"/>
                </a:cubicBezTo>
                <a:cubicBezTo>
                  <a:pt x="1454554" y="3594207"/>
                  <a:pt x="1454554" y="3594207"/>
                  <a:pt x="1454554" y="3594207"/>
                </a:cubicBezTo>
                <a:cubicBezTo>
                  <a:pt x="1449883" y="3595205"/>
                  <a:pt x="1449883" y="3595205"/>
                  <a:pt x="1450880" y="3599876"/>
                </a:cubicBezTo>
                <a:cubicBezTo>
                  <a:pt x="1451878" y="3604549"/>
                  <a:pt x="1451878" y="3604549"/>
                  <a:pt x="1451878" y="3604549"/>
                </a:cubicBezTo>
                <a:cubicBezTo>
                  <a:pt x="1454873" y="3618561"/>
                  <a:pt x="1457866" y="3632574"/>
                  <a:pt x="1457866" y="3632574"/>
                </a:cubicBezTo>
                <a:cubicBezTo>
                  <a:pt x="1456608" y="3643833"/>
                  <a:pt x="1458742" y="3632388"/>
                  <a:pt x="1461993" y="3635813"/>
                </a:cubicBezTo>
                <a:lnTo>
                  <a:pt x="1465432" y="3645315"/>
                </a:lnTo>
                <a:lnTo>
                  <a:pt x="1464828" y="3645610"/>
                </a:lnTo>
                <a:lnTo>
                  <a:pt x="1458859" y="3645794"/>
                </a:lnTo>
                <a:cubicBezTo>
                  <a:pt x="1457357" y="3647335"/>
                  <a:pt x="1456688" y="3649919"/>
                  <a:pt x="1457188" y="3652257"/>
                </a:cubicBezTo>
                <a:cubicBezTo>
                  <a:pt x="1460022" y="3654092"/>
                  <a:pt x="1462528" y="3648673"/>
                  <a:pt x="1464365" y="3645838"/>
                </a:cubicBezTo>
                <a:lnTo>
                  <a:pt x="1464828" y="3645610"/>
                </a:lnTo>
                <a:lnTo>
                  <a:pt x="1465530" y="3645589"/>
                </a:lnTo>
                <a:lnTo>
                  <a:pt x="1465432" y="3645315"/>
                </a:lnTo>
                <a:lnTo>
                  <a:pt x="1466575" y="3644755"/>
                </a:lnTo>
                <a:cubicBezTo>
                  <a:pt x="1467116" y="3645862"/>
                  <a:pt x="1467447" y="3648843"/>
                  <a:pt x="1467526" y="3654930"/>
                </a:cubicBezTo>
                <a:cubicBezTo>
                  <a:pt x="1462856" y="3655929"/>
                  <a:pt x="1462856" y="3655929"/>
                  <a:pt x="1463852" y="3660600"/>
                </a:cubicBezTo>
                <a:cubicBezTo>
                  <a:pt x="1463852" y="3660600"/>
                  <a:pt x="1464851" y="3665270"/>
                  <a:pt x="1464851" y="3665270"/>
                </a:cubicBezTo>
                <a:cubicBezTo>
                  <a:pt x="1461179" y="3670939"/>
                  <a:pt x="1461179" y="3670939"/>
                  <a:pt x="1461179" y="3670939"/>
                </a:cubicBezTo>
                <a:cubicBezTo>
                  <a:pt x="1462178" y="3675610"/>
                  <a:pt x="1462178" y="3675610"/>
                  <a:pt x="1462178" y="3675610"/>
                </a:cubicBezTo>
                <a:cubicBezTo>
                  <a:pt x="1462178" y="3675610"/>
                  <a:pt x="1463175" y="3680282"/>
                  <a:pt x="1464173" y="3684953"/>
                </a:cubicBezTo>
                <a:cubicBezTo>
                  <a:pt x="1464173" y="3684953"/>
                  <a:pt x="1465171" y="3689624"/>
                  <a:pt x="1466168" y="3694296"/>
                </a:cubicBezTo>
                <a:cubicBezTo>
                  <a:pt x="1461498" y="3695293"/>
                  <a:pt x="1462496" y="3699964"/>
                  <a:pt x="1463494" y="3704634"/>
                </a:cubicBezTo>
                <a:cubicBezTo>
                  <a:pt x="1459821" y="3710304"/>
                  <a:pt x="1459821" y="3710304"/>
                  <a:pt x="1460818" y="3714976"/>
                </a:cubicBezTo>
                <a:cubicBezTo>
                  <a:pt x="1460818" y="3714976"/>
                  <a:pt x="1461815" y="3719645"/>
                  <a:pt x="1461815" y="3719645"/>
                </a:cubicBezTo>
                <a:cubicBezTo>
                  <a:pt x="1461815" y="3719645"/>
                  <a:pt x="1462814" y="3724317"/>
                  <a:pt x="1462814" y="3724317"/>
                </a:cubicBezTo>
                <a:cubicBezTo>
                  <a:pt x="1458143" y="3725314"/>
                  <a:pt x="1458143" y="3725314"/>
                  <a:pt x="1458143" y="3725314"/>
                </a:cubicBezTo>
                <a:cubicBezTo>
                  <a:pt x="1458143" y="3725314"/>
                  <a:pt x="1458143" y="3725314"/>
                  <a:pt x="1454470" y="3730983"/>
                </a:cubicBezTo>
                <a:cubicBezTo>
                  <a:pt x="1455467" y="3735654"/>
                  <a:pt x="1455467" y="3735654"/>
                  <a:pt x="1455467" y="3735654"/>
                </a:cubicBezTo>
                <a:cubicBezTo>
                  <a:pt x="1461137" y="3739328"/>
                  <a:pt x="1461137" y="3739328"/>
                  <a:pt x="1461137" y="3739328"/>
                </a:cubicBezTo>
                <a:cubicBezTo>
                  <a:pt x="1462135" y="3743998"/>
                  <a:pt x="1462135" y="3743998"/>
                  <a:pt x="1462135" y="3743998"/>
                </a:cubicBezTo>
                <a:cubicBezTo>
                  <a:pt x="1462135" y="3743998"/>
                  <a:pt x="1463132" y="3748671"/>
                  <a:pt x="1463132" y="3748671"/>
                </a:cubicBezTo>
                <a:cubicBezTo>
                  <a:pt x="1464130" y="3753341"/>
                  <a:pt x="1465128" y="3758012"/>
                  <a:pt x="1466126" y="3762683"/>
                </a:cubicBezTo>
                <a:cubicBezTo>
                  <a:pt x="1463452" y="3773022"/>
                  <a:pt x="1464449" y="3777695"/>
                  <a:pt x="1464449" y="3777695"/>
                </a:cubicBezTo>
                <a:cubicBezTo>
                  <a:pt x="1465447" y="3782365"/>
                  <a:pt x="1465447" y="3782365"/>
                  <a:pt x="1465447" y="3782365"/>
                </a:cubicBezTo>
                <a:cubicBezTo>
                  <a:pt x="1466445" y="3787036"/>
                  <a:pt x="1466445" y="3787036"/>
                  <a:pt x="1467443" y="3791707"/>
                </a:cubicBezTo>
                <a:cubicBezTo>
                  <a:pt x="1467443" y="3791707"/>
                  <a:pt x="1467443" y="3791707"/>
                  <a:pt x="1472113" y="3790710"/>
                </a:cubicBezTo>
                <a:cubicBezTo>
                  <a:pt x="1468442" y="3796379"/>
                  <a:pt x="1468442" y="3796379"/>
                  <a:pt x="1468442" y="3796379"/>
                </a:cubicBezTo>
                <a:cubicBezTo>
                  <a:pt x="1468442" y="3796379"/>
                  <a:pt x="1469439" y="3801048"/>
                  <a:pt x="1470437" y="3805720"/>
                </a:cubicBezTo>
                <a:cubicBezTo>
                  <a:pt x="1475427" y="3829075"/>
                  <a:pt x="1481096" y="3832748"/>
                  <a:pt x="1479418" y="3847759"/>
                </a:cubicBezTo>
                <a:cubicBezTo>
                  <a:pt x="1474748" y="3848756"/>
                  <a:pt x="1475745" y="3853428"/>
                  <a:pt x="1475745" y="3853428"/>
                </a:cubicBezTo>
                <a:cubicBezTo>
                  <a:pt x="1475745" y="3853428"/>
                  <a:pt x="1476743" y="3858097"/>
                  <a:pt x="1476743" y="3858097"/>
                </a:cubicBezTo>
                <a:cubicBezTo>
                  <a:pt x="1481415" y="3857100"/>
                  <a:pt x="1481415" y="3857100"/>
                  <a:pt x="1481415" y="3857100"/>
                </a:cubicBezTo>
                <a:cubicBezTo>
                  <a:pt x="1478739" y="3867441"/>
                  <a:pt x="1480735" y="3876783"/>
                  <a:pt x="1481734" y="3881454"/>
                </a:cubicBezTo>
                <a:cubicBezTo>
                  <a:pt x="1482731" y="3886125"/>
                  <a:pt x="1482731" y="3886125"/>
                  <a:pt x="1482731" y="3886125"/>
                </a:cubicBezTo>
                <a:cubicBezTo>
                  <a:pt x="1483728" y="3890795"/>
                  <a:pt x="1483728" y="3890795"/>
                  <a:pt x="1488400" y="3889796"/>
                </a:cubicBezTo>
                <a:cubicBezTo>
                  <a:pt x="1491393" y="3903810"/>
                  <a:pt x="1493389" y="3913153"/>
                  <a:pt x="1490714" y="3923492"/>
                </a:cubicBezTo>
                <a:cubicBezTo>
                  <a:pt x="1495385" y="3922494"/>
                  <a:pt x="1495385" y="3922494"/>
                  <a:pt x="1495385" y="3922494"/>
                </a:cubicBezTo>
                <a:cubicBezTo>
                  <a:pt x="1499376" y="3941178"/>
                  <a:pt x="1499376" y="3941178"/>
                  <a:pt x="1499376" y="3941178"/>
                </a:cubicBezTo>
                <a:cubicBezTo>
                  <a:pt x="1499376" y="3941178"/>
                  <a:pt x="1499376" y="3941178"/>
                  <a:pt x="1495705" y="3946848"/>
                </a:cubicBezTo>
                <a:cubicBezTo>
                  <a:pt x="1493708" y="3937506"/>
                  <a:pt x="1488039" y="3933833"/>
                  <a:pt x="1485365" y="3944173"/>
                </a:cubicBezTo>
                <a:cubicBezTo>
                  <a:pt x="1493708" y="3937506"/>
                  <a:pt x="1494026" y="3961858"/>
                  <a:pt x="1498697" y="3960861"/>
                </a:cubicBezTo>
                <a:cubicBezTo>
                  <a:pt x="1507679" y="4002900"/>
                  <a:pt x="1505683" y="3993557"/>
                  <a:pt x="1519336" y="4034599"/>
                </a:cubicBezTo>
                <a:cubicBezTo>
                  <a:pt x="1519336" y="4034599"/>
                  <a:pt x="1514664" y="4035598"/>
                  <a:pt x="1514664" y="4035598"/>
                </a:cubicBezTo>
                <a:cubicBezTo>
                  <a:pt x="1515663" y="4040268"/>
                  <a:pt x="1515663" y="4040268"/>
                  <a:pt x="1516661" y="4044938"/>
                </a:cubicBezTo>
                <a:cubicBezTo>
                  <a:pt x="1522649" y="4072964"/>
                  <a:pt x="1524644" y="4082307"/>
                  <a:pt x="1528636" y="4100992"/>
                </a:cubicBezTo>
                <a:cubicBezTo>
                  <a:pt x="1528636" y="4100992"/>
                  <a:pt x="1528636" y="4100992"/>
                  <a:pt x="1529635" y="4105662"/>
                </a:cubicBezTo>
                <a:cubicBezTo>
                  <a:pt x="1529635" y="4105662"/>
                  <a:pt x="1529635" y="4105662"/>
                  <a:pt x="1530632" y="4110333"/>
                </a:cubicBezTo>
                <a:cubicBezTo>
                  <a:pt x="1532945" y="4144028"/>
                  <a:pt x="1535303" y="4109335"/>
                  <a:pt x="1543966" y="4127021"/>
                </a:cubicBezTo>
                <a:cubicBezTo>
                  <a:pt x="1539294" y="4128018"/>
                  <a:pt x="1532945" y="4144028"/>
                  <a:pt x="1541290" y="4137361"/>
                </a:cubicBezTo>
                <a:cubicBezTo>
                  <a:pt x="1542289" y="4142032"/>
                  <a:pt x="1542289" y="4142032"/>
                  <a:pt x="1542289" y="4142032"/>
                </a:cubicBezTo>
                <a:cubicBezTo>
                  <a:pt x="1542289" y="4142032"/>
                  <a:pt x="1542289" y="4142032"/>
                  <a:pt x="1543286" y="4146702"/>
                </a:cubicBezTo>
                <a:cubicBezTo>
                  <a:pt x="1538615" y="4147700"/>
                  <a:pt x="1544284" y="4151374"/>
                  <a:pt x="1544284" y="4151374"/>
                </a:cubicBezTo>
                <a:cubicBezTo>
                  <a:pt x="1548276" y="4170059"/>
                  <a:pt x="1543605" y="4171056"/>
                  <a:pt x="1538933" y="4172054"/>
                </a:cubicBezTo>
                <a:cubicBezTo>
                  <a:pt x="1542925" y="4190739"/>
                  <a:pt x="1553266" y="4193413"/>
                  <a:pt x="1550590" y="4203753"/>
                </a:cubicBezTo>
                <a:cubicBezTo>
                  <a:pt x="1557258" y="4212097"/>
                  <a:pt x="1560251" y="4226111"/>
                  <a:pt x="1569592" y="4224113"/>
                </a:cubicBezTo>
                <a:cubicBezTo>
                  <a:pt x="1566917" y="4234454"/>
                  <a:pt x="1575581" y="4252141"/>
                  <a:pt x="1565241" y="4249466"/>
                </a:cubicBezTo>
                <a:cubicBezTo>
                  <a:pt x="1573903" y="4267151"/>
                  <a:pt x="1574584" y="4247470"/>
                  <a:pt x="1574902" y="4271822"/>
                </a:cubicBezTo>
                <a:cubicBezTo>
                  <a:pt x="1575900" y="4276494"/>
                  <a:pt x="1581569" y="4280167"/>
                  <a:pt x="1587238" y="4283840"/>
                </a:cubicBezTo>
                <a:cubicBezTo>
                  <a:pt x="1575900" y="4276494"/>
                  <a:pt x="1590549" y="4322205"/>
                  <a:pt x="1604882" y="4343564"/>
                </a:cubicBezTo>
                <a:cubicBezTo>
                  <a:pt x="1602208" y="4353904"/>
                  <a:pt x="1601209" y="4349234"/>
                  <a:pt x="1595539" y="4345560"/>
                </a:cubicBezTo>
                <a:cubicBezTo>
                  <a:pt x="1602208" y="4353904"/>
                  <a:pt x="1603205" y="4358574"/>
                  <a:pt x="1607875" y="4357577"/>
                </a:cubicBezTo>
                <a:cubicBezTo>
                  <a:pt x="1599531" y="4364244"/>
                  <a:pt x="1608874" y="4362248"/>
                  <a:pt x="1607196" y="4377259"/>
                </a:cubicBezTo>
                <a:cubicBezTo>
                  <a:pt x="1613863" y="4385603"/>
                  <a:pt x="1610870" y="4371589"/>
                  <a:pt x="1622525" y="4403290"/>
                </a:cubicBezTo>
                <a:lnTo>
                  <a:pt x="1618736" y="4400103"/>
                </a:lnTo>
                <a:lnTo>
                  <a:pt x="1614862" y="4390275"/>
                </a:lnTo>
                <a:cubicBezTo>
                  <a:pt x="1615361" y="4392610"/>
                  <a:pt x="1616110" y="4396114"/>
                  <a:pt x="1617316" y="4398908"/>
                </a:cubicBezTo>
                <a:lnTo>
                  <a:pt x="1618736" y="4400103"/>
                </a:lnTo>
                <a:lnTo>
                  <a:pt x="1625519" y="4417302"/>
                </a:lnTo>
                <a:cubicBezTo>
                  <a:pt x="1619850" y="4413630"/>
                  <a:pt x="1615180" y="4414629"/>
                  <a:pt x="1611506" y="4420296"/>
                </a:cubicBezTo>
                <a:cubicBezTo>
                  <a:pt x="1599849" y="4388597"/>
                  <a:pt x="1596856" y="4374584"/>
                  <a:pt x="1580528" y="4343884"/>
                </a:cubicBezTo>
                <a:cubicBezTo>
                  <a:pt x="1572185" y="4350550"/>
                  <a:pt x="1563522" y="4332863"/>
                  <a:pt x="1553861" y="4310507"/>
                </a:cubicBezTo>
                <a:cubicBezTo>
                  <a:pt x="1547194" y="4302163"/>
                  <a:pt x="1546194" y="4297492"/>
                  <a:pt x="1544200" y="4288151"/>
                </a:cubicBezTo>
                <a:cubicBezTo>
                  <a:pt x="1543202" y="4283479"/>
                  <a:pt x="1541206" y="4274137"/>
                  <a:pt x="1540208" y="4269467"/>
                </a:cubicBezTo>
                <a:cubicBezTo>
                  <a:pt x="1536536" y="4275134"/>
                  <a:pt x="1531226" y="4227428"/>
                  <a:pt x="1526874" y="4252779"/>
                </a:cubicBezTo>
                <a:lnTo>
                  <a:pt x="1519888" y="4220081"/>
                </a:lnTo>
                <a:cubicBezTo>
                  <a:pt x="1513902" y="4192054"/>
                  <a:pt x="1530228" y="4222756"/>
                  <a:pt x="1521566" y="4205070"/>
                </a:cubicBezTo>
                <a:cubicBezTo>
                  <a:pt x="1520568" y="4200398"/>
                  <a:pt x="1519571" y="4195728"/>
                  <a:pt x="1518573" y="4191057"/>
                </a:cubicBezTo>
                <a:cubicBezTo>
                  <a:pt x="1518573" y="4191057"/>
                  <a:pt x="1517576" y="4186384"/>
                  <a:pt x="1517576" y="4186384"/>
                </a:cubicBezTo>
                <a:cubicBezTo>
                  <a:pt x="1517576" y="4186384"/>
                  <a:pt x="1517576" y="4186384"/>
                  <a:pt x="1516577" y="4181714"/>
                </a:cubicBezTo>
                <a:cubicBezTo>
                  <a:pt x="1517576" y="4186384"/>
                  <a:pt x="1517576" y="4186384"/>
                  <a:pt x="1522245" y="4185387"/>
                </a:cubicBezTo>
                <a:cubicBezTo>
                  <a:pt x="1513583" y="4167702"/>
                  <a:pt x="1513583" y="4167702"/>
                  <a:pt x="1513583" y="4167702"/>
                </a:cubicBezTo>
                <a:cubicBezTo>
                  <a:pt x="1517256" y="4162033"/>
                  <a:pt x="1517256" y="4162033"/>
                  <a:pt x="1517256" y="4162033"/>
                </a:cubicBezTo>
                <a:cubicBezTo>
                  <a:pt x="1517256" y="4162033"/>
                  <a:pt x="1517256" y="4162033"/>
                  <a:pt x="1516257" y="4157362"/>
                </a:cubicBezTo>
                <a:cubicBezTo>
                  <a:pt x="1515260" y="4152691"/>
                  <a:pt x="1515260" y="4152691"/>
                  <a:pt x="1515260" y="4152691"/>
                </a:cubicBezTo>
                <a:cubicBezTo>
                  <a:pt x="1514261" y="4148019"/>
                  <a:pt x="1509591" y="4149018"/>
                  <a:pt x="1509591" y="4149018"/>
                </a:cubicBezTo>
                <a:cubicBezTo>
                  <a:pt x="1509271" y="4124666"/>
                  <a:pt x="1504602" y="4125663"/>
                  <a:pt x="1503605" y="4120992"/>
                </a:cubicBezTo>
                <a:cubicBezTo>
                  <a:pt x="1503605" y="4120992"/>
                  <a:pt x="1497934" y="4117319"/>
                  <a:pt x="1497934" y="4117319"/>
                </a:cubicBezTo>
                <a:cubicBezTo>
                  <a:pt x="1494941" y="4103305"/>
                  <a:pt x="1496618" y="4088295"/>
                  <a:pt x="1491948" y="4089292"/>
                </a:cubicBezTo>
                <a:cubicBezTo>
                  <a:pt x="1490948" y="4084621"/>
                  <a:pt x="1490948" y="4084621"/>
                  <a:pt x="1490948" y="4084621"/>
                </a:cubicBezTo>
                <a:cubicBezTo>
                  <a:pt x="1490948" y="4084621"/>
                  <a:pt x="1489951" y="4079950"/>
                  <a:pt x="1489951" y="4079950"/>
                </a:cubicBezTo>
                <a:cubicBezTo>
                  <a:pt x="1486277" y="4085620"/>
                  <a:pt x="1486277" y="4085620"/>
                  <a:pt x="1486277" y="4085620"/>
                </a:cubicBezTo>
                <a:cubicBezTo>
                  <a:pt x="1491629" y="4064938"/>
                  <a:pt x="1478973" y="4028571"/>
                  <a:pt x="1475301" y="4034238"/>
                </a:cubicBezTo>
                <a:cubicBezTo>
                  <a:pt x="1480970" y="4037911"/>
                  <a:pt x="1477297" y="4043581"/>
                  <a:pt x="1478294" y="4048252"/>
                </a:cubicBezTo>
                <a:cubicBezTo>
                  <a:pt x="1476299" y="4038909"/>
                  <a:pt x="1470629" y="4035237"/>
                  <a:pt x="1470629" y="4035237"/>
                </a:cubicBezTo>
                <a:cubicBezTo>
                  <a:pt x="1473623" y="4049251"/>
                  <a:pt x="1473623" y="4049251"/>
                  <a:pt x="1473623" y="4049251"/>
                </a:cubicBezTo>
                <a:cubicBezTo>
                  <a:pt x="1473623" y="4049251"/>
                  <a:pt x="1468953" y="4050248"/>
                  <a:pt x="1467954" y="4045576"/>
                </a:cubicBezTo>
                <a:cubicBezTo>
                  <a:pt x="1464282" y="4051246"/>
                  <a:pt x="1465279" y="4055915"/>
                  <a:pt x="1469951" y="4054918"/>
                </a:cubicBezTo>
                <a:cubicBezTo>
                  <a:pt x="1469951" y="4054918"/>
                  <a:pt x="1469951" y="4054918"/>
                  <a:pt x="1470949" y="4059589"/>
                </a:cubicBezTo>
                <a:cubicBezTo>
                  <a:pt x="1464600" y="4075598"/>
                  <a:pt x="1456256" y="4082266"/>
                  <a:pt x="1463242" y="4114962"/>
                </a:cubicBezTo>
                <a:cubicBezTo>
                  <a:pt x="1464239" y="4119633"/>
                  <a:pt x="1464239" y="4119633"/>
                  <a:pt x="1465238" y="4124305"/>
                </a:cubicBezTo>
                <a:cubicBezTo>
                  <a:pt x="1459568" y="4120631"/>
                  <a:pt x="1459568" y="4120631"/>
                  <a:pt x="1454896" y="4121629"/>
                </a:cubicBezTo>
                <a:cubicBezTo>
                  <a:pt x="1453899" y="4116958"/>
                  <a:pt x="1453899" y="4116958"/>
                  <a:pt x="1452901" y="4112288"/>
                </a:cubicBezTo>
                <a:cubicBezTo>
                  <a:pt x="1448230" y="4113286"/>
                  <a:pt x="1447233" y="4108614"/>
                  <a:pt x="1448230" y="4113286"/>
                </a:cubicBezTo>
                <a:cubicBezTo>
                  <a:pt x="1448230" y="4113286"/>
                  <a:pt x="1449228" y="4117957"/>
                  <a:pt x="1449228" y="4117957"/>
                </a:cubicBezTo>
                <a:cubicBezTo>
                  <a:pt x="1437573" y="4086258"/>
                  <a:pt x="1439250" y="4071246"/>
                  <a:pt x="1426595" y="4034876"/>
                </a:cubicBezTo>
                <a:cubicBezTo>
                  <a:pt x="1432264" y="4038549"/>
                  <a:pt x="1433262" y="4043220"/>
                  <a:pt x="1432264" y="4038549"/>
                </a:cubicBezTo>
                <a:cubicBezTo>
                  <a:pt x="1432264" y="4038549"/>
                  <a:pt x="1435937" y="4032880"/>
                  <a:pt x="1435937" y="4032880"/>
                </a:cubicBezTo>
                <a:lnTo>
                  <a:pt x="1437931" y="4042221"/>
                </a:lnTo>
                <a:cubicBezTo>
                  <a:pt x="1437613" y="4017869"/>
                  <a:pt x="1434620" y="4003856"/>
                  <a:pt x="1426954" y="3990842"/>
                </a:cubicBezTo>
                <a:cubicBezTo>
                  <a:pt x="1426954" y="3990842"/>
                  <a:pt x="1426954" y="3990842"/>
                  <a:pt x="1431626" y="3989844"/>
                </a:cubicBezTo>
                <a:lnTo>
                  <a:pt x="1430629" y="3985172"/>
                </a:lnTo>
                <a:cubicBezTo>
                  <a:pt x="1429630" y="3980499"/>
                  <a:pt x="1429630" y="3980499"/>
                  <a:pt x="1428631" y="3975830"/>
                </a:cubicBezTo>
                <a:cubicBezTo>
                  <a:pt x="1421965" y="3967486"/>
                  <a:pt x="1422644" y="3947804"/>
                  <a:pt x="1421646" y="3943133"/>
                </a:cubicBezTo>
                <a:cubicBezTo>
                  <a:pt x="1421646" y="3943133"/>
                  <a:pt x="1420648" y="3938462"/>
                  <a:pt x="1420648" y="3938462"/>
                </a:cubicBezTo>
                <a:cubicBezTo>
                  <a:pt x="1419652" y="3933790"/>
                  <a:pt x="1419652" y="3933790"/>
                  <a:pt x="1419652" y="3933790"/>
                </a:cubicBezTo>
                <a:cubicBezTo>
                  <a:pt x="1411985" y="3920775"/>
                  <a:pt x="1410669" y="3891751"/>
                  <a:pt x="1405000" y="3888080"/>
                </a:cubicBezTo>
                <a:cubicBezTo>
                  <a:pt x="1405000" y="3888080"/>
                  <a:pt x="1404002" y="3883408"/>
                  <a:pt x="1404002" y="3883408"/>
                </a:cubicBezTo>
                <a:cubicBezTo>
                  <a:pt x="1404002" y="3883408"/>
                  <a:pt x="1403004" y="3878736"/>
                  <a:pt x="1403004" y="3878736"/>
                </a:cubicBezTo>
                <a:cubicBezTo>
                  <a:pt x="1402006" y="3874066"/>
                  <a:pt x="1401007" y="3869395"/>
                  <a:pt x="1401007" y="3869395"/>
                </a:cubicBezTo>
                <a:cubicBezTo>
                  <a:pt x="1396337" y="3870392"/>
                  <a:pt x="1396337" y="3870392"/>
                  <a:pt x="1398335" y="3879735"/>
                </a:cubicBezTo>
                <a:cubicBezTo>
                  <a:pt x="1398335" y="3879735"/>
                  <a:pt x="1393662" y="3880734"/>
                  <a:pt x="1394660" y="3885404"/>
                </a:cubicBezTo>
                <a:cubicBezTo>
                  <a:pt x="1397336" y="3875064"/>
                  <a:pt x="1391667" y="3871391"/>
                  <a:pt x="1390668" y="3866720"/>
                </a:cubicBezTo>
                <a:cubicBezTo>
                  <a:pt x="1395340" y="3865721"/>
                  <a:pt x="1395340" y="3865721"/>
                  <a:pt x="1395340" y="3865721"/>
                </a:cubicBezTo>
                <a:cubicBezTo>
                  <a:pt x="1395340" y="3865721"/>
                  <a:pt x="1394342" y="3861051"/>
                  <a:pt x="1394342" y="3861051"/>
                </a:cubicBezTo>
                <a:cubicBezTo>
                  <a:pt x="1393344" y="3856381"/>
                  <a:pt x="1393344" y="3856381"/>
                  <a:pt x="1393344" y="3856381"/>
                </a:cubicBezTo>
                <a:cubicBezTo>
                  <a:pt x="1388672" y="3857379"/>
                  <a:pt x="1388672" y="3857379"/>
                  <a:pt x="1388672" y="3857379"/>
                </a:cubicBezTo>
                <a:cubicBezTo>
                  <a:pt x="1384681" y="3838693"/>
                  <a:pt x="1390351" y="3842367"/>
                  <a:pt x="1393024" y="3832027"/>
                </a:cubicBezTo>
                <a:cubicBezTo>
                  <a:pt x="1388354" y="3833025"/>
                  <a:pt x="1385361" y="3819012"/>
                  <a:pt x="1380689" y="3820009"/>
                </a:cubicBezTo>
                <a:cubicBezTo>
                  <a:pt x="1388354" y="3833025"/>
                  <a:pt x="1375339" y="3840689"/>
                  <a:pt x="1383004" y="3853705"/>
                </a:cubicBezTo>
                <a:cubicBezTo>
                  <a:pt x="1385679" y="3843366"/>
                  <a:pt x="1386677" y="3848036"/>
                  <a:pt x="1388672" y="3857379"/>
                </a:cubicBezTo>
                <a:cubicBezTo>
                  <a:pt x="1384002" y="3858376"/>
                  <a:pt x="1384002" y="3858376"/>
                  <a:pt x="1384002" y="3858376"/>
                </a:cubicBezTo>
                <a:cubicBezTo>
                  <a:pt x="1384002" y="3858376"/>
                  <a:pt x="1384002" y="3858376"/>
                  <a:pt x="1385000" y="3863047"/>
                </a:cubicBezTo>
                <a:cubicBezTo>
                  <a:pt x="1385000" y="3863047"/>
                  <a:pt x="1385998" y="3867719"/>
                  <a:pt x="1385998" y="3867719"/>
                </a:cubicBezTo>
                <a:cubicBezTo>
                  <a:pt x="1390668" y="3866720"/>
                  <a:pt x="1390668" y="3866720"/>
                  <a:pt x="1390668" y="3866720"/>
                </a:cubicBezTo>
                <a:cubicBezTo>
                  <a:pt x="1393503" y="3868555"/>
                  <a:pt x="1393334" y="3873478"/>
                  <a:pt x="1393163" y="3878397"/>
                </a:cubicBezTo>
                <a:lnTo>
                  <a:pt x="1394660" y="3885404"/>
                </a:lnTo>
                <a:lnTo>
                  <a:pt x="1395658" y="3890075"/>
                </a:lnTo>
                <a:cubicBezTo>
                  <a:pt x="1390987" y="3891074"/>
                  <a:pt x="1390987" y="3891074"/>
                  <a:pt x="1390987" y="3891074"/>
                </a:cubicBezTo>
                <a:cubicBezTo>
                  <a:pt x="1390987" y="3891074"/>
                  <a:pt x="1390987" y="3891074"/>
                  <a:pt x="1391984" y="3895744"/>
                </a:cubicBezTo>
                <a:cubicBezTo>
                  <a:pt x="1392983" y="3900415"/>
                  <a:pt x="1392983" y="3900415"/>
                  <a:pt x="1392983" y="3900415"/>
                </a:cubicBezTo>
                <a:cubicBezTo>
                  <a:pt x="1396296" y="3938780"/>
                  <a:pt x="1411944" y="3989163"/>
                  <a:pt x="1420606" y="4006850"/>
                </a:cubicBezTo>
                <a:cubicBezTo>
                  <a:pt x="1420606" y="4006850"/>
                  <a:pt x="1420606" y="4006850"/>
                  <a:pt x="1415936" y="4007847"/>
                </a:cubicBezTo>
                <a:cubicBezTo>
                  <a:pt x="1415936" y="4007847"/>
                  <a:pt x="1416933" y="4012520"/>
                  <a:pt x="1417931" y="4017190"/>
                </a:cubicBezTo>
                <a:cubicBezTo>
                  <a:pt x="1427591" y="4039547"/>
                  <a:pt x="1420924" y="4031202"/>
                  <a:pt x="1421923" y="4035875"/>
                </a:cubicBezTo>
                <a:cubicBezTo>
                  <a:pt x="1429588" y="4048889"/>
                  <a:pt x="1442562" y="4109612"/>
                  <a:pt x="1437890" y="4110609"/>
                </a:cubicBezTo>
                <a:cubicBezTo>
                  <a:pt x="1447551" y="4132968"/>
                  <a:pt x="1443877" y="4138635"/>
                  <a:pt x="1458528" y="4184349"/>
                </a:cubicBezTo>
                <a:cubicBezTo>
                  <a:pt x="1461522" y="4198361"/>
                  <a:pt x="1459845" y="4213371"/>
                  <a:pt x="1462839" y="4227385"/>
                </a:cubicBezTo>
                <a:cubicBezTo>
                  <a:pt x="1460164" y="4237725"/>
                  <a:pt x="1454494" y="4234052"/>
                  <a:pt x="1456490" y="4243395"/>
                </a:cubicBezTo>
                <a:cubicBezTo>
                  <a:pt x="1453136" y="4273416"/>
                  <a:pt x="1466788" y="4314457"/>
                  <a:pt x="1468105" y="4343482"/>
                </a:cubicBezTo>
                <a:cubicBezTo>
                  <a:pt x="1469102" y="4348152"/>
                  <a:pt x="1462436" y="4339808"/>
                  <a:pt x="1461439" y="4335137"/>
                </a:cubicBezTo>
                <a:cubicBezTo>
                  <a:pt x="1459761" y="4350148"/>
                  <a:pt x="1471736" y="4406199"/>
                  <a:pt x="1454730" y="4395182"/>
                </a:cubicBezTo>
                <a:cubicBezTo>
                  <a:pt x="1448063" y="4386836"/>
                  <a:pt x="1448063" y="4386836"/>
                  <a:pt x="1448063" y="4386836"/>
                </a:cubicBezTo>
                <a:cubicBezTo>
                  <a:pt x="1450058" y="4396179"/>
                  <a:pt x="1450058" y="4396179"/>
                  <a:pt x="1450058" y="4396179"/>
                </a:cubicBezTo>
                <a:cubicBezTo>
                  <a:pt x="1437723" y="4384161"/>
                  <a:pt x="1432733" y="4360806"/>
                  <a:pt x="1422075" y="4333778"/>
                </a:cubicBezTo>
                <a:cubicBezTo>
                  <a:pt x="1419080" y="4319766"/>
                  <a:pt x="1416086" y="4305753"/>
                  <a:pt x="1413412" y="4316093"/>
                </a:cubicBezTo>
                <a:cubicBezTo>
                  <a:pt x="1412414" y="4311422"/>
                  <a:pt x="1412414" y="4311422"/>
                  <a:pt x="1412414" y="4311422"/>
                </a:cubicBezTo>
                <a:cubicBezTo>
                  <a:pt x="1407741" y="4312421"/>
                  <a:pt x="1407741" y="4312421"/>
                  <a:pt x="1407741" y="4312421"/>
                </a:cubicBezTo>
                <a:cubicBezTo>
                  <a:pt x="1398400" y="4314415"/>
                  <a:pt x="1404748" y="4298407"/>
                  <a:pt x="1402752" y="4289064"/>
                </a:cubicBezTo>
                <a:cubicBezTo>
                  <a:pt x="1400078" y="4299405"/>
                  <a:pt x="1390415" y="4277046"/>
                  <a:pt x="1393410" y="4291060"/>
                </a:cubicBezTo>
                <a:cubicBezTo>
                  <a:pt x="1399079" y="4294733"/>
                  <a:pt x="1401076" y="4304075"/>
                  <a:pt x="1396404" y="4305073"/>
                </a:cubicBezTo>
                <a:cubicBezTo>
                  <a:pt x="1402074" y="4308745"/>
                  <a:pt x="1404069" y="4318088"/>
                  <a:pt x="1407063" y="4332102"/>
                </a:cubicBezTo>
                <a:cubicBezTo>
                  <a:pt x="1396043" y="4349108"/>
                  <a:pt x="1404346" y="4410830"/>
                  <a:pt x="1419993" y="4461213"/>
                </a:cubicBezTo>
                <a:cubicBezTo>
                  <a:pt x="1416321" y="4466881"/>
                  <a:pt x="1416321" y="4466881"/>
                  <a:pt x="1412648" y="4472550"/>
                </a:cubicBezTo>
                <a:cubicBezTo>
                  <a:pt x="1406978" y="4468877"/>
                  <a:pt x="1405981" y="4464205"/>
                  <a:pt x="1404983" y="4459535"/>
                </a:cubicBezTo>
                <a:cubicBezTo>
                  <a:pt x="1404983" y="4459535"/>
                  <a:pt x="1403985" y="4454865"/>
                  <a:pt x="1403985" y="4454865"/>
                </a:cubicBezTo>
                <a:cubicBezTo>
                  <a:pt x="1403985" y="4454865"/>
                  <a:pt x="1398316" y="4451189"/>
                  <a:pt x="1398316" y="4451189"/>
                </a:cubicBezTo>
                <a:cubicBezTo>
                  <a:pt x="1398316" y="4451189"/>
                  <a:pt x="1398316" y="4451189"/>
                  <a:pt x="1399315" y="4455862"/>
                </a:cubicBezTo>
                <a:cubicBezTo>
                  <a:pt x="1399315" y="4455862"/>
                  <a:pt x="1400312" y="4460533"/>
                  <a:pt x="1400312" y="4460533"/>
                </a:cubicBezTo>
                <a:cubicBezTo>
                  <a:pt x="1400312" y="4460533"/>
                  <a:pt x="1394644" y="4456859"/>
                  <a:pt x="1393645" y="4452188"/>
                </a:cubicBezTo>
                <a:cubicBezTo>
                  <a:pt x="1391649" y="4442847"/>
                  <a:pt x="1390651" y="4438176"/>
                  <a:pt x="1388655" y="4428834"/>
                </a:cubicBezTo>
                <a:lnTo>
                  <a:pt x="1396421" y="4442316"/>
                </a:lnTo>
                <a:lnTo>
                  <a:pt x="1397319" y="4446519"/>
                </a:lnTo>
                <a:cubicBezTo>
                  <a:pt x="1403485" y="4452529"/>
                  <a:pt x="1401820" y="4450442"/>
                  <a:pt x="1398362" y="4445687"/>
                </a:cubicBezTo>
                <a:lnTo>
                  <a:pt x="1396421" y="4442316"/>
                </a:lnTo>
                <a:lnTo>
                  <a:pt x="1394700" y="4434259"/>
                </a:lnTo>
                <a:cubicBezTo>
                  <a:pt x="1394325" y="4432507"/>
                  <a:pt x="1394325" y="4432507"/>
                  <a:pt x="1394325" y="4432507"/>
                </a:cubicBezTo>
                <a:cubicBezTo>
                  <a:pt x="1394325" y="4432507"/>
                  <a:pt x="1398995" y="4431508"/>
                  <a:pt x="1398995" y="4431508"/>
                </a:cubicBezTo>
                <a:cubicBezTo>
                  <a:pt x="1398995" y="4431508"/>
                  <a:pt x="1398995" y="4431508"/>
                  <a:pt x="1397996" y="4426838"/>
                </a:cubicBezTo>
                <a:cubicBezTo>
                  <a:pt x="1397996" y="4426838"/>
                  <a:pt x="1397000" y="4422167"/>
                  <a:pt x="1397000" y="4422167"/>
                </a:cubicBezTo>
                <a:cubicBezTo>
                  <a:pt x="1393327" y="4427837"/>
                  <a:pt x="1392329" y="4423164"/>
                  <a:pt x="1392329" y="4423164"/>
                </a:cubicBezTo>
                <a:cubicBezTo>
                  <a:pt x="1391330" y="4418493"/>
                  <a:pt x="1390333" y="4413823"/>
                  <a:pt x="1385662" y="4414822"/>
                </a:cubicBezTo>
                <a:cubicBezTo>
                  <a:pt x="1384664" y="4410150"/>
                  <a:pt x="1384664" y="4410150"/>
                  <a:pt x="1384664" y="4410150"/>
                </a:cubicBezTo>
                <a:cubicBezTo>
                  <a:pt x="1389336" y="4409152"/>
                  <a:pt x="1388338" y="4404480"/>
                  <a:pt x="1383666" y="4405478"/>
                </a:cubicBezTo>
                <a:cubicBezTo>
                  <a:pt x="1382668" y="4400808"/>
                  <a:pt x="1380424" y="4390299"/>
                  <a:pt x="1378801" y="4382708"/>
                </a:cubicBezTo>
                <a:lnTo>
                  <a:pt x="1377677" y="4377453"/>
                </a:lnTo>
                <a:cubicBezTo>
                  <a:pt x="1379673" y="4386795"/>
                  <a:pt x="1377996" y="4401807"/>
                  <a:pt x="1377996" y="4401807"/>
                </a:cubicBezTo>
                <a:cubicBezTo>
                  <a:pt x="1375004" y="4387793"/>
                  <a:pt x="1367339" y="4374777"/>
                  <a:pt x="1364344" y="4360763"/>
                </a:cubicBezTo>
                <a:cubicBezTo>
                  <a:pt x="1357100" y="4343998"/>
                  <a:pt x="1355467" y="4353504"/>
                  <a:pt x="1349899" y="4354235"/>
                </a:cubicBezTo>
                <a:lnTo>
                  <a:pt x="1345078" y="4351907"/>
                </a:lnTo>
                <a:lnTo>
                  <a:pt x="1348800" y="4372250"/>
                </a:lnTo>
                <a:cubicBezTo>
                  <a:pt x="1354182" y="4389739"/>
                  <a:pt x="1362927" y="4405884"/>
                  <a:pt x="1379072" y="4419338"/>
                </a:cubicBezTo>
                <a:cubicBezTo>
                  <a:pt x="1389836" y="4430100"/>
                  <a:pt x="1387145" y="4440864"/>
                  <a:pt x="1389836" y="4454318"/>
                </a:cubicBezTo>
                <a:cubicBezTo>
                  <a:pt x="1389836" y="4481225"/>
                  <a:pt x="1395218" y="4505441"/>
                  <a:pt x="1411363" y="4524275"/>
                </a:cubicBezTo>
                <a:cubicBezTo>
                  <a:pt x="1451727" y="4567327"/>
                  <a:pt x="1482001" y="4616433"/>
                  <a:pt x="1509583" y="4667558"/>
                </a:cubicBezTo>
                <a:lnTo>
                  <a:pt x="1577273" y="4795718"/>
                </a:lnTo>
                <a:lnTo>
                  <a:pt x="1579917" y="4798245"/>
                </a:lnTo>
                <a:cubicBezTo>
                  <a:pt x="1584587" y="4797247"/>
                  <a:pt x="1580594" y="4778563"/>
                  <a:pt x="1576604" y="4759879"/>
                </a:cubicBezTo>
                <a:cubicBezTo>
                  <a:pt x="1609577" y="4845636"/>
                  <a:pt x="1674569" y="4944085"/>
                  <a:pt x="1731897" y="5029523"/>
                </a:cubicBezTo>
                <a:lnTo>
                  <a:pt x="1728521" y="5034733"/>
                </a:lnTo>
                <a:lnTo>
                  <a:pt x="1864742" y="5210497"/>
                </a:lnTo>
                <a:lnTo>
                  <a:pt x="1960966" y="5314141"/>
                </a:lnTo>
                <a:lnTo>
                  <a:pt x="1964240" y="5316895"/>
                </a:lnTo>
                <a:lnTo>
                  <a:pt x="1966833" y="5320459"/>
                </a:lnTo>
                <a:lnTo>
                  <a:pt x="2003292" y="5359731"/>
                </a:lnTo>
                <a:lnTo>
                  <a:pt x="2005134" y="5358985"/>
                </a:lnTo>
                <a:cubicBezTo>
                  <a:pt x="2006603" y="5359434"/>
                  <a:pt x="2009083" y="5361041"/>
                  <a:pt x="2013584" y="5364962"/>
                </a:cubicBezTo>
                <a:cubicBezTo>
                  <a:pt x="2007915" y="5361289"/>
                  <a:pt x="2008414" y="5363625"/>
                  <a:pt x="2011996" y="5368965"/>
                </a:cubicBezTo>
                <a:lnTo>
                  <a:pt x="2012621" y="5369779"/>
                </a:lnTo>
                <a:lnTo>
                  <a:pt x="2021956" y="5379834"/>
                </a:lnTo>
                <a:lnTo>
                  <a:pt x="2059336" y="5413704"/>
                </a:lnTo>
                <a:lnTo>
                  <a:pt x="2059384" y="5410736"/>
                </a:lnTo>
                <a:cubicBezTo>
                  <a:pt x="2056760" y="5407022"/>
                  <a:pt x="2053427" y="5402851"/>
                  <a:pt x="2055262" y="5400017"/>
                </a:cubicBezTo>
                <a:cubicBezTo>
                  <a:pt x="2064764" y="5410196"/>
                  <a:pt x="2067179" y="5415787"/>
                  <a:pt x="2068636" y="5419749"/>
                </a:cubicBezTo>
                <a:lnTo>
                  <a:pt x="2074568" y="5427506"/>
                </a:lnTo>
                <a:lnTo>
                  <a:pt x="2093075" y="5444275"/>
                </a:lnTo>
                <a:lnTo>
                  <a:pt x="2096976" y="5446663"/>
                </a:lnTo>
                <a:lnTo>
                  <a:pt x="2101272" y="5451702"/>
                </a:lnTo>
                <a:lnTo>
                  <a:pt x="2190614" y="5532655"/>
                </a:lnTo>
                <a:lnTo>
                  <a:pt x="2190957" y="5532205"/>
                </a:lnTo>
                <a:lnTo>
                  <a:pt x="2192913" y="5534621"/>
                </a:lnTo>
                <a:lnTo>
                  <a:pt x="2345065" y="5651238"/>
                </a:lnTo>
                <a:lnTo>
                  <a:pt x="2345801" y="5651144"/>
                </a:lnTo>
                <a:cubicBezTo>
                  <a:pt x="2348510" y="5652397"/>
                  <a:pt x="2351344" y="5654233"/>
                  <a:pt x="2353680" y="5653734"/>
                </a:cubicBezTo>
                <a:cubicBezTo>
                  <a:pt x="2353680" y="5653734"/>
                  <a:pt x="2354677" y="5658406"/>
                  <a:pt x="2354677" y="5658406"/>
                </a:cubicBezTo>
                <a:lnTo>
                  <a:pt x="2354729" y="5658644"/>
                </a:lnTo>
                <a:lnTo>
                  <a:pt x="2365695" y="5667049"/>
                </a:lnTo>
                <a:lnTo>
                  <a:pt x="2371685" y="5669425"/>
                </a:lnTo>
                <a:cubicBezTo>
                  <a:pt x="2371685" y="5669425"/>
                  <a:pt x="2376356" y="5668427"/>
                  <a:pt x="2370688" y="5664753"/>
                </a:cubicBezTo>
                <a:cubicBezTo>
                  <a:pt x="2369689" y="5660084"/>
                  <a:pt x="2369689" y="5660084"/>
                  <a:pt x="2369689" y="5660084"/>
                </a:cubicBezTo>
                <a:cubicBezTo>
                  <a:pt x="2386696" y="5671101"/>
                  <a:pt x="2367015" y="5670422"/>
                  <a:pt x="2387695" y="5675773"/>
                </a:cubicBezTo>
                <a:cubicBezTo>
                  <a:pt x="2388692" y="5680444"/>
                  <a:pt x="2388692" y="5680444"/>
                  <a:pt x="2388692" y="5680444"/>
                </a:cubicBezTo>
                <a:cubicBezTo>
                  <a:pt x="2389690" y="5685115"/>
                  <a:pt x="2389690" y="5685115"/>
                  <a:pt x="2394361" y="5684116"/>
                </a:cubicBezTo>
                <a:cubicBezTo>
                  <a:pt x="2400030" y="5687790"/>
                  <a:pt x="2400030" y="5687790"/>
                  <a:pt x="2400030" y="5687790"/>
                </a:cubicBezTo>
                <a:cubicBezTo>
                  <a:pt x="2402865" y="5689627"/>
                  <a:pt x="2404282" y="5690545"/>
                  <a:pt x="2405825" y="5692047"/>
                </a:cubicBezTo>
                <a:lnTo>
                  <a:pt x="2409797" y="5696759"/>
                </a:lnTo>
                <a:lnTo>
                  <a:pt x="2414794" y="5700011"/>
                </a:lnTo>
                <a:lnTo>
                  <a:pt x="2432881" y="5701530"/>
                </a:lnTo>
                <a:cubicBezTo>
                  <a:pt x="2440053" y="5703661"/>
                  <a:pt x="2445223" y="5704998"/>
                  <a:pt x="2441390" y="5698491"/>
                </a:cubicBezTo>
                <a:cubicBezTo>
                  <a:pt x="2439054" y="5698990"/>
                  <a:pt x="2435053" y="5697402"/>
                  <a:pt x="2430801" y="5694648"/>
                </a:cubicBezTo>
                <a:lnTo>
                  <a:pt x="2423109" y="5687744"/>
                </a:lnTo>
                <a:lnTo>
                  <a:pt x="2429054" y="5686473"/>
                </a:lnTo>
                <a:cubicBezTo>
                  <a:pt x="2457400" y="5704839"/>
                  <a:pt x="2485743" y="5723205"/>
                  <a:pt x="2503749" y="5738894"/>
                </a:cubicBezTo>
                <a:cubicBezTo>
                  <a:pt x="2504747" y="5743565"/>
                  <a:pt x="2509419" y="5742568"/>
                  <a:pt x="2509419" y="5742568"/>
                </a:cubicBezTo>
                <a:cubicBezTo>
                  <a:pt x="2527423" y="5758257"/>
                  <a:pt x="2493408" y="5736220"/>
                  <a:pt x="2500075" y="5744562"/>
                </a:cubicBezTo>
                <a:cubicBezTo>
                  <a:pt x="2521754" y="5754584"/>
                  <a:pt x="2517083" y="5755583"/>
                  <a:pt x="2519077" y="5764924"/>
                </a:cubicBezTo>
                <a:cubicBezTo>
                  <a:pt x="2539757" y="5770275"/>
                  <a:pt x="2548422" y="5787961"/>
                  <a:pt x="2540756" y="5774946"/>
                </a:cubicBezTo>
                <a:cubicBezTo>
                  <a:pt x="2545427" y="5773948"/>
                  <a:pt x="2545427" y="5773948"/>
                  <a:pt x="2545427" y="5773948"/>
                </a:cubicBezTo>
                <a:cubicBezTo>
                  <a:pt x="2550097" y="5772950"/>
                  <a:pt x="2550097" y="5772950"/>
                  <a:pt x="2550097" y="5772950"/>
                </a:cubicBezTo>
                <a:cubicBezTo>
                  <a:pt x="2555767" y="5776622"/>
                  <a:pt x="2566107" y="5779297"/>
                  <a:pt x="2572773" y="5787641"/>
                </a:cubicBezTo>
                <a:cubicBezTo>
                  <a:pt x="2571776" y="5782971"/>
                  <a:pt x="2576447" y="5781973"/>
                  <a:pt x="2582118" y="5785645"/>
                </a:cubicBezTo>
                <a:cubicBezTo>
                  <a:pt x="2602796" y="5790996"/>
                  <a:pt x="2623796" y="5820700"/>
                  <a:pt x="2650143" y="5829723"/>
                </a:cubicBezTo>
                <a:cubicBezTo>
                  <a:pt x="2656810" y="5838067"/>
                  <a:pt x="2660484" y="5832397"/>
                  <a:pt x="2670824" y="5835072"/>
                </a:cubicBezTo>
                <a:cubicBezTo>
                  <a:pt x="2670824" y="5835072"/>
                  <a:pt x="2677490" y="5843417"/>
                  <a:pt x="2684158" y="5851761"/>
                </a:cubicBezTo>
                <a:cubicBezTo>
                  <a:pt x="2739850" y="5883820"/>
                  <a:pt x="2819895" y="5915562"/>
                  <a:pt x="2874588" y="5942950"/>
                </a:cubicBezTo>
                <a:cubicBezTo>
                  <a:pt x="2901935" y="5956644"/>
                  <a:pt x="2923613" y="5966665"/>
                  <a:pt x="2956629" y="5984033"/>
                </a:cubicBezTo>
                <a:cubicBezTo>
                  <a:pt x="2966969" y="5986708"/>
                  <a:pt x="2992320" y="5991060"/>
                  <a:pt x="3003657" y="5998405"/>
                </a:cubicBezTo>
                <a:cubicBezTo>
                  <a:pt x="3003657" y="5998405"/>
                  <a:pt x="3010325" y="6006750"/>
                  <a:pt x="3010325" y="6006750"/>
                </a:cubicBezTo>
                <a:cubicBezTo>
                  <a:pt x="3036674" y="6015773"/>
                  <a:pt x="3035676" y="6011102"/>
                  <a:pt x="3052682" y="6022121"/>
                </a:cubicBezTo>
                <a:cubicBezTo>
                  <a:pt x="3041345" y="6014776"/>
                  <a:pt x="3101709" y="6045837"/>
                  <a:pt x="3132727" y="6053863"/>
                </a:cubicBezTo>
                <a:cubicBezTo>
                  <a:pt x="3181752" y="6077579"/>
                  <a:pt x="3248465" y="6092630"/>
                  <a:pt x="3306831" y="6114351"/>
                </a:cubicBezTo>
                <a:cubicBezTo>
                  <a:pt x="3332182" y="6118703"/>
                  <a:pt x="3368871" y="6130401"/>
                  <a:pt x="3409233" y="6136431"/>
                </a:cubicBezTo>
                <a:cubicBezTo>
                  <a:pt x="3450593" y="6147132"/>
                  <a:pt x="3495627" y="6152162"/>
                  <a:pt x="3520977" y="6156515"/>
                </a:cubicBezTo>
                <a:cubicBezTo>
                  <a:pt x="3591361" y="6165899"/>
                  <a:pt x="3648729" y="6182948"/>
                  <a:pt x="3704103" y="6190654"/>
                </a:cubicBezTo>
                <a:cubicBezTo>
                  <a:pt x="3743467" y="6192014"/>
                  <a:pt x="3797843" y="6195048"/>
                  <a:pt x="3841878" y="6195409"/>
                </a:cubicBezTo>
                <a:cubicBezTo>
                  <a:pt x="3868226" y="6204433"/>
                  <a:pt x="3901921" y="6202118"/>
                  <a:pt x="3935617" y="6199803"/>
                </a:cubicBezTo>
                <a:cubicBezTo>
                  <a:pt x="3952624" y="6210822"/>
                  <a:pt x="4001331" y="6210186"/>
                  <a:pt x="4050037" y="6209548"/>
                </a:cubicBezTo>
                <a:cubicBezTo>
                  <a:pt x="4098742" y="6208910"/>
                  <a:pt x="4147449" y="6208274"/>
                  <a:pt x="4164456" y="6219291"/>
                </a:cubicBezTo>
                <a:cubicBezTo>
                  <a:pt x="4178470" y="6216298"/>
                  <a:pt x="4202823" y="6215980"/>
                  <a:pt x="4208491" y="6219652"/>
                </a:cubicBezTo>
                <a:cubicBezTo>
                  <a:pt x="4220508" y="6207318"/>
                  <a:pt x="4273885" y="6205681"/>
                  <a:pt x="4280553" y="6214026"/>
                </a:cubicBezTo>
                <a:cubicBezTo>
                  <a:pt x="4285225" y="6213027"/>
                  <a:pt x="4294565" y="6211031"/>
                  <a:pt x="4299237" y="6210033"/>
                </a:cubicBezTo>
                <a:cubicBezTo>
                  <a:pt x="4302232" y="6224047"/>
                  <a:pt x="4342273" y="6205722"/>
                  <a:pt x="4376966" y="6208079"/>
                </a:cubicBezTo>
                <a:cubicBezTo>
                  <a:pt x="4381639" y="6207082"/>
                  <a:pt x="4381639" y="6207082"/>
                  <a:pt x="4381639" y="6207082"/>
                </a:cubicBezTo>
                <a:cubicBezTo>
                  <a:pt x="4381639" y="6207082"/>
                  <a:pt x="4382636" y="6211752"/>
                  <a:pt x="4382636" y="6211752"/>
                </a:cubicBezTo>
                <a:cubicBezTo>
                  <a:pt x="4387307" y="6210754"/>
                  <a:pt x="4387307" y="6210754"/>
                  <a:pt x="4391979" y="6209755"/>
                </a:cubicBezTo>
                <a:cubicBezTo>
                  <a:pt x="4391979" y="6209755"/>
                  <a:pt x="4391979" y="6209755"/>
                  <a:pt x="4390980" y="6205086"/>
                </a:cubicBezTo>
                <a:cubicBezTo>
                  <a:pt x="4390980" y="6205086"/>
                  <a:pt x="4386310" y="6206084"/>
                  <a:pt x="4386310" y="6206084"/>
                </a:cubicBezTo>
                <a:cubicBezTo>
                  <a:pt x="4395651" y="6204087"/>
                  <a:pt x="4409664" y="6201093"/>
                  <a:pt x="4408667" y="6196422"/>
                </a:cubicBezTo>
                <a:cubicBezTo>
                  <a:pt x="4490071" y="6188798"/>
                  <a:pt x="4570475" y="6176505"/>
                  <a:pt x="4653556" y="6153870"/>
                </a:cubicBezTo>
                <a:cubicBezTo>
                  <a:pt x="4685257" y="6142215"/>
                  <a:pt x="4708611" y="6137225"/>
                  <a:pt x="4745978" y="6129242"/>
                </a:cubicBezTo>
                <a:cubicBezTo>
                  <a:pt x="4787019" y="6115589"/>
                  <a:pt x="4845748" y="6093274"/>
                  <a:pt x="4900802" y="6076627"/>
                </a:cubicBezTo>
                <a:cubicBezTo>
                  <a:pt x="4959529" y="6054313"/>
                  <a:pt x="5013586" y="6032994"/>
                  <a:pt x="5058301" y="6013674"/>
                </a:cubicBezTo>
                <a:cubicBezTo>
                  <a:pt x="5094672" y="6001018"/>
                  <a:pt x="5112357" y="5992356"/>
                  <a:pt x="5152401" y="5974033"/>
                </a:cubicBezTo>
                <a:cubicBezTo>
                  <a:pt x="5160745" y="5967365"/>
                  <a:pt x="5174758" y="5964372"/>
                  <a:pt x="5184101" y="5962374"/>
                </a:cubicBezTo>
                <a:cubicBezTo>
                  <a:pt x="5206457" y="5952716"/>
                  <a:pt x="5222147" y="5934711"/>
                  <a:pt x="5245504" y="5929720"/>
                </a:cubicBezTo>
                <a:cubicBezTo>
                  <a:pt x="5245504" y="5929720"/>
                  <a:pt x="5246501" y="5934392"/>
                  <a:pt x="5246501" y="5934392"/>
                </a:cubicBezTo>
                <a:cubicBezTo>
                  <a:pt x="5241830" y="5935389"/>
                  <a:pt x="5247499" y="5939063"/>
                  <a:pt x="5251173" y="5933393"/>
                </a:cubicBezTo>
                <a:cubicBezTo>
                  <a:pt x="5255843" y="5932396"/>
                  <a:pt x="5260514" y="5931398"/>
                  <a:pt x="5260514" y="5931398"/>
                </a:cubicBezTo>
                <a:cubicBezTo>
                  <a:pt x="5259517" y="5926727"/>
                  <a:pt x="5264188" y="5925730"/>
                  <a:pt x="5264188" y="5925730"/>
                </a:cubicBezTo>
                <a:cubicBezTo>
                  <a:pt x="5265185" y="5930400"/>
                  <a:pt x="5269857" y="5929401"/>
                  <a:pt x="5274527" y="5928403"/>
                </a:cubicBezTo>
                <a:cubicBezTo>
                  <a:pt x="5278201" y="5922735"/>
                  <a:pt x="5273529" y="5923733"/>
                  <a:pt x="5272531" y="5919062"/>
                </a:cubicBezTo>
                <a:cubicBezTo>
                  <a:pt x="5272531" y="5919062"/>
                  <a:pt x="5277203" y="5918063"/>
                  <a:pt x="5277203" y="5918063"/>
                </a:cubicBezTo>
                <a:cubicBezTo>
                  <a:pt x="5281873" y="5917066"/>
                  <a:pt x="5285546" y="5911397"/>
                  <a:pt x="5285546" y="5911397"/>
                </a:cubicBezTo>
                <a:cubicBezTo>
                  <a:pt x="5284549" y="5906727"/>
                  <a:pt x="5279879" y="5907725"/>
                  <a:pt x="5275207" y="5908722"/>
                </a:cubicBezTo>
                <a:cubicBezTo>
                  <a:pt x="5276205" y="5913393"/>
                  <a:pt x="5276205" y="5913393"/>
                  <a:pt x="5276205" y="5913393"/>
                </a:cubicBezTo>
                <a:cubicBezTo>
                  <a:pt x="5270536" y="5909721"/>
                  <a:pt x="5270536" y="5909721"/>
                  <a:pt x="5270536" y="5909721"/>
                </a:cubicBezTo>
                <a:cubicBezTo>
                  <a:pt x="5306907" y="5897065"/>
                  <a:pt x="5359965" y="5871077"/>
                  <a:pt x="5379329" y="5847404"/>
                </a:cubicBezTo>
                <a:cubicBezTo>
                  <a:pt x="5419372" y="5829081"/>
                  <a:pt x="5475105" y="5792750"/>
                  <a:pt x="5542857" y="5744086"/>
                </a:cubicBezTo>
                <a:cubicBezTo>
                  <a:pt x="5543855" y="5748759"/>
                  <a:pt x="5543855" y="5748759"/>
                  <a:pt x="5543855" y="5748759"/>
                </a:cubicBezTo>
                <a:cubicBezTo>
                  <a:pt x="5543855" y="5748759"/>
                  <a:pt x="5539183" y="5749756"/>
                  <a:pt x="5539183" y="5749756"/>
                </a:cubicBezTo>
                <a:cubicBezTo>
                  <a:pt x="5535510" y="5755425"/>
                  <a:pt x="5530840" y="5756424"/>
                  <a:pt x="5536507" y="5760095"/>
                </a:cubicBezTo>
                <a:cubicBezTo>
                  <a:pt x="5536507" y="5760095"/>
                  <a:pt x="5541179" y="5759098"/>
                  <a:pt x="5544853" y="5753429"/>
                </a:cubicBezTo>
                <a:cubicBezTo>
                  <a:pt x="5549523" y="5752432"/>
                  <a:pt x="5549523" y="5752432"/>
                  <a:pt x="5553195" y="5746762"/>
                </a:cubicBezTo>
                <a:cubicBezTo>
                  <a:pt x="5554194" y="5751434"/>
                  <a:pt x="5558865" y="5750436"/>
                  <a:pt x="5568208" y="5748439"/>
                </a:cubicBezTo>
                <a:cubicBezTo>
                  <a:pt x="5567709" y="5746105"/>
                  <a:pt x="5567209" y="5743768"/>
                  <a:pt x="5565793" y="5742849"/>
                </a:cubicBezTo>
                <a:lnTo>
                  <a:pt x="5563150" y="5743821"/>
                </a:lnTo>
                <a:lnTo>
                  <a:pt x="5569884" y="5733428"/>
                </a:lnTo>
                <a:cubicBezTo>
                  <a:pt x="5565213" y="5734427"/>
                  <a:pt x="5560543" y="5735424"/>
                  <a:pt x="5555871" y="5736423"/>
                </a:cubicBezTo>
                <a:cubicBezTo>
                  <a:pt x="5566891" y="5719416"/>
                  <a:pt x="5574237" y="5708077"/>
                  <a:pt x="5595597" y="5693746"/>
                </a:cubicBezTo>
                <a:cubicBezTo>
                  <a:pt x="5591923" y="5699415"/>
                  <a:pt x="5596594" y="5698416"/>
                  <a:pt x="5601265" y="5697419"/>
                </a:cubicBezTo>
                <a:cubicBezTo>
                  <a:pt x="5622624" y="5683088"/>
                  <a:pt x="5640990" y="5654743"/>
                  <a:pt x="5654005" y="5647078"/>
                </a:cubicBezTo>
                <a:cubicBezTo>
                  <a:pt x="5654005" y="5647078"/>
                  <a:pt x="5655003" y="5651750"/>
                  <a:pt x="5650333" y="5652747"/>
                </a:cubicBezTo>
                <a:cubicBezTo>
                  <a:pt x="5680037" y="5631749"/>
                  <a:pt x="5698401" y="5603403"/>
                  <a:pt x="5713411" y="5605080"/>
                </a:cubicBezTo>
                <a:cubicBezTo>
                  <a:pt x="5708741" y="5606079"/>
                  <a:pt x="5712413" y="5600409"/>
                  <a:pt x="5717085" y="5599412"/>
                </a:cubicBezTo>
                <a:cubicBezTo>
                  <a:pt x="5723434" y="5583402"/>
                  <a:pt x="5703073" y="5602405"/>
                  <a:pt x="5698401" y="5603403"/>
                </a:cubicBezTo>
                <a:cubicBezTo>
                  <a:pt x="5723434" y="5583402"/>
                  <a:pt x="5732775" y="5581407"/>
                  <a:pt x="5739123" y="5565397"/>
                </a:cubicBezTo>
                <a:cubicBezTo>
                  <a:pt x="5744793" y="5569071"/>
                  <a:pt x="5737447" y="5580410"/>
                  <a:pt x="5749465" y="5568074"/>
                </a:cubicBezTo>
                <a:cubicBezTo>
                  <a:pt x="5752140" y="5557732"/>
                  <a:pt x="5748466" y="5563402"/>
                  <a:pt x="5755813" y="5552065"/>
                </a:cubicBezTo>
                <a:cubicBezTo>
                  <a:pt x="5754813" y="5547394"/>
                  <a:pt x="5759485" y="5546395"/>
                  <a:pt x="5759485" y="5546395"/>
                </a:cubicBezTo>
                <a:cubicBezTo>
                  <a:pt x="5763159" y="5540726"/>
                  <a:pt x="5767829" y="5539729"/>
                  <a:pt x="5766831" y="5535057"/>
                </a:cubicBezTo>
                <a:cubicBezTo>
                  <a:pt x="5765834" y="5530386"/>
                  <a:pt x="5761163" y="5531383"/>
                  <a:pt x="5757489" y="5537052"/>
                </a:cubicBezTo>
                <a:cubicBezTo>
                  <a:pt x="5757489" y="5537052"/>
                  <a:pt x="5757489" y="5537052"/>
                  <a:pt x="5752817" y="5538051"/>
                </a:cubicBezTo>
                <a:cubicBezTo>
                  <a:pt x="5789869" y="5505714"/>
                  <a:pt x="5796216" y="5489707"/>
                  <a:pt x="5840612" y="5446031"/>
                </a:cubicBezTo>
                <a:cubicBezTo>
                  <a:pt x="5861292" y="5451381"/>
                  <a:pt x="5844285" y="5440361"/>
                  <a:pt x="5875984" y="5428705"/>
                </a:cubicBezTo>
                <a:cubicBezTo>
                  <a:pt x="5876981" y="5433377"/>
                  <a:pt x="5876981" y="5433377"/>
                  <a:pt x="5876981" y="5433377"/>
                </a:cubicBezTo>
                <a:cubicBezTo>
                  <a:pt x="5873309" y="5439045"/>
                  <a:pt x="5877980" y="5438048"/>
                  <a:pt x="5881654" y="5432378"/>
                </a:cubicBezTo>
                <a:cubicBezTo>
                  <a:pt x="5886325" y="5431380"/>
                  <a:pt x="5889997" y="5425712"/>
                  <a:pt x="5888999" y="5421040"/>
                </a:cubicBezTo>
                <a:cubicBezTo>
                  <a:pt x="5892673" y="5415372"/>
                  <a:pt x="5892673" y="5415372"/>
                  <a:pt x="5892673" y="5415372"/>
                </a:cubicBezTo>
                <a:cubicBezTo>
                  <a:pt x="5901015" y="5408706"/>
                  <a:pt x="5900018" y="5404034"/>
                  <a:pt x="5894349" y="5400360"/>
                </a:cubicBezTo>
                <a:cubicBezTo>
                  <a:pt x="5903692" y="5398364"/>
                  <a:pt x="5906367" y="5388024"/>
                  <a:pt x="5910040" y="5382356"/>
                </a:cubicBezTo>
                <a:cubicBezTo>
                  <a:pt x="5901696" y="5389023"/>
                  <a:pt x="5893352" y="5395689"/>
                  <a:pt x="5885009" y="5402357"/>
                </a:cubicBezTo>
                <a:cubicBezTo>
                  <a:pt x="5886005" y="5407028"/>
                  <a:pt x="5887003" y="5411699"/>
                  <a:pt x="5887003" y="5411699"/>
                </a:cubicBezTo>
                <a:cubicBezTo>
                  <a:pt x="5887003" y="5411699"/>
                  <a:pt x="5882333" y="5412697"/>
                  <a:pt x="5883331" y="5417368"/>
                </a:cubicBezTo>
                <a:cubicBezTo>
                  <a:pt x="5883331" y="5417368"/>
                  <a:pt x="5878661" y="5418365"/>
                  <a:pt x="5878661" y="5418365"/>
                </a:cubicBezTo>
                <a:cubicBezTo>
                  <a:pt x="5873988" y="5419363"/>
                  <a:pt x="5874987" y="5424035"/>
                  <a:pt x="5875984" y="5428705"/>
                </a:cubicBezTo>
                <a:cubicBezTo>
                  <a:pt x="5850633" y="5424354"/>
                  <a:pt x="5823605" y="5435012"/>
                  <a:pt x="5797893" y="5474694"/>
                </a:cubicBezTo>
                <a:cubicBezTo>
                  <a:pt x="5793223" y="5475693"/>
                  <a:pt x="5789550" y="5481361"/>
                  <a:pt x="5788553" y="5476691"/>
                </a:cubicBezTo>
                <a:cubicBezTo>
                  <a:pt x="5793223" y="5475693"/>
                  <a:pt x="5792224" y="5471021"/>
                  <a:pt x="5787554" y="5472019"/>
                </a:cubicBezTo>
                <a:cubicBezTo>
                  <a:pt x="5787554" y="5472019"/>
                  <a:pt x="5787554" y="5472019"/>
                  <a:pt x="5783880" y="5477689"/>
                </a:cubicBezTo>
                <a:cubicBezTo>
                  <a:pt x="5783880" y="5477689"/>
                  <a:pt x="5779209" y="5478686"/>
                  <a:pt x="5779209" y="5478686"/>
                </a:cubicBezTo>
                <a:cubicBezTo>
                  <a:pt x="5787893" y="5462179"/>
                  <a:pt x="5797326" y="5449175"/>
                  <a:pt x="5809467" y="5437421"/>
                </a:cubicBezTo>
                <a:lnTo>
                  <a:pt x="5851753" y="5406742"/>
                </a:lnTo>
                <a:lnTo>
                  <a:pt x="5852311" y="5409342"/>
                </a:lnTo>
                <a:cubicBezTo>
                  <a:pt x="5856982" y="5408343"/>
                  <a:pt x="5856982" y="5408343"/>
                  <a:pt x="5855983" y="5403674"/>
                </a:cubicBezTo>
                <a:cubicBezTo>
                  <a:pt x="5865325" y="5401676"/>
                  <a:pt x="5864329" y="5397006"/>
                  <a:pt x="5872672" y="5390339"/>
                </a:cubicBezTo>
                <a:cubicBezTo>
                  <a:pt x="5872672" y="5390339"/>
                  <a:pt x="5873671" y="5395010"/>
                  <a:pt x="5868998" y="5396009"/>
                </a:cubicBezTo>
                <a:cubicBezTo>
                  <a:pt x="5868998" y="5396009"/>
                  <a:pt x="5873671" y="5395010"/>
                  <a:pt x="5873671" y="5395010"/>
                </a:cubicBezTo>
                <a:cubicBezTo>
                  <a:pt x="5873671" y="5395010"/>
                  <a:pt x="5877343" y="5389341"/>
                  <a:pt x="5877343" y="5389341"/>
                </a:cubicBezTo>
                <a:cubicBezTo>
                  <a:pt x="5902375" y="5369340"/>
                  <a:pt x="5925731" y="5364351"/>
                  <a:pt x="5944096" y="5336008"/>
                </a:cubicBezTo>
                <a:cubicBezTo>
                  <a:pt x="5936751" y="5347345"/>
                  <a:pt x="5945093" y="5340677"/>
                  <a:pt x="5954436" y="5338681"/>
                </a:cubicBezTo>
                <a:cubicBezTo>
                  <a:pt x="5943417" y="5355687"/>
                  <a:pt x="5929403" y="5358682"/>
                  <a:pt x="5936071" y="5367026"/>
                </a:cubicBezTo>
                <a:cubicBezTo>
                  <a:pt x="5959106" y="5337683"/>
                  <a:pt x="5974798" y="5319679"/>
                  <a:pt x="6011847" y="5287342"/>
                </a:cubicBezTo>
                <a:cubicBezTo>
                  <a:pt x="6012845" y="5292014"/>
                  <a:pt x="6016519" y="5286345"/>
                  <a:pt x="6021190" y="5285346"/>
                </a:cubicBezTo>
                <a:cubicBezTo>
                  <a:pt x="6024863" y="5279677"/>
                  <a:pt x="6028537" y="5274009"/>
                  <a:pt x="6023863" y="5275006"/>
                </a:cubicBezTo>
                <a:cubicBezTo>
                  <a:pt x="6032207" y="5268340"/>
                  <a:pt x="6034884" y="5257999"/>
                  <a:pt x="6041233" y="5241991"/>
                </a:cubicBezTo>
                <a:cubicBezTo>
                  <a:pt x="6046901" y="5245664"/>
                  <a:pt x="6039554" y="5257001"/>
                  <a:pt x="6047899" y="5250335"/>
                </a:cubicBezTo>
                <a:cubicBezTo>
                  <a:pt x="6046901" y="5245664"/>
                  <a:pt x="6055246" y="5238997"/>
                  <a:pt x="6054247" y="5234325"/>
                </a:cubicBezTo>
                <a:cubicBezTo>
                  <a:pt x="6054247" y="5234325"/>
                  <a:pt x="6058919" y="5233328"/>
                  <a:pt x="6057920" y="5228658"/>
                </a:cubicBezTo>
                <a:cubicBezTo>
                  <a:pt x="6062591" y="5227659"/>
                  <a:pt x="6062591" y="5227659"/>
                  <a:pt x="6062591" y="5227659"/>
                </a:cubicBezTo>
                <a:cubicBezTo>
                  <a:pt x="6061593" y="5222988"/>
                  <a:pt x="6061593" y="5222988"/>
                  <a:pt x="6061593" y="5222988"/>
                </a:cubicBezTo>
                <a:cubicBezTo>
                  <a:pt x="6057920" y="5228658"/>
                  <a:pt x="6057920" y="5228658"/>
                  <a:pt x="6057920" y="5228658"/>
                </a:cubicBezTo>
                <a:cubicBezTo>
                  <a:pt x="6053250" y="5229655"/>
                  <a:pt x="6053250" y="5229655"/>
                  <a:pt x="6053250" y="5229655"/>
                </a:cubicBezTo>
                <a:cubicBezTo>
                  <a:pt x="6068941" y="5211651"/>
                  <a:pt x="6068941" y="5211651"/>
                  <a:pt x="6068941" y="5211651"/>
                </a:cubicBezTo>
                <a:cubicBezTo>
                  <a:pt x="6065267" y="5217319"/>
                  <a:pt x="6066265" y="5221991"/>
                  <a:pt x="6069937" y="5216321"/>
                </a:cubicBezTo>
                <a:cubicBezTo>
                  <a:pt x="6103993" y="5169972"/>
                  <a:pt x="6125712" y="5111605"/>
                  <a:pt x="6153103" y="5056910"/>
                </a:cubicBezTo>
                <a:cubicBezTo>
                  <a:pt x="6174822" y="4998546"/>
                  <a:pt x="6197539" y="4944849"/>
                  <a:pt x="6220259" y="4891153"/>
                </a:cubicBezTo>
                <a:cubicBezTo>
                  <a:pt x="6229601" y="4889157"/>
                  <a:pt x="6230598" y="4893829"/>
                  <a:pt x="6232593" y="4903170"/>
                </a:cubicBezTo>
                <a:cubicBezTo>
                  <a:pt x="6246968" y="4856141"/>
                  <a:pt x="6259665" y="4824124"/>
                  <a:pt x="6266691" y="4788433"/>
                </a:cubicBezTo>
                <a:cubicBezTo>
                  <a:pt x="6272541" y="4770088"/>
                  <a:pt x="6277222" y="4751993"/>
                  <a:pt x="6282822" y="4732481"/>
                </a:cubicBezTo>
                <a:lnTo>
                  <a:pt x="6302855" y="4672815"/>
                </a:lnTo>
                <a:lnTo>
                  <a:pt x="6305460" y="4672697"/>
                </a:lnTo>
                <a:cubicBezTo>
                  <a:pt x="6305460" y="4672697"/>
                  <a:pt x="6310131" y="4671699"/>
                  <a:pt x="6313804" y="4666031"/>
                </a:cubicBezTo>
                <a:cubicBezTo>
                  <a:pt x="6318475" y="4665033"/>
                  <a:pt x="6318475" y="4665033"/>
                  <a:pt x="6318475" y="4665033"/>
                </a:cubicBezTo>
                <a:cubicBezTo>
                  <a:pt x="6321151" y="4654692"/>
                  <a:pt x="6328497" y="4643354"/>
                  <a:pt x="6322827" y="4639682"/>
                </a:cubicBezTo>
                <a:cubicBezTo>
                  <a:pt x="6327499" y="4638683"/>
                  <a:pt x="6331173" y="4633014"/>
                  <a:pt x="6330175" y="4628345"/>
                </a:cubicBezTo>
                <a:cubicBezTo>
                  <a:pt x="6333847" y="4622674"/>
                  <a:pt x="6329177" y="4623672"/>
                  <a:pt x="6329177" y="4623672"/>
                </a:cubicBezTo>
                <a:cubicBezTo>
                  <a:pt x="6324505" y="4624671"/>
                  <a:pt x="6324505" y="4624671"/>
                  <a:pt x="6324505" y="4624671"/>
                </a:cubicBezTo>
                <a:cubicBezTo>
                  <a:pt x="6338199" y="4597325"/>
                  <a:pt x="6335206" y="4583312"/>
                  <a:pt x="6348900" y="4555965"/>
                </a:cubicBezTo>
                <a:cubicBezTo>
                  <a:pt x="6334887" y="4558958"/>
                  <a:pt x="6346904" y="4546622"/>
                  <a:pt x="6345907" y="4541951"/>
                </a:cubicBezTo>
                <a:cubicBezTo>
                  <a:pt x="6339557" y="4557959"/>
                  <a:pt x="6337561" y="4548618"/>
                  <a:pt x="6330216" y="4559955"/>
                </a:cubicBezTo>
                <a:cubicBezTo>
                  <a:pt x="6327541" y="4570295"/>
                  <a:pt x="6338559" y="4553288"/>
                  <a:pt x="6336883" y="4568299"/>
                </a:cubicBezTo>
                <a:cubicBezTo>
                  <a:pt x="6324866" y="4580635"/>
                  <a:pt x="6323189" y="4595647"/>
                  <a:pt x="6314844" y="4602314"/>
                </a:cubicBezTo>
                <a:cubicBezTo>
                  <a:pt x="6318517" y="4596645"/>
                  <a:pt x="6322191" y="4590975"/>
                  <a:pt x="6321192" y="4586304"/>
                </a:cubicBezTo>
                <a:cubicBezTo>
                  <a:pt x="6307497" y="4613651"/>
                  <a:pt x="6290131" y="4646668"/>
                  <a:pt x="6273761" y="4684354"/>
                </a:cubicBezTo>
                <a:cubicBezTo>
                  <a:pt x="6257391" y="4722041"/>
                  <a:pt x="6241021" y="4759728"/>
                  <a:pt x="6228327" y="4791746"/>
                </a:cubicBezTo>
                <a:cubicBezTo>
                  <a:pt x="6227328" y="4787073"/>
                  <a:pt x="6222657" y="4788072"/>
                  <a:pt x="6218983" y="4793740"/>
                </a:cubicBezTo>
                <a:cubicBezTo>
                  <a:pt x="6201617" y="4826756"/>
                  <a:pt x="6187921" y="4854104"/>
                  <a:pt x="6164885" y="4883446"/>
                </a:cubicBezTo>
                <a:cubicBezTo>
                  <a:pt x="6171551" y="4891790"/>
                  <a:pt x="6150193" y="4906124"/>
                  <a:pt x="6142846" y="4917459"/>
                </a:cubicBezTo>
                <a:cubicBezTo>
                  <a:pt x="6139172" y="4923130"/>
                  <a:pt x="6144842" y="4926804"/>
                  <a:pt x="6136497" y="4933470"/>
                </a:cubicBezTo>
                <a:cubicBezTo>
                  <a:pt x="6137495" y="4938141"/>
                  <a:pt x="6124481" y="4945806"/>
                  <a:pt x="6117135" y="4957143"/>
                </a:cubicBezTo>
                <a:cubicBezTo>
                  <a:pt x="6106115" y="4974149"/>
                  <a:pt x="6096093" y="4995828"/>
                  <a:pt x="6085074" y="5012834"/>
                </a:cubicBezTo>
                <a:cubicBezTo>
                  <a:pt x="6070383" y="5035511"/>
                  <a:pt x="6071379" y="5040181"/>
                  <a:pt x="6052017" y="5063855"/>
                </a:cubicBezTo>
                <a:cubicBezTo>
                  <a:pt x="6019957" y="5119547"/>
                  <a:pt x="5963543" y="5175556"/>
                  <a:pt x="5949849" y="5202903"/>
                </a:cubicBezTo>
                <a:cubicBezTo>
                  <a:pt x="5935836" y="5205898"/>
                  <a:pt x="5926811" y="5232245"/>
                  <a:pt x="5919467" y="5243586"/>
                </a:cubicBezTo>
                <a:cubicBezTo>
                  <a:pt x="5922141" y="5233244"/>
                  <a:pt x="5918469" y="5238913"/>
                  <a:pt x="5913797" y="5239912"/>
                </a:cubicBezTo>
                <a:cubicBezTo>
                  <a:pt x="5888085" y="5279594"/>
                  <a:pt x="5840696" y="5309255"/>
                  <a:pt x="5798296" y="5362272"/>
                </a:cubicBezTo>
                <a:cubicBezTo>
                  <a:pt x="5783605" y="5384947"/>
                  <a:pt x="5795621" y="5372612"/>
                  <a:pt x="5770589" y="5392612"/>
                </a:cubicBezTo>
                <a:cubicBezTo>
                  <a:pt x="5753900" y="5405947"/>
                  <a:pt x="5742883" y="5422953"/>
                  <a:pt x="5726193" y="5436286"/>
                </a:cubicBezTo>
                <a:cubicBezTo>
                  <a:pt x="5668782" y="5487625"/>
                  <a:pt x="5610372" y="5534294"/>
                  <a:pt x="5560309" y="5574296"/>
                </a:cubicBezTo>
                <a:cubicBezTo>
                  <a:pt x="5539947" y="5593298"/>
                  <a:pt x="5522261" y="5601962"/>
                  <a:pt x="5511241" y="5618968"/>
                </a:cubicBezTo>
                <a:cubicBezTo>
                  <a:pt x="5506569" y="5619967"/>
                  <a:pt x="5506569" y="5619967"/>
                  <a:pt x="5501899" y="5620964"/>
                </a:cubicBezTo>
                <a:cubicBezTo>
                  <a:pt x="5497229" y="5621963"/>
                  <a:pt x="5483216" y="5624956"/>
                  <a:pt x="5462853" y="5643958"/>
                </a:cubicBezTo>
                <a:cubicBezTo>
                  <a:pt x="5454509" y="5650624"/>
                  <a:pt x="5442491" y="5662962"/>
                  <a:pt x="5434147" y="5669628"/>
                </a:cubicBezTo>
                <a:cubicBezTo>
                  <a:pt x="5395101" y="5692624"/>
                  <a:pt x="5346715" y="5717613"/>
                  <a:pt x="5335695" y="5734620"/>
                </a:cubicBezTo>
                <a:cubicBezTo>
                  <a:pt x="5342043" y="5718611"/>
                  <a:pt x="5291979" y="5758613"/>
                  <a:pt x="5279961" y="5770948"/>
                </a:cubicBezTo>
                <a:cubicBezTo>
                  <a:pt x="5260279" y="5770269"/>
                  <a:pt x="5232571" y="5800610"/>
                  <a:pt x="5196201" y="5813264"/>
                </a:cubicBezTo>
                <a:cubicBezTo>
                  <a:pt x="5191531" y="5814263"/>
                  <a:pt x="5198197" y="5822607"/>
                  <a:pt x="5184185" y="5825600"/>
                </a:cubicBezTo>
                <a:cubicBezTo>
                  <a:pt x="5173845" y="5822925"/>
                  <a:pt x="5143143" y="5839253"/>
                  <a:pt x="5148811" y="5842926"/>
                </a:cubicBezTo>
                <a:cubicBezTo>
                  <a:pt x="5132803" y="5836578"/>
                  <a:pt x="5108769" y="5861249"/>
                  <a:pt x="5098429" y="5858574"/>
                </a:cubicBezTo>
                <a:cubicBezTo>
                  <a:pt x="5100425" y="5867915"/>
                  <a:pt x="5096752" y="5873584"/>
                  <a:pt x="5093078" y="5879254"/>
                </a:cubicBezTo>
                <a:cubicBezTo>
                  <a:pt x="5084733" y="5885921"/>
                  <a:pt x="5080063" y="5886918"/>
                  <a:pt x="5071717" y="5893584"/>
                </a:cubicBezTo>
                <a:cubicBezTo>
                  <a:pt x="5041017" y="5909914"/>
                  <a:pt x="4999977" y="5923566"/>
                  <a:pt x="4963607" y="5936220"/>
                </a:cubicBezTo>
                <a:cubicBezTo>
                  <a:pt x="4954263" y="5938216"/>
                  <a:pt x="4943924" y="5935541"/>
                  <a:pt x="4943924" y="5935541"/>
                </a:cubicBezTo>
                <a:cubicBezTo>
                  <a:pt x="4940250" y="5941210"/>
                  <a:pt x="4935579" y="5942209"/>
                  <a:pt x="4931907" y="5947877"/>
                </a:cubicBezTo>
                <a:cubicBezTo>
                  <a:pt x="4927236" y="5948876"/>
                  <a:pt x="4927236" y="5948876"/>
                  <a:pt x="4927236" y="5948876"/>
                </a:cubicBezTo>
                <a:cubicBezTo>
                  <a:pt x="4892542" y="5946518"/>
                  <a:pt x="4848827" y="5970511"/>
                  <a:pt x="4813453" y="5987836"/>
                </a:cubicBezTo>
                <a:cubicBezTo>
                  <a:pt x="4812455" y="5983165"/>
                  <a:pt x="4812455" y="5983165"/>
                  <a:pt x="4812455" y="5983165"/>
                </a:cubicBezTo>
                <a:cubicBezTo>
                  <a:pt x="4797445" y="5981489"/>
                  <a:pt x="4796766" y="6001171"/>
                  <a:pt x="4789099" y="5988156"/>
                </a:cubicBezTo>
                <a:cubicBezTo>
                  <a:pt x="4765746" y="5993144"/>
                  <a:pt x="4781755" y="5999492"/>
                  <a:pt x="4763071" y="6003484"/>
                </a:cubicBezTo>
                <a:cubicBezTo>
                  <a:pt x="4762072" y="5998814"/>
                  <a:pt x="4752731" y="6000810"/>
                  <a:pt x="4747061" y="5997136"/>
                </a:cubicBezTo>
                <a:cubicBezTo>
                  <a:pt x="4730373" y="6010470"/>
                  <a:pt x="4711689" y="6014462"/>
                  <a:pt x="4687335" y="6014782"/>
                </a:cubicBezTo>
                <a:cubicBezTo>
                  <a:pt x="4680987" y="6030790"/>
                  <a:pt x="4650965" y="6027436"/>
                  <a:pt x="4642621" y="6034102"/>
                </a:cubicBezTo>
                <a:cubicBezTo>
                  <a:pt x="4641623" y="6029431"/>
                  <a:pt x="4636952" y="6030429"/>
                  <a:pt x="4636952" y="6030429"/>
                </a:cubicBezTo>
                <a:cubicBezTo>
                  <a:pt x="4610921" y="6045759"/>
                  <a:pt x="4586569" y="6046077"/>
                  <a:pt x="4563214" y="6051067"/>
                </a:cubicBezTo>
                <a:cubicBezTo>
                  <a:pt x="4558541" y="6052066"/>
                  <a:pt x="4553871" y="6053063"/>
                  <a:pt x="4553871" y="6053063"/>
                </a:cubicBezTo>
                <a:cubicBezTo>
                  <a:pt x="4552873" y="6048393"/>
                  <a:pt x="4552873" y="6048393"/>
                  <a:pt x="4552873" y="6048393"/>
                </a:cubicBezTo>
                <a:cubicBezTo>
                  <a:pt x="4551875" y="6043722"/>
                  <a:pt x="4547205" y="6044719"/>
                  <a:pt x="4547205" y="6044719"/>
                </a:cubicBezTo>
                <a:cubicBezTo>
                  <a:pt x="4542534" y="6045718"/>
                  <a:pt x="4543531" y="6050388"/>
                  <a:pt x="4543531" y="6050388"/>
                </a:cubicBezTo>
                <a:cubicBezTo>
                  <a:pt x="4528521" y="6048711"/>
                  <a:pt x="4517502" y="6065717"/>
                  <a:pt x="4494145" y="6070708"/>
                </a:cubicBezTo>
                <a:cubicBezTo>
                  <a:pt x="4511832" y="6062045"/>
                  <a:pt x="4481809" y="6058690"/>
                  <a:pt x="4478137" y="6064359"/>
                </a:cubicBezTo>
                <a:cubicBezTo>
                  <a:pt x="4487478" y="6062363"/>
                  <a:pt x="4488477" y="6067034"/>
                  <a:pt x="4479134" y="6069030"/>
                </a:cubicBezTo>
                <a:cubicBezTo>
                  <a:pt x="4482808" y="6063362"/>
                  <a:pt x="4464125" y="6067353"/>
                  <a:pt x="4459453" y="6068351"/>
                </a:cubicBezTo>
                <a:cubicBezTo>
                  <a:pt x="4461447" y="6077694"/>
                  <a:pt x="4450111" y="6070346"/>
                  <a:pt x="4432425" y="6079010"/>
                </a:cubicBezTo>
                <a:cubicBezTo>
                  <a:pt x="4444441" y="6066673"/>
                  <a:pt x="4417414" y="6077333"/>
                  <a:pt x="4404399" y="6084998"/>
                </a:cubicBezTo>
                <a:cubicBezTo>
                  <a:pt x="4399727" y="6085995"/>
                  <a:pt x="4399727" y="6085995"/>
                  <a:pt x="4394059" y="6082323"/>
                </a:cubicBezTo>
                <a:cubicBezTo>
                  <a:pt x="4389386" y="6083320"/>
                  <a:pt x="4384716" y="6084319"/>
                  <a:pt x="4379047" y="6080645"/>
                </a:cubicBezTo>
                <a:cubicBezTo>
                  <a:pt x="4379047" y="6080645"/>
                  <a:pt x="4374376" y="6081644"/>
                  <a:pt x="4374376" y="6081644"/>
                </a:cubicBezTo>
                <a:cubicBezTo>
                  <a:pt x="4345352" y="6082961"/>
                  <a:pt x="4318323" y="6093619"/>
                  <a:pt x="4292971" y="6089266"/>
                </a:cubicBezTo>
                <a:cubicBezTo>
                  <a:pt x="4266943" y="6104597"/>
                  <a:pt x="4215243" y="6091221"/>
                  <a:pt x="4193882" y="6105553"/>
                </a:cubicBezTo>
                <a:cubicBezTo>
                  <a:pt x="4189212" y="6106550"/>
                  <a:pt x="4189212" y="6106550"/>
                  <a:pt x="4184541" y="6107549"/>
                </a:cubicBezTo>
                <a:cubicBezTo>
                  <a:pt x="4183543" y="6102876"/>
                  <a:pt x="4183543" y="6102876"/>
                  <a:pt x="4178872" y="6103875"/>
                </a:cubicBezTo>
                <a:cubicBezTo>
                  <a:pt x="4178872" y="6103875"/>
                  <a:pt x="4174201" y="6104874"/>
                  <a:pt x="4174201" y="6104874"/>
                </a:cubicBezTo>
                <a:cubicBezTo>
                  <a:pt x="4168532" y="6101200"/>
                  <a:pt x="4149847" y="6105192"/>
                  <a:pt x="4146175" y="6110861"/>
                </a:cubicBezTo>
                <a:cubicBezTo>
                  <a:pt x="4146175" y="6110861"/>
                  <a:pt x="4141503" y="6111859"/>
                  <a:pt x="4141503" y="6111859"/>
                </a:cubicBezTo>
                <a:cubicBezTo>
                  <a:pt x="4135835" y="6108185"/>
                  <a:pt x="4135835" y="6108185"/>
                  <a:pt x="4135835" y="6108185"/>
                </a:cubicBezTo>
                <a:cubicBezTo>
                  <a:pt x="4131163" y="6109183"/>
                  <a:pt x="4131163" y="6109183"/>
                  <a:pt x="4131163" y="6109183"/>
                </a:cubicBezTo>
                <a:cubicBezTo>
                  <a:pt x="4117151" y="6112178"/>
                  <a:pt x="4102139" y="6110500"/>
                  <a:pt x="4092798" y="6112497"/>
                </a:cubicBezTo>
                <a:cubicBezTo>
                  <a:pt x="4092798" y="6112497"/>
                  <a:pt x="4087129" y="6108823"/>
                  <a:pt x="4082458" y="6109821"/>
                </a:cubicBezTo>
                <a:cubicBezTo>
                  <a:pt x="4083455" y="6114492"/>
                  <a:pt x="4058104" y="6110139"/>
                  <a:pt x="4052435" y="6106468"/>
                </a:cubicBezTo>
                <a:cubicBezTo>
                  <a:pt x="4053433" y="6111138"/>
                  <a:pt x="4053433" y="6111138"/>
                  <a:pt x="4053433" y="6111138"/>
                </a:cubicBezTo>
                <a:cubicBezTo>
                  <a:pt x="4048763" y="6112135"/>
                  <a:pt x="4048763" y="6112135"/>
                  <a:pt x="4043093" y="6108462"/>
                </a:cubicBezTo>
                <a:cubicBezTo>
                  <a:pt x="4050100" y="6106966"/>
                  <a:pt x="4051017" y="6105549"/>
                  <a:pt x="4049935" y="6103338"/>
                </a:cubicBezTo>
                <a:lnTo>
                  <a:pt x="4045742" y="6095312"/>
                </a:lnTo>
                <a:lnTo>
                  <a:pt x="4059782" y="6095129"/>
                </a:lnTo>
                <a:cubicBezTo>
                  <a:pt x="4093477" y="6092815"/>
                  <a:pt x="4160866" y="6088185"/>
                  <a:pt x="4208575" y="6082877"/>
                </a:cubicBezTo>
                <a:cubicBezTo>
                  <a:pt x="4337687" y="6069945"/>
                  <a:pt x="4461129" y="6053340"/>
                  <a:pt x="4574233" y="6034059"/>
                </a:cubicBezTo>
                <a:cubicBezTo>
                  <a:pt x="4590921" y="6020727"/>
                  <a:pt x="4639627" y="6020089"/>
                  <a:pt x="4653639" y="6017096"/>
                </a:cubicBezTo>
                <a:cubicBezTo>
                  <a:pt x="4653639" y="6017096"/>
                  <a:pt x="4661985" y="6010429"/>
                  <a:pt x="4666657" y="6009430"/>
                </a:cubicBezTo>
                <a:cubicBezTo>
                  <a:pt x="4666657" y="6009430"/>
                  <a:pt x="4666657" y="6009430"/>
                  <a:pt x="4671326" y="6008432"/>
                </a:cubicBezTo>
                <a:cubicBezTo>
                  <a:pt x="4671326" y="6008432"/>
                  <a:pt x="4671326" y="6008432"/>
                  <a:pt x="4680669" y="6006436"/>
                </a:cubicBezTo>
                <a:cubicBezTo>
                  <a:pt x="4707697" y="5995778"/>
                  <a:pt x="4741392" y="5993462"/>
                  <a:pt x="4777762" y="5980809"/>
                </a:cubicBezTo>
                <a:cubicBezTo>
                  <a:pt x="4810460" y="5973824"/>
                  <a:pt x="4872861" y="5945840"/>
                  <a:pt x="4917575" y="5926517"/>
                </a:cubicBezTo>
                <a:cubicBezTo>
                  <a:pt x="4957619" y="5908194"/>
                  <a:pt x="5003331" y="5893543"/>
                  <a:pt x="5024691" y="5879212"/>
                </a:cubicBezTo>
                <a:cubicBezTo>
                  <a:pt x="5042377" y="5870549"/>
                  <a:pt x="5031038" y="5863204"/>
                  <a:pt x="5063735" y="5856218"/>
                </a:cubicBezTo>
                <a:cubicBezTo>
                  <a:pt x="5064733" y="5860888"/>
                  <a:pt x="5069405" y="5859891"/>
                  <a:pt x="5078746" y="5857895"/>
                </a:cubicBezTo>
                <a:cubicBezTo>
                  <a:pt x="5082420" y="5852226"/>
                  <a:pt x="5081423" y="5847555"/>
                  <a:pt x="5094437" y="5839890"/>
                </a:cubicBezTo>
                <a:cubicBezTo>
                  <a:pt x="5103779" y="5837894"/>
                  <a:pt x="5117791" y="5834899"/>
                  <a:pt x="5130807" y="5827235"/>
                </a:cubicBezTo>
                <a:cubicBezTo>
                  <a:pt x="5174523" y="5803242"/>
                  <a:pt x="5227582" y="5777255"/>
                  <a:pt x="5253613" y="5761925"/>
                </a:cubicBezTo>
                <a:cubicBezTo>
                  <a:pt x="5266627" y="5754260"/>
                  <a:pt x="5265629" y="5749589"/>
                  <a:pt x="5273974" y="5742921"/>
                </a:cubicBezTo>
                <a:cubicBezTo>
                  <a:pt x="5310345" y="5730267"/>
                  <a:pt x="5356737" y="5695935"/>
                  <a:pt x="5398457" y="5662600"/>
                </a:cubicBezTo>
                <a:cubicBezTo>
                  <a:pt x="5441175" y="5633938"/>
                  <a:pt x="5478225" y="5601601"/>
                  <a:pt x="5508927" y="5585273"/>
                </a:cubicBezTo>
                <a:cubicBezTo>
                  <a:pt x="5503258" y="5581600"/>
                  <a:pt x="5507928" y="5580601"/>
                  <a:pt x="5516272" y="5573935"/>
                </a:cubicBezTo>
                <a:cubicBezTo>
                  <a:pt x="5512598" y="5579604"/>
                  <a:pt x="5513597" y="5584275"/>
                  <a:pt x="5517271" y="5578605"/>
                </a:cubicBezTo>
                <a:cubicBezTo>
                  <a:pt x="5520943" y="5572937"/>
                  <a:pt x="5576677" y="5536610"/>
                  <a:pt x="5566338" y="5533934"/>
                </a:cubicBezTo>
                <a:cubicBezTo>
                  <a:pt x="5586699" y="5514930"/>
                  <a:pt x="5597039" y="5517607"/>
                  <a:pt x="5597039" y="5517607"/>
                </a:cubicBezTo>
                <a:cubicBezTo>
                  <a:pt x="5612731" y="5499602"/>
                  <a:pt x="5596041" y="5512935"/>
                  <a:pt x="5590371" y="5509261"/>
                </a:cubicBezTo>
                <a:cubicBezTo>
                  <a:pt x="5610733" y="5490259"/>
                  <a:pt x="5610733" y="5490259"/>
                  <a:pt x="5610733" y="5490259"/>
                </a:cubicBezTo>
                <a:cubicBezTo>
                  <a:pt x="5604385" y="5506268"/>
                  <a:pt x="5621073" y="5492935"/>
                  <a:pt x="5625744" y="5491937"/>
                </a:cubicBezTo>
                <a:cubicBezTo>
                  <a:pt x="5639440" y="5464590"/>
                  <a:pt x="5687825" y="5439599"/>
                  <a:pt x="5718210" y="5398918"/>
                </a:cubicBezTo>
                <a:cubicBezTo>
                  <a:pt x="5722880" y="5397921"/>
                  <a:pt x="5721883" y="5393250"/>
                  <a:pt x="5726553" y="5392252"/>
                </a:cubicBezTo>
                <a:cubicBezTo>
                  <a:pt x="5731224" y="5391254"/>
                  <a:pt x="5730227" y="5386582"/>
                  <a:pt x="5730227" y="5386582"/>
                </a:cubicBezTo>
                <a:cubicBezTo>
                  <a:pt x="5733899" y="5380915"/>
                  <a:pt x="5729229" y="5381912"/>
                  <a:pt x="5725555" y="5387581"/>
                </a:cubicBezTo>
                <a:cubicBezTo>
                  <a:pt x="5725555" y="5387581"/>
                  <a:pt x="5725555" y="5387581"/>
                  <a:pt x="5720884" y="5388578"/>
                </a:cubicBezTo>
                <a:cubicBezTo>
                  <a:pt x="5760609" y="5345901"/>
                  <a:pt x="5786639" y="5330572"/>
                  <a:pt x="5821693" y="5288895"/>
                </a:cubicBezTo>
                <a:cubicBezTo>
                  <a:pt x="5827363" y="5292568"/>
                  <a:pt x="5831035" y="5286898"/>
                  <a:pt x="5836704" y="5290572"/>
                </a:cubicBezTo>
                <a:cubicBezTo>
                  <a:pt x="5883775" y="5236557"/>
                  <a:pt x="5935517" y="5181544"/>
                  <a:pt x="5981591" y="5122858"/>
                </a:cubicBezTo>
                <a:cubicBezTo>
                  <a:pt x="6032334" y="5063177"/>
                  <a:pt x="6077409" y="4999820"/>
                  <a:pt x="6118812" y="4942132"/>
                </a:cubicBezTo>
                <a:cubicBezTo>
                  <a:pt x="6104798" y="4945127"/>
                  <a:pt x="6093101" y="4981814"/>
                  <a:pt x="6076412" y="4995149"/>
                </a:cubicBezTo>
                <a:cubicBezTo>
                  <a:pt x="6077409" y="4999820"/>
                  <a:pt x="6068067" y="5001815"/>
                  <a:pt x="6063397" y="5002813"/>
                </a:cubicBezTo>
                <a:cubicBezTo>
                  <a:pt x="6036685" y="5037826"/>
                  <a:pt x="6002631" y="5084175"/>
                  <a:pt x="5966579" y="5121182"/>
                </a:cubicBezTo>
                <a:cubicBezTo>
                  <a:pt x="5927851" y="5168529"/>
                  <a:pt x="5885453" y="5221546"/>
                  <a:pt x="5844729" y="5259552"/>
                </a:cubicBezTo>
                <a:cubicBezTo>
                  <a:pt x="5840058" y="5260549"/>
                  <a:pt x="5827043" y="5268214"/>
                  <a:pt x="5827043" y="5268214"/>
                </a:cubicBezTo>
                <a:cubicBezTo>
                  <a:pt x="5803009" y="5292886"/>
                  <a:pt x="5779973" y="5322229"/>
                  <a:pt x="5759611" y="5341232"/>
                </a:cubicBezTo>
                <a:cubicBezTo>
                  <a:pt x="5754940" y="5342230"/>
                  <a:pt x="5758613" y="5336560"/>
                  <a:pt x="5750269" y="5343228"/>
                </a:cubicBezTo>
                <a:cubicBezTo>
                  <a:pt x="5754940" y="5342230"/>
                  <a:pt x="5751266" y="5347898"/>
                  <a:pt x="5752265" y="5352569"/>
                </a:cubicBezTo>
                <a:cubicBezTo>
                  <a:pt x="5719885" y="5383909"/>
                  <a:pt x="5685513" y="5405904"/>
                  <a:pt x="5656807" y="5431574"/>
                </a:cubicBezTo>
                <a:cubicBezTo>
                  <a:pt x="5660479" y="5425905"/>
                  <a:pt x="5665151" y="5424908"/>
                  <a:pt x="5668823" y="5419239"/>
                </a:cubicBezTo>
                <a:cubicBezTo>
                  <a:pt x="5688186" y="5395564"/>
                  <a:pt x="5708548" y="5376562"/>
                  <a:pt x="5700204" y="5383229"/>
                </a:cubicBezTo>
                <a:cubicBezTo>
                  <a:pt x="5720565" y="5364226"/>
                  <a:pt x="5743601" y="5334884"/>
                  <a:pt x="5759291" y="5316879"/>
                </a:cubicBezTo>
                <a:cubicBezTo>
                  <a:pt x="5762965" y="5311210"/>
                  <a:pt x="5762965" y="5311210"/>
                  <a:pt x="5767637" y="5310212"/>
                </a:cubicBezTo>
                <a:cubicBezTo>
                  <a:pt x="5764961" y="5320552"/>
                  <a:pt x="5774982" y="5298873"/>
                  <a:pt x="5776978" y="5308215"/>
                </a:cubicBezTo>
                <a:cubicBezTo>
                  <a:pt x="5784325" y="5296878"/>
                  <a:pt x="5791671" y="5285539"/>
                  <a:pt x="5795344" y="5279871"/>
                </a:cubicBezTo>
                <a:cubicBezTo>
                  <a:pt x="5807361" y="5267535"/>
                  <a:pt x="5815704" y="5260867"/>
                  <a:pt x="5823052" y="5249530"/>
                </a:cubicBezTo>
                <a:cubicBezTo>
                  <a:pt x="5843414" y="5230528"/>
                  <a:pt x="5868445" y="5210527"/>
                  <a:pt x="5876789" y="5203859"/>
                </a:cubicBezTo>
                <a:cubicBezTo>
                  <a:pt x="5872119" y="5204858"/>
                  <a:pt x="5875791" y="5199189"/>
                  <a:pt x="5875791" y="5199189"/>
                </a:cubicBezTo>
                <a:cubicBezTo>
                  <a:pt x="5879465" y="5193519"/>
                  <a:pt x="5883139" y="5187851"/>
                  <a:pt x="5891483" y="5181185"/>
                </a:cubicBezTo>
                <a:cubicBezTo>
                  <a:pt x="5891483" y="5181185"/>
                  <a:pt x="5896154" y="5180186"/>
                  <a:pt x="5895155" y="5175515"/>
                </a:cubicBezTo>
                <a:cubicBezTo>
                  <a:pt x="5907171" y="5163179"/>
                  <a:pt x="5919189" y="5150844"/>
                  <a:pt x="5926536" y="5139505"/>
                </a:cubicBezTo>
                <a:cubicBezTo>
                  <a:pt x="5938553" y="5127170"/>
                  <a:pt x="5951567" y="5119504"/>
                  <a:pt x="5942227" y="5121500"/>
                </a:cubicBezTo>
                <a:cubicBezTo>
                  <a:pt x="5953245" y="5104494"/>
                  <a:pt x="5968936" y="5086488"/>
                  <a:pt x="5989296" y="5067486"/>
                </a:cubicBezTo>
                <a:cubicBezTo>
                  <a:pt x="5992970" y="5061817"/>
                  <a:pt x="6000317" y="5050480"/>
                  <a:pt x="6008661" y="5043813"/>
                </a:cubicBezTo>
                <a:cubicBezTo>
                  <a:pt x="6008661" y="5043813"/>
                  <a:pt x="6013332" y="5042815"/>
                  <a:pt x="6013332" y="5042815"/>
                </a:cubicBezTo>
                <a:cubicBezTo>
                  <a:pt x="6012333" y="5038142"/>
                  <a:pt x="6017005" y="5037145"/>
                  <a:pt x="6017005" y="5037145"/>
                </a:cubicBezTo>
                <a:cubicBezTo>
                  <a:pt x="6016007" y="5032475"/>
                  <a:pt x="6016007" y="5032475"/>
                  <a:pt x="6016007" y="5032475"/>
                </a:cubicBezTo>
                <a:cubicBezTo>
                  <a:pt x="6016007" y="5032475"/>
                  <a:pt x="6016007" y="5032475"/>
                  <a:pt x="6020679" y="5031478"/>
                </a:cubicBezTo>
                <a:cubicBezTo>
                  <a:pt x="6047387" y="4996466"/>
                  <a:pt x="6074096" y="4961453"/>
                  <a:pt x="6092463" y="4933109"/>
                </a:cubicBezTo>
                <a:cubicBezTo>
                  <a:pt x="6097135" y="4932111"/>
                  <a:pt x="6101805" y="4931113"/>
                  <a:pt x="6100805" y="4926443"/>
                </a:cubicBezTo>
                <a:cubicBezTo>
                  <a:pt x="6105477" y="4925444"/>
                  <a:pt x="6105477" y="4925444"/>
                  <a:pt x="6105477" y="4925444"/>
                </a:cubicBezTo>
                <a:cubicBezTo>
                  <a:pt x="6105477" y="4925444"/>
                  <a:pt x="6110149" y="4924445"/>
                  <a:pt x="6109151" y="4919775"/>
                </a:cubicBezTo>
                <a:cubicBezTo>
                  <a:pt x="6108152" y="4915104"/>
                  <a:pt x="6108152" y="4915104"/>
                  <a:pt x="6108152" y="4915104"/>
                </a:cubicBezTo>
                <a:cubicBezTo>
                  <a:pt x="6119173" y="4898096"/>
                  <a:pt x="6145882" y="4863086"/>
                  <a:pt x="6132867" y="4870749"/>
                </a:cubicBezTo>
                <a:cubicBezTo>
                  <a:pt x="6132867" y="4870749"/>
                  <a:pt x="6132867" y="4870749"/>
                  <a:pt x="6136541" y="4865082"/>
                </a:cubicBezTo>
                <a:cubicBezTo>
                  <a:pt x="6141211" y="4864083"/>
                  <a:pt x="6139215" y="4854742"/>
                  <a:pt x="6139215" y="4854742"/>
                </a:cubicBezTo>
                <a:lnTo>
                  <a:pt x="6130068" y="4856695"/>
                </a:lnTo>
                <a:lnTo>
                  <a:pt x="6137803" y="4845276"/>
                </a:lnTo>
                <a:lnTo>
                  <a:pt x="6138892" y="4830440"/>
                </a:lnTo>
                <a:lnTo>
                  <a:pt x="6138972" y="4830325"/>
                </a:lnTo>
                <a:lnTo>
                  <a:pt x="6153373" y="4818137"/>
                </a:lnTo>
                <a:cubicBezTo>
                  <a:pt x="6156921" y="4811884"/>
                  <a:pt x="6160097" y="4803880"/>
                  <a:pt x="6165606" y="4795377"/>
                </a:cubicBezTo>
                <a:cubicBezTo>
                  <a:pt x="6165606" y="4795377"/>
                  <a:pt x="6170277" y="4794378"/>
                  <a:pt x="6170277" y="4794378"/>
                </a:cubicBezTo>
                <a:cubicBezTo>
                  <a:pt x="6169280" y="4789708"/>
                  <a:pt x="6173950" y="4788710"/>
                  <a:pt x="6169280" y="4789708"/>
                </a:cubicBezTo>
                <a:cubicBezTo>
                  <a:pt x="6169280" y="4789708"/>
                  <a:pt x="6169280" y="4789708"/>
                  <a:pt x="6168281" y="4785037"/>
                </a:cubicBezTo>
                <a:cubicBezTo>
                  <a:pt x="6171954" y="4779368"/>
                  <a:pt x="6176625" y="4778371"/>
                  <a:pt x="6181297" y="4777372"/>
                </a:cubicBezTo>
                <a:cubicBezTo>
                  <a:pt x="6177623" y="4783041"/>
                  <a:pt x="6177623" y="4783041"/>
                  <a:pt x="6177623" y="4783041"/>
                </a:cubicBezTo>
                <a:cubicBezTo>
                  <a:pt x="6173950" y="4788710"/>
                  <a:pt x="6174949" y="4793381"/>
                  <a:pt x="6174949" y="4793381"/>
                </a:cubicBezTo>
                <a:cubicBezTo>
                  <a:pt x="6179619" y="4792384"/>
                  <a:pt x="6184290" y="4791385"/>
                  <a:pt x="6183293" y="4786714"/>
                </a:cubicBezTo>
                <a:cubicBezTo>
                  <a:pt x="6187964" y="4785716"/>
                  <a:pt x="6187964" y="4785716"/>
                  <a:pt x="6187964" y="4785716"/>
                </a:cubicBezTo>
                <a:cubicBezTo>
                  <a:pt x="6188961" y="4790387"/>
                  <a:pt x="6168599" y="4809391"/>
                  <a:pt x="6174269" y="4813062"/>
                </a:cubicBezTo>
                <a:cubicBezTo>
                  <a:pt x="6206328" y="4757371"/>
                  <a:pt x="6251403" y="4694016"/>
                  <a:pt x="6287136" y="4632654"/>
                </a:cubicBezTo>
                <a:cubicBezTo>
                  <a:pt x="6290809" y="4626985"/>
                  <a:pt x="6293485" y="4616645"/>
                  <a:pt x="6297159" y="4610975"/>
                </a:cubicBezTo>
                <a:cubicBezTo>
                  <a:pt x="6296160" y="4606305"/>
                  <a:pt x="6297159" y="4610975"/>
                  <a:pt x="6300830" y="4605308"/>
                </a:cubicBezTo>
                <a:cubicBezTo>
                  <a:pt x="6329219" y="4555284"/>
                  <a:pt x="6359283" y="4490251"/>
                  <a:pt x="6383677" y="4421545"/>
                </a:cubicBezTo>
                <a:cubicBezTo>
                  <a:pt x="6387351" y="4415875"/>
                  <a:pt x="6392021" y="4414877"/>
                  <a:pt x="6391023" y="4410207"/>
                </a:cubicBezTo>
                <a:cubicBezTo>
                  <a:pt x="6392021" y="4414877"/>
                  <a:pt x="6393019" y="4419549"/>
                  <a:pt x="6384674" y="4426216"/>
                </a:cubicBezTo>
                <a:cubicBezTo>
                  <a:pt x="6389347" y="4425217"/>
                  <a:pt x="6390344" y="4429887"/>
                  <a:pt x="6386671" y="4435557"/>
                </a:cubicBezTo>
                <a:cubicBezTo>
                  <a:pt x="6381003" y="4431885"/>
                  <a:pt x="6380323" y="4451566"/>
                  <a:pt x="6381321" y="4456237"/>
                </a:cubicBezTo>
                <a:cubicBezTo>
                  <a:pt x="6381321" y="4456237"/>
                  <a:pt x="6376649" y="4457235"/>
                  <a:pt x="6377647" y="4461907"/>
                </a:cubicBezTo>
                <a:cubicBezTo>
                  <a:pt x="6377647" y="4461907"/>
                  <a:pt x="6378645" y="4466577"/>
                  <a:pt x="6378645" y="4466577"/>
                </a:cubicBezTo>
                <a:cubicBezTo>
                  <a:pt x="6376968" y="4481587"/>
                  <a:pt x="6365269" y="4518277"/>
                  <a:pt x="6368942" y="4512608"/>
                </a:cubicBezTo>
                <a:cubicBezTo>
                  <a:pt x="6367945" y="4507937"/>
                  <a:pt x="6372616" y="4506940"/>
                  <a:pt x="6371617" y="4502267"/>
                </a:cubicBezTo>
                <a:cubicBezTo>
                  <a:pt x="6372616" y="4506940"/>
                  <a:pt x="6373613" y="4511611"/>
                  <a:pt x="6373613" y="4511611"/>
                </a:cubicBezTo>
                <a:cubicBezTo>
                  <a:pt x="6373613" y="4511611"/>
                  <a:pt x="6378285" y="4510612"/>
                  <a:pt x="6381957" y="4504944"/>
                </a:cubicBezTo>
                <a:cubicBezTo>
                  <a:pt x="6381957" y="4504944"/>
                  <a:pt x="6381957" y="4504944"/>
                  <a:pt x="6382956" y="4509615"/>
                </a:cubicBezTo>
                <a:cubicBezTo>
                  <a:pt x="6382956" y="4509615"/>
                  <a:pt x="6378285" y="4510612"/>
                  <a:pt x="6379282" y="4515282"/>
                </a:cubicBezTo>
                <a:cubicBezTo>
                  <a:pt x="6379282" y="4515282"/>
                  <a:pt x="6379282" y="4515282"/>
                  <a:pt x="6380281" y="4519954"/>
                </a:cubicBezTo>
                <a:cubicBezTo>
                  <a:pt x="6373933" y="4535964"/>
                  <a:pt x="6371258" y="4546302"/>
                  <a:pt x="6372255" y="4550974"/>
                </a:cubicBezTo>
                <a:cubicBezTo>
                  <a:pt x="6373253" y="4555646"/>
                  <a:pt x="6373253" y="4555646"/>
                  <a:pt x="6373253" y="4555646"/>
                </a:cubicBezTo>
                <a:cubicBezTo>
                  <a:pt x="6373253" y="4555646"/>
                  <a:pt x="6373253" y="4555646"/>
                  <a:pt x="6376927" y="4549976"/>
                </a:cubicBezTo>
                <a:cubicBezTo>
                  <a:pt x="6373253" y="4555646"/>
                  <a:pt x="6377924" y="4554648"/>
                  <a:pt x="6381598" y="4548979"/>
                </a:cubicBezTo>
                <a:cubicBezTo>
                  <a:pt x="6365227" y="4586665"/>
                  <a:pt x="6360875" y="4612016"/>
                  <a:pt x="6352849" y="4643036"/>
                </a:cubicBezTo>
                <a:cubicBezTo>
                  <a:pt x="6343827" y="4669385"/>
                  <a:pt x="6334803" y="4695734"/>
                  <a:pt x="6318434" y="4733420"/>
                </a:cubicBezTo>
                <a:cubicBezTo>
                  <a:pt x="6322107" y="4727751"/>
                  <a:pt x="6323104" y="4732422"/>
                  <a:pt x="6319431" y="4738091"/>
                </a:cubicBezTo>
                <a:cubicBezTo>
                  <a:pt x="6319431" y="4738091"/>
                  <a:pt x="6319431" y="4738091"/>
                  <a:pt x="6314760" y="4739090"/>
                </a:cubicBezTo>
                <a:cubicBezTo>
                  <a:pt x="6314760" y="4739090"/>
                  <a:pt x="6315757" y="4743761"/>
                  <a:pt x="6315757" y="4743761"/>
                </a:cubicBezTo>
                <a:cubicBezTo>
                  <a:pt x="6312085" y="4749430"/>
                  <a:pt x="6312085" y="4749430"/>
                  <a:pt x="6312085" y="4749430"/>
                </a:cubicBezTo>
                <a:cubicBezTo>
                  <a:pt x="6305737" y="4765438"/>
                  <a:pt x="6305737" y="4765438"/>
                  <a:pt x="6305737" y="4765438"/>
                </a:cubicBezTo>
                <a:cubicBezTo>
                  <a:pt x="6310409" y="4764441"/>
                  <a:pt x="6306735" y="4770110"/>
                  <a:pt x="6307733" y="4774781"/>
                </a:cubicBezTo>
                <a:cubicBezTo>
                  <a:pt x="6315079" y="4763444"/>
                  <a:pt x="6310409" y="4764441"/>
                  <a:pt x="6313083" y="4754099"/>
                </a:cubicBezTo>
                <a:cubicBezTo>
                  <a:pt x="6313083" y="4754099"/>
                  <a:pt x="6317755" y="4753102"/>
                  <a:pt x="6317755" y="4753102"/>
                </a:cubicBezTo>
                <a:cubicBezTo>
                  <a:pt x="6317755" y="4753102"/>
                  <a:pt x="6317755" y="4753102"/>
                  <a:pt x="6318753" y="4757773"/>
                </a:cubicBezTo>
                <a:cubicBezTo>
                  <a:pt x="6323424" y="4756776"/>
                  <a:pt x="6322425" y="4752103"/>
                  <a:pt x="6322425" y="4752103"/>
                </a:cubicBezTo>
                <a:cubicBezTo>
                  <a:pt x="6322425" y="4752103"/>
                  <a:pt x="6321427" y="4747433"/>
                  <a:pt x="6321427" y="4747433"/>
                </a:cubicBezTo>
                <a:cubicBezTo>
                  <a:pt x="6325101" y="4741765"/>
                  <a:pt x="6325101" y="4741765"/>
                  <a:pt x="6325101" y="4741765"/>
                </a:cubicBezTo>
                <a:cubicBezTo>
                  <a:pt x="6328773" y="4736096"/>
                  <a:pt x="6325779" y="4722082"/>
                  <a:pt x="6331449" y="4725756"/>
                </a:cubicBezTo>
                <a:cubicBezTo>
                  <a:pt x="6339792" y="4719089"/>
                  <a:pt x="6325779" y="4722082"/>
                  <a:pt x="6329453" y="4716413"/>
                </a:cubicBezTo>
                <a:cubicBezTo>
                  <a:pt x="6333126" y="4710745"/>
                  <a:pt x="6334123" y="4715415"/>
                  <a:pt x="6338795" y="4714417"/>
                </a:cubicBezTo>
                <a:cubicBezTo>
                  <a:pt x="6341470" y="4704079"/>
                  <a:pt x="6345823" y="4678727"/>
                  <a:pt x="6345823" y="4678727"/>
                </a:cubicBezTo>
                <a:cubicBezTo>
                  <a:pt x="6351173" y="4658048"/>
                  <a:pt x="6368540" y="4625031"/>
                  <a:pt x="6371215" y="4614691"/>
                </a:cubicBezTo>
                <a:cubicBezTo>
                  <a:pt x="6374889" y="4609023"/>
                  <a:pt x="6371215" y="4614691"/>
                  <a:pt x="6366544" y="4615689"/>
                </a:cubicBezTo>
                <a:cubicBezTo>
                  <a:pt x="6371215" y="4614691"/>
                  <a:pt x="6373891" y="4604351"/>
                  <a:pt x="6373891" y="4604351"/>
                </a:cubicBezTo>
                <a:cubicBezTo>
                  <a:pt x="6373891" y="4604351"/>
                  <a:pt x="6371895" y="4595009"/>
                  <a:pt x="6371895" y="4595009"/>
                </a:cubicBezTo>
                <a:cubicBezTo>
                  <a:pt x="6375569" y="4589342"/>
                  <a:pt x="6377565" y="4598681"/>
                  <a:pt x="6376566" y="4594011"/>
                </a:cubicBezTo>
                <a:cubicBezTo>
                  <a:pt x="6384909" y="4587344"/>
                  <a:pt x="6373573" y="4579997"/>
                  <a:pt x="6383911" y="4582674"/>
                </a:cubicBezTo>
                <a:cubicBezTo>
                  <a:pt x="6384591" y="4562991"/>
                  <a:pt x="6390621" y="4522630"/>
                  <a:pt x="6402637" y="4510294"/>
                </a:cubicBezTo>
                <a:cubicBezTo>
                  <a:pt x="6403635" y="4514964"/>
                  <a:pt x="6398965" y="4515963"/>
                  <a:pt x="6393296" y="4512289"/>
                </a:cubicBezTo>
                <a:cubicBezTo>
                  <a:pt x="6409665" y="4474603"/>
                  <a:pt x="6426715" y="4417234"/>
                  <a:pt x="6427395" y="4397552"/>
                </a:cubicBezTo>
                <a:cubicBezTo>
                  <a:pt x="6430069" y="4387213"/>
                  <a:pt x="6456460" y="4327847"/>
                  <a:pt x="6451471" y="4304493"/>
                </a:cubicBezTo>
                <a:cubicBezTo>
                  <a:pt x="6454145" y="4294152"/>
                  <a:pt x="6451471" y="4304493"/>
                  <a:pt x="6456141" y="4303494"/>
                </a:cubicBezTo>
                <a:cubicBezTo>
                  <a:pt x="6453148" y="4289482"/>
                  <a:pt x="6465844" y="4257463"/>
                  <a:pt x="6472191" y="4241454"/>
                </a:cubicBezTo>
                <a:cubicBezTo>
                  <a:pt x="6472191" y="4241454"/>
                  <a:pt x="6469517" y="4251796"/>
                  <a:pt x="6475185" y="4255467"/>
                </a:cubicBezTo>
                <a:cubicBezTo>
                  <a:pt x="6477543" y="4220774"/>
                  <a:pt x="6474867" y="4231114"/>
                  <a:pt x="6466523" y="4237782"/>
                </a:cubicBezTo>
                <a:cubicBezTo>
                  <a:pt x="6477223" y="4196422"/>
                  <a:pt x="6476227" y="4191750"/>
                  <a:pt x="6490918" y="4169076"/>
                </a:cubicBezTo>
                <a:cubicBezTo>
                  <a:pt x="6490918" y="4169076"/>
                  <a:pt x="6494591" y="4163407"/>
                  <a:pt x="6494591" y="4163407"/>
                </a:cubicBezTo>
                <a:cubicBezTo>
                  <a:pt x="6494591" y="4163407"/>
                  <a:pt x="6494591" y="4163407"/>
                  <a:pt x="6493593" y="4158734"/>
                </a:cubicBezTo>
                <a:cubicBezTo>
                  <a:pt x="6493593" y="4158734"/>
                  <a:pt x="6488922" y="4159733"/>
                  <a:pt x="6488922" y="4159733"/>
                </a:cubicBezTo>
                <a:cubicBezTo>
                  <a:pt x="6488922" y="4159733"/>
                  <a:pt x="6487925" y="4155062"/>
                  <a:pt x="6491597" y="4149395"/>
                </a:cubicBezTo>
                <a:cubicBezTo>
                  <a:pt x="6491597" y="4149395"/>
                  <a:pt x="6491597" y="4149395"/>
                  <a:pt x="6492596" y="4154064"/>
                </a:cubicBezTo>
                <a:cubicBezTo>
                  <a:pt x="6492596" y="4154064"/>
                  <a:pt x="6492596" y="4154064"/>
                  <a:pt x="6497267" y="4153066"/>
                </a:cubicBezTo>
                <a:cubicBezTo>
                  <a:pt x="6496270" y="4148396"/>
                  <a:pt x="6496270" y="4148396"/>
                  <a:pt x="6495271" y="4143724"/>
                </a:cubicBezTo>
                <a:cubicBezTo>
                  <a:pt x="6498943" y="4138054"/>
                  <a:pt x="6498943" y="4138054"/>
                  <a:pt x="6498943" y="4138054"/>
                </a:cubicBezTo>
                <a:cubicBezTo>
                  <a:pt x="6502617" y="4132387"/>
                  <a:pt x="6506969" y="4107034"/>
                  <a:pt x="6495950" y="4124042"/>
                </a:cubicBezTo>
                <a:cubicBezTo>
                  <a:pt x="6499623" y="4118375"/>
                  <a:pt x="6499623" y="4118375"/>
                  <a:pt x="6498625" y="4113702"/>
                </a:cubicBezTo>
                <a:cubicBezTo>
                  <a:pt x="6498625" y="4113702"/>
                  <a:pt x="6493954" y="4114701"/>
                  <a:pt x="6494951" y="4119372"/>
                </a:cubicBezTo>
                <a:cubicBezTo>
                  <a:pt x="6494951" y="4119372"/>
                  <a:pt x="6490281" y="4120369"/>
                  <a:pt x="6491279" y="4125039"/>
                </a:cubicBezTo>
                <a:cubicBezTo>
                  <a:pt x="6490281" y="4120369"/>
                  <a:pt x="6489284" y="4115698"/>
                  <a:pt x="6489284" y="4115698"/>
                </a:cubicBezTo>
                <a:cubicBezTo>
                  <a:pt x="6492955" y="4110029"/>
                  <a:pt x="6495632" y="4099689"/>
                  <a:pt x="6497309" y="4084679"/>
                </a:cubicBezTo>
                <a:cubicBezTo>
                  <a:pt x="6502659" y="4063998"/>
                  <a:pt x="6508009" y="4043318"/>
                  <a:pt x="6509686" y="4028308"/>
                </a:cubicBezTo>
                <a:cubicBezTo>
                  <a:pt x="6508689" y="4023635"/>
                  <a:pt x="6513359" y="4022638"/>
                  <a:pt x="6513359" y="4022638"/>
                </a:cubicBezTo>
                <a:cubicBezTo>
                  <a:pt x="6513359" y="4022638"/>
                  <a:pt x="6512361" y="4017968"/>
                  <a:pt x="6512361" y="4017968"/>
                </a:cubicBezTo>
                <a:cubicBezTo>
                  <a:pt x="6510365" y="4008625"/>
                  <a:pt x="6513040" y="3998285"/>
                  <a:pt x="6516714" y="3992617"/>
                </a:cubicBezTo>
                <a:cubicBezTo>
                  <a:pt x="6515717" y="3987947"/>
                  <a:pt x="6518391" y="3977605"/>
                  <a:pt x="6517393" y="3972936"/>
                </a:cubicBezTo>
                <a:cubicBezTo>
                  <a:pt x="6520069" y="3962596"/>
                  <a:pt x="6526416" y="3946585"/>
                  <a:pt x="6529091" y="3936247"/>
                </a:cubicBezTo>
                <a:lnTo>
                  <a:pt x="6530564" y="3935932"/>
                </a:lnTo>
                <a:lnTo>
                  <a:pt x="6530564" y="4704434"/>
                </a:lnTo>
                <a:lnTo>
                  <a:pt x="6484646" y="4808415"/>
                </a:lnTo>
                <a:cubicBezTo>
                  <a:pt x="6268425" y="5225199"/>
                  <a:pt x="5948779" y="5586542"/>
                  <a:pt x="5551795" y="5854513"/>
                </a:cubicBezTo>
                <a:cubicBezTo>
                  <a:pt x="5551795" y="5854513"/>
                  <a:pt x="5551795" y="5854513"/>
                  <a:pt x="5547125" y="5855512"/>
                </a:cubicBezTo>
                <a:cubicBezTo>
                  <a:pt x="5547125" y="5855512"/>
                  <a:pt x="5542455" y="5856509"/>
                  <a:pt x="5542455" y="5856509"/>
                </a:cubicBezTo>
                <a:cubicBezTo>
                  <a:pt x="5550799" y="5849843"/>
                  <a:pt x="5545129" y="5846171"/>
                  <a:pt x="5536785" y="5852838"/>
                </a:cubicBezTo>
                <a:cubicBezTo>
                  <a:pt x="5545129" y="5846171"/>
                  <a:pt x="5545129" y="5846171"/>
                  <a:pt x="5545129" y="5846171"/>
                </a:cubicBezTo>
                <a:cubicBezTo>
                  <a:pt x="5548802" y="5840501"/>
                  <a:pt x="5548802" y="5840501"/>
                  <a:pt x="5543133" y="5836827"/>
                </a:cubicBezTo>
                <a:cubicBezTo>
                  <a:pt x="5543133" y="5836827"/>
                  <a:pt x="5538462" y="5837825"/>
                  <a:pt x="5534788" y="5843494"/>
                </a:cubicBezTo>
                <a:cubicBezTo>
                  <a:pt x="5531117" y="5849164"/>
                  <a:pt x="5531117" y="5849164"/>
                  <a:pt x="5531117" y="5849164"/>
                </a:cubicBezTo>
                <a:cubicBezTo>
                  <a:pt x="5526445" y="5850162"/>
                  <a:pt x="5526445" y="5850162"/>
                  <a:pt x="5526445" y="5850162"/>
                </a:cubicBezTo>
                <a:cubicBezTo>
                  <a:pt x="5524449" y="5840819"/>
                  <a:pt x="5519777" y="5841818"/>
                  <a:pt x="5511435" y="5848485"/>
                </a:cubicBezTo>
                <a:cubicBezTo>
                  <a:pt x="5504088" y="5859824"/>
                  <a:pt x="5512432" y="5853156"/>
                  <a:pt x="5509757" y="5863495"/>
                </a:cubicBezTo>
                <a:cubicBezTo>
                  <a:pt x="5518102" y="5856829"/>
                  <a:pt x="5518102" y="5856829"/>
                  <a:pt x="5518102" y="5856829"/>
                </a:cubicBezTo>
                <a:cubicBezTo>
                  <a:pt x="5514428" y="5862498"/>
                  <a:pt x="5509757" y="5863495"/>
                  <a:pt x="5515425" y="5867169"/>
                </a:cubicBezTo>
                <a:cubicBezTo>
                  <a:pt x="5520097" y="5866172"/>
                  <a:pt x="5524768" y="5865173"/>
                  <a:pt x="5528441" y="5859504"/>
                </a:cubicBezTo>
                <a:cubicBezTo>
                  <a:pt x="5532115" y="5853836"/>
                  <a:pt x="5532115" y="5853836"/>
                  <a:pt x="5532115" y="5853836"/>
                </a:cubicBezTo>
                <a:cubicBezTo>
                  <a:pt x="5533112" y="5858505"/>
                  <a:pt x="5528441" y="5859504"/>
                  <a:pt x="5529439" y="5864176"/>
                </a:cubicBezTo>
                <a:cubicBezTo>
                  <a:pt x="5524768" y="5865173"/>
                  <a:pt x="5524768" y="5865173"/>
                  <a:pt x="5524768" y="5865173"/>
                </a:cubicBezTo>
                <a:cubicBezTo>
                  <a:pt x="5521095" y="5870842"/>
                  <a:pt x="5521095" y="5870842"/>
                  <a:pt x="5521095" y="5870842"/>
                </a:cubicBezTo>
                <a:cubicBezTo>
                  <a:pt x="5522093" y="5875511"/>
                  <a:pt x="5522093" y="5875511"/>
                  <a:pt x="5522093" y="5875511"/>
                </a:cubicBezTo>
                <a:lnTo>
                  <a:pt x="5336527" y="5986393"/>
                </a:lnTo>
                <a:lnTo>
                  <a:pt x="5474406" y="5921652"/>
                </a:lnTo>
                <a:cubicBezTo>
                  <a:pt x="5567705" y="5872762"/>
                  <a:pt x="5657473" y="5820388"/>
                  <a:pt x="5743583" y="5764408"/>
                </a:cubicBezTo>
                <a:lnTo>
                  <a:pt x="5973095" y="5598350"/>
                </a:lnTo>
                <a:lnTo>
                  <a:pt x="5987645" y="5585565"/>
                </a:lnTo>
                <a:cubicBezTo>
                  <a:pt x="6143280" y="5433873"/>
                  <a:pt x="6280077" y="5265447"/>
                  <a:pt x="6396010" y="5084383"/>
                </a:cubicBezTo>
                <a:lnTo>
                  <a:pt x="6530564" y="4845456"/>
                </a:lnTo>
                <a:lnTo>
                  <a:pt x="6530564" y="6858000"/>
                </a:lnTo>
                <a:lnTo>
                  <a:pt x="1733020" y="6858000"/>
                </a:lnTo>
                <a:lnTo>
                  <a:pt x="1622264" y="6769480"/>
                </a:lnTo>
                <a:cubicBezTo>
                  <a:pt x="1563232" y="6720248"/>
                  <a:pt x="1504873" y="6670133"/>
                  <a:pt x="1446345" y="6620355"/>
                </a:cubicBezTo>
                <a:cubicBezTo>
                  <a:pt x="1298344" y="6493891"/>
                  <a:pt x="1150344" y="6370116"/>
                  <a:pt x="1021180" y="6222127"/>
                </a:cubicBezTo>
                <a:cubicBezTo>
                  <a:pt x="1013107" y="6211364"/>
                  <a:pt x="1002343" y="6200600"/>
                  <a:pt x="994270" y="6189838"/>
                </a:cubicBezTo>
                <a:cubicBezTo>
                  <a:pt x="978124" y="6171003"/>
                  <a:pt x="986197" y="6152168"/>
                  <a:pt x="1002343" y="6138714"/>
                </a:cubicBezTo>
                <a:cubicBezTo>
                  <a:pt x="1021180" y="6125260"/>
                  <a:pt x="1029252" y="6141405"/>
                  <a:pt x="1040015" y="6154859"/>
                </a:cubicBezTo>
                <a:cubicBezTo>
                  <a:pt x="1104598" y="6232889"/>
                  <a:pt x="1174562" y="6308230"/>
                  <a:pt x="1255290" y="6372807"/>
                </a:cubicBezTo>
                <a:cubicBezTo>
                  <a:pt x="1268744" y="6383571"/>
                  <a:pt x="1282199" y="6397023"/>
                  <a:pt x="1301035" y="6399714"/>
                </a:cubicBezTo>
                <a:cubicBezTo>
                  <a:pt x="1303727" y="6399714"/>
                  <a:pt x="1311799" y="6402405"/>
                  <a:pt x="1311799" y="6399714"/>
                </a:cubicBezTo>
                <a:cubicBezTo>
                  <a:pt x="1317181" y="6394332"/>
                  <a:pt x="1311799" y="6391643"/>
                  <a:pt x="1306417" y="6391643"/>
                </a:cubicBezTo>
                <a:cubicBezTo>
                  <a:pt x="1179943" y="6249034"/>
                  <a:pt x="1045399" y="6114498"/>
                  <a:pt x="924306" y="5969198"/>
                </a:cubicBezTo>
                <a:cubicBezTo>
                  <a:pt x="886633" y="5923455"/>
                  <a:pt x="851652" y="5877714"/>
                  <a:pt x="811288" y="5831971"/>
                </a:cubicBezTo>
                <a:cubicBezTo>
                  <a:pt x="803214" y="5821207"/>
                  <a:pt x="797832" y="5805064"/>
                  <a:pt x="770924" y="5805064"/>
                </a:cubicBezTo>
                <a:cubicBezTo>
                  <a:pt x="819360" y="5893857"/>
                  <a:pt x="908161" y="5955744"/>
                  <a:pt x="894705" y="6068755"/>
                </a:cubicBezTo>
                <a:cubicBezTo>
                  <a:pt x="620231" y="5756630"/>
                  <a:pt x="413030" y="5409527"/>
                  <a:pt x="267721" y="5019370"/>
                </a:cubicBezTo>
                <a:cubicBezTo>
                  <a:pt x="305392" y="5027443"/>
                  <a:pt x="313466" y="5059732"/>
                  <a:pt x="326921" y="5086639"/>
                </a:cubicBezTo>
                <a:cubicBezTo>
                  <a:pt x="340375" y="5116237"/>
                  <a:pt x="353829" y="5143144"/>
                  <a:pt x="375357" y="5167361"/>
                </a:cubicBezTo>
                <a:cubicBezTo>
                  <a:pt x="407649" y="5245391"/>
                  <a:pt x="445320" y="5320732"/>
                  <a:pt x="493757" y="5385309"/>
                </a:cubicBezTo>
                <a:cubicBezTo>
                  <a:pt x="499140" y="5382619"/>
                  <a:pt x="504522" y="5379928"/>
                  <a:pt x="509903" y="5377237"/>
                </a:cubicBezTo>
                <a:cubicBezTo>
                  <a:pt x="469539" y="5304588"/>
                  <a:pt x="429175" y="5231938"/>
                  <a:pt x="386121" y="5159289"/>
                </a:cubicBezTo>
                <a:cubicBezTo>
                  <a:pt x="270411" y="4863307"/>
                  <a:pt x="154701" y="4567327"/>
                  <a:pt x="87429" y="4255203"/>
                </a:cubicBezTo>
                <a:cubicBezTo>
                  <a:pt x="-47118" y="3606738"/>
                  <a:pt x="-25592" y="2966343"/>
                  <a:pt x="146628" y="2328641"/>
                </a:cubicBezTo>
                <a:cubicBezTo>
                  <a:pt x="178920" y="2207559"/>
                  <a:pt x="197757" y="2086475"/>
                  <a:pt x="251574" y="1973465"/>
                </a:cubicBezTo>
                <a:cubicBezTo>
                  <a:pt x="256956" y="1962702"/>
                  <a:pt x="256956" y="1949248"/>
                  <a:pt x="273102" y="1946557"/>
                </a:cubicBezTo>
                <a:cubicBezTo>
                  <a:pt x="286557" y="1949248"/>
                  <a:pt x="283866" y="1960011"/>
                  <a:pt x="281175" y="1965393"/>
                </a:cubicBezTo>
                <a:cubicBezTo>
                  <a:pt x="152011" y="2344786"/>
                  <a:pt x="103574" y="2737632"/>
                  <a:pt x="65900" y="3133169"/>
                </a:cubicBezTo>
                <a:cubicBezTo>
                  <a:pt x="44375" y="3340355"/>
                  <a:pt x="65900" y="3547541"/>
                  <a:pt x="76665" y="3754727"/>
                </a:cubicBezTo>
                <a:cubicBezTo>
                  <a:pt x="79356" y="3778943"/>
                  <a:pt x="79356" y="3805852"/>
                  <a:pt x="79356" y="3830068"/>
                </a:cubicBezTo>
                <a:cubicBezTo>
                  <a:pt x="82047" y="3843522"/>
                  <a:pt x="71283" y="3862357"/>
                  <a:pt x="95501" y="3862357"/>
                </a:cubicBezTo>
                <a:cubicBezTo>
                  <a:pt x="119719" y="3862357"/>
                  <a:pt x="117029" y="3846212"/>
                  <a:pt x="117029" y="3827377"/>
                </a:cubicBezTo>
                <a:cubicBezTo>
                  <a:pt x="106264" y="3730511"/>
                  <a:pt x="98192" y="3630954"/>
                  <a:pt x="95501" y="3534088"/>
                </a:cubicBezTo>
                <a:cubicBezTo>
                  <a:pt x="79356" y="2724179"/>
                  <a:pt x="256956" y="1968083"/>
                  <a:pt x="711722" y="1290020"/>
                </a:cubicBezTo>
                <a:cubicBezTo>
                  <a:pt x="714413" y="1284638"/>
                  <a:pt x="717104" y="1276565"/>
                  <a:pt x="722486" y="1273875"/>
                </a:cubicBezTo>
                <a:cubicBezTo>
                  <a:pt x="725177" y="1271184"/>
                  <a:pt x="730558" y="1271184"/>
                  <a:pt x="741323" y="1268493"/>
                </a:cubicBezTo>
                <a:cubicBezTo>
                  <a:pt x="717104" y="1319618"/>
                  <a:pt x="698268" y="1365360"/>
                  <a:pt x="671359" y="1411102"/>
                </a:cubicBezTo>
                <a:cubicBezTo>
                  <a:pt x="472230" y="1752825"/>
                  <a:pt x="356520" y="2129527"/>
                  <a:pt x="238121" y="2506229"/>
                </a:cubicBezTo>
                <a:cubicBezTo>
                  <a:pt x="224666" y="2549281"/>
                  <a:pt x="224666" y="2595023"/>
                  <a:pt x="219284" y="2638075"/>
                </a:cubicBezTo>
                <a:cubicBezTo>
                  <a:pt x="219284" y="2648838"/>
                  <a:pt x="211210" y="2664982"/>
                  <a:pt x="230049" y="2667673"/>
                </a:cubicBezTo>
                <a:cubicBezTo>
                  <a:pt x="243502" y="2670363"/>
                  <a:pt x="251574" y="2659600"/>
                  <a:pt x="259647" y="2648838"/>
                </a:cubicBezTo>
                <a:cubicBezTo>
                  <a:pt x="267721" y="2635384"/>
                  <a:pt x="278485" y="2619240"/>
                  <a:pt x="289247" y="2608477"/>
                </a:cubicBezTo>
                <a:cubicBezTo>
                  <a:pt x="251574" y="2915220"/>
                  <a:pt x="216594" y="3219272"/>
                  <a:pt x="240811" y="3528707"/>
                </a:cubicBezTo>
                <a:cubicBezTo>
                  <a:pt x="238121" y="3577139"/>
                  <a:pt x="243502" y="3625573"/>
                  <a:pt x="256956" y="3674006"/>
                </a:cubicBezTo>
                <a:cubicBezTo>
                  <a:pt x="256956" y="3625573"/>
                  <a:pt x="265030" y="3577139"/>
                  <a:pt x="251574" y="3528707"/>
                </a:cubicBezTo>
                <a:cubicBezTo>
                  <a:pt x="248883" y="3273087"/>
                  <a:pt x="262337" y="3017468"/>
                  <a:pt x="302703" y="2764539"/>
                </a:cubicBezTo>
                <a:cubicBezTo>
                  <a:pt x="378048" y="2285589"/>
                  <a:pt x="542194" y="1841620"/>
                  <a:pt x="789760" y="1427247"/>
                </a:cubicBezTo>
                <a:cubicBezTo>
                  <a:pt x="795141" y="1419174"/>
                  <a:pt x="800523" y="1416484"/>
                  <a:pt x="811288" y="1411102"/>
                </a:cubicBezTo>
                <a:cubicBezTo>
                  <a:pt x="512594" y="1994990"/>
                  <a:pt x="308084" y="2603095"/>
                  <a:pt x="329611" y="3267706"/>
                </a:cubicBezTo>
                <a:cubicBezTo>
                  <a:pt x="351139" y="3184293"/>
                  <a:pt x="348447" y="3100880"/>
                  <a:pt x="353829" y="3017468"/>
                </a:cubicBezTo>
                <a:cubicBezTo>
                  <a:pt x="372667" y="2799518"/>
                  <a:pt x="410340" y="2584261"/>
                  <a:pt x="480303" y="2377074"/>
                </a:cubicBezTo>
                <a:cubicBezTo>
                  <a:pt x="504522" y="2301734"/>
                  <a:pt x="509903" y="2221011"/>
                  <a:pt x="536812" y="2148363"/>
                </a:cubicBezTo>
                <a:cubicBezTo>
                  <a:pt x="542194" y="2132218"/>
                  <a:pt x="542194" y="2091856"/>
                  <a:pt x="579867" y="2126836"/>
                </a:cubicBezTo>
                <a:cubicBezTo>
                  <a:pt x="596013" y="2140290"/>
                  <a:pt x="598704" y="2118763"/>
                  <a:pt x="604086" y="2108002"/>
                </a:cubicBezTo>
                <a:cubicBezTo>
                  <a:pt x="674049" y="1900815"/>
                  <a:pt x="778996" y="1709773"/>
                  <a:pt x="878561" y="1516040"/>
                </a:cubicBezTo>
                <a:cubicBezTo>
                  <a:pt x="886633" y="1499897"/>
                  <a:pt x="886633" y="1472988"/>
                  <a:pt x="916234" y="1486443"/>
                </a:cubicBezTo>
                <a:cubicBezTo>
                  <a:pt x="943142" y="1499897"/>
                  <a:pt x="929688" y="1521422"/>
                  <a:pt x="921615" y="1537567"/>
                </a:cubicBezTo>
                <a:cubicBezTo>
                  <a:pt x="883942" y="1607525"/>
                  <a:pt x="840887" y="1672104"/>
                  <a:pt x="813979" y="1747443"/>
                </a:cubicBezTo>
                <a:cubicBezTo>
                  <a:pt x="811288" y="1752825"/>
                  <a:pt x="803214" y="1758206"/>
                  <a:pt x="811288" y="1763588"/>
                </a:cubicBezTo>
                <a:cubicBezTo>
                  <a:pt x="819360" y="1771660"/>
                  <a:pt x="819360" y="1760897"/>
                  <a:pt x="822051" y="1755515"/>
                </a:cubicBezTo>
                <a:cubicBezTo>
                  <a:pt x="867797" y="1739372"/>
                  <a:pt x="892015" y="1701701"/>
                  <a:pt x="916234" y="1664031"/>
                </a:cubicBezTo>
                <a:cubicBezTo>
                  <a:pt x="1056161" y="1413793"/>
                  <a:pt x="1214926" y="1174318"/>
                  <a:pt x="1408672" y="961751"/>
                </a:cubicBezTo>
                <a:cubicBezTo>
                  <a:pt x="1543218" y="819142"/>
                  <a:pt x="1688528" y="687297"/>
                  <a:pt x="1849984" y="576976"/>
                </a:cubicBezTo>
                <a:cubicBezTo>
                  <a:pt x="1858057" y="571595"/>
                  <a:pt x="1868820" y="566213"/>
                  <a:pt x="1876892" y="560831"/>
                </a:cubicBezTo>
                <a:close/>
                <a:moveTo>
                  <a:pt x="3989439" y="394434"/>
                </a:moveTo>
                <a:lnTo>
                  <a:pt x="4081738" y="396538"/>
                </a:lnTo>
                <a:lnTo>
                  <a:pt x="4080500" y="396329"/>
                </a:lnTo>
                <a:lnTo>
                  <a:pt x="4071877" y="395619"/>
                </a:lnTo>
                <a:close/>
                <a:moveTo>
                  <a:pt x="3502109" y="0"/>
                </a:moveTo>
                <a:lnTo>
                  <a:pt x="4589616" y="0"/>
                </a:lnTo>
                <a:lnTo>
                  <a:pt x="4634080" y="6163"/>
                </a:lnTo>
                <a:cubicBezTo>
                  <a:pt x="4763917" y="27562"/>
                  <a:pt x="4893418" y="55647"/>
                  <a:pt x="5022582" y="89954"/>
                </a:cubicBezTo>
                <a:cubicBezTo>
                  <a:pt x="5157129" y="127624"/>
                  <a:pt x="5286293" y="173367"/>
                  <a:pt x="5418149" y="216418"/>
                </a:cubicBezTo>
                <a:cubicBezTo>
                  <a:pt x="5455822" y="227181"/>
                  <a:pt x="5488112" y="248706"/>
                  <a:pt x="5515022" y="278306"/>
                </a:cubicBezTo>
                <a:cubicBezTo>
                  <a:pt x="5560767" y="324047"/>
                  <a:pt x="5614586" y="348265"/>
                  <a:pt x="5679169" y="353645"/>
                </a:cubicBezTo>
                <a:cubicBezTo>
                  <a:pt x="5778733" y="361717"/>
                  <a:pt x="5859459" y="402079"/>
                  <a:pt x="5910587" y="496254"/>
                </a:cubicBezTo>
                <a:cubicBezTo>
                  <a:pt x="5915970" y="509708"/>
                  <a:pt x="5926733" y="523161"/>
                  <a:pt x="5940187" y="531233"/>
                </a:cubicBezTo>
                <a:cubicBezTo>
                  <a:pt x="6074734" y="622718"/>
                  <a:pt x="6185061" y="741111"/>
                  <a:pt x="6314226" y="835286"/>
                </a:cubicBezTo>
                <a:cubicBezTo>
                  <a:pt x="6341136" y="854122"/>
                  <a:pt x="6362663" y="872956"/>
                  <a:pt x="6400336" y="878338"/>
                </a:cubicBezTo>
                <a:cubicBezTo>
                  <a:pt x="6386881" y="837977"/>
                  <a:pt x="6357281" y="813761"/>
                  <a:pt x="6330373" y="786854"/>
                </a:cubicBezTo>
                <a:cubicBezTo>
                  <a:pt x="6265789" y="730347"/>
                  <a:pt x="6209281" y="684606"/>
                  <a:pt x="6136625" y="638863"/>
                </a:cubicBezTo>
                <a:cubicBezTo>
                  <a:pt x="6120479" y="628100"/>
                  <a:pt x="6125861" y="633481"/>
                  <a:pt x="6096262" y="593120"/>
                </a:cubicBezTo>
                <a:cubicBezTo>
                  <a:pt x="6107025" y="579667"/>
                  <a:pt x="6088188" y="566213"/>
                  <a:pt x="6077425" y="555450"/>
                </a:cubicBezTo>
                <a:cubicBezTo>
                  <a:pt x="5985933" y="477420"/>
                  <a:pt x="5894442" y="399388"/>
                  <a:pt x="5800259" y="321356"/>
                </a:cubicBezTo>
                <a:cubicBezTo>
                  <a:pt x="5730296" y="262161"/>
                  <a:pt x="5649568" y="224490"/>
                  <a:pt x="5560767" y="197583"/>
                </a:cubicBezTo>
                <a:cubicBezTo>
                  <a:pt x="5367021" y="146459"/>
                  <a:pt x="5184038" y="68429"/>
                  <a:pt x="4990292" y="25376"/>
                </a:cubicBezTo>
                <a:lnTo>
                  <a:pt x="4858639" y="0"/>
                </a:lnTo>
                <a:lnTo>
                  <a:pt x="5574004" y="0"/>
                </a:lnTo>
                <a:lnTo>
                  <a:pt x="5574348" y="150"/>
                </a:lnTo>
                <a:cubicBezTo>
                  <a:pt x="5595749" y="7886"/>
                  <a:pt x="5617949" y="13940"/>
                  <a:pt x="5641495" y="17304"/>
                </a:cubicBezTo>
                <a:cubicBezTo>
                  <a:pt x="5659658" y="19322"/>
                  <a:pt x="5680850" y="27395"/>
                  <a:pt x="5693716" y="15413"/>
                </a:cubicBezTo>
                <a:lnTo>
                  <a:pt x="5701308" y="0"/>
                </a:lnTo>
                <a:lnTo>
                  <a:pt x="5893094" y="0"/>
                </a:lnTo>
                <a:lnTo>
                  <a:pt x="5928120" y="15497"/>
                </a:lnTo>
                <a:cubicBezTo>
                  <a:pt x="5964574" y="32440"/>
                  <a:pt x="6000734" y="49593"/>
                  <a:pt x="6037061" y="65738"/>
                </a:cubicBezTo>
                <a:cubicBezTo>
                  <a:pt x="6123171" y="111479"/>
                  <a:pt x="6195826" y="176056"/>
                  <a:pt x="6287317" y="211037"/>
                </a:cubicBezTo>
                <a:cubicBezTo>
                  <a:pt x="6217353" y="143769"/>
                  <a:pt x="6133934" y="103408"/>
                  <a:pt x="6050517" y="54974"/>
                </a:cubicBezTo>
                <a:cubicBezTo>
                  <a:pt x="6022935" y="36139"/>
                  <a:pt x="5994343" y="18986"/>
                  <a:pt x="5964995" y="3094"/>
                </a:cubicBezTo>
                <a:lnTo>
                  <a:pt x="5958708" y="0"/>
                </a:lnTo>
                <a:lnTo>
                  <a:pt x="6034737" y="0"/>
                </a:lnTo>
                <a:lnTo>
                  <a:pt x="6100298" y="33785"/>
                </a:lnTo>
                <a:cubicBezTo>
                  <a:pt x="6179007" y="78518"/>
                  <a:pt x="6256371" y="126279"/>
                  <a:pt x="6333063" y="176056"/>
                </a:cubicBezTo>
                <a:cubicBezTo>
                  <a:pt x="6335754" y="178747"/>
                  <a:pt x="6341136" y="178747"/>
                  <a:pt x="6349209" y="178747"/>
                </a:cubicBezTo>
                <a:cubicBezTo>
                  <a:pt x="6362663" y="143769"/>
                  <a:pt x="6354590" y="122243"/>
                  <a:pt x="6319607" y="100717"/>
                </a:cubicBezTo>
                <a:lnTo>
                  <a:pt x="6159296" y="0"/>
                </a:lnTo>
                <a:lnTo>
                  <a:pt x="6494412" y="0"/>
                </a:lnTo>
                <a:lnTo>
                  <a:pt x="6530564" y="24963"/>
                </a:lnTo>
                <a:lnTo>
                  <a:pt x="6530564" y="2283869"/>
                </a:lnTo>
                <a:lnTo>
                  <a:pt x="6452592" y="2135053"/>
                </a:lnTo>
                <a:cubicBezTo>
                  <a:pt x="6368738" y="1991179"/>
                  <a:pt x="6272827" y="1856596"/>
                  <a:pt x="6165817" y="1732932"/>
                </a:cubicBezTo>
                <a:cubicBezTo>
                  <a:pt x="6052481" y="1591083"/>
                  <a:pt x="5916785" y="1458895"/>
                  <a:pt x="5773745" y="1338044"/>
                </a:cubicBezTo>
                <a:cubicBezTo>
                  <a:pt x="5779413" y="1341717"/>
                  <a:pt x="5779413" y="1341717"/>
                  <a:pt x="5784085" y="1340719"/>
                </a:cubicBezTo>
                <a:cubicBezTo>
                  <a:pt x="5771750" y="1328702"/>
                  <a:pt x="5742407" y="1305666"/>
                  <a:pt x="5718731" y="1286303"/>
                </a:cubicBezTo>
                <a:cubicBezTo>
                  <a:pt x="5701725" y="1275284"/>
                  <a:pt x="5689388" y="1263266"/>
                  <a:pt x="5679049" y="1260591"/>
                </a:cubicBezTo>
                <a:cubicBezTo>
                  <a:pt x="5639367" y="1234880"/>
                  <a:pt x="5598685" y="1204498"/>
                  <a:pt x="5559003" y="1178786"/>
                </a:cubicBezTo>
                <a:cubicBezTo>
                  <a:pt x="5546667" y="1166769"/>
                  <a:pt x="5529659" y="1155750"/>
                  <a:pt x="5513651" y="1149403"/>
                </a:cubicBezTo>
                <a:cubicBezTo>
                  <a:pt x="5382265" y="1060250"/>
                  <a:pt x="5239864" y="988106"/>
                  <a:pt x="5089115" y="922629"/>
                </a:cubicBezTo>
                <a:cubicBezTo>
                  <a:pt x="5136145" y="937001"/>
                  <a:pt x="5183173" y="951374"/>
                  <a:pt x="5219861" y="963072"/>
                </a:cubicBezTo>
                <a:cubicBezTo>
                  <a:pt x="5221858" y="972417"/>
                  <a:pt x="5242538" y="977766"/>
                  <a:pt x="5243535" y="982437"/>
                </a:cubicBezTo>
                <a:cubicBezTo>
                  <a:pt x="5285894" y="997808"/>
                  <a:pt x="5335917" y="1026195"/>
                  <a:pt x="5376279" y="1032223"/>
                </a:cubicBezTo>
                <a:cubicBezTo>
                  <a:pt x="5359273" y="1021205"/>
                  <a:pt x="5336597" y="1006512"/>
                  <a:pt x="5339271" y="996174"/>
                </a:cubicBezTo>
                <a:cubicBezTo>
                  <a:pt x="5311925" y="982478"/>
                  <a:pt x="5246891" y="952416"/>
                  <a:pt x="5227209" y="951735"/>
                </a:cubicBezTo>
                <a:cubicBezTo>
                  <a:pt x="5215871" y="944390"/>
                  <a:pt x="5209205" y="936045"/>
                  <a:pt x="5203535" y="932372"/>
                </a:cubicBezTo>
                <a:cubicBezTo>
                  <a:pt x="5171517" y="919677"/>
                  <a:pt x="5146165" y="915324"/>
                  <a:pt x="5115146" y="907298"/>
                </a:cubicBezTo>
                <a:cubicBezTo>
                  <a:pt x="5093467" y="897276"/>
                  <a:pt x="5054783" y="876237"/>
                  <a:pt x="5028434" y="867212"/>
                </a:cubicBezTo>
                <a:cubicBezTo>
                  <a:pt x="5018094" y="864537"/>
                  <a:pt x="5014421" y="870207"/>
                  <a:pt x="5004080" y="867531"/>
                </a:cubicBezTo>
                <a:cubicBezTo>
                  <a:pt x="4993741" y="864858"/>
                  <a:pt x="4975737" y="849166"/>
                  <a:pt x="4965395" y="846491"/>
                </a:cubicBezTo>
                <a:cubicBezTo>
                  <a:pt x="4933378" y="833794"/>
                  <a:pt x="4919364" y="836789"/>
                  <a:pt x="4917369" y="827446"/>
                </a:cubicBezTo>
                <a:cubicBezTo>
                  <a:pt x="4897687" y="826767"/>
                  <a:pt x="4866667" y="818742"/>
                  <a:pt x="4859320" y="830080"/>
                </a:cubicBezTo>
                <a:cubicBezTo>
                  <a:pt x="4879003" y="830759"/>
                  <a:pt x="4875330" y="836428"/>
                  <a:pt x="4876327" y="841099"/>
                </a:cubicBezTo>
                <a:cubicBezTo>
                  <a:pt x="4413385" y="686027"/>
                  <a:pt x="3907001" y="647686"/>
                  <a:pt x="3393185" y="757460"/>
                </a:cubicBezTo>
                <a:lnTo>
                  <a:pt x="3342975" y="770687"/>
                </a:lnTo>
                <a:lnTo>
                  <a:pt x="3291917" y="780409"/>
                </a:lnTo>
                <a:cubicBezTo>
                  <a:pt x="2973092" y="853467"/>
                  <a:pt x="2679548" y="994128"/>
                  <a:pt x="2400079" y="1173988"/>
                </a:cubicBezTo>
                <a:cubicBezTo>
                  <a:pt x="2357675" y="1203326"/>
                  <a:pt x="2312502" y="1229200"/>
                  <a:pt x="2269683" y="1256599"/>
                </a:cubicBezTo>
                <a:cubicBezTo>
                  <a:pt x="2262754" y="1262135"/>
                  <a:pt x="2257068" y="1273490"/>
                  <a:pt x="2246824" y="1263510"/>
                </a:cubicBezTo>
                <a:cubicBezTo>
                  <a:pt x="2236994" y="1255472"/>
                  <a:pt x="2238801" y="1244946"/>
                  <a:pt x="2244901" y="1235531"/>
                </a:cubicBezTo>
                <a:cubicBezTo>
                  <a:pt x="2258628" y="1214348"/>
                  <a:pt x="2277477" y="1198153"/>
                  <a:pt x="2297569" y="1187778"/>
                </a:cubicBezTo>
                <a:cubicBezTo>
                  <a:pt x="2412582" y="1118591"/>
                  <a:pt x="2522339" y="1034306"/>
                  <a:pt x="2654790" y="989786"/>
                </a:cubicBezTo>
                <a:cubicBezTo>
                  <a:pt x="2640950" y="972465"/>
                  <a:pt x="2621271" y="984780"/>
                  <a:pt x="2604795" y="974104"/>
                </a:cubicBezTo>
                <a:cubicBezTo>
                  <a:pt x="2642906" y="943655"/>
                  <a:pt x="2685444" y="924427"/>
                  <a:pt x="2728393" y="907142"/>
                </a:cubicBezTo>
                <a:cubicBezTo>
                  <a:pt x="3024345" y="783076"/>
                  <a:pt x="3326509" y="688101"/>
                  <a:pt x="3647056" y="660175"/>
                </a:cubicBezTo>
                <a:cubicBezTo>
                  <a:pt x="3872435" y="642443"/>
                  <a:pt x="4096551" y="647286"/>
                  <a:pt x="4318016" y="687170"/>
                </a:cubicBezTo>
                <a:cubicBezTo>
                  <a:pt x="4385465" y="699121"/>
                  <a:pt x="4446533" y="728661"/>
                  <a:pt x="4516487" y="723856"/>
                </a:cubicBezTo>
                <a:cubicBezTo>
                  <a:pt x="4534357" y="722064"/>
                  <a:pt x="4557763" y="727203"/>
                  <a:pt x="4557781" y="698810"/>
                </a:cubicBezTo>
                <a:cubicBezTo>
                  <a:pt x="4559739" y="670001"/>
                  <a:pt x="4535353" y="679267"/>
                  <a:pt x="4518180" y="674824"/>
                </a:cubicBezTo>
                <a:cubicBezTo>
                  <a:pt x="4497541" y="673149"/>
                  <a:pt x="4471499" y="674658"/>
                  <a:pt x="4454063" y="649993"/>
                </a:cubicBezTo>
                <a:cubicBezTo>
                  <a:pt x="4579151" y="637464"/>
                  <a:pt x="4694375" y="673682"/>
                  <a:pt x="4809052" y="697851"/>
                </a:cubicBezTo>
                <a:cubicBezTo>
                  <a:pt x="4878159" y="717561"/>
                  <a:pt x="4940470" y="752918"/>
                  <a:pt x="5011799" y="764041"/>
                </a:cubicBezTo>
                <a:cubicBezTo>
                  <a:pt x="4951013" y="726331"/>
                  <a:pt x="4884674" y="710086"/>
                  <a:pt x="4817092" y="688021"/>
                </a:cubicBezTo>
                <a:cubicBezTo>
                  <a:pt x="4725971" y="650709"/>
                  <a:pt x="4627357" y="635277"/>
                  <a:pt x="4528741" y="619842"/>
                </a:cubicBezTo>
                <a:cubicBezTo>
                  <a:pt x="4260185" y="577853"/>
                  <a:pt x="3989536" y="554560"/>
                  <a:pt x="3716648" y="568249"/>
                </a:cubicBezTo>
                <a:cubicBezTo>
                  <a:pt x="3682848" y="571413"/>
                  <a:pt x="3645865" y="569175"/>
                  <a:pt x="3612199" y="582452"/>
                </a:cubicBezTo>
                <a:cubicBezTo>
                  <a:pt x="3616756" y="603785"/>
                  <a:pt x="3633383" y="596177"/>
                  <a:pt x="3645435" y="595629"/>
                </a:cubicBezTo>
                <a:cubicBezTo>
                  <a:pt x="3875105" y="579008"/>
                  <a:pt x="4105457" y="584547"/>
                  <a:pt x="4335789" y="618481"/>
                </a:cubicBezTo>
                <a:cubicBezTo>
                  <a:pt x="4348253" y="619874"/>
                  <a:pt x="4371114" y="612962"/>
                  <a:pt x="4369439" y="633599"/>
                </a:cubicBezTo>
                <a:cubicBezTo>
                  <a:pt x="4367764" y="654235"/>
                  <a:pt x="4345187" y="652975"/>
                  <a:pt x="4330367" y="650057"/>
                </a:cubicBezTo>
                <a:cubicBezTo>
                  <a:pt x="4257512" y="641288"/>
                  <a:pt x="4184940" y="624346"/>
                  <a:pt x="4109450" y="622223"/>
                </a:cubicBezTo>
                <a:cubicBezTo>
                  <a:pt x="3783385" y="614827"/>
                  <a:pt x="3459524" y="627237"/>
                  <a:pt x="3144894" y="720819"/>
                </a:cubicBezTo>
                <a:cubicBezTo>
                  <a:pt x="2900781" y="793251"/>
                  <a:pt x="2670360" y="901288"/>
                  <a:pt x="2449900" y="1027476"/>
                </a:cubicBezTo>
                <a:cubicBezTo>
                  <a:pt x="2404727" y="1053349"/>
                  <a:pt x="2357614" y="1079638"/>
                  <a:pt x="2308845" y="1098169"/>
                </a:cubicBezTo>
                <a:cubicBezTo>
                  <a:pt x="2636030" y="864009"/>
                  <a:pt x="2999184" y="703280"/>
                  <a:pt x="3399136" y="619861"/>
                </a:cubicBezTo>
                <a:cubicBezTo>
                  <a:pt x="3380587" y="599489"/>
                  <a:pt x="3359384" y="614158"/>
                  <a:pt x="3330855" y="604030"/>
                </a:cubicBezTo>
                <a:cubicBezTo>
                  <a:pt x="3400677" y="589112"/>
                  <a:pt x="3460803" y="576266"/>
                  <a:pt x="3520230" y="569654"/>
                </a:cubicBezTo>
                <a:cubicBezTo>
                  <a:pt x="3609580" y="560703"/>
                  <a:pt x="3699343" y="553695"/>
                  <a:pt x="3790217" y="542392"/>
                </a:cubicBezTo>
                <a:cubicBezTo>
                  <a:pt x="3796450" y="543088"/>
                  <a:pt x="3811685" y="547944"/>
                  <a:pt x="3810723" y="533954"/>
                </a:cubicBezTo>
                <a:cubicBezTo>
                  <a:pt x="3812117" y="521489"/>
                  <a:pt x="3798540" y="524390"/>
                  <a:pt x="3790368" y="524109"/>
                </a:cubicBezTo>
                <a:cubicBezTo>
                  <a:pt x="3677198" y="525980"/>
                  <a:pt x="3566249" y="519265"/>
                  <a:pt x="3455830" y="552995"/>
                </a:cubicBezTo>
                <a:cubicBezTo>
                  <a:pt x="3431446" y="562261"/>
                  <a:pt x="3401392" y="554486"/>
                  <a:pt x="3373410" y="556409"/>
                </a:cubicBezTo>
                <a:cubicBezTo>
                  <a:pt x="3256777" y="561047"/>
                  <a:pt x="3151198" y="607938"/>
                  <a:pt x="3041191" y="643608"/>
                </a:cubicBezTo>
                <a:cubicBezTo>
                  <a:pt x="2797211" y="726152"/>
                  <a:pt x="2563608" y="828785"/>
                  <a:pt x="2341622" y="957326"/>
                </a:cubicBezTo>
                <a:cubicBezTo>
                  <a:pt x="2202226" y="1035776"/>
                  <a:pt x="2083448" y="1144297"/>
                  <a:pt x="1953599" y="1238958"/>
                </a:cubicBezTo>
                <a:cubicBezTo>
                  <a:pt x="1942791" y="1245322"/>
                  <a:pt x="1930456" y="1254041"/>
                  <a:pt x="1914658" y="1265528"/>
                </a:cubicBezTo>
                <a:cubicBezTo>
                  <a:pt x="1915373" y="1230902"/>
                  <a:pt x="1930211" y="1205424"/>
                  <a:pt x="1953768" y="1192281"/>
                </a:cubicBezTo>
                <a:cubicBezTo>
                  <a:pt x="2070022" y="1128914"/>
                  <a:pt x="2162889" y="1032014"/>
                  <a:pt x="2273195" y="959778"/>
                </a:cubicBezTo>
                <a:cubicBezTo>
                  <a:pt x="2628081" y="731867"/>
                  <a:pt x="3011588" y="580986"/>
                  <a:pt x="3429259" y="514058"/>
                </a:cubicBezTo>
                <a:cubicBezTo>
                  <a:pt x="3602008" y="487291"/>
                  <a:pt x="3774041" y="495152"/>
                  <a:pt x="3947467" y="490544"/>
                </a:cubicBezTo>
                <a:cubicBezTo>
                  <a:pt x="4168684" y="481812"/>
                  <a:pt x="4386005" y="502302"/>
                  <a:pt x="4596509" y="566835"/>
                </a:cubicBezTo>
                <a:cubicBezTo>
                  <a:pt x="4616037" y="572801"/>
                  <a:pt x="4636260" y="572538"/>
                  <a:pt x="4640121" y="600103"/>
                </a:cubicBezTo>
                <a:cubicBezTo>
                  <a:pt x="4639840" y="608275"/>
                  <a:pt x="4648842" y="612435"/>
                  <a:pt x="4657014" y="612717"/>
                </a:cubicBezTo>
                <a:cubicBezTo>
                  <a:pt x="4786923" y="641743"/>
                  <a:pt x="4913502" y="683647"/>
                  <a:pt x="5039385" y="731785"/>
                </a:cubicBezTo>
                <a:cubicBezTo>
                  <a:pt x="5041737" y="733309"/>
                  <a:pt x="5045617" y="732481"/>
                  <a:pt x="5051435" y="731238"/>
                </a:cubicBezTo>
                <a:cubicBezTo>
                  <a:pt x="5055747" y="703956"/>
                  <a:pt x="5046613" y="689683"/>
                  <a:pt x="5018085" y="679555"/>
                </a:cubicBezTo>
                <a:cubicBezTo>
                  <a:pt x="4824207" y="607415"/>
                  <a:pt x="4631439" y="530982"/>
                  <a:pt x="4427845" y="489308"/>
                </a:cubicBezTo>
                <a:lnTo>
                  <a:pt x="4310509" y="471335"/>
                </a:lnTo>
                <a:lnTo>
                  <a:pt x="4176892" y="462604"/>
                </a:lnTo>
                <a:cubicBezTo>
                  <a:pt x="4103169" y="460013"/>
                  <a:pt x="4028959" y="459592"/>
                  <a:pt x="3954287" y="461274"/>
                </a:cubicBezTo>
                <a:cubicBezTo>
                  <a:pt x="3873558" y="461274"/>
                  <a:pt x="3790139" y="463965"/>
                  <a:pt x="3706721" y="469347"/>
                </a:cubicBezTo>
                <a:lnTo>
                  <a:pt x="3819638" y="441228"/>
                </a:lnTo>
                <a:lnTo>
                  <a:pt x="3678438" y="446944"/>
                </a:lnTo>
                <a:cubicBezTo>
                  <a:pt x="3595111" y="454417"/>
                  <a:pt x="3511778" y="466010"/>
                  <a:pt x="3428450" y="481785"/>
                </a:cubicBezTo>
                <a:cubicBezTo>
                  <a:pt x="3241428" y="517687"/>
                  <a:pt x="3054409" y="553586"/>
                  <a:pt x="2876370" y="622042"/>
                </a:cubicBezTo>
                <a:cubicBezTo>
                  <a:pt x="2807509" y="650949"/>
                  <a:pt x="2731736" y="656997"/>
                  <a:pt x="2659974" y="672328"/>
                </a:cubicBezTo>
                <a:cubicBezTo>
                  <a:pt x="2772757" y="625926"/>
                  <a:pt x="2886957" y="583784"/>
                  <a:pt x="3002779" y="546873"/>
                </a:cubicBezTo>
                <a:lnTo>
                  <a:pt x="3243522" y="482631"/>
                </a:lnTo>
                <a:lnTo>
                  <a:pt x="3245900" y="478428"/>
                </a:lnTo>
                <a:cubicBezTo>
                  <a:pt x="3251955" y="475401"/>
                  <a:pt x="3258682" y="473383"/>
                  <a:pt x="3260028" y="466656"/>
                </a:cubicBezTo>
                <a:cubicBezTo>
                  <a:pt x="3257337" y="463965"/>
                  <a:pt x="3254646" y="461274"/>
                  <a:pt x="3251955" y="461274"/>
                </a:cubicBezTo>
                <a:cubicBezTo>
                  <a:pt x="3198135" y="461274"/>
                  <a:pt x="3149699" y="474729"/>
                  <a:pt x="3098571" y="490872"/>
                </a:cubicBezTo>
                <a:cubicBezTo>
                  <a:pt x="2945189" y="541997"/>
                  <a:pt x="2797189" y="601193"/>
                  <a:pt x="2651879" y="673842"/>
                </a:cubicBezTo>
                <a:cubicBezTo>
                  <a:pt x="2619588" y="689986"/>
                  <a:pt x="2587296" y="700749"/>
                  <a:pt x="2549624" y="692677"/>
                </a:cubicBezTo>
                <a:cubicBezTo>
                  <a:pt x="2514642" y="687297"/>
                  <a:pt x="2485041" y="711513"/>
                  <a:pt x="2455442" y="727656"/>
                </a:cubicBezTo>
                <a:cubicBezTo>
                  <a:pt x="2404315" y="754563"/>
                  <a:pt x="2353186" y="768018"/>
                  <a:pt x="2291295" y="751874"/>
                </a:cubicBezTo>
                <a:cubicBezTo>
                  <a:pt x="2751443" y="469347"/>
                  <a:pt x="3235809" y="278306"/>
                  <a:pt x="3763231" y="200274"/>
                </a:cubicBezTo>
                <a:cubicBezTo>
                  <a:pt x="3354210" y="248706"/>
                  <a:pt x="2947880" y="307904"/>
                  <a:pt x="2579224" y="507017"/>
                </a:cubicBezTo>
                <a:cubicBezTo>
                  <a:pt x="2888680" y="294449"/>
                  <a:pt x="3243881" y="211037"/>
                  <a:pt x="3604465" y="146459"/>
                </a:cubicBezTo>
                <a:cubicBezTo>
                  <a:pt x="3967741" y="81881"/>
                  <a:pt x="4331015" y="111479"/>
                  <a:pt x="4702363" y="165295"/>
                </a:cubicBezTo>
                <a:cubicBezTo>
                  <a:pt x="4680835" y="135697"/>
                  <a:pt x="4653927" y="135697"/>
                  <a:pt x="4632399" y="133006"/>
                </a:cubicBezTo>
                <a:cubicBezTo>
                  <a:pt x="4374071" y="95336"/>
                  <a:pt x="4115741" y="71119"/>
                  <a:pt x="3854723" y="89954"/>
                </a:cubicBezTo>
                <a:cubicBezTo>
                  <a:pt x="3822431" y="92645"/>
                  <a:pt x="3790139" y="95336"/>
                  <a:pt x="3763231" y="76501"/>
                </a:cubicBezTo>
                <a:cubicBezTo>
                  <a:pt x="3749775" y="68429"/>
                  <a:pt x="3739012" y="68429"/>
                  <a:pt x="3728249" y="73810"/>
                </a:cubicBezTo>
                <a:cubicBezTo>
                  <a:pt x="3609847" y="124933"/>
                  <a:pt x="3480684" y="133006"/>
                  <a:pt x="3356901" y="157222"/>
                </a:cubicBezTo>
                <a:cubicBezTo>
                  <a:pt x="3106645" y="205656"/>
                  <a:pt x="2867152" y="283686"/>
                  <a:pt x="2633042" y="383243"/>
                </a:cubicBezTo>
                <a:cubicBezTo>
                  <a:pt x="2614206" y="391315"/>
                  <a:pt x="2595370" y="404770"/>
                  <a:pt x="2565769" y="396697"/>
                </a:cubicBezTo>
                <a:cubicBezTo>
                  <a:pt x="2748752" y="283686"/>
                  <a:pt x="2950571" y="229872"/>
                  <a:pt x="3141627" y="151840"/>
                </a:cubicBezTo>
                <a:cubicBezTo>
                  <a:pt x="3012463" y="165295"/>
                  <a:pt x="2896753" y="237944"/>
                  <a:pt x="2756825" y="229872"/>
                </a:cubicBezTo>
                <a:cubicBezTo>
                  <a:pt x="2789116" y="192202"/>
                  <a:pt x="2824099" y="178747"/>
                  <a:pt x="2861770" y="170676"/>
                </a:cubicBezTo>
                <a:cubicBezTo>
                  <a:pt x="2950571" y="154531"/>
                  <a:pt x="3036681" y="135697"/>
                  <a:pt x="3120100" y="103408"/>
                </a:cubicBezTo>
                <a:cubicBezTo>
                  <a:pt x="3184681" y="76501"/>
                  <a:pt x="3251955" y="89954"/>
                  <a:pt x="3319228" y="76501"/>
                </a:cubicBezTo>
                <a:cubicBezTo>
                  <a:pt x="3351519" y="71119"/>
                  <a:pt x="3381119" y="65738"/>
                  <a:pt x="3399956" y="33449"/>
                </a:cubicBezTo>
                <a:cubicBezTo>
                  <a:pt x="3413410" y="14613"/>
                  <a:pt x="3434938" y="11922"/>
                  <a:pt x="3456465" y="6542"/>
                </a:cubicBezTo>
                <a:close/>
                <a:moveTo>
                  <a:pt x="2942330" y="0"/>
                </a:moveTo>
                <a:lnTo>
                  <a:pt x="3174123" y="0"/>
                </a:lnTo>
                <a:lnTo>
                  <a:pt x="3100717" y="23190"/>
                </a:lnTo>
                <a:cubicBezTo>
                  <a:pt x="3070822" y="34458"/>
                  <a:pt x="3041390" y="47575"/>
                  <a:pt x="3012463" y="63047"/>
                </a:cubicBezTo>
                <a:cubicBezTo>
                  <a:pt x="2829480" y="157222"/>
                  <a:pt x="2624969" y="205656"/>
                  <a:pt x="2439295" y="291759"/>
                </a:cubicBezTo>
                <a:cubicBezTo>
                  <a:pt x="2420460" y="299831"/>
                  <a:pt x="2393550" y="310594"/>
                  <a:pt x="2380096" y="291759"/>
                </a:cubicBezTo>
                <a:cubicBezTo>
                  <a:pt x="2366641" y="272924"/>
                  <a:pt x="2382786" y="248706"/>
                  <a:pt x="2396241" y="229872"/>
                </a:cubicBezTo>
                <a:cubicBezTo>
                  <a:pt x="2409696" y="211037"/>
                  <a:pt x="2431223" y="197583"/>
                  <a:pt x="2452751" y="189511"/>
                </a:cubicBezTo>
                <a:cubicBezTo>
                  <a:pt x="2580570" y="142423"/>
                  <a:pt x="2707043" y="89281"/>
                  <a:pt x="2834861" y="39503"/>
                </a:cubicBezTo>
                <a:close/>
                <a:moveTo>
                  <a:pt x="2576296" y="0"/>
                </a:moveTo>
                <a:lnTo>
                  <a:pt x="2746997" y="0"/>
                </a:lnTo>
                <a:lnTo>
                  <a:pt x="2705697" y="14613"/>
                </a:lnTo>
                <a:cubicBezTo>
                  <a:pt x="2641116" y="41521"/>
                  <a:pt x="2573842" y="63047"/>
                  <a:pt x="2509260" y="87263"/>
                </a:cubicBezTo>
                <a:cubicBezTo>
                  <a:pt x="2498497" y="92645"/>
                  <a:pt x="2487732" y="106099"/>
                  <a:pt x="2476969" y="89954"/>
                </a:cubicBezTo>
                <a:cubicBezTo>
                  <a:pt x="2466205" y="76501"/>
                  <a:pt x="2471587" y="63047"/>
                  <a:pt x="2482350" y="52283"/>
                </a:cubicBezTo>
                <a:cubicBezTo>
                  <a:pt x="2506569" y="28067"/>
                  <a:pt x="2536169" y="11922"/>
                  <a:pt x="2565769" y="385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373397447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0202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BDDBCD3-13D8-4B61-A324-65F1C4F838CB}"/>
              </a:ext>
            </a:extLst>
          </p:cNvPr>
          <p:cNvSpPr/>
          <p:nvPr userDrawn="1"/>
        </p:nvSpPr>
        <p:spPr>
          <a:xfrm>
            <a:off x="3397776" y="2717708"/>
            <a:ext cx="8794227" cy="240487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grpSp>
        <p:nvGrpSpPr>
          <p:cNvPr id="3" name="Group 3">
            <a:extLst>
              <a:ext uri="{FF2B5EF4-FFF2-40B4-BE49-F238E27FC236}">
                <a16:creationId xmlns:a16="http://schemas.microsoft.com/office/drawing/2014/main" xmlns="" id="{27C1F53F-D199-4227-A23E-2B5F143EB982}"/>
              </a:ext>
            </a:extLst>
          </p:cNvPr>
          <p:cNvGrpSpPr/>
          <p:nvPr userDrawn="1"/>
        </p:nvGrpSpPr>
        <p:grpSpPr>
          <a:xfrm>
            <a:off x="733479" y="1571015"/>
            <a:ext cx="2664296" cy="4683693"/>
            <a:chOff x="445712" y="1449040"/>
            <a:chExt cx="2113018" cy="3924176"/>
          </a:xfrm>
        </p:grpSpPr>
        <p:sp>
          <p:nvSpPr>
            <p:cNvPr id="4" name="Rounded Rectangle 4">
              <a:extLst>
                <a:ext uri="{FF2B5EF4-FFF2-40B4-BE49-F238E27FC236}">
                  <a16:creationId xmlns:a16="http://schemas.microsoft.com/office/drawing/2014/main" xmlns="" id="{4B09402C-7E86-41C9-8E37-9EF71EDF1056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5" name="Rectangle 5">
              <a:extLst>
                <a:ext uri="{FF2B5EF4-FFF2-40B4-BE49-F238E27FC236}">
                  <a16:creationId xmlns:a16="http://schemas.microsoft.com/office/drawing/2014/main" xmlns="" id="{41DF11FE-4210-4E1A-AAC1-AD2FF969D36A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6" name="Group 6">
              <a:extLst>
                <a:ext uri="{FF2B5EF4-FFF2-40B4-BE49-F238E27FC236}">
                  <a16:creationId xmlns:a16="http://schemas.microsoft.com/office/drawing/2014/main" xmlns="" id="{0E578CC1-F58F-4C71-AB27-A73396D54EA3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7" name="Oval 7">
                <a:extLst>
                  <a:ext uri="{FF2B5EF4-FFF2-40B4-BE49-F238E27FC236}">
                    <a16:creationId xmlns:a16="http://schemas.microsoft.com/office/drawing/2014/main" xmlns="" id="{FF38739C-F2ED-4F4B-9A89-B33A3B4C6A37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8" name="Rounded Rectangle 8">
                <a:extLst>
                  <a:ext uri="{FF2B5EF4-FFF2-40B4-BE49-F238E27FC236}">
                    <a16:creationId xmlns:a16="http://schemas.microsoft.com/office/drawing/2014/main" xmlns="" id="{42258DA3-8567-4D16-9190-D371531398A8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xmlns="" id="{4BFDD25E-3936-4728-A24A-3CD8211A0ED0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921397" y="1982585"/>
            <a:ext cx="2288460" cy="375307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xmlns="" id="{23ED7D35-2C36-4F32-8052-655C68EBBC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1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44528347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그림 개체 틀 4">
            <a:extLst>
              <a:ext uri="{FF2B5EF4-FFF2-40B4-BE49-F238E27FC236}">
                <a16:creationId xmlns:a16="http://schemas.microsoft.com/office/drawing/2014/main" xmlns="" id="{57C785B3-4CDD-47C9-885D-AB93DA70ABE1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0" y="0"/>
            <a:ext cx="12192000" cy="446945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200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0088868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57211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ight Triangle 11">
            <a:extLst>
              <a:ext uri="{FF2B5EF4-FFF2-40B4-BE49-F238E27FC236}">
                <a16:creationId xmlns:a16="http://schemas.microsoft.com/office/drawing/2014/main" xmlns="" id="{CE9E7B4D-348B-4E1F-99B3-41DF1EE1255F}"/>
              </a:ext>
            </a:extLst>
          </p:cNvPr>
          <p:cNvSpPr/>
          <p:nvPr userDrawn="1"/>
        </p:nvSpPr>
        <p:spPr>
          <a:xfrm flipH="1" flipV="1">
            <a:off x="11280575" y="7851"/>
            <a:ext cx="911424" cy="6858000"/>
          </a:xfrm>
          <a:prstGeom prst="rtTriangle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Right Triangle 12">
            <a:extLst>
              <a:ext uri="{FF2B5EF4-FFF2-40B4-BE49-F238E27FC236}">
                <a16:creationId xmlns:a16="http://schemas.microsoft.com/office/drawing/2014/main" xmlns="" id="{41E53D8E-B3AC-4804-A5B9-B6DD372487C7}"/>
              </a:ext>
            </a:extLst>
          </p:cNvPr>
          <p:cNvSpPr/>
          <p:nvPr userDrawn="1"/>
        </p:nvSpPr>
        <p:spPr>
          <a:xfrm>
            <a:off x="-10152" y="0"/>
            <a:ext cx="1546199" cy="6858000"/>
          </a:xfrm>
          <a:prstGeom prst="rtTriangle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pSp>
        <p:nvGrpSpPr>
          <p:cNvPr id="2" name="Graphic 14">
            <a:extLst>
              <a:ext uri="{FF2B5EF4-FFF2-40B4-BE49-F238E27FC236}">
                <a16:creationId xmlns:a16="http://schemas.microsoft.com/office/drawing/2014/main" xmlns="" id="{B1E1076E-1DE3-41C9-B4B8-70E798437C60}"/>
              </a:ext>
            </a:extLst>
          </p:cNvPr>
          <p:cNvGrpSpPr/>
          <p:nvPr userDrawn="1"/>
        </p:nvGrpSpPr>
        <p:grpSpPr>
          <a:xfrm>
            <a:off x="925069" y="1819851"/>
            <a:ext cx="5385035" cy="4235422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D956C7C8-BB78-45B3-ADBE-AEB4A454F274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A4DBC72D-1BB7-4910-AB89-FF08815C60E6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9D6A344C-FB5E-42E5-A658-3B0799340A43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E878AC8A-1FEA-4A2F-B2E6-A80E7F927FC9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7E270177-09BF-4C36-B07D-E04B0676F772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90FB4BFC-90EB-4218-B42B-C23204E79F20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2229AB61-F657-4732-9711-9B0F1D15607B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A7ECA0D5-69BA-4C03-B665-D6AC5490D28C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xmlns="" id="{FDAED4C4-F714-4D00-8A06-F47702F23BA9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1111012" y="2064003"/>
            <a:ext cx="5023088" cy="286193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xmlns="" id="{66C2918E-7294-4AB4-B4BB-F01B1CE42A0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14435116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434786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A4580AF-3414-46B4-BBFA-C4FCC424BB58}"/>
              </a:ext>
            </a:extLst>
          </p:cNvPr>
          <p:cNvSpPr/>
          <p:nvPr userDrawn="1"/>
        </p:nvSpPr>
        <p:spPr>
          <a:xfrm flipH="1">
            <a:off x="0" y="-1"/>
            <a:ext cx="3607904" cy="68580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/>
          </a:p>
        </p:txBody>
      </p:sp>
      <p:pic>
        <p:nvPicPr>
          <p:cNvPr id="4" name="Picture 3" descr="E:\002-KIMS BUSINESS\007-02-MaxPPT-Contents\150902-com-Global-Laptop\mo900.png">
            <a:extLst>
              <a:ext uri="{FF2B5EF4-FFF2-40B4-BE49-F238E27FC236}">
                <a16:creationId xmlns:a16="http://schemas.microsoft.com/office/drawing/2014/main" xmlns="" id="{B6E3BFF2-CA30-4CB4-BD72-23018CB9987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8253"/>
          <a:stretch/>
        </p:blipFill>
        <p:spPr bwMode="auto">
          <a:xfrm>
            <a:off x="-1" y="549778"/>
            <a:ext cx="5139665" cy="6308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그림 개체 틀 2">
            <a:extLst>
              <a:ext uri="{FF2B5EF4-FFF2-40B4-BE49-F238E27FC236}">
                <a16:creationId xmlns:a16="http://schemas.microsoft.com/office/drawing/2014/main" xmlns="" id="{FCEDB44B-B298-47D4-9B34-97201A4B19E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219265" y="1017019"/>
            <a:ext cx="2398240" cy="3733886"/>
          </a:xfrm>
          <a:custGeom>
            <a:avLst/>
            <a:gdLst>
              <a:gd name="connsiteX0" fmla="*/ 0 w 1746098"/>
              <a:gd name="connsiteY0" fmla="*/ 0 h 2942176"/>
              <a:gd name="connsiteX1" fmla="*/ 1746098 w 1746098"/>
              <a:gd name="connsiteY1" fmla="*/ 0 h 2942176"/>
              <a:gd name="connsiteX2" fmla="*/ 1746098 w 1746098"/>
              <a:gd name="connsiteY2" fmla="*/ 2942176 h 2942176"/>
              <a:gd name="connsiteX3" fmla="*/ 0 w 1746098"/>
              <a:gd name="connsiteY3" fmla="*/ 2942176 h 2942176"/>
              <a:gd name="connsiteX4" fmla="*/ 0 w 1746098"/>
              <a:gd name="connsiteY4" fmla="*/ 0 h 2942176"/>
              <a:gd name="connsiteX0" fmla="*/ 21771 w 1746098"/>
              <a:gd name="connsiteY0" fmla="*/ 0 h 2991162"/>
              <a:gd name="connsiteX1" fmla="*/ 1746098 w 1746098"/>
              <a:gd name="connsiteY1" fmla="*/ 48986 h 2991162"/>
              <a:gd name="connsiteX2" fmla="*/ 1746098 w 1746098"/>
              <a:gd name="connsiteY2" fmla="*/ 2991162 h 2991162"/>
              <a:gd name="connsiteX3" fmla="*/ 0 w 1746098"/>
              <a:gd name="connsiteY3" fmla="*/ 2991162 h 2991162"/>
              <a:gd name="connsiteX4" fmla="*/ 21771 w 1746098"/>
              <a:gd name="connsiteY4" fmla="*/ 0 h 2991162"/>
              <a:gd name="connsiteX0" fmla="*/ 21771 w 1795084"/>
              <a:gd name="connsiteY0" fmla="*/ 38100 h 3029262"/>
              <a:gd name="connsiteX1" fmla="*/ 1795084 w 1795084"/>
              <a:gd name="connsiteY1" fmla="*/ 0 h 3029262"/>
              <a:gd name="connsiteX2" fmla="*/ 1746098 w 1795084"/>
              <a:gd name="connsiteY2" fmla="*/ 3029262 h 3029262"/>
              <a:gd name="connsiteX3" fmla="*/ 0 w 1795084"/>
              <a:gd name="connsiteY3" fmla="*/ 3029262 h 3029262"/>
              <a:gd name="connsiteX4" fmla="*/ 21771 w 1795084"/>
              <a:gd name="connsiteY4" fmla="*/ 38100 h 3029262"/>
              <a:gd name="connsiteX0" fmla="*/ 212271 w 1985584"/>
              <a:gd name="connsiteY0" fmla="*/ 38100 h 3067362"/>
              <a:gd name="connsiteX1" fmla="*/ 1985584 w 1985584"/>
              <a:gd name="connsiteY1" fmla="*/ 0 h 3067362"/>
              <a:gd name="connsiteX2" fmla="*/ 1936598 w 1985584"/>
              <a:gd name="connsiteY2" fmla="*/ 3029262 h 3067362"/>
              <a:gd name="connsiteX3" fmla="*/ 0 w 1985584"/>
              <a:gd name="connsiteY3" fmla="*/ 3067362 h 3067362"/>
              <a:gd name="connsiteX4" fmla="*/ 212271 w 1985584"/>
              <a:gd name="connsiteY4" fmla="*/ 38100 h 3067362"/>
              <a:gd name="connsiteX0" fmla="*/ 212271 w 1985584"/>
              <a:gd name="connsiteY0" fmla="*/ 38100 h 3110905"/>
              <a:gd name="connsiteX1" fmla="*/ 1985584 w 1985584"/>
              <a:gd name="connsiteY1" fmla="*/ 0 h 3110905"/>
              <a:gd name="connsiteX2" fmla="*/ 1800526 w 1985584"/>
              <a:gd name="connsiteY2" fmla="*/ 3110905 h 3110905"/>
              <a:gd name="connsiteX3" fmla="*/ 0 w 1985584"/>
              <a:gd name="connsiteY3" fmla="*/ 3067362 h 3110905"/>
              <a:gd name="connsiteX4" fmla="*/ 212271 w 1985584"/>
              <a:gd name="connsiteY4" fmla="*/ 38100 h 3110905"/>
              <a:gd name="connsiteX0" fmla="*/ 212271 w 1985584"/>
              <a:gd name="connsiteY0" fmla="*/ 16329 h 3110905"/>
              <a:gd name="connsiteX1" fmla="*/ 1985584 w 1985584"/>
              <a:gd name="connsiteY1" fmla="*/ 0 h 3110905"/>
              <a:gd name="connsiteX2" fmla="*/ 1800526 w 1985584"/>
              <a:gd name="connsiteY2" fmla="*/ 3110905 h 3110905"/>
              <a:gd name="connsiteX3" fmla="*/ 0 w 1985584"/>
              <a:gd name="connsiteY3" fmla="*/ 3067362 h 3110905"/>
              <a:gd name="connsiteX4" fmla="*/ 212271 w 1985584"/>
              <a:gd name="connsiteY4" fmla="*/ 16329 h 3110905"/>
              <a:gd name="connsiteX0" fmla="*/ 195942 w 1985584"/>
              <a:gd name="connsiteY0" fmla="*/ 21772 h 3110905"/>
              <a:gd name="connsiteX1" fmla="*/ 1985584 w 1985584"/>
              <a:gd name="connsiteY1" fmla="*/ 0 h 3110905"/>
              <a:gd name="connsiteX2" fmla="*/ 1800526 w 1985584"/>
              <a:gd name="connsiteY2" fmla="*/ 3110905 h 3110905"/>
              <a:gd name="connsiteX3" fmla="*/ 0 w 1985584"/>
              <a:gd name="connsiteY3" fmla="*/ 3067362 h 3110905"/>
              <a:gd name="connsiteX4" fmla="*/ 195942 w 1985584"/>
              <a:gd name="connsiteY4" fmla="*/ 21772 h 3110905"/>
              <a:gd name="connsiteX0" fmla="*/ 195942 w 1985584"/>
              <a:gd name="connsiteY0" fmla="*/ 21772 h 3110905"/>
              <a:gd name="connsiteX1" fmla="*/ 1985584 w 1985584"/>
              <a:gd name="connsiteY1" fmla="*/ 0 h 3110905"/>
              <a:gd name="connsiteX2" fmla="*/ 1831006 w 1985584"/>
              <a:gd name="connsiteY2" fmla="*/ 3110905 h 3110905"/>
              <a:gd name="connsiteX3" fmla="*/ 0 w 1985584"/>
              <a:gd name="connsiteY3" fmla="*/ 3067362 h 3110905"/>
              <a:gd name="connsiteX4" fmla="*/ 195942 w 1985584"/>
              <a:gd name="connsiteY4" fmla="*/ 21772 h 3110905"/>
              <a:gd name="connsiteX0" fmla="*/ 195942 w 1985584"/>
              <a:gd name="connsiteY0" fmla="*/ 21772 h 3110905"/>
              <a:gd name="connsiteX1" fmla="*/ 1985584 w 1985584"/>
              <a:gd name="connsiteY1" fmla="*/ 0 h 3110905"/>
              <a:gd name="connsiteX2" fmla="*/ 1831006 w 1985584"/>
              <a:gd name="connsiteY2" fmla="*/ 3110905 h 3110905"/>
              <a:gd name="connsiteX3" fmla="*/ 0 w 1985584"/>
              <a:gd name="connsiteY3" fmla="*/ 3075245 h 3110905"/>
              <a:gd name="connsiteX4" fmla="*/ 195942 w 1985584"/>
              <a:gd name="connsiteY4" fmla="*/ 21772 h 3110905"/>
              <a:gd name="connsiteX0" fmla="*/ 195942 w 1998431"/>
              <a:gd name="connsiteY0" fmla="*/ 28227 h 3117360"/>
              <a:gd name="connsiteX1" fmla="*/ 1998431 w 1998431"/>
              <a:gd name="connsiteY1" fmla="*/ 0 h 3117360"/>
              <a:gd name="connsiteX2" fmla="*/ 1831006 w 1998431"/>
              <a:gd name="connsiteY2" fmla="*/ 3117360 h 3117360"/>
              <a:gd name="connsiteX3" fmla="*/ 0 w 1998431"/>
              <a:gd name="connsiteY3" fmla="*/ 3081700 h 3117360"/>
              <a:gd name="connsiteX4" fmla="*/ 195942 w 1998431"/>
              <a:gd name="connsiteY4" fmla="*/ 28227 h 3117360"/>
              <a:gd name="connsiteX0" fmla="*/ 195942 w 2004855"/>
              <a:gd name="connsiteY0" fmla="*/ 60503 h 3149636"/>
              <a:gd name="connsiteX1" fmla="*/ 2004855 w 2004855"/>
              <a:gd name="connsiteY1" fmla="*/ 0 h 3149636"/>
              <a:gd name="connsiteX2" fmla="*/ 1831006 w 2004855"/>
              <a:gd name="connsiteY2" fmla="*/ 3149636 h 3149636"/>
              <a:gd name="connsiteX3" fmla="*/ 0 w 2004855"/>
              <a:gd name="connsiteY3" fmla="*/ 3113976 h 3149636"/>
              <a:gd name="connsiteX4" fmla="*/ 195942 w 2004855"/>
              <a:gd name="connsiteY4" fmla="*/ 60503 h 3149636"/>
              <a:gd name="connsiteX0" fmla="*/ 195942 w 2004855"/>
              <a:gd name="connsiteY0" fmla="*/ 47593 h 3136726"/>
              <a:gd name="connsiteX1" fmla="*/ 2004855 w 2004855"/>
              <a:gd name="connsiteY1" fmla="*/ 0 h 3136726"/>
              <a:gd name="connsiteX2" fmla="*/ 1831006 w 2004855"/>
              <a:gd name="connsiteY2" fmla="*/ 3136726 h 3136726"/>
              <a:gd name="connsiteX3" fmla="*/ 0 w 2004855"/>
              <a:gd name="connsiteY3" fmla="*/ 3101066 h 3136726"/>
              <a:gd name="connsiteX4" fmla="*/ 195942 w 2004855"/>
              <a:gd name="connsiteY4" fmla="*/ 47593 h 31367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04855" h="3136726">
                <a:moveTo>
                  <a:pt x="195942" y="47593"/>
                </a:moveTo>
                <a:lnTo>
                  <a:pt x="2004855" y="0"/>
                </a:lnTo>
                <a:lnTo>
                  <a:pt x="1831006" y="3136726"/>
                </a:lnTo>
                <a:lnTo>
                  <a:pt x="0" y="3101066"/>
                </a:lnTo>
                <a:lnTo>
                  <a:pt x="195942" y="4759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5400">
            <a:noFill/>
          </a:ln>
          <a:effectLst/>
        </p:spPr>
        <p:txBody>
          <a:bodyPr lIns="252000" tIns="216000" anchor="ctr"/>
          <a:lstStyle>
            <a:lvl1pPr marL="0" indent="0" algn="ctr">
              <a:buFontTx/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4673575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849442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제목 1">
            <a:extLst>
              <a:ext uri="{FF2B5EF4-FFF2-40B4-BE49-F238E27FC236}">
                <a16:creationId xmlns:a16="http://schemas.microsoft.com/office/drawing/2014/main" xmlns="" id="{F17AA797-1798-4C08-849E-9333A776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15439"/>
            <a:ext cx="12192000" cy="710877"/>
          </a:xfrm>
          <a:prstGeom prst="rect">
            <a:avLst/>
          </a:prstGeom>
        </p:spPr>
        <p:txBody>
          <a:bodyPr lIns="144000" anchor="ctr">
            <a:noAutofit/>
          </a:bodyPr>
          <a:lstStyle>
            <a:lvl1pPr algn="ctr">
              <a:defRPr sz="48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US" altLang="ko-KR" dirty="0"/>
              <a:t>Images &amp; Contents</a:t>
            </a:r>
            <a:endParaRPr lang="ko-KR" altLang="en-US" dirty="0"/>
          </a:p>
        </p:txBody>
      </p:sp>
      <p:sp>
        <p:nvSpPr>
          <p:cNvPr id="4" name="그림 개체 틀 2">
            <a:extLst>
              <a:ext uri="{FF2B5EF4-FFF2-40B4-BE49-F238E27FC236}">
                <a16:creationId xmlns:a16="http://schemas.microsoft.com/office/drawing/2014/main" xmlns="" id="{9BB34080-9877-4AF5-88DD-E869B8D494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3" y="1124744"/>
            <a:ext cx="7055584" cy="403244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defRPr>
            </a:lvl1pPr>
          </a:lstStyle>
          <a:p>
            <a:r>
              <a:rPr lang="en-US" altLang="ko-KR" dirty="0"/>
              <a:t>Place Your Picture Here</a:t>
            </a:r>
            <a:endParaRPr lang="ko-KR" alt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6948416-229E-4F1F-9D54-8C98E04342E2}"/>
              </a:ext>
            </a:extLst>
          </p:cNvPr>
          <p:cNvSpPr/>
          <p:nvPr userDrawn="1"/>
        </p:nvSpPr>
        <p:spPr>
          <a:xfrm>
            <a:off x="7056106" y="1124744"/>
            <a:ext cx="2112235" cy="57985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147B358A-3674-4B1D-B9BD-E7F0E5CD10C2}"/>
              </a:ext>
            </a:extLst>
          </p:cNvPr>
          <p:cNvSpPr/>
          <p:nvPr userDrawn="1"/>
        </p:nvSpPr>
        <p:spPr>
          <a:xfrm>
            <a:off x="9168341" y="1124745"/>
            <a:ext cx="3023659" cy="1632181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80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98831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2D44A8BB-EEB9-45D1-BB64-2875A26CE44A}"/>
              </a:ext>
            </a:extLst>
          </p:cNvPr>
          <p:cNvGrpSpPr/>
          <p:nvPr userDrawn="1"/>
        </p:nvGrpSpPr>
        <p:grpSpPr>
          <a:xfrm>
            <a:off x="1287022" y="1127084"/>
            <a:ext cx="9617956" cy="5644480"/>
            <a:chOff x="2687161" y="3731096"/>
            <a:chExt cx="5158677" cy="3027467"/>
          </a:xfrm>
          <a:solidFill>
            <a:schemeClr val="bg1">
              <a:alpha val="5000"/>
            </a:schemeClr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9DB3861F-8715-46B6-A84E-EE57AF93D8CE}"/>
                </a:ext>
              </a:extLst>
            </p:cNvPr>
            <p:cNvSpPr/>
            <p:nvPr/>
          </p:nvSpPr>
          <p:spPr>
            <a:xfrm>
              <a:off x="4877977" y="3996527"/>
              <a:ext cx="2967861" cy="2340761"/>
            </a:xfrm>
            <a:custGeom>
              <a:avLst/>
              <a:gdLst>
                <a:gd name="connsiteX0" fmla="*/ 2965999 w 2967861"/>
                <a:gd name="connsiteY0" fmla="*/ 516271 h 2340761"/>
                <a:gd name="connsiteX1" fmla="*/ 2956685 w 2967861"/>
                <a:gd name="connsiteY1" fmla="*/ 502612 h 2340761"/>
                <a:gd name="connsiteX2" fmla="*/ 2945199 w 2967861"/>
                <a:gd name="connsiteY2" fmla="*/ 489883 h 2340761"/>
                <a:gd name="connsiteX3" fmla="*/ 2934644 w 2967861"/>
                <a:gd name="connsiteY3" fmla="*/ 477155 h 2340761"/>
                <a:gd name="connsiteX4" fmla="*/ 2930608 w 2967861"/>
                <a:gd name="connsiteY4" fmla="*/ 477155 h 2340761"/>
                <a:gd name="connsiteX5" fmla="*/ 2929677 w 2967861"/>
                <a:gd name="connsiteY5" fmla="*/ 477155 h 2340761"/>
                <a:gd name="connsiteX6" fmla="*/ 2927503 w 2967861"/>
                <a:gd name="connsiteY6" fmla="*/ 479328 h 2340761"/>
                <a:gd name="connsiteX7" fmla="*/ 2925330 w 2967861"/>
                <a:gd name="connsiteY7" fmla="*/ 479328 h 2340761"/>
                <a:gd name="connsiteX8" fmla="*/ 2923158 w 2967861"/>
                <a:gd name="connsiteY8" fmla="*/ 480260 h 2340761"/>
                <a:gd name="connsiteX9" fmla="*/ 2905462 w 2967861"/>
                <a:gd name="connsiteY9" fmla="*/ 477155 h 2340761"/>
                <a:gd name="connsiteX10" fmla="*/ 2896149 w 2967861"/>
                <a:gd name="connsiteY10" fmla="*/ 469705 h 2340761"/>
                <a:gd name="connsiteX11" fmla="*/ 2889008 w 2967861"/>
                <a:gd name="connsiteY11" fmla="*/ 460081 h 2340761"/>
                <a:gd name="connsiteX12" fmla="*/ 2881868 w 2967861"/>
                <a:gd name="connsiteY12" fmla="*/ 449526 h 2340761"/>
                <a:gd name="connsiteX13" fmla="*/ 2871313 w 2967861"/>
                <a:gd name="connsiteY13" fmla="*/ 439902 h 2340761"/>
                <a:gd name="connsiteX14" fmla="*/ 2866035 w 2967861"/>
                <a:gd name="connsiteY14" fmla="*/ 435555 h 2340761"/>
                <a:gd name="connsiteX15" fmla="*/ 2859827 w 2967861"/>
                <a:gd name="connsiteY15" fmla="*/ 435555 h 2340761"/>
                <a:gd name="connsiteX16" fmla="*/ 2854549 w 2967861"/>
                <a:gd name="connsiteY16" fmla="*/ 434624 h 2340761"/>
                <a:gd name="connsiteX17" fmla="*/ 2849271 w 2967861"/>
                <a:gd name="connsiteY17" fmla="*/ 434624 h 2340761"/>
                <a:gd name="connsiteX18" fmla="*/ 2843994 w 2967861"/>
                <a:gd name="connsiteY18" fmla="*/ 430278 h 2340761"/>
                <a:gd name="connsiteX19" fmla="*/ 2810776 w 2967861"/>
                <a:gd name="connsiteY19" fmla="*/ 395508 h 2340761"/>
                <a:gd name="connsiteX20" fmla="*/ 2751481 w 2967861"/>
                <a:gd name="connsiteY20" fmla="*/ 370051 h 2340761"/>
                <a:gd name="connsiteX21" fmla="*/ 2747445 w 2967861"/>
                <a:gd name="connsiteY21" fmla="*/ 370983 h 2340761"/>
                <a:gd name="connsiteX22" fmla="*/ 2744340 w 2967861"/>
                <a:gd name="connsiteY22" fmla="*/ 373156 h 2340761"/>
                <a:gd name="connsiteX23" fmla="*/ 2740305 w 2967861"/>
                <a:gd name="connsiteY23" fmla="*/ 377502 h 2340761"/>
                <a:gd name="connsiteX24" fmla="*/ 2735027 w 2967861"/>
                <a:gd name="connsiteY24" fmla="*/ 378433 h 2340761"/>
                <a:gd name="connsiteX25" fmla="*/ 2729750 w 2967861"/>
                <a:gd name="connsiteY25" fmla="*/ 378433 h 2340761"/>
                <a:gd name="connsiteX26" fmla="*/ 2723541 w 2967861"/>
                <a:gd name="connsiteY26" fmla="*/ 378433 h 2340761"/>
                <a:gd name="connsiteX27" fmla="*/ 2708950 w 2967861"/>
                <a:gd name="connsiteY27" fmla="*/ 373156 h 2340761"/>
                <a:gd name="connsiteX28" fmla="*/ 2696532 w 2967861"/>
                <a:gd name="connsiteY28" fmla="*/ 365705 h 2340761"/>
                <a:gd name="connsiteX29" fmla="*/ 2678836 w 2967861"/>
                <a:gd name="connsiteY29" fmla="*/ 362601 h 2340761"/>
                <a:gd name="connsiteX30" fmla="*/ 2678836 w 2967861"/>
                <a:gd name="connsiteY30" fmla="*/ 367878 h 2340761"/>
                <a:gd name="connsiteX31" fmla="*/ 2678836 w 2967861"/>
                <a:gd name="connsiteY31" fmla="*/ 373156 h 2340761"/>
                <a:gd name="connsiteX32" fmla="*/ 2676664 w 2967861"/>
                <a:gd name="connsiteY32" fmla="*/ 377502 h 2340761"/>
                <a:gd name="connsiteX33" fmla="*/ 2676664 w 2967861"/>
                <a:gd name="connsiteY33" fmla="*/ 380607 h 2340761"/>
                <a:gd name="connsiteX34" fmla="*/ 2678836 w 2967861"/>
                <a:gd name="connsiteY34" fmla="*/ 382780 h 2340761"/>
                <a:gd name="connsiteX35" fmla="*/ 2681010 w 2967861"/>
                <a:gd name="connsiteY35" fmla="*/ 385884 h 2340761"/>
                <a:gd name="connsiteX36" fmla="*/ 2684114 w 2967861"/>
                <a:gd name="connsiteY36" fmla="*/ 392093 h 2340761"/>
                <a:gd name="connsiteX37" fmla="*/ 2681941 w 2967861"/>
                <a:gd name="connsiteY37" fmla="*/ 397371 h 2340761"/>
                <a:gd name="connsiteX38" fmla="*/ 2681941 w 2967861"/>
                <a:gd name="connsiteY38" fmla="*/ 400475 h 2340761"/>
                <a:gd name="connsiteX39" fmla="*/ 2681010 w 2967861"/>
                <a:gd name="connsiteY39" fmla="*/ 404821 h 2340761"/>
                <a:gd name="connsiteX40" fmla="*/ 2678836 w 2967861"/>
                <a:gd name="connsiteY40" fmla="*/ 406994 h 2340761"/>
                <a:gd name="connsiteX41" fmla="*/ 2678836 w 2967861"/>
                <a:gd name="connsiteY41" fmla="*/ 412272 h 2340761"/>
                <a:gd name="connsiteX42" fmla="*/ 2671696 w 2967861"/>
                <a:gd name="connsiteY42" fmla="*/ 406994 h 2340761"/>
                <a:gd name="connsiteX43" fmla="*/ 2666419 w 2967861"/>
                <a:gd name="connsiteY43" fmla="*/ 402648 h 2340761"/>
                <a:gd name="connsiteX44" fmla="*/ 2660210 w 2967861"/>
                <a:gd name="connsiteY44" fmla="*/ 395198 h 2340761"/>
                <a:gd name="connsiteX45" fmla="*/ 2654932 w 2967861"/>
                <a:gd name="connsiteY45" fmla="*/ 389920 h 2340761"/>
                <a:gd name="connsiteX46" fmla="*/ 2651828 w 2967861"/>
                <a:gd name="connsiteY46" fmla="*/ 382469 h 2340761"/>
                <a:gd name="connsiteX47" fmla="*/ 2616437 w 2967861"/>
                <a:gd name="connsiteY47" fmla="*/ 382469 h 2340761"/>
                <a:gd name="connsiteX48" fmla="*/ 2581978 w 2967861"/>
                <a:gd name="connsiteY48" fmla="*/ 382469 h 2340761"/>
                <a:gd name="connsiteX49" fmla="*/ 2547518 w 2967861"/>
                <a:gd name="connsiteY49" fmla="*/ 385574 h 2340761"/>
                <a:gd name="connsiteX50" fmla="*/ 2544414 w 2967861"/>
                <a:gd name="connsiteY50" fmla="*/ 384642 h 2340761"/>
                <a:gd name="connsiteX51" fmla="*/ 2542240 w 2967861"/>
                <a:gd name="connsiteY51" fmla="*/ 380296 h 2340761"/>
                <a:gd name="connsiteX52" fmla="*/ 2538205 w 2967861"/>
                <a:gd name="connsiteY52" fmla="*/ 378123 h 2340761"/>
                <a:gd name="connsiteX53" fmla="*/ 2535100 w 2967861"/>
                <a:gd name="connsiteY53" fmla="*/ 365395 h 2340761"/>
                <a:gd name="connsiteX54" fmla="*/ 2532927 w 2967861"/>
                <a:gd name="connsiteY54" fmla="*/ 350493 h 2340761"/>
                <a:gd name="connsiteX55" fmla="*/ 2527650 w 2967861"/>
                <a:gd name="connsiteY55" fmla="*/ 333419 h 2340761"/>
                <a:gd name="connsiteX56" fmla="*/ 2515232 w 2967861"/>
                <a:gd name="connsiteY56" fmla="*/ 330314 h 2340761"/>
                <a:gd name="connsiteX57" fmla="*/ 2498468 w 2967861"/>
                <a:gd name="connsiteY57" fmla="*/ 327210 h 2340761"/>
                <a:gd name="connsiteX58" fmla="*/ 2481703 w 2967861"/>
                <a:gd name="connsiteY58" fmla="*/ 325037 h 2340761"/>
                <a:gd name="connsiteX59" fmla="*/ 2464008 w 2967861"/>
                <a:gd name="connsiteY59" fmla="*/ 325037 h 2340761"/>
                <a:gd name="connsiteX60" fmla="*/ 2451590 w 2967861"/>
                <a:gd name="connsiteY60" fmla="*/ 330314 h 2340761"/>
                <a:gd name="connsiteX61" fmla="*/ 2437931 w 2967861"/>
                <a:gd name="connsiteY61" fmla="*/ 325037 h 2340761"/>
                <a:gd name="connsiteX62" fmla="*/ 2427375 w 2967861"/>
                <a:gd name="connsiteY62" fmla="*/ 315413 h 2340761"/>
                <a:gd name="connsiteX63" fmla="*/ 2420235 w 2967861"/>
                <a:gd name="connsiteY63" fmla="*/ 304858 h 2340761"/>
                <a:gd name="connsiteX64" fmla="*/ 2414958 w 2967861"/>
                <a:gd name="connsiteY64" fmla="*/ 293371 h 2340761"/>
                <a:gd name="connsiteX65" fmla="*/ 2401298 w 2967861"/>
                <a:gd name="connsiteY65" fmla="*/ 293371 h 2340761"/>
                <a:gd name="connsiteX66" fmla="*/ 2388880 w 2967861"/>
                <a:gd name="connsiteY66" fmla="*/ 293371 h 2340761"/>
                <a:gd name="connsiteX67" fmla="*/ 2378325 w 2967861"/>
                <a:gd name="connsiteY67" fmla="*/ 297718 h 2340761"/>
                <a:gd name="connsiteX68" fmla="*/ 2373047 w 2967861"/>
                <a:gd name="connsiteY68" fmla="*/ 295544 h 2340761"/>
                <a:gd name="connsiteX69" fmla="*/ 2369012 w 2967861"/>
                <a:gd name="connsiteY69" fmla="*/ 293371 h 2340761"/>
                <a:gd name="connsiteX70" fmla="*/ 2365907 w 2967861"/>
                <a:gd name="connsiteY70" fmla="*/ 291198 h 2340761"/>
                <a:gd name="connsiteX71" fmla="*/ 2365907 w 2967861"/>
                <a:gd name="connsiteY71" fmla="*/ 288094 h 2340761"/>
                <a:gd name="connsiteX72" fmla="*/ 2363734 w 2967861"/>
                <a:gd name="connsiteY72" fmla="*/ 285921 h 2340761"/>
                <a:gd name="connsiteX73" fmla="*/ 2363734 w 2967861"/>
                <a:gd name="connsiteY73" fmla="*/ 282816 h 2340761"/>
                <a:gd name="connsiteX74" fmla="*/ 2361561 w 2967861"/>
                <a:gd name="connsiteY74" fmla="*/ 276607 h 2340761"/>
                <a:gd name="connsiteX75" fmla="*/ 2358457 w 2967861"/>
                <a:gd name="connsiteY75" fmla="*/ 273503 h 2340761"/>
                <a:gd name="connsiteX76" fmla="*/ 2351316 w 2967861"/>
                <a:gd name="connsiteY76" fmla="*/ 268225 h 2340761"/>
                <a:gd name="connsiteX77" fmla="*/ 2334552 w 2967861"/>
                <a:gd name="connsiteY77" fmla="*/ 262016 h 2340761"/>
                <a:gd name="connsiteX78" fmla="*/ 2315925 w 2967861"/>
                <a:gd name="connsiteY78" fmla="*/ 256739 h 2340761"/>
                <a:gd name="connsiteX79" fmla="*/ 2296057 w 2967861"/>
                <a:gd name="connsiteY79" fmla="*/ 251461 h 2340761"/>
                <a:gd name="connsiteX80" fmla="*/ 2276188 w 2967861"/>
                <a:gd name="connsiteY80" fmla="*/ 249288 h 2340761"/>
                <a:gd name="connsiteX81" fmla="*/ 2258493 w 2967861"/>
                <a:gd name="connsiteY81" fmla="*/ 249288 h 2340761"/>
                <a:gd name="connsiteX82" fmla="*/ 2247007 w 2967861"/>
                <a:gd name="connsiteY82" fmla="*/ 253634 h 2340761"/>
                <a:gd name="connsiteX83" fmla="*/ 2234589 w 2967861"/>
                <a:gd name="connsiteY83" fmla="*/ 256739 h 2340761"/>
                <a:gd name="connsiteX84" fmla="*/ 2237693 w 2967861"/>
                <a:gd name="connsiteY84" fmla="*/ 273813 h 2340761"/>
                <a:gd name="connsiteX85" fmla="*/ 2241729 w 2967861"/>
                <a:gd name="connsiteY85" fmla="*/ 286541 h 2340761"/>
                <a:gd name="connsiteX86" fmla="*/ 2243902 w 2967861"/>
                <a:gd name="connsiteY86" fmla="*/ 305479 h 2340761"/>
                <a:gd name="connsiteX87" fmla="*/ 2236762 w 2967861"/>
                <a:gd name="connsiteY87" fmla="*/ 305479 h 2340761"/>
                <a:gd name="connsiteX88" fmla="*/ 2232726 w 2967861"/>
                <a:gd name="connsiteY88" fmla="*/ 303306 h 2340761"/>
                <a:gd name="connsiteX89" fmla="*/ 2227448 w 2967861"/>
                <a:gd name="connsiteY89" fmla="*/ 303306 h 2340761"/>
                <a:gd name="connsiteX90" fmla="*/ 2225275 w 2967861"/>
                <a:gd name="connsiteY90" fmla="*/ 303306 h 2340761"/>
                <a:gd name="connsiteX91" fmla="*/ 2222171 w 2967861"/>
                <a:gd name="connsiteY91" fmla="*/ 303306 h 2340761"/>
                <a:gd name="connsiteX92" fmla="*/ 2218135 w 2967861"/>
                <a:gd name="connsiteY92" fmla="*/ 306410 h 2340761"/>
                <a:gd name="connsiteX93" fmla="*/ 2215030 w 2967861"/>
                <a:gd name="connsiteY93" fmla="*/ 310756 h 2340761"/>
                <a:gd name="connsiteX94" fmla="*/ 2207890 w 2967861"/>
                <a:gd name="connsiteY94" fmla="*/ 306410 h 2340761"/>
                <a:gd name="connsiteX95" fmla="*/ 2201681 w 2967861"/>
                <a:gd name="connsiteY95" fmla="*/ 303306 h 2340761"/>
                <a:gd name="connsiteX96" fmla="*/ 2198577 w 2967861"/>
                <a:gd name="connsiteY96" fmla="*/ 298028 h 2340761"/>
                <a:gd name="connsiteX97" fmla="*/ 2193299 w 2967861"/>
                <a:gd name="connsiteY97" fmla="*/ 293682 h 2340761"/>
                <a:gd name="connsiteX98" fmla="*/ 2188022 w 2967861"/>
                <a:gd name="connsiteY98" fmla="*/ 288404 h 2340761"/>
                <a:gd name="connsiteX99" fmla="*/ 2174362 w 2967861"/>
                <a:gd name="connsiteY99" fmla="*/ 310756 h 2340761"/>
                <a:gd name="connsiteX100" fmla="*/ 2165980 w 2967861"/>
                <a:gd name="connsiteY100" fmla="*/ 308583 h 2340761"/>
                <a:gd name="connsiteX101" fmla="*/ 2158840 w 2967861"/>
                <a:gd name="connsiteY101" fmla="*/ 306410 h 2340761"/>
                <a:gd name="connsiteX102" fmla="*/ 2152631 w 2967861"/>
                <a:gd name="connsiteY102" fmla="*/ 303306 h 2340761"/>
                <a:gd name="connsiteX103" fmla="*/ 2149526 w 2967861"/>
                <a:gd name="connsiteY103" fmla="*/ 298028 h 2340761"/>
                <a:gd name="connsiteX104" fmla="*/ 2147353 w 2967861"/>
                <a:gd name="connsiteY104" fmla="*/ 290577 h 2340761"/>
                <a:gd name="connsiteX105" fmla="*/ 2147353 w 2967861"/>
                <a:gd name="connsiteY105" fmla="*/ 280953 h 2340761"/>
                <a:gd name="connsiteX106" fmla="*/ 2140213 w 2967861"/>
                <a:gd name="connsiteY106" fmla="*/ 290577 h 2340761"/>
                <a:gd name="connsiteX107" fmla="*/ 2137109 w 2967861"/>
                <a:gd name="connsiteY107" fmla="*/ 301132 h 2340761"/>
                <a:gd name="connsiteX108" fmla="*/ 2133073 w 2967861"/>
                <a:gd name="connsiteY108" fmla="*/ 312619 h 2340761"/>
                <a:gd name="connsiteX109" fmla="*/ 2127795 w 2967861"/>
                <a:gd name="connsiteY109" fmla="*/ 321001 h 2340761"/>
                <a:gd name="connsiteX110" fmla="*/ 2125622 w 2967861"/>
                <a:gd name="connsiteY110" fmla="*/ 323174 h 2340761"/>
                <a:gd name="connsiteX111" fmla="*/ 2123449 w 2967861"/>
                <a:gd name="connsiteY111" fmla="*/ 325347 h 2340761"/>
                <a:gd name="connsiteX112" fmla="*/ 2112894 w 2967861"/>
                <a:gd name="connsiteY112" fmla="*/ 317896 h 2340761"/>
                <a:gd name="connsiteX113" fmla="*/ 2100476 w 2967861"/>
                <a:gd name="connsiteY113" fmla="*/ 310446 h 2340761"/>
                <a:gd name="connsiteX114" fmla="*/ 2091163 w 2967861"/>
                <a:gd name="connsiteY114" fmla="*/ 300822 h 2340761"/>
                <a:gd name="connsiteX115" fmla="*/ 2088989 w 2967861"/>
                <a:gd name="connsiteY115" fmla="*/ 295544 h 2340761"/>
                <a:gd name="connsiteX116" fmla="*/ 2088058 w 2967861"/>
                <a:gd name="connsiteY116" fmla="*/ 291198 h 2340761"/>
                <a:gd name="connsiteX117" fmla="*/ 2088058 w 2967861"/>
                <a:gd name="connsiteY117" fmla="*/ 288094 h 2340761"/>
                <a:gd name="connsiteX118" fmla="*/ 2085885 w 2967861"/>
                <a:gd name="connsiteY118" fmla="*/ 283747 h 2340761"/>
                <a:gd name="connsiteX119" fmla="*/ 2083712 w 2967861"/>
                <a:gd name="connsiteY119" fmla="*/ 280643 h 2340761"/>
                <a:gd name="connsiteX120" fmla="*/ 2090852 w 2967861"/>
                <a:gd name="connsiteY120" fmla="*/ 261706 h 2340761"/>
                <a:gd name="connsiteX121" fmla="*/ 2103270 w 2967861"/>
                <a:gd name="connsiteY121" fmla="*/ 248978 h 2340761"/>
                <a:gd name="connsiteX122" fmla="*/ 2093957 w 2967861"/>
                <a:gd name="connsiteY122" fmla="*/ 212034 h 2340761"/>
                <a:gd name="connsiteX123" fmla="*/ 2090852 w 2967861"/>
                <a:gd name="connsiteY123" fmla="*/ 212034 h 2340761"/>
                <a:gd name="connsiteX124" fmla="*/ 2090852 w 2967861"/>
                <a:gd name="connsiteY124" fmla="*/ 206757 h 2340761"/>
                <a:gd name="connsiteX125" fmla="*/ 2070984 w 2967861"/>
                <a:gd name="connsiteY125" fmla="*/ 208930 h 2340761"/>
                <a:gd name="connsiteX126" fmla="*/ 2058566 w 2967861"/>
                <a:gd name="connsiteY126" fmla="*/ 214208 h 2340761"/>
                <a:gd name="connsiteX127" fmla="*/ 2047079 w 2967861"/>
                <a:gd name="connsiteY127" fmla="*/ 223831 h 2340761"/>
                <a:gd name="connsiteX128" fmla="*/ 2036524 w 2967861"/>
                <a:gd name="connsiteY128" fmla="*/ 218554 h 2340761"/>
                <a:gd name="connsiteX129" fmla="*/ 2025038 w 2967861"/>
                <a:gd name="connsiteY129" fmla="*/ 212345 h 2340761"/>
                <a:gd name="connsiteX130" fmla="*/ 2014482 w 2967861"/>
                <a:gd name="connsiteY130" fmla="*/ 207067 h 2340761"/>
                <a:gd name="connsiteX131" fmla="*/ 2012310 w 2967861"/>
                <a:gd name="connsiteY131" fmla="*/ 209240 h 2340761"/>
                <a:gd name="connsiteX132" fmla="*/ 2012310 w 2967861"/>
                <a:gd name="connsiteY132" fmla="*/ 211414 h 2340761"/>
                <a:gd name="connsiteX133" fmla="*/ 2010136 w 2967861"/>
                <a:gd name="connsiteY133" fmla="*/ 211414 h 2340761"/>
                <a:gd name="connsiteX134" fmla="*/ 2007032 w 2967861"/>
                <a:gd name="connsiteY134" fmla="*/ 212345 h 2340761"/>
                <a:gd name="connsiteX135" fmla="*/ 2007032 w 2967861"/>
                <a:gd name="connsiteY135" fmla="*/ 218554 h 2340761"/>
                <a:gd name="connsiteX136" fmla="*/ 2007032 w 2967861"/>
                <a:gd name="connsiteY136" fmla="*/ 223831 h 2340761"/>
                <a:gd name="connsiteX137" fmla="*/ 2007032 w 2967861"/>
                <a:gd name="connsiteY137" fmla="*/ 226936 h 2340761"/>
                <a:gd name="connsiteX138" fmla="*/ 2007032 w 2967861"/>
                <a:gd name="connsiteY138" fmla="*/ 229109 h 2340761"/>
                <a:gd name="connsiteX139" fmla="*/ 2007032 w 2967861"/>
                <a:gd name="connsiteY139" fmla="*/ 232213 h 2340761"/>
                <a:gd name="connsiteX140" fmla="*/ 2002996 w 2967861"/>
                <a:gd name="connsiteY140" fmla="*/ 243700 h 2340761"/>
                <a:gd name="connsiteX141" fmla="*/ 1950841 w 2967861"/>
                <a:gd name="connsiteY141" fmla="*/ 239354 h 2340761"/>
                <a:gd name="connsiteX142" fmla="*/ 1948668 w 2967861"/>
                <a:gd name="connsiteY142" fmla="*/ 234076 h 2340761"/>
                <a:gd name="connsiteX143" fmla="*/ 1948668 w 2967861"/>
                <a:gd name="connsiteY143" fmla="*/ 228799 h 2340761"/>
                <a:gd name="connsiteX144" fmla="*/ 1946495 w 2967861"/>
                <a:gd name="connsiteY144" fmla="*/ 223521 h 2340761"/>
                <a:gd name="connsiteX145" fmla="*/ 1946495 w 2967861"/>
                <a:gd name="connsiteY145" fmla="*/ 218243 h 2340761"/>
                <a:gd name="connsiteX146" fmla="*/ 1946495 w 2967861"/>
                <a:gd name="connsiteY146" fmla="*/ 216070 h 2340761"/>
                <a:gd name="connsiteX147" fmla="*/ 1934077 w 2967861"/>
                <a:gd name="connsiteY147" fmla="*/ 206446 h 2340761"/>
                <a:gd name="connsiteX148" fmla="*/ 1921659 w 2967861"/>
                <a:gd name="connsiteY148" fmla="*/ 204273 h 2340761"/>
                <a:gd name="connsiteX149" fmla="*/ 1904895 w 2967861"/>
                <a:gd name="connsiteY149" fmla="*/ 204273 h 2340761"/>
                <a:gd name="connsiteX150" fmla="*/ 1887200 w 2967861"/>
                <a:gd name="connsiteY150" fmla="*/ 206446 h 2340761"/>
                <a:gd name="connsiteX151" fmla="*/ 1887200 w 2967861"/>
                <a:gd name="connsiteY151" fmla="*/ 219175 h 2340761"/>
                <a:gd name="connsiteX152" fmla="*/ 1877886 w 2967861"/>
                <a:gd name="connsiteY152" fmla="*/ 219175 h 2340761"/>
                <a:gd name="connsiteX153" fmla="*/ 1877886 w 2967861"/>
                <a:gd name="connsiteY153" fmla="*/ 218243 h 2340761"/>
                <a:gd name="connsiteX154" fmla="*/ 1875713 w 2967861"/>
                <a:gd name="connsiteY154" fmla="*/ 218243 h 2340761"/>
                <a:gd name="connsiteX155" fmla="*/ 1873540 w 2967861"/>
                <a:gd name="connsiteY155" fmla="*/ 216070 h 2340761"/>
                <a:gd name="connsiteX156" fmla="*/ 1875713 w 2967861"/>
                <a:gd name="connsiteY156" fmla="*/ 206446 h 2340761"/>
                <a:gd name="connsiteX157" fmla="*/ 1877886 w 2967861"/>
                <a:gd name="connsiteY157" fmla="*/ 198996 h 2340761"/>
                <a:gd name="connsiteX158" fmla="*/ 1880060 w 2967861"/>
                <a:gd name="connsiteY158" fmla="*/ 193718 h 2340761"/>
                <a:gd name="connsiteX159" fmla="*/ 1883164 w 2967861"/>
                <a:gd name="connsiteY159" fmla="*/ 188441 h 2340761"/>
                <a:gd name="connsiteX160" fmla="*/ 1883164 w 2967861"/>
                <a:gd name="connsiteY160" fmla="*/ 182232 h 2340761"/>
                <a:gd name="connsiteX161" fmla="*/ 1873851 w 2967861"/>
                <a:gd name="connsiteY161" fmla="*/ 186578 h 2340761"/>
                <a:gd name="connsiteX162" fmla="*/ 1866710 w 2967861"/>
                <a:gd name="connsiteY162" fmla="*/ 191856 h 2340761"/>
                <a:gd name="connsiteX163" fmla="*/ 1859570 w 2967861"/>
                <a:gd name="connsiteY163" fmla="*/ 197133 h 2340761"/>
                <a:gd name="connsiteX164" fmla="*/ 1854293 w 2967861"/>
                <a:gd name="connsiteY164" fmla="*/ 203342 h 2340761"/>
                <a:gd name="connsiteX165" fmla="*/ 1851188 w 2967861"/>
                <a:gd name="connsiteY165" fmla="*/ 201169 h 2340761"/>
                <a:gd name="connsiteX166" fmla="*/ 1849015 w 2967861"/>
                <a:gd name="connsiteY166" fmla="*/ 201169 h 2340761"/>
                <a:gd name="connsiteX167" fmla="*/ 1849015 w 2967861"/>
                <a:gd name="connsiteY167" fmla="*/ 198996 h 2340761"/>
                <a:gd name="connsiteX168" fmla="*/ 1849015 w 2967861"/>
                <a:gd name="connsiteY168" fmla="*/ 196823 h 2340761"/>
                <a:gd name="connsiteX169" fmla="*/ 1849015 w 2967861"/>
                <a:gd name="connsiteY169" fmla="*/ 195891 h 2340761"/>
                <a:gd name="connsiteX170" fmla="*/ 1851188 w 2967861"/>
                <a:gd name="connsiteY170" fmla="*/ 191545 h 2340761"/>
                <a:gd name="connsiteX171" fmla="*/ 1851188 w 2967861"/>
                <a:gd name="connsiteY171" fmla="*/ 188441 h 2340761"/>
                <a:gd name="connsiteX172" fmla="*/ 1834424 w 2967861"/>
                <a:gd name="connsiteY172" fmla="*/ 186267 h 2340761"/>
                <a:gd name="connsiteX173" fmla="*/ 1819833 w 2967861"/>
                <a:gd name="connsiteY173" fmla="*/ 188441 h 2340761"/>
                <a:gd name="connsiteX174" fmla="*/ 1807415 w 2967861"/>
                <a:gd name="connsiteY174" fmla="*/ 195891 h 2340761"/>
                <a:gd name="connsiteX175" fmla="*/ 1803379 w 2967861"/>
                <a:gd name="connsiteY175" fmla="*/ 195891 h 2340761"/>
                <a:gd name="connsiteX176" fmla="*/ 1815797 w 2967861"/>
                <a:gd name="connsiteY176" fmla="*/ 180990 h 2340761"/>
                <a:gd name="connsiteX177" fmla="*/ 1832561 w 2967861"/>
                <a:gd name="connsiteY177" fmla="*/ 169503 h 2340761"/>
                <a:gd name="connsiteX178" fmla="*/ 1849325 w 2967861"/>
                <a:gd name="connsiteY178" fmla="*/ 159880 h 2340761"/>
                <a:gd name="connsiteX179" fmla="*/ 1863916 w 2967861"/>
                <a:gd name="connsiteY179" fmla="*/ 151498 h 2340761"/>
                <a:gd name="connsiteX180" fmla="*/ 1869194 w 2967861"/>
                <a:gd name="connsiteY180" fmla="*/ 141874 h 2340761"/>
                <a:gd name="connsiteX181" fmla="*/ 1873230 w 2967861"/>
                <a:gd name="connsiteY181" fmla="*/ 132250 h 2340761"/>
                <a:gd name="connsiteX182" fmla="*/ 1878507 w 2967861"/>
                <a:gd name="connsiteY182" fmla="*/ 123868 h 2340761"/>
                <a:gd name="connsiteX183" fmla="*/ 1890925 w 2967861"/>
                <a:gd name="connsiteY183" fmla="*/ 114244 h 2340761"/>
                <a:gd name="connsiteX184" fmla="*/ 1890925 w 2967861"/>
                <a:gd name="connsiteY184" fmla="*/ 90029 h 2340761"/>
                <a:gd name="connsiteX185" fmla="*/ 1881612 w 2967861"/>
                <a:gd name="connsiteY185" fmla="*/ 77301 h 2340761"/>
                <a:gd name="connsiteX186" fmla="*/ 1873230 w 2967861"/>
                <a:gd name="connsiteY186" fmla="*/ 65815 h 2340761"/>
                <a:gd name="connsiteX187" fmla="*/ 1861743 w 2967861"/>
                <a:gd name="connsiteY187" fmla="*/ 57432 h 2340761"/>
                <a:gd name="connsiteX188" fmla="*/ 1847152 w 2967861"/>
                <a:gd name="connsiteY188" fmla="*/ 49982 h 2340761"/>
                <a:gd name="connsiteX189" fmla="*/ 1847152 w 2967861"/>
                <a:gd name="connsiteY189" fmla="*/ 47809 h 2340761"/>
                <a:gd name="connsiteX190" fmla="*/ 1847152 w 2967861"/>
                <a:gd name="connsiteY190" fmla="*/ 45636 h 2340761"/>
                <a:gd name="connsiteX191" fmla="*/ 1844979 w 2967861"/>
                <a:gd name="connsiteY191" fmla="*/ 43462 h 2340761"/>
                <a:gd name="connsiteX192" fmla="*/ 1844048 w 2967861"/>
                <a:gd name="connsiteY192" fmla="*/ 45636 h 2340761"/>
                <a:gd name="connsiteX193" fmla="*/ 1827284 w 2967861"/>
                <a:gd name="connsiteY193" fmla="*/ 50913 h 2340761"/>
                <a:gd name="connsiteX194" fmla="*/ 1812693 w 2967861"/>
                <a:gd name="connsiteY194" fmla="*/ 53086 h 2340761"/>
                <a:gd name="connsiteX195" fmla="*/ 1800275 w 2967861"/>
                <a:gd name="connsiteY195" fmla="*/ 55259 h 2340761"/>
                <a:gd name="connsiteX196" fmla="*/ 1787857 w 2967861"/>
                <a:gd name="connsiteY196" fmla="*/ 60537 h 2340761"/>
                <a:gd name="connsiteX197" fmla="*/ 1780717 w 2967861"/>
                <a:gd name="connsiteY197" fmla="*/ 50913 h 2340761"/>
                <a:gd name="connsiteX198" fmla="*/ 1773577 w 2967861"/>
                <a:gd name="connsiteY198" fmla="*/ 43462 h 2340761"/>
                <a:gd name="connsiteX199" fmla="*/ 1766436 w 2967861"/>
                <a:gd name="connsiteY199" fmla="*/ 40358 h 2340761"/>
                <a:gd name="connsiteX200" fmla="*/ 1751845 w 2967861"/>
                <a:gd name="connsiteY200" fmla="*/ 36012 h 2340761"/>
                <a:gd name="connsiteX201" fmla="*/ 1752777 w 2967861"/>
                <a:gd name="connsiteY201" fmla="*/ 30734 h 2340761"/>
                <a:gd name="connsiteX202" fmla="*/ 1754950 w 2967861"/>
                <a:gd name="connsiteY202" fmla="*/ 28561 h 2340761"/>
                <a:gd name="connsiteX203" fmla="*/ 1757123 w 2967861"/>
                <a:gd name="connsiteY203" fmla="*/ 25457 h 2340761"/>
                <a:gd name="connsiteX204" fmla="*/ 1760227 w 2967861"/>
                <a:gd name="connsiteY204" fmla="*/ 23283 h 2340761"/>
                <a:gd name="connsiteX205" fmla="*/ 1762401 w 2967861"/>
                <a:gd name="connsiteY205" fmla="*/ 22352 h 2340761"/>
                <a:gd name="connsiteX206" fmla="*/ 1767678 w 2967861"/>
                <a:gd name="connsiteY206" fmla="*/ 20179 h 2340761"/>
                <a:gd name="connsiteX207" fmla="*/ 1766747 w 2967861"/>
                <a:gd name="connsiteY207" fmla="*/ 14901 h 2340761"/>
                <a:gd name="connsiteX208" fmla="*/ 1762711 w 2967861"/>
                <a:gd name="connsiteY208" fmla="*/ 10555 h 2340761"/>
                <a:gd name="connsiteX209" fmla="*/ 1760538 w 2967861"/>
                <a:gd name="connsiteY209" fmla="*/ 7451 h 2340761"/>
                <a:gd name="connsiteX210" fmla="*/ 1759607 w 2967861"/>
                <a:gd name="connsiteY210" fmla="*/ 5278 h 2340761"/>
                <a:gd name="connsiteX211" fmla="*/ 1755571 w 2967861"/>
                <a:gd name="connsiteY211" fmla="*/ 0 h 2340761"/>
                <a:gd name="connsiteX212" fmla="*/ 1735702 w 2967861"/>
                <a:gd name="connsiteY212" fmla="*/ 0 h 2340761"/>
                <a:gd name="connsiteX213" fmla="*/ 1731666 w 2967861"/>
                <a:gd name="connsiteY213" fmla="*/ 18006 h 2340761"/>
                <a:gd name="connsiteX214" fmla="*/ 1721111 w 2967861"/>
                <a:gd name="connsiteY214" fmla="*/ 28561 h 2340761"/>
                <a:gd name="connsiteX215" fmla="*/ 1708693 w 2967861"/>
                <a:gd name="connsiteY215" fmla="*/ 38185 h 2340761"/>
                <a:gd name="connsiteX216" fmla="*/ 1695034 w 2967861"/>
                <a:gd name="connsiteY216" fmla="*/ 45636 h 2340761"/>
                <a:gd name="connsiteX217" fmla="*/ 1679511 w 2967861"/>
                <a:gd name="connsiteY217" fmla="*/ 53086 h 2340761"/>
                <a:gd name="connsiteX218" fmla="*/ 1679511 w 2967861"/>
                <a:gd name="connsiteY218" fmla="*/ 73265 h 2340761"/>
                <a:gd name="connsiteX219" fmla="*/ 1674234 w 2967861"/>
                <a:gd name="connsiteY219" fmla="*/ 73265 h 2340761"/>
                <a:gd name="connsiteX220" fmla="*/ 1668025 w 2967861"/>
                <a:gd name="connsiteY220" fmla="*/ 72334 h 2340761"/>
                <a:gd name="connsiteX221" fmla="*/ 1664921 w 2967861"/>
                <a:gd name="connsiteY221" fmla="*/ 72334 h 2340761"/>
                <a:gd name="connsiteX222" fmla="*/ 1659643 w 2967861"/>
                <a:gd name="connsiteY222" fmla="*/ 70161 h 2340761"/>
                <a:gd name="connsiteX223" fmla="*/ 1653434 w 2967861"/>
                <a:gd name="connsiteY223" fmla="*/ 75438 h 2340761"/>
                <a:gd name="connsiteX224" fmla="*/ 1646294 w 2967861"/>
                <a:gd name="connsiteY224" fmla="*/ 82889 h 2340761"/>
                <a:gd name="connsiteX225" fmla="*/ 1639153 w 2967861"/>
                <a:gd name="connsiteY225" fmla="*/ 88167 h 2340761"/>
                <a:gd name="connsiteX226" fmla="*/ 1632013 w 2967861"/>
                <a:gd name="connsiteY226" fmla="*/ 94376 h 2340761"/>
                <a:gd name="connsiteX227" fmla="*/ 1626736 w 2967861"/>
                <a:gd name="connsiteY227" fmla="*/ 94376 h 2340761"/>
                <a:gd name="connsiteX228" fmla="*/ 1616181 w 2967861"/>
                <a:gd name="connsiteY228" fmla="*/ 94376 h 2340761"/>
                <a:gd name="connsiteX229" fmla="*/ 1601590 w 2967861"/>
                <a:gd name="connsiteY229" fmla="*/ 94376 h 2340761"/>
                <a:gd name="connsiteX230" fmla="*/ 1586999 w 2967861"/>
                <a:gd name="connsiteY230" fmla="*/ 94376 h 2340761"/>
                <a:gd name="connsiteX231" fmla="*/ 1575512 w 2967861"/>
                <a:gd name="connsiteY231" fmla="*/ 94376 h 2340761"/>
                <a:gd name="connsiteX232" fmla="*/ 1572408 w 2967861"/>
                <a:gd name="connsiteY232" fmla="*/ 99653 h 2340761"/>
                <a:gd name="connsiteX233" fmla="*/ 1570235 w 2967861"/>
                <a:gd name="connsiteY233" fmla="*/ 104931 h 2340761"/>
                <a:gd name="connsiteX234" fmla="*/ 1567130 w 2967861"/>
                <a:gd name="connsiteY234" fmla="*/ 110208 h 2340761"/>
                <a:gd name="connsiteX235" fmla="*/ 1564957 w 2967861"/>
                <a:gd name="connsiteY235" fmla="*/ 117659 h 2340761"/>
                <a:gd name="connsiteX236" fmla="*/ 1543226 w 2967861"/>
                <a:gd name="connsiteY236" fmla="*/ 117659 h 2340761"/>
                <a:gd name="connsiteX237" fmla="*/ 1526462 w 2967861"/>
                <a:gd name="connsiteY237" fmla="*/ 123868 h 2340761"/>
                <a:gd name="connsiteX238" fmla="*/ 1511871 w 2967861"/>
                <a:gd name="connsiteY238" fmla="*/ 130077 h 2340761"/>
                <a:gd name="connsiteX239" fmla="*/ 1497280 w 2967861"/>
                <a:gd name="connsiteY239" fmla="*/ 141563 h 2340761"/>
                <a:gd name="connsiteX240" fmla="*/ 1484862 w 2967861"/>
                <a:gd name="connsiteY240" fmla="*/ 152118 h 2340761"/>
                <a:gd name="connsiteX241" fmla="*/ 1468098 w 2967861"/>
                <a:gd name="connsiteY241" fmla="*/ 161742 h 2340761"/>
                <a:gd name="connsiteX242" fmla="*/ 1462821 w 2967861"/>
                <a:gd name="connsiteY242" fmla="*/ 180679 h 2340761"/>
                <a:gd name="connsiteX243" fmla="*/ 1459716 w 2967861"/>
                <a:gd name="connsiteY243" fmla="*/ 198685 h 2340761"/>
                <a:gd name="connsiteX244" fmla="*/ 1455680 w 2967861"/>
                <a:gd name="connsiteY244" fmla="*/ 215760 h 2340761"/>
                <a:gd name="connsiteX245" fmla="*/ 1452576 w 2967861"/>
                <a:gd name="connsiteY245" fmla="*/ 215760 h 2340761"/>
                <a:gd name="connsiteX246" fmla="*/ 1445436 w 2967861"/>
                <a:gd name="connsiteY246" fmla="*/ 198685 h 2340761"/>
                <a:gd name="connsiteX247" fmla="*/ 1419358 w 2967861"/>
                <a:gd name="connsiteY247" fmla="*/ 203963 h 2340761"/>
                <a:gd name="connsiteX248" fmla="*/ 1395454 w 2967861"/>
                <a:gd name="connsiteY248" fmla="*/ 211414 h 2340761"/>
                <a:gd name="connsiteX249" fmla="*/ 1399490 w 2967861"/>
                <a:gd name="connsiteY249" fmla="*/ 233766 h 2340761"/>
                <a:gd name="connsiteX250" fmla="*/ 1404767 w 2967861"/>
                <a:gd name="connsiteY250" fmla="*/ 253945 h 2340761"/>
                <a:gd name="connsiteX251" fmla="*/ 1410045 w 2967861"/>
                <a:gd name="connsiteY251" fmla="*/ 275055 h 2340761"/>
                <a:gd name="connsiteX252" fmla="*/ 1419358 w 2967861"/>
                <a:gd name="connsiteY252" fmla="*/ 290888 h 2340761"/>
                <a:gd name="connsiteX253" fmla="*/ 1431776 w 2967861"/>
                <a:gd name="connsiteY253" fmla="*/ 304547 h 2340761"/>
                <a:gd name="connsiteX254" fmla="*/ 1431776 w 2967861"/>
                <a:gd name="connsiteY254" fmla="*/ 312929 h 2340761"/>
                <a:gd name="connsiteX255" fmla="*/ 1416254 w 2967861"/>
                <a:gd name="connsiteY255" fmla="*/ 302374 h 2340761"/>
                <a:gd name="connsiteX256" fmla="*/ 1399490 w 2967861"/>
                <a:gd name="connsiteY256" fmla="*/ 287473 h 2340761"/>
                <a:gd name="connsiteX257" fmla="*/ 1388934 w 2967861"/>
                <a:gd name="connsiteY257" fmla="*/ 272571 h 2340761"/>
                <a:gd name="connsiteX258" fmla="*/ 1368135 w 2967861"/>
                <a:gd name="connsiteY258" fmla="*/ 272571 h 2340761"/>
                <a:gd name="connsiteX259" fmla="*/ 1352612 w 2967861"/>
                <a:gd name="connsiteY259" fmla="*/ 275676 h 2340761"/>
                <a:gd name="connsiteX260" fmla="*/ 1338953 w 2967861"/>
                <a:gd name="connsiteY260" fmla="*/ 283127 h 2340761"/>
                <a:gd name="connsiteX261" fmla="*/ 1331812 w 2967861"/>
                <a:gd name="connsiteY261" fmla="*/ 274745 h 2340761"/>
                <a:gd name="connsiteX262" fmla="*/ 1328708 w 2967861"/>
                <a:gd name="connsiteY262" fmla="*/ 263258 h 2340761"/>
                <a:gd name="connsiteX263" fmla="*/ 1324672 w 2967861"/>
                <a:gd name="connsiteY263" fmla="*/ 252703 h 2340761"/>
                <a:gd name="connsiteX264" fmla="*/ 1321568 w 2967861"/>
                <a:gd name="connsiteY264" fmla="*/ 250530 h 2340761"/>
                <a:gd name="connsiteX265" fmla="*/ 1321568 w 2967861"/>
                <a:gd name="connsiteY265" fmla="*/ 249909 h 2340761"/>
                <a:gd name="connsiteX266" fmla="*/ 1319394 w 2967861"/>
                <a:gd name="connsiteY266" fmla="*/ 249909 h 2340761"/>
                <a:gd name="connsiteX267" fmla="*/ 1316290 w 2967861"/>
                <a:gd name="connsiteY267" fmla="*/ 249909 h 2340761"/>
                <a:gd name="connsiteX268" fmla="*/ 1312254 w 2967861"/>
                <a:gd name="connsiteY268" fmla="*/ 249909 h 2340761"/>
                <a:gd name="connsiteX269" fmla="*/ 1312254 w 2967861"/>
                <a:gd name="connsiteY269" fmla="*/ 284679 h 2340761"/>
                <a:gd name="connsiteX270" fmla="*/ 1289281 w 2967861"/>
                <a:gd name="connsiteY270" fmla="*/ 305789 h 2340761"/>
                <a:gd name="connsiteX271" fmla="*/ 1294559 w 2967861"/>
                <a:gd name="connsiteY271" fmla="*/ 320691 h 2340761"/>
                <a:gd name="connsiteX272" fmla="*/ 1299837 w 2967861"/>
                <a:gd name="connsiteY272" fmla="*/ 331246 h 2340761"/>
                <a:gd name="connsiteX273" fmla="*/ 1305114 w 2967861"/>
                <a:gd name="connsiteY273" fmla="*/ 343974 h 2340761"/>
                <a:gd name="connsiteX274" fmla="*/ 1309150 w 2967861"/>
                <a:gd name="connsiteY274" fmla="*/ 362911 h 2340761"/>
                <a:gd name="connsiteX275" fmla="*/ 1329018 w 2967861"/>
                <a:gd name="connsiteY275" fmla="*/ 370362 h 2340761"/>
                <a:gd name="connsiteX276" fmla="*/ 1350750 w 2967861"/>
                <a:gd name="connsiteY276" fmla="*/ 378744 h 2340761"/>
                <a:gd name="connsiteX277" fmla="*/ 1368445 w 2967861"/>
                <a:gd name="connsiteY277" fmla="*/ 386195 h 2340761"/>
                <a:gd name="connsiteX278" fmla="*/ 1368445 w 2967861"/>
                <a:gd name="connsiteY278" fmla="*/ 392403 h 2340761"/>
                <a:gd name="connsiteX279" fmla="*/ 1350750 w 2967861"/>
                <a:gd name="connsiteY279" fmla="*/ 386195 h 2340761"/>
                <a:gd name="connsiteX280" fmla="*/ 1332123 w 2967861"/>
                <a:gd name="connsiteY280" fmla="*/ 386195 h 2340761"/>
                <a:gd name="connsiteX281" fmla="*/ 1312254 w 2967861"/>
                <a:gd name="connsiteY281" fmla="*/ 386195 h 2340761"/>
                <a:gd name="connsiteX282" fmla="*/ 1314427 w 2967861"/>
                <a:gd name="connsiteY282" fmla="*/ 401096 h 2340761"/>
                <a:gd name="connsiteX283" fmla="*/ 1316601 w 2967861"/>
                <a:gd name="connsiteY283" fmla="*/ 418170 h 2340761"/>
                <a:gd name="connsiteX284" fmla="*/ 1319705 w 2967861"/>
                <a:gd name="connsiteY284" fmla="*/ 435245 h 2340761"/>
                <a:gd name="connsiteX285" fmla="*/ 1316601 w 2967861"/>
                <a:gd name="connsiteY285" fmla="*/ 453251 h 2340761"/>
                <a:gd name="connsiteX286" fmla="*/ 1310392 w 2967861"/>
                <a:gd name="connsiteY286" fmla="*/ 464737 h 2340761"/>
                <a:gd name="connsiteX287" fmla="*/ 1303251 w 2967861"/>
                <a:gd name="connsiteY287" fmla="*/ 479639 h 2340761"/>
                <a:gd name="connsiteX288" fmla="*/ 1296111 w 2967861"/>
                <a:gd name="connsiteY288" fmla="*/ 492367 h 2340761"/>
                <a:gd name="connsiteX289" fmla="*/ 1293006 w 2967861"/>
                <a:gd name="connsiteY289" fmla="*/ 494540 h 2340761"/>
                <a:gd name="connsiteX290" fmla="*/ 1290833 w 2967861"/>
                <a:gd name="connsiteY290" fmla="*/ 495472 h 2340761"/>
                <a:gd name="connsiteX291" fmla="*/ 1289902 w 2967861"/>
                <a:gd name="connsiteY291" fmla="*/ 497645 h 2340761"/>
                <a:gd name="connsiteX292" fmla="*/ 1269102 w 2967861"/>
                <a:gd name="connsiteY292" fmla="*/ 497645 h 2340761"/>
                <a:gd name="connsiteX293" fmla="*/ 1269102 w 2967861"/>
                <a:gd name="connsiteY293" fmla="*/ 492057 h 2340761"/>
                <a:gd name="connsiteX294" fmla="*/ 1276243 w 2967861"/>
                <a:gd name="connsiteY294" fmla="*/ 489883 h 2340761"/>
                <a:gd name="connsiteX295" fmla="*/ 1282452 w 2967861"/>
                <a:gd name="connsiteY295" fmla="*/ 486779 h 2340761"/>
                <a:gd name="connsiteX296" fmla="*/ 1287729 w 2967861"/>
                <a:gd name="connsiteY296" fmla="*/ 484606 h 2340761"/>
                <a:gd name="connsiteX297" fmla="*/ 1290833 w 2967861"/>
                <a:gd name="connsiteY297" fmla="*/ 480260 h 2340761"/>
                <a:gd name="connsiteX298" fmla="*/ 1296111 w 2967861"/>
                <a:gd name="connsiteY298" fmla="*/ 477155 h 2340761"/>
                <a:gd name="connsiteX299" fmla="*/ 1296111 w 2967861"/>
                <a:gd name="connsiteY299" fmla="*/ 460081 h 2340761"/>
                <a:gd name="connsiteX300" fmla="*/ 1300147 w 2967861"/>
                <a:gd name="connsiteY300" fmla="*/ 447352 h 2340761"/>
                <a:gd name="connsiteX301" fmla="*/ 1305424 w 2967861"/>
                <a:gd name="connsiteY301" fmla="*/ 435866 h 2340761"/>
                <a:gd name="connsiteX302" fmla="*/ 1302320 w 2967861"/>
                <a:gd name="connsiteY302" fmla="*/ 429657 h 2340761"/>
                <a:gd name="connsiteX303" fmla="*/ 1300147 w 2967861"/>
                <a:gd name="connsiteY303" fmla="*/ 423448 h 2340761"/>
                <a:gd name="connsiteX304" fmla="*/ 1296111 w 2967861"/>
                <a:gd name="connsiteY304" fmla="*/ 420344 h 2340761"/>
                <a:gd name="connsiteX305" fmla="*/ 1293006 w 2967861"/>
                <a:gd name="connsiteY305" fmla="*/ 415997 h 2340761"/>
                <a:gd name="connsiteX306" fmla="*/ 1290833 w 2967861"/>
                <a:gd name="connsiteY306" fmla="*/ 412893 h 2340761"/>
                <a:gd name="connsiteX307" fmla="*/ 1289902 w 2967861"/>
                <a:gd name="connsiteY307" fmla="*/ 407615 h 2340761"/>
                <a:gd name="connsiteX308" fmla="*/ 1289902 w 2967861"/>
                <a:gd name="connsiteY308" fmla="*/ 400165 h 2340761"/>
                <a:gd name="connsiteX309" fmla="*/ 1293006 w 2967861"/>
                <a:gd name="connsiteY309" fmla="*/ 390541 h 2340761"/>
                <a:gd name="connsiteX310" fmla="*/ 1296111 w 2967861"/>
                <a:gd name="connsiteY310" fmla="*/ 379054 h 2340761"/>
                <a:gd name="connsiteX311" fmla="*/ 1296111 w 2967861"/>
                <a:gd name="connsiteY311" fmla="*/ 366326 h 2340761"/>
                <a:gd name="connsiteX312" fmla="*/ 1293006 w 2967861"/>
                <a:gd name="connsiteY312" fmla="*/ 355771 h 2340761"/>
                <a:gd name="connsiteX313" fmla="*/ 1289902 w 2967861"/>
                <a:gd name="connsiteY313" fmla="*/ 340870 h 2340761"/>
                <a:gd name="connsiteX314" fmla="*/ 1283693 w 2967861"/>
                <a:gd name="connsiteY314" fmla="*/ 328141 h 2340761"/>
                <a:gd name="connsiteX315" fmla="*/ 1280589 w 2967861"/>
                <a:gd name="connsiteY315" fmla="*/ 318517 h 2340761"/>
                <a:gd name="connsiteX316" fmla="*/ 1282762 w 2967861"/>
                <a:gd name="connsiteY316" fmla="*/ 311067 h 2340761"/>
                <a:gd name="connsiteX317" fmla="*/ 1283693 w 2967861"/>
                <a:gd name="connsiteY317" fmla="*/ 299580 h 2340761"/>
                <a:gd name="connsiteX318" fmla="*/ 1287729 w 2967861"/>
                <a:gd name="connsiteY318" fmla="*/ 286852 h 2340761"/>
                <a:gd name="connsiteX319" fmla="*/ 1290833 w 2967861"/>
                <a:gd name="connsiteY319" fmla="*/ 271951 h 2340761"/>
                <a:gd name="connsiteX320" fmla="*/ 1293006 w 2967861"/>
                <a:gd name="connsiteY320" fmla="*/ 257049 h 2340761"/>
                <a:gd name="connsiteX321" fmla="*/ 1285866 w 2967861"/>
                <a:gd name="connsiteY321" fmla="*/ 249598 h 2340761"/>
                <a:gd name="connsiteX322" fmla="*/ 1280589 w 2967861"/>
                <a:gd name="connsiteY322" fmla="*/ 239975 h 2340761"/>
                <a:gd name="connsiteX323" fmla="*/ 1260720 w 2967861"/>
                <a:gd name="connsiteY323" fmla="*/ 239043 h 2340761"/>
                <a:gd name="connsiteX324" fmla="*/ 1243956 w 2967861"/>
                <a:gd name="connsiteY324" fmla="*/ 239975 h 2340761"/>
                <a:gd name="connsiteX325" fmla="*/ 1234643 w 2967861"/>
                <a:gd name="connsiteY325" fmla="*/ 246184 h 2340761"/>
                <a:gd name="connsiteX326" fmla="*/ 1227502 w 2967861"/>
                <a:gd name="connsiteY326" fmla="*/ 254566 h 2340761"/>
                <a:gd name="connsiteX327" fmla="*/ 1222225 w 2967861"/>
                <a:gd name="connsiteY327" fmla="*/ 266052 h 2340761"/>
                <a:gd name="connsiteX328" fmla="*/ 1218189 w 2967861"/>
                <a:gd name="connsiteY328" fmla="*/ 276607 h 2340761"/>
                <a:gd name="connsiteX329" fmla="*/ 1215085 w 2967861"/>
                <a:gd name="connsiteY329" fmla="*/ 290267 h 2340761"/>
                <a:gd name="connsiteX330" fmla="*/ 1211049 w 2967861"/>
                <a:gd name="connsiteY330" fmla="*/ 300822 h 2340761"/>
                <a:gd name="connsiteX331" fmla="*/ 1203909 w 2967861"/>
                <a:gd name="connsiteY331" fmla="*/ 310446 h 2340761"/>
                <a:gd name="connsiteX332" fmla="*/ 1193353 w 2967861"/>
                <a:gd name="connsiteY332" fmla="*/ 317896 h 2340761"/>
                <a:gd name="connsiteX333" fmla="*/ 1196458 w 2967861"/>
                <a:gd name="connsiteY333" fmla="*/ 338075 h 2340761"/>
                <a:gd name="connsiteX334" fmla="*/ 1198631 w 2967861"/>
                <a:gd name="connsiteY334" fmla="*/ 352977 h 2340761"/>
                <a:gd name="connsiteX335" fmla="*/ 1202667 w 2967861"/>
                <a:gd name="connsiteY335" fmla="*/ 370051 h 2340761"/>
                <a:gd name="connsiteX336" fmla="*/ 1200494 w 2967861"/>
                <a:gd name="connsiteY336" fmla="*/ 392403 h 2340761"/>
                <a:gd name="connsiteX337" fmla="*/ 1217258 w 2967861"/>
                <a:gd name="connsiteY337" fmla="*/ 392403 h 2340761"/>
                <a:gd name="connsiteX338" fmla="*/ 1218189 w 2967861"/>
                <a:gd name="connsiteY338" fmla="*/ 399854 h 2340761"/>
                <a:gd name="connsiteX339" fmla="*/ 1222225 w 2967861"/>
                <a:gd name="connsiteY339" fmla="*/ 405132 h 2340761"/>
                <a:gd name="connsiteX340" fmla="*/ 1224398 w 2967861"/>
                <a:gd name="connsiteY340" fmla="*/ 410409 h 2340761"/>
                <a:gd name="connsiteX341" fmla="*/ 1227502 w 2967861"/>
                <a:gd name="connsiteY341" fmla="*/ 414756 h 2340761"/>
                <a:gd name="connsiteX342" fmla="*/ 1232780 w 2967861"/>
                <a:gd name="connsiteY342" fmla="*/ 420033 h 2340761"/>
                <a:gd name="connsiteX343" fmla="*/ 1231849 w 2967861"/>
                <a:gd name="connsiteY343" fmla="*/ 423138 h 2340761"/>
                <a:gd name="connsiteX344" fmla="*/ 1231849 w 2967861"/>
                <a:gd name="connsiteY344" fmla="*/ 425311 h 2340761"/>
                <a:gd name="connsiteX345" fmla="*/ 1229676 w 2967861"/>
                <a:gd name="connsiteY345" fmla="*/ 427484 h 2340761"/>
                <a:gd name="connsiteX346" fmla="*/ 1220362 w 2967861"/>
                <a:gd name="connsiteY346" fmla="*/ 423138 h 2340761"/>
                <a:gd name="connsiteX347" fmla="*/ 1205771 w 2967861"/>
                <a:gd name="connsiteY347" fmla="*/ 415687 h 2340761"/>
                <a:gd name="connsiteX348" fmla="*/ 1190249 w 2967861"/>
                <a:gd name="connsiteY348" fmla="*/ 402959 h 2340761"/>
                <a:gd name="connsiteX349" fmla="*/ 1171622 w 2967861"/>
                <a:gd name="connsiteY349" fmla="*/ 390230 h 2340761"/>
                <a:gd name="connsiteX350" fmla="*/ 1159204 w 2967861"/>
                <a:gd name="connsiteY350" fmla="*/ 377502 h 2340761"/>
                <a:gd name="connsiteX351" fmla="*/ 1149891 w 2967861"/>
                <a:gd name="connsiteY351" fmla="*/ 366016 h 2340761"/>
                <a:gd name="connsiteX352" fmla="*/ 1142751 w 2967861"/>
                <a:gd name="connsiteY352" fmla="*/ 366016 h 2340761"/>
                <a:gd name="connsiteX353" fmla="*/ 1135611 w 2967861"/>
                <a:gd name="connsiteY353" fmla="*/ 366016 h 2340761"/>
                <a:gd name="connsiteX354" fmla="*/ 1130333 w 2967861"/>
                <a:gd name="connsiteY354" fmla="*/ 363842 h 2340761"/>
                <a:gd name="connsiteX355" fmla="*/ 1126297 w 2967861"/>
                <a:gd name="connsiteY355" fmla="*/ 362911 h 2340761"/>
                <a:gd name="connsiteX356" fmla="*/ 1119157 w 2967861"/>
                <a:gd name="connsiteY356" fmla="*/ 366016 h 2340761"/>
                <a:gd name="connsiteX357" fmla="*/ 1116052 w 2967861"/>
                <a:gd name="connsiteY357" fmla="*/ 368189 h 2340761"/>
                <a:gd name="connsiteX358" fmla="*/ 1112017 w 2967861"/>
                <a:gd name="connsiteY358" fmla="*/ 371293 h 2340761"/>
                <a:gd name="connsiteX359" fmla="*/ 1106739 w 2967861"/>
                <a:gd name="connsiteY359" fmla="*/ 375639 h 2340761"/>
                <a:gd name="connsiteX360" fmla="*/ 1106739 w 2967861"/>
                <a:gd name="connsiteY360" fmla="*/ 383090 h 2340761"/>
                <a:gd name="connsiteX361" fmla="*/ 1106739 w 2967861"/>
                <a:gd name="connsiteY361" fmla="*/ 388368 h 2340761"/>
                <a:gd name="connsiteX362" fmla="*/ 1108912 w 2967861"/>
                <a:gd name="connsiteY362" fmla="*/ 392714 h 2340761"/>
                <a:gd name="connsiteX363" fmla="*/ 1111085 w 2967861"/>
                <a:gd name="connsiteY363" fmla="*/ 395818 h 2340761"/>
                <a:gd name="connsiteX364" fmla="*/ 1114190 w 2967861"/>
                <a:gd name="connsiteY364" fmla="*/ 400165 h 2340761"/>
                <a:gd name="connsiteX365" fmla="*/ 1114190 w 2967861"/>
                <a:gd name="connsiteY365" fmla="*/ 405442 h 2340761"/>
                <a:gd name="connsiteX366" fmla="*/ 1112017 w 2967861"/>
                <a:gd name="connsiteY366" fmla="*/ 410720 h 2340761"/>
                <a:gd name="connsiteX367" fmla="*/ 1112017 w 2967861"/>
                <a:gd name="connsiteY367" fmla="*/ 415066 h 2340761"/>
                <a:gd name="connsiteX368" fmla="*/ 1111085 w 2967861"/>
                <a:gd name="connsiteY368" fmla="*/ 415997 h 2340761"/>
                <a:gd name="connsiteX369" fmla="*/ 1108912 w 2967861"/>
                <a:gd name="connsiteY369" fmla="*/ 420344 h 2340761"/>
                <a:gd name="connsiteX370" fmla="*/ 1106739 w 2967861"/>
                <a:gd name="connsiteY370" fmla="*/ 423448 h 2340761"/>
                <a:gd name="connsiteX371" fmla="*/ 1099599 w 2967861"/>
                <a:gd name="connsiteY371" fmla="*/ 422517 h 2340761"/>
                <a:gd name="connsiteX372" fmla="*/ 1096495 w 2967861"/>
                <a:gd name="connsiteY372" fmla="*/ 422517 h 2340761"/>
                <a:gd name="connsiteX373" fmla="*/ 1094321 w 2967861"/>
                <a:gd name="connsiteY373" fmla="*/ 420344 h 2340761"/>
                <a:gd name="connsiteX374" fmla="*/ 1092148 w 2967861"/>
                <a:gd name="connsiteY374" fmla="*/ 418170 h 2340761"/>
                <a:gd name="connsiteX375" fmla="*/ 1089044 w 2967861"/>
                <a:gd name="connsiteY375" fmla="*/ 415066 h 2340761"/>
                <a:gd name="connsiteX376" fmla="*/ 1086871 w 2967861"/>
                <a:gd name="connsiteY376" fmla="*/ 412893 h 2340761"/>
                <a:gd name="connsiteX377" fmla="*/ 1083766 w 2967861"/>
                <a:gd name="connsiteY377" fmla="*/ 412893 h 2340761"/>
                <a:gd name="connsiteX378" fmla="*/ 1072280 w 2967861"/>
                <a:gd name="connsiteY378" fmla="*/ 415997 h 2340761"/>
                <a:gd name="connsiteX379" fmla="*/ 1061724 w 2967861"/>
                <a:gd name="connsiteY379" fmla="*/ 420344 h 2340761"/>
                <a:gd name="connsiteX380" fmla="*/ 1048065 w 2967861"/>
                <a:gd name="connsiteY380" fmla="*/ 425621 h 2340761"/>
                <a:gd name="connsiteX381" fmla="*/ 1035647 w 2967861"/>
                <a:gd name="connsiteY381" fmla="*/ 430899 h 2340761"/>
                <a:gd name="connsiteX382" fmla="*/ 1030369 w 2967861"/>
                <a:gd name="connsiteY382" fmla="*/ 436176 h 2340761"/>
                <a:gd name="connsiteX383" fmla="*/ 1021056 w 2967861"/>
                <a:gd name="connsiteY383" fmla="*/ 436176 h 2340761"/>
                <a:gd name="connsiteX384" fmla="*/ 1028196 w 2967861"/>
                <a:gd name="connsiteY384" fmla="*/ 425621 h 2340761"/>
                <a:gd name="connsiteX385" fmla="*/ 1035336 w 2967861"/>
                <a:gd name="connsiteY385" fmla="*/ 420344 h 2340761"/>
                <a:gd name="connsiteX386" fmla="*/ 1044650 w 2967861"/>
                <a:gd name="connsiteY386" fmla="*/ 415066 h 2340761"/>
                <a:gd name="connsiteX387" fmla="*/ 1053963 w 2967861"/>
                <a:gd name="connsiteY387" fmla="*/ 407615 h 2340761"/>
                <a:gd name="connsiteX388" fmla="*/ 1040304 w 2967861"/>
                <a:gd name="connsiteY388" fmla="*/ 403269 h 2340761"/>
                <a:gd name="connsiteX389" fmla="*/ 1025713 w 2967861"/>
                <a:gd name="connsiteY389" fmla="*/ 400165 h 2340761"/>
                <a:gd name="connsiteX390" fmla="*/ 1010190 w 2967861"/>
                <a:gd name="connsiteY390" fmla="*/ 400165 h 2340761"/>
                <a:gd name="connsiteX391" fmla="*/ 1008017 w 2967861"/>
                <a:gd name="connsiteY391" fmla="*/ 407615 h 2340761"/>
                <a:gd name="connsiteX392" fmla="*/ 1008017 w 2967861"/>
                <a:gd name="connsiteY392" fmla="*/ 412893 h 2340761"/>
                <a:gd name="connsiteX393" fmla="*/ 1005844 w 2967861"/>
                <a:gd name="connsiteY393" fmla="*/ 415997 h 2340761"/>
                <a:gd name="connsiteX394" fmla="*/ 1003671 w 2967861"/>
                <a:gd name="connsiteY394" fmla="*/ 420344 h 2340761"/>
                <a:gd name="connsiteX395" fmla="*/ 1000567 w 2967861"/>
                <a:gd name="connsiteY395" fmla="*/ 423448 h 2340761"/>
                <a:gd name="connsiteX396" fmla="*/ 1000567 w 2967861"/>
                <a:gd name="connsiteY396" fmla="*/ 427794 h 2340761"/>
                <a:gd name="connsiteX397" fmla="*/ 996531 w 2967861"/>
                <a:gd name="connsiteY397" fmla="*/ 425621 h 2340761"/>
                <a:gd name="connsiteX398" fmla="*/ 995600 w 2967861"/>
                <a:gd name="connsiteY398" fmla="*/ 422517 h 2340761"/>
                <a:gd name="connsiteX399" fmla="*/ 993426 w 2967861"/>
                <a:gd name="connsiteY399" fmla="*/ 420344 h 2340761"/>
                <a:gd name="connsiteX400" fmla="*/ 991253 w 2967861"/>
                <a:gd name="connsiteY400" fmla="*/ 415997 h 2340761"/>
                <a:gd name="connsiteX401" fmla="*/ 990322 w 2967861"/>
                <a:gd name="connsiteY401" fmla="*/ 412893 h 2340761"/>
                <a:gd name="connsiteX402" fmla="*/ 986286 w 2967861"/>
                <a:gd name="connsiteY402" fmla="*/ 410720 h 2340761"/>
                <a:gd name="connsiteX403" fmla="*/ 983182 w 2967861"/>
                <a:gd name="connsiteY403" fmla="*/ 408547 h 2340761"/>
                <a:gd name="connsiteX404" fmla="*/ 981009 w 2967861"/>
                <a:gd name="connsiteY404" fmla="*/ 410720 h 2340761"/>
                <a:gd name="connsiteX405" fmla="*/ 975731 w 2967861"/>
                <a:gd name="connsiteY405" fmla="*/ 410720 h 2340761"/>
                <a:gd name="connsiteX406" fmla="*/ 969522 w 2967861"/>
                <a:gd name="connsiteY406" fmla="*/ 412893 h 2340761"/>
                <a:gd name="connsiteX407" fmla="*/ 957104 w 2967861"/>
                <a:gd name="connsiteY407" fmla="*/ 429967 h 2340761"/>
                <a:gd name="connsiteX408" fmla="*/ 942513 w 2967861"/>
                <a:gd name="connsiteY408" fmla="*/ 443627 h 2340761"/>
                <a:gd name="connsiteX409" fmla="*/ 930095 w 2967861"/>
                <a:gd name="connsiteY409" fmla="*/ 460702 h 2340761"/>
                <a:gd name="connsiteX410" fmla="*/ 932269 w 2967861"/>
                <a:gd name="connsiteY410" fmla="*/ 465979 h 2340761"/>
                <a:gd name="connsiteX411" fmla="*/ 932269 w 2967861"/>
                <a:gd name="connsiteY411" fmla="*/ 470325 h 2340761"/>
                <a:gd name="connsiteX412" fmla="*/ 932269 w 2967861"/>
                <a:gd name="connsiteY412" fmla="*/ 475603 h 2340761"/>
                <a:gd name="connsiteX413" fmla="*/ 932269 w 2967861"/>
                <a:gd name="connsiteY413" fmla="*/ 479949 h 2340761"/>
                <a:gd name="connsiteX414" fmla="*/ 930095 w 2967861"/>
                <a:gd name="connsiteY414" fmla="*/ 485227 h 2340761"/>
                <a:gd name="connsiteX415" fmla="*/ 926060 w 2967861"/>
                <a:gd name="connsiteY415" fmla="*/ 487400 h 2340761"/>
                <a:gd name="connsiteX416" fmla="*/ 925128 w 2967861"/>
                <a:gd name="connsiteY416" fmla="*/ 487400 h 2340761"/>
                <a:gd name="connsiteX417" fmla="*/ 922955 w 2967861"/>
                <a:gd name="connsiteY417" fmla="*/ 488331 h 2340761"/>
                <a:gd name="connsiteX418" fmla="*/ 920782 w 2967861"/>
                <a:gd name="connsiteY418" fmla="*/ 488331 h 2340761"/>
                <a:gd name="connsiteX419" fmla="*/ 915504 w 2967861"/>
                <a:gd name="connsiteY419" fmla="*/ 488331 h 2340761"/>
                <a:gd name="connsiteX420" fmla="*/ 911469 w 2967861"/>
                <a:gd name="connsiteY420" fmla="*/ 487400 h 2340761"/>
                <a:gd name="connsiteX421" fmla="*/ 908364 w 2967861"/>
                <a:gd name="connsiteY421" fmla="*/ 485227 h 2340761"/>
                <a:gd name="connsiteX422" fmla="*/ 906191 w 2967861"/>
                <a:gd name="connsiteY422" fmla="*/ 483054 h 2340761"/>
                <a:gd name="connsiteX423" fmla="*/ 900914 w 2967861"/>
                <a:gd name="connsiteY423" fmla="*/ 480881 h 2340761"/>
                <a:gd name="connsiteX424" fmla="*/ 900914 w 2967861"/>
                <a:gd name="connsiteY424" fmla="*/ 460702 h 2340761"/>
                <a:gd name="connsiteX425" fmla="*/ 908054 w 2967861"/>
                <a:gd name="connsiteY425" fmla="*/ 460702 h 2340761"/>
                <a:gd name="connsiteX426" fmla="*/ 911158 w 2967861"/>
                <a:gd name="connsiteY426" fmla="*/ 458528 h 2340761"/>
                <a:gd name="connsiteX427" fmla="*/ 913331 w 2967861"/>
                <a:gd name="connsiteY427" fmla="*/ 458528 h 2340761"/>
                <a:gd name="connsiteX428" fmla="*/ 917367 w 2967861"/>
                <a:gd name="connsiteY428" fmla="*/ 457597 h 2340761"/>
                <a:gd name="connsiteX429" fmla="*/ 917367 w 2967861"/>
                <a:gd name="connsiteY429" fmla="*/ 447973 h 2340761"/>
                <a:gd name="connsiteX430" fmla="*/ 911158 w 2967861"/>
                <a:gd name="connsiteY430" fmla="*/ 438349 h 2340761"/>
                <a:gd name="connsiteX431" fmla="*/ 904018 w 2967861"/>
                <a:gd name="connsiteY431" fmla="*/ 427794 h 2340761"/>
                <a:gd name="connsiteX432" fmla="*/ 896878 w 2967861"/>
                <a:gd name="connsiteY432" fmla="*/ 420344 h 2340761"/>
                <a:gd name="connsiteX433" fmla="*/ 866765 w 2967861"/>
                <a:gd name="connsiteY433" fmla="*/ 420344 h 2340761"/>
                <a:gd name="connsiteX434" fmla="*/ 873905 w 2967861"/>
                <a:gd name="connsiteY434" fmla="*/ 464737 h 2340761"/>
                <a:gd name="connsiteX435" fmla="*/ 877009 w 2967861"/>
                <a:gd name="connsiteY435" fmla="*/ 504785 h 2340761"/>
                <a:gd name="connsiteX436" fmla="*/ 869869 w 2967861"/>
                <a:gd name="connsiteY436" fmla="*/ 502612 h 2340761"/>
                <a:gd name="connsiteX437" fmla="*/ 862729 w 2967861"/>
                <a:gd name="connsiteY437" fmla="*/ 501680 h 2340761"/>
                <a:gd name="connsiteX438" fmla="*/ 855588 w 2967861"/>
                <a:gd name="connsiteY438" fmla="*/ 499507 h 2340761"/>
                <a:gd name="connsiteX439" fmla="*/ 850311 w 2967861"/>
                <a:gd name="connsiteY439" fmla="*/ 497334 h 2340761"/>
                <a:gd name="connsiteX440" fmla="*/ 840997 w 2967861"/>
                <a:gd name="connsiteY440" fmla="*/ 510062 h 2340761"/>
                <a:gd name="connsiteX441" fmla="*/ 830442 w 2967861"/>
                <a:gd name="connsiteY441" fmla="*/ 521549 h 2340761"/>
                <a:gd name="connsiteX442" fmla="*/ 813678 w 2967861"/>
                <a:gd name="connsiteY442" fmla="*/ 529000 h 2340761"/>
                <a:gd name="connsiteX443" fmla="*/ 815851 w 2967861"/>
                <a:gd name="connsiteY443" fmla="*/ 534277 h 2340761"/>
                <a:gd name="connsiteX444" fmla="*/ 815851 w 2967861"/>
                <a:gd name="connsiteY444" fmla="*/ 537382 h 2340761"/>
                <a:gd name="connsiteX445" fmla="*/ 815851 w 2967861"/>
                <a:gd name="connsiteY445" fmla="*/ 539555 h 2340761"/>
                <a:gd name="connsiteX446" fmla="*/ 818025 w 2967861"/>
                <a:gd name="connsiteY446" fmla="*/ 541728 h 2340761"/>
                <a:gd name="connsiteX447" fmla="*/ 818956 w 2967861"/>
                <a:gd name="connsiteY447" fmla="*/ 543901 h 2340761"/>
                <a:gd name="connsiteX448" fmla="*/ 821129 w 2967861"/>
                <a:gd name="connsiteY448" fmla="*/ 544832 h 2340761"/>
                <a:gd name="connsiteX449" fmla="*/ 821129 w 2967861"/>
                <a:gd name="connsiteY449" fmla="*/ 551041 h 2340761"/>
                <a:gd name="connsiteX450" fmla="*/ 818956 w 2967861"/>
                <a:gd name="connsiteY450" fmla="*/ 556319 h 2340761"/>
                <a:gd name="connsiteX451" fmla="*/ 818025 w 2967861"/>
                <a:gd name="connsiteY451" fmla="*/ 558492 h 2340761"/>
                <a:gd name="connsiteX452" fmla="*/ 815851 w 2967861"/>
                <a:gd name="connsiteY452" fmla="*/ 561596 h 2340761"/>
                <a:gd name="connsiteX453" fmla="*/ 813678 w 2967861"/>
                <a:gd name="connsiteY453" fmla="*/ 565943 h 2340761"/>
                <a:gd name="connsiteX454" fmla="*/ 799087 w 2967861"/>
                <a:gd name="connsiteY454" fmla="*/ 559734 h 2340761"/>
                <a:gd name="connsiteX455" fmla="*/ 786669 w 2967861"/>
                <a:gd name="connsiteY455" fmla="*/ 552283 h 2340761"/>
                <a:gd name="connsiteX456" fmla="*/ 774252 w 2967861"/>
                <a:gd name="connsiteY456" fmla="*/ 544832 h 2340761"/>
                <a:gd name="connsiteX457" fmla="*/ 774252 w 2967861"/>
                <a:gd name="connsiteY457" fmla="*/ 549179 h 2340761"/>
                <a:gd name="connsiteX458" fmla="*/ 767732 w 2967861"/>
                <a:gd name="connsiteY458" fmla="*/ 549179 h 2340761"/>
                <a:gd name="connsiteX459" fmla="*/ 767732 w 2967861"/>
                <a:gd name="connsiteY459" fmla="*/ 559734 h 2340761"/>
                <a:gd name="connsiteX460" fmla="*/ 769906 w 2967861"/>
                <a:gd name="connsiteY460" fmla="*/ 569358 h 2340761"/>
                <a:gd name="connsiteX461" fmla="*/ 772079 w 2967861"/>
                <a:gd name="connsiteY461" fmla="*/ 582086 h 2340761"/>
                <a:gd name="connsiteX462" fmla="*/ 764938 w 2967861"/>
                <a:gd name="connsiteY462" fmla="*/ 581155 h 2340761"/>
                <a:gd name="connsiteX463" fmla="*/ 760903 w 2967861"/>
                <a:gd name="connsiteY463" fmla="*/ 576808 h 2340761"/>
                <a:gd name="connsiteX464" fmla="*/ 755625 w 2967861"/>
                <a:gd name="connsiteY464" fmla="*/ 574635 h 2340761"/>
                <a:gd name="connsiteX465" fmla="*/ 752520 w 2967861"/>
                <a:gd name="connsiteY465" fmla="*/ 569358 h 2340761"/>
                <a:gd name="connsiteX466" fmla="*/ 748485 w 2967861"/>
                <a:gd name="connsiteY466" fmla="*/ 559734 h 2340761"/>
                <a:gd name="connsiteX467" fmla="*/ 745380 w 2967861"/>
                <a:gd name="connsiteY467" fmla="*/ 544832 h 2340761"/>
                <a:gd name="connsiteX468" fmla="*/ 743207 w 2967861"/>
                <a:gd name="connsiteY468" fmla="*/ 526827 h 2340761"/>
                <a:gd name="connsiteX469" fmla="*/ 741034 w 2967861"/>
                <a:gd name="connsiteY469" fmla="*/ 509752 h 2340761"/>
                <a:gd name="connsiteX470" fmla="*/ 738861 w 2967861"/>
                <a:gd name="connsiteY470" fmla="*/ 497024 h 2340761"/>
                <a:gd name="connsiteX471" fmla="*/ 753452 w 2967861"/>
                <a:gd name="connsiteY471" fmla="*/ 502301 h 2340761"/>
                <a:gd name="connsiteX472" fmla="*/ 768043 w 2967861"/>
                <a:gd name="connsiteY472" fmla="*/ 509752 h 2340761"/>
                <a:gd name="connsiteX473" fmla="*/ 784807 w 2967861"/>
                <a:gd name="connsiteY473" fmla="*/ 517203 h 2340761"/>
                <a:gd name="connsiteX474" fmla="*/ 802502 w 2967861"/>
                <a:gd name="connsiteY474" fmla="*/ 517203 h 2340761"/>
                <a:gd name="connsiteX475" fmla="*/ 819266 w 2967861"/>
                <a:gd name="connsiteY475" fmla="*/ 508821 h 2340761"/>
                <a:gd name="connsiteX476" fmla="*/ 831684 w 2967861"/>
                <a:gd name="connsiteY476" fmla="*/ 495161 h 2340761"/>
                <a:gd name="connsiteX477" fmla="*/ 833857 w 2967861"/>
                <a:gd name="connsiteY477" fmla="*/ 479328 h 2340761"/>
                <a:gd name="connsiteX478" fmla="*/ 830753 w 2967861"/>
                <a:gd name="connsiteY478" fmla="*/ 462254 h 2340761"/>
                <a:gd name="connsiteX479" fmla="*/ 819266 w 2967861"/>
                <a:gd name="connsiteY479" fmla="*/ 445179 h 2340761"/>
                <a:gd name="connsiteX480" fmla="*/ 806848 w 2967861"/>
                <a:gd name="connsiteY480" fmla="*/ 429347 h 2340761"/>
                <a:gd name="connsiteX481" fmla="*/ 792258 w 2967861"/>
                <a:gd name="connsiteY481" fmla="*/ 414445 h 2340761"/>
                <a:gd name="connsiteX482" fmla="*/ 777667 w 2967861"/>
                <a:gd name="connsiteY482" fmla="*/ 402959 h 2340761"/>
                <a:gd name="connsiteX483" fmla="*/ 765249 w 2967861"/>
                <a:gd name="connsiteY483" fmla="*/ 395508 h 2340761"/>
                <a:gd name="connsiteX484" fmla="*/ 732031 w 2967861"/>
                <a:gd name="connsiteY484" fmla="*/ 392403 h 2340761"/>
                <a:gd name="connsiteX485" fmla="*/ 726753 w 2967861"/>
                <a:gd name="connsiteY485" fmla="*/ 386195 h 2340761"/>
                <a:gd name="connsiteX486" fmla="*/ 721476 w 2967861"/>
                <a:gd name="connsiteY486" fmla="*/ 380917 h 2340761"/>
                <a:gd name="connsiteX487" fmla="*/ 719303 w 2967861"/>
                <a:gd name="connsiteY487" fmla="*/ 375639 h 2340761"/>
                <a:gd name="connsiteX488" fmla="*/ 717130 w 2967861"/>
                <a:gd name="connsiteY488" fmla="*/ 371293 h 2340761"/>
                <a:gd name="connsiteX489" fmla="*/ 711852 w 2967861"/>
                <a:gd name="connsiteY489" fmla="*/ 371293 h 2340761"/>
                <a:gd name="connsiteX490" fmla="*/ 704712 w 2967861"/>
                <a:gd name="connsiteY490" fmla="*/ 373466 h 2340761"/>
                <a:gd name="connsiteX491" fmla="*/ 692294 w 2967861"/>
                <a:gd name="connsiteY491" fmla="*/ 378744 h 2340761"/>
                <a:gd name="connsiteX492" fmla="*/ 690121 w 2967861"/>
                <a:gd name="connsiteY492" fmla="*/ 375639 h 2340761"/>
                <a:gd name="connsiteX493" fmla="*/ 689190 w 2967861"/>
                <a:gd name="connsiteY493" fmla="*/ 373466 h 2340761"/>
                <a:gd name="connsiteX494" fmla="*/ 687016 w 2967861"/>
                <a:gd name="connsiteY494" fmla="*/ 373466 h 2340761"/>
                <a:gd name="connsiteX495" fmla="*/ 684843 w 2967861"/>
                <a:gd name="connsiteY495" fmla="*/ 370362 h 2340761"/>
                <a:gd name="connsiteX496" fmla="*/ 684843 w 2967861"/>
                <a:gd name="connsiteY496" fmla="*/ 366016 h 2340761"/>
                <a:gd name="connsiteX497" fmla="*/ 687016 w 2967861"/>
                <a:gd name="connsiteY497" fmla="*/ 363842 h 2340761"/>
                <a:gd name="connsiteX498" fmla="*/ 687016 w 2967861"/>
                <a:gd name="connsiteY498" fmla="*/ 362911 h 2340761"/>
                <a:gd name="connsiteX499" fmla="*/ 689190 w 2967861"/>
                <a:gd name="connsiteY499" fmla="*/ 362911 h 2340761"/>
                <a:gd name="connsiteX500" fmla="*/ 690121 w 2967861"/>
                <a:gd name="connsiteY500" fmla="*/ 360738 h 2340761"/>
                <a:gd name="connsiteX501" fmla="*/ 692294 w 2967861"/>
                <a:gd name="connsiteY501" fmla="*/ 358565 h 2340761"/>
                <a:gd name="connsiteX502" fmla="*/ 689190 w 2967861"/>
                <a:gd name="connsiteY502" fmla="*/ 343664 h 2340761"/>
                <a:gd name="connsiteX503" fmla="*/ 682981 w 2967861"/>
                <a:gd name="connsiteY503" fmla="*/ 336213 h 2340761"/>
                <a:gd name="connsiteX504" fmla="*/ 675840 w 2967861"/>
                <a:gd name="connsiteY504" fmla="*/ 334040 h 2340761"/>
                <a:gd name="connsiteX505" fmla="*/ 668700 w 2967861"/>
                <a:gd name="connsiteY505" fmla="*/ 333108 h 2340761"/>
                <a:gd name="connsiteX506" fmla="*/ 660318 w 2967861"/>
                <a:gd name="connsiteY506" fmla="*/ 328762 h 2340761"/>
                <a:gd name="connsiteX507" fmla="*/ 653178 w 2967861"/>
                <a:gd name="connsiteY507" fmla="*/ 321311 h 2340761"/>
                <a:gd name="connsiteX508" fmla="*/ 636414 w 2967861"/>
                <a:gd name="connsiteY508" fmla="*/ 323485 h 2340761"/>
                <a:gd name="connsiteX509" fmla="*/ 619650 w 2967861"/>
                <a:gd name="connsiteY509" fmla="*/ 327831 h 2340761"/>
                <a:gd name="connsiteX510" fmla="*/ 607232 w 2967861"/>
                <a:gd name="connsiteY510" fmla="*/ 330935 h 2340761"/>
                <a:gd name="connsiteX511" fmla="*/ 595745 w 2967861"/>
                <a:gd name="connsiteY511" fmla="*/ 340559 h 2340761"/>
                <a:gd name="connsiteX512" fmla="*/ 589536 w 2967861"/>
                <a:gd name="connsiteY512" fmla="*/ 355460 h 2340761"/>
                <a:gd name="connsiteX513" fmla="*/ 583328 w 2967861"/>
                <a:gd name="connsiteY513" fmla="*/ 351114 h 2340761"/>
                <a:gd name="connsiteX514" fmla="*/ 581465 w 2967861"/>
                <a:gd name="connsiteY514" fmla="*/ 351114 h 2340761"/>
                <a:gd name="connsiteX515" fmla="*/ 579292 w 2967861"/>
                <a:gd name="connsiteY515" fmla="*/ 348941 h 2340761"/>
                <a:gd name="connsiteX516" fmla="*/ 577119 w 2967861"/>
                <a:gd name="connsiteY516" fmla="*/ 348941 h 2340761"/>
                <a:gd name="connsiteX517" fmla="*/ 574014 w 2967861"/>
                <a:gd name="connsiteY517" fmla="*/ 348941 h 2340761"/>
                <a:gd name="connsiteX518" fmla="*/ 569978 w 2967861"/>
                <a:gd name="connsiteY518" fmla="*/ 348941 h 2340761"/>
                <a:gd name="connsiteX519" fmla="*/ 564701 w 2967861"/>
                <a:gd name="connsiteY519" fmla="*/ 348941 h 2340761"/>
                <a:gd name="connsiteX520" fmla="*/ 564701 w 2967861"/>
                <a:gd name="connsiteY520" fmla="*/ 362601 h 2340761"/>
                <a:gd name="connsiteX521" fmla="*/ 560665 w 2967861"/>
                <a:gd name="connsiteY521" fmla="*/ 360428 h 2340761"/>
                <a:gd name="connsiteX522" fmla="*/ 559734 w 2967861"/>
                <a:gd name="connsiteY522" fmla="*/ 360428 h 2340761"/>
                <a:gd name="connsiteX523" fmla="*/ 557561 w 2967861"/>
                <a:gd name="connsiteY523" fmla="*/ 360428 h 2340761"/>
                <a:gd name="connsiteX524" fmla="*/ 555387 w 2967861"/>
                <a:gd name="connsiteY524" fmla="*/ 358254 h 2340761"/>
                <a:gd name="connsiteX525" fmla="*/ 535519 w 2967861"/>
                <a:gd name="connsiteY525" fmla="*/ 363532 h 2340761"/>
                <a:gd name="connsiteX526" fmla="*/ 520928 w 2967861"/>
                <a:gd name="connsiteY526" fmla="*/ 375019 h 2340761"/>
                <a:gd name="connsiteX527" fmla="*/ 511615 w 2967861"/>
                <a:gd name="connsiteY527" fmla="*/ 392093 h 2340761"/>
                <a:gd name="connsiteX528" fmla="*/ 494850 w 2967861"/>
                <a:gd name="connsiteY528" fmla="*/ 392093 h 2340761"/>
                <a:gd name="connsiteX529" fmla="*/ 494850 w 2967861"/>
                <a:gd name="connsiteY529" fmla="*/ 406994 h 2340761"/>
                <a:gd name="connsiteX530" fmla="*/ 479328 w 2967861"/>
                <a:gd name="connsiteY530" fmla="*/ 415377 h 2340761"/>
                <a:gd name="connsiteX531" fmla="*/ 466910 w 2967861"/>
                <a:gd name="connsiteY531" fmla="*/ 430278 h 2340761"/>
                <a:gd name="connsiteX532" fmla="*/ 453251 w 2967861"/>
                <a:gd name="connsiteY532" fmla="*/ 452630 h 2340761"/>
                <a:gd name="connsiteX533" fmla="*/ 442696 w 2967861"/>
                <a:gd name="connsiteY533" fmla="*/ 476845 h 2340761"/>
                <a:gd name="connsiteX534" fmla="*/ 431209 w 2967861"/>
                <a:gd name="connsiteY534" fmla="*/ 501060 h 2340761"/>
                <a:gd name="connsiteX535" fmla="*/ 420654 w 2967861"/>
                <a:gd name="connsiteY535" fmla="*/ 524343 h 2340761"/>
                <a:gd name="connsiteX536" fmla="*/ 408236 w 2967861"/>
                <a:gd name="connsiteY536" fmla="*/ 544522 h 2340761"/>
                <a:gd name="connsiteX537" fmla="*/ 394577 w 2967861"/>
                <a:gd name="connsiteY537" fmla="*/ 561596 h 2340761"/>
                <a:gd name="connsiteX538" fmla="*/ 396750 w 2967861"/>
                <a:gd name="connsiteY538" fmla="*/ 565943 h 2340761"/>
                <a:gd name="connsiteX539" fmla="*/ 396750 w 2967861"/>
                <a:gd name="connsiteY539" fmla="*/ 569047 h 2340761"/>
                <a:gd name="connsiteX540" fmla="*/ 396750 w 2967861"/>
                <a:gd name="connsiteY540" fmla="*/ 571220 h 2340761"/>
                <a:gd name="connsiteX541" fmla="*/ 398923 w 2967861"/>
                <a:gd name="connsiteY541" fmla="*/ 571220 h 2340761"/>
                <a:gd name="connsiteX542" fmla="*/ 401096 w 2967861"/>
                <a:gd name="connsiteY542" fmla="*/ 571220 h 2340761"/>
                <a:gd name="connsiteX543" fmla="*/ 404200 w 2967861"/>
                <a:gd name="connsiteY543" fmla="*/ 573393 h 2340761"/>
                <a:gd name="connsiteX544" fmla="*/ 394887 w 2967861"/>
                <a:gd name="connsiteY544" fmla="*/ 581775 h 2340761"/>
                <a:gd name="connsiteX545" fmla="*/ 384332 w 2967861"/>
                <a:gd name="connsiteY545" fmla="*/ 586122 h 2340761"/>
                <a:gd name="connsiteX546" fmla="*/ 371914 w 2967861"/>
                <a:gd name="connsiteY546" fmla="*/ 593572 h 2340761"/>
                <a:gd name="connsiteX547" fmla="*/ 369741 w 2967861"/>
                <a:gd name="connsiteY547" fmla="*/ 596677 h 2340761"/>
                <a:gd name="connsiteX548" fmla="*/ 367568 w 2967861"/>
                <a:gd name="connsiteY548" fmla="*/ 602886 h 2340761"/>
                <a:gd name="connsiteX549" fmla="*/ 366636 w 2967861"/>
                <a:gd name="connsiteY549" fmla="*/ 605990 h 2340761"/>
                <a:gd name="connsiteX550" fmla="*/ 364463 w 2967861"/>
                <a:gd name="connsiteY550" fmla="*/ 610336 h 2340761"/>
                <a:gd name="connsiteX551" fmla="*/ 360427 w 2967861"/>
                <a:gd name="connsiteY551" fmla="*/ 613441 h 2340761"/>
                <a:gd name="connsiteX552" fmla="*/ 359496 w 2967861"/>
                <a:gd name="connsiteY552" fmla="*/ 611268 h 2340761"/>
                <a:gd name="connsiteX553" fmla="*/ 357323 w 2967861"/>
                <a:gd name="connsiteY553" fmla="*/ 610336 h 2340761"/>
                <a:gd name="connsiteX554" fmla="*/ 355150 w 2967861"/>
                <a:gd name="connsiteY554" fmla="*/ 608163 h 2340761"/>
                <a:gd name="connsiteX555" fmla="*/ 352045 w 2967861"/>
                <a:gd name="connsiteY555" fmla="*/ 605990 h 2340761"/>
                <a:gd name="connsiteX556" fmla="*/ 345836 w 2967861"/>
                <a:gd name="connsiteY556" fmla="*/ 611268 h 2340761"/>
                <a:gd name="connsiteX557" fmla="*/ 340559 w 2967861"/>
                <a:gd name="connsiteY557" fmla="*/ 617477 h 2340761"/>
                <a:gd name="connsiteX558" fmla="*/ 335281 w 2967861"/>
                <a:gd name="connsiteY558" fmla="*/ 622754 h 2340761"/>
                <a:gd name="connsiteX559" fmla="*/ 331246 w 2967861"/>
                <a:gd name="connsiteY559" fmla="*/ 625859 h 2340761"/>
                <a:gd name="connsiteX560" fmla="*/ 325968 w 2967861"/>
                <a:gd name="connsiteY560" fmla="*/ 640760 h 2340761"/>
                <a:gd name="connsiteX561" fmla="*/ 323795 w 2967861"/>
                <a:gd name="connsiteY561" fmla="*/ 652247 h 2340761"/>
                <a:gd name="connsiteX562" fmla="*/ 320690 w 2967861"/>
                <a:gd name="connsiteY562" fmla="*/ 660629 h 2340761"/>
                <a:gd name="connsiteX563" fmla="*/ 311377 w 2967861"/>
                <a:gd name="connsiteY563" fmla="*/ 670252 h 2340761"/>
                <a:gd name="connsiteX564" fmla="*/ 313550 w 2967861"/>
                <a:gd name="connsiteY564" fmla="*/ 692605 h 2340761"/>
                <a:gd name="connsiteX565" fmla="*/ 316655 w 2967861"/>
                <a:gd name="connsiteY565" fmla="*/ 709679 h 2340761"/>
                <a:gd name="connsiteX566" fmla="*/ 320690 w 2967861"/>
                <a:gd name="connsiteY566" fmla="*/ 724581 h 2340761"/>
                <a:gd name="connsiteX567" fmla="*/ 322864 w 2967861"/>
                <a:gd name="connsiteY567" fmla="*/ 742586 h 2340761"/>
                <a:gd name="connsiteX568" fmla="*/ 323795 w 2967861"/>
                <a:gd name="connsiteY568" fmla="*/ 764938 h 2340761"/>
                <a:gd name="connsiteX569" fmla="*/ 327831 w 2967861"/>
                <a:gd name="connsiteY569" fmla="*/ 764938 h 2340761"/>
                <a:gd name="connsiteX570" fmla="*/ 330004 w 2967861"/>
                <a:gd name="connsiteY570" fmla="*/ 767112 h 2340761"/>
                <a:gd name="connsiteX571" fmla="*/ 330935 w 2967861"/>
                <a:gd name="connsiteY571" fmla="*/ 767112 h 2340761"/>
                <a:gd name="connsiteX572" fmla="*/ 333108 w 2967861"/>
                <a:gd name="connsiteY572" fmla="*/ 767112 h 2340761"/>
                <a:gd name="connsiteX573" fmla="*/ 335281 w 2967861"/>
                <a:gd name="connsiteY573" fmla="*/ 769285 h 2340761"/>
                <a:gd name="connsiteX574" fmla="*/ 352977 w 2967861"/>
                <a:gd name="connsiteY574" fmla="*/ 764938 h 2340761"/>
                <a:gd name="connsiteX575" fmla="*/ 364463 w 2967861"/>
                <a:gd name="connsiteY575" fmla="*/ 759661 h 2340761"/>
                <a:gd name="connsiteX576" fmla="*/ 375018 w 2967861"/>
                <a:gd name="connsiteY576" fmla="*/ 752210 h 2340761"/>
                <a:gd name="connsiteX577" fmla="*/ 384332 w 2967861"/>
                <a:gd name="connsiteY577" fmla="*/ 742586 h 2340761"/>
                <a:gd name="connsiteX578" fmla="*/ 398923 w 2967861"/>
                <a:gd name="connsiteY578" fmla="*/ 735136 h 2340761"/>
                <a:gd name="connsiteX579" fmla="*/ 409478 w 2967861"/>
                <a:gd name="connsiteY579" fmla="*/ 762765 h 2340761"/>
                <a:gd name="connsiteX580" fmla="*/ 415687 w 2967861"/>
                <a:gd name="connsiteY580" fmla="*/ 786980 h 2340761"/>
                <a:gd name="connsiteX581" fmla="*/ 424069 w 2967861"/>
                <a:gd name="connsiteY581" fmla="*/ 809332 h 2340761"/>
                <a:gd name="connsiteX582" fmla="*/ 438660 w 2967861"/>
                <a:gd name="connsiteY582" fmla="*/ 829511 h 2340761"/>
                <a:gd name="connsiteX583" fmla="*/ 438660 w 2967861"/>
                <a:gd name="connsiteY583" fmla="*/ 833857 h 2340761"/>
                <a:gd name="connsiteX584" fmla="*/ 444869 w 2967861"/>
                <a:gd name="connsiteY584" fmla="*/ 833857 h 2340761"/>
                <a:gd name="connsiteX585" fmla="*/ 453251 w 2967861"/>
                <a:gd name="connsiteY585" fmla="*/ 818956 h 2340761"/>
                <a:gd name="connsiteX586" fmla="*/ 462564 w 2967861"/>
                <a:gd name="connsiteY586" fmla="*/ 807470 h 2340761"/>
                <a:gd name="connsiteX587" fmla="*/ 474051 w 2967861"/>
                <a:gd name="connsiteY587" fmla="*/ 796914 h 2340761"/>
                <a:gd name="connsiteX588" fmla="*/ 481191 w 2967861"/>
                <a:gd name="connsiteY588" fmla="*/ 784186 h 2340761"/>
                <a:gd name="connsiteX589" fmla="*/ 488331 w 2967861"/>
                <a:gd name="connsiteY589" fmla="*/ 767112 h 2340761"/>
                <a:gd name="connsiteX590" fmla="*/ 491436 w 2967861"/>
                <a:gd name="connsiteY590" fmla="*/ 744759 h 2340761"/>
                <a:gd name="connsiteX591" fmla="*/ 515340 w 2967861"/>
                <a:gd name="connsiteY591" fmla="*/ 735136 h 2340761"/>
                <a:gd name="connsiteX592" fmla="*/ 516271 w 2967861"/>
                <a:gd name="connsiteY592" fmla="*/ 734204 h 2340761"/>
                <a:gd name="connsiteX593" fmla="*/ 516271 w 2967861"/>
                <a:gd name="connsiteY593" fmla="*/ 729858 h 2340761"/>
                <a:gd name="connsiteX594" fmla="*/ 518444 w 2967861"/>
                <a:gd name="connsiteY594" fmla="*/ 727685 h 2340761"/>
                <a:gd name="connsiteX595" fmla="*/ 518444 w 2967861"/>
                <a:gd name="connsiteY595" fmla="*/ 726754 h 2340761"/>
                <a:gd name="connsiteX596" fmla="*/ 520618 w 2967861"/>
                <a:gd name="connsiteY596" fmla="*/ 724581 h 2340761"/>
                <a:gd name="connsiteX597" fmla="*/ 522791 w 2967861"/>
                <a:gd name="connsiteY597" fmla="*/ 722407 h 2340761"/>
                <a:gd name="connsiteX598" fmla="*/ 528068 w 2967861"/>
                <a:gd name="connsiteY598" fmla="*/ 720234 h 2340761"/>
                <a:gd name="connsiteX599" fmla="*/ 524032 w 2967861"/>
                <a:gd name="connsiteY599" fmla="*/ 704402 h 2340761"/>
                <a:gd name="connsiteX600" fmla="*/ 516892 w 2967861"/>
                <a:gd name="connsiteY600" fmla="*/ 690742 h 2340761"/>
                <a:gd name="connsiteX601" fmla="*/ 506337 w 2967861"/>
                <a:gd name="connsiteY601" fmla="*/ 680187 h 2340761"/>
                <a:gd name="connsiteX602" fmla="*/ 494850 w 2967861"/>
                <a:gd name="connsiteY602" fmla="*/ 670563 h 2340761"/>
                <a:gd name="connsiteX603" fmla="*/ 501059 w 2967861"/>
                <a:gd name="connsiteY603" fmla="*/ 645106 h 2340761"/>
                <a:gd name="connsiteX604" fmla="*/ 509441 w 2967861"/>
                <a:gd name="connsiteY604" fmla="*/ 622754 h 2340761"/>
                <a:gd name="connsiteX605" fmla="*/ 523101 w 2967861"/>
                <a:gd name="connsiteY605" fmla="*/ 603817 h 2340761"/>
                <a:gd name="connsiteX606" fmla="*/ 537692 w 2967861"/>
                <a:gd name="connsiteY606" fmla="*/ 587984 h 2340761"/>
                <a:gd name="connsiteX607" fmla="*/ 550110 w 2967861"/>
                <a:gd name="connsiteY607" fmla="*/ 570910 h 2340761"/>
                <a:gd name="connsiteX608" fmla="*/ 559423 w 2967861"/>
                <a:gd name="connsiteY608" fmla="*/ 550731 h 2340761"/>
                <a:gd name="connsiteX609" fmla="*/ 564701 w 2967861"/>
                <a:gd name="connsiteY609" fmla="*/ 524343 h 2340761"/>
                <a:gd name="connsiteX610" fmla="*/ 581465 w 2967861"/>
                <a:gd name="connsiteY610" fmla="*/ 523412 h 2340761"/>
                <a:gd name="connsiteX611" fmla="*/ 595125 w 2967861"/>
                <a:gd name="connsiteY611" fmla="*/ 521238 h 2340761"/>
                <a:gd name="connsiteX612" fmla="*/ 601334 w 2967861"/>
                <a:gd name="connsiteY612" fmla="*/ 526516 h 2340761"/>
                <a:gd name="connsiteX613" fmla="*/ 606611 w 2967861"/>
                <a:gd name="connsiteY613" fmla="*/ 531794 h 2340761"/>
                <a:gd name="connsiteX614" fmla="*/ 611889 w 2967861"/>
                <a:gd name="connsiteY614" fmla="*/ 537071 h 2340761"/>
                <a:gd name="connsiteX615" fmla="*/ 602575 w 2967861"/>
                <a:gd name="connsiteY615" fmla="*/ 554146 h 2340761"/>
                <a:gd name="connsiteX616" fmla="*/ 590157 w 2967861"/>
                <a:gd name="connsiteY616" fmla="*/ 569047 h 2340761"/>
                <a:gd name="connsiteX617" fmla="*/ 575566 w 2967861"/>
                <a:gd name="connsiteY617" fmla="*/ 583949 h 2340761"/>
                <a:gd name="connsiteX618" fmla="*/ 560976 w 2967861"/>
                <a:gd name="connsiteY618" fmla="*/ 596677 h 2340761"/>
                <a:gd name="connsiteX619" fmla="*/ 552593 w 2967861"/>
                <a:gd name="connsiteY619" fmla="*/ 615614 h 2340761"/>
                <a:gd name="connsiteX620" fmla="*/ 550420 w 2967861"/>
                <a:gd name="connsiteY620" fmla="*/ 628342 h 2340761"/>
                <a:gd name="connsiteX621" fmla="*/ 552593 w 2967861"/>
                <a:gd name="connsiteY621" fmla="*/ 643244 h 2340761"/>
                <a:gd name="connsiteX622" fmla="*/ 553525 w 2967861"/>
                <a:gd name="connsiteY622" fmla="*/ 655972 h 2340761"/>
                <a:gd name="connsiteX623" fmla="*/ 552593 w 2967861"/>
                <a:gd name="connsiteY623" fmla="*/ 667458 h 2340761"/>
                <a:gd name="connsiteX624" fmla="*/ 553525 w 2967861"/>
                <a:gd name="connsiteY624" fmla="*/ 682360 h 2340761"/>
                <a:gd name="connsiteX625" fmla="*/ 557561 w 2967861"/>
                <a:gd name="connsiteY625" fmla="*/ 690742 h 2340761"/>
                <a:gd name="connsiteX626" fmla="*/ 562838 w 2967861"/>
                <a:gd name="connsiteY626" fmla="*/ 698193 h 2340761"/>
                <a:gd name="connsiteX627" fmla="*/ 568116 w 2967861"/>
                <a:gd name="connsiteY627" fmla="*/ 705643 h 2340761"/>
                <a:gd name="connsiteX628" fmla="*/ 572152 w 2967861"/>
                <a:gd name="connsiteY628" fmla="*/ 715267 h 2340761"/>
                <a:gd name="connsiteX629" fmla="*/ 593883 w 2967861"/>
                <a:gd name="connsiteY629" fmla="*/ 712163 h 2340761"/>
                <a:gd name="connsiteX630" fmla="*/ 613751 w 2967861"/>
                <a:gd name="connsiteY630" fmla="*/ 705954 h 2340761"/>
                <a:gd name="connsiteX631" fmla="*/ 631447 w 2967861"/>
                <a:gd name="connsiteY631" fmla="*/ 697572 h 2340761"/>
                <a:gd name="connsiteX632" fmla="*/ 638587 w 2967861"/>
                <a:gd name="connsiteY632" fmla="*/ 697572 h 2340761"/>
                <a:gd name="connsiteX633" fmla="*/ 644796 w 2967861"/>
                <a:gd name="connsiteY633" fmla="*/ 698503 h 2340761"/>
                <a:gd name="connsiteX634" fmla="*/ 647900 w 2967861"/>
                <a:gd name="connsiteY634" fmla="*/ 700676 h 2340761"/>
                <a:gd name="connsiteX635" fmla="*/ 653178 w 2967861"/>
                <a:gd name="connsiteY635" fmla="*/ 702849 h 2340761"/>
                <a:gd name="connsiteX636" fmla="*/ 659387 w 2967861"/>
                <a:gd name="connsiteY636" fmla="*/ 705022 h 2340761"/>
                <a:gd name="connsiteX637" fmla="*/ 652246 w 2967861"/>
                <a:gd name="connsiteY637" fmla="*/ 715578 h 2340761"/>
                <a:gd name="connsiteX638" fmla="*/ 642933 w 2967861"/>
                <a:gd name="connsiteY638" fmla="*/ 719924 h 2340761"/>
                <a:gd name="connsiteX639" fmla="*/ 633620 w 2967861"/>
                <a:gd name="connsiteY639" fmla="*/ 717751 h 2340761"/>
                <a:gd name="connsiteX640" fmla="*/ 621202 w 2967861"/>
                <a:gd name="connsiteY640" fmla="*/ 715578 h 2340761"/>
                <a:gd name="connsiteX641" fmla="*/ 608784 w 2967861"/>
                <a:gd name="connsiteY641" fmla="*/ 715578 h 2340761"/>
                <a:gd name="connsiteX642" fmla="*/ 601644 w 2967861"/>
                <a:gd name="connsiteY642" fmla="*/ 719924 h 2340761"/>
                <a:gd name="connsiteX643" fmla="*/ 595435 w 2967861"/>
                <a:gd name="connsiteY643" fmla="*/ 723028 h 2340761"/>
                <a:gd name="connsiteX644" fmla="*/ 589226 w 2967861"/>
                <a:gd name="connsiteY644" fmla="*/ 727375 h 2340761"/>
                <a:gd name="connsiteX645" fmla="*/ 579913 w 2967861"/>
                <a:gd name="connsiteY645" fmla="*/ 728306 h 2340761"/>
                <a:gd name="connsiteX646" fmla="*/ 583017 w 2967861"/>
                <a:gd name="connsiteY646" fmla="*/ 745380 h 2340761"/>
                <a:gd name="connsiteX647" fmla="*/ 585190 w 2967861"/>
                <a:gd name="connsiteY647" fmla="*/ 755004 h 2340761"/>
                <a:gd name="connsiteX648" fmla="*/ 589226 w 2967861"/>
                <a:gd name="connsiteY648" fmla="*/ 762455 h 2340761"/>
                <a:gd name="connsiteX649" fmla="*/ 590157 w 2967861"/>
                <a:gd name="connsiteY649" fmla="*/ 773010 h 2340761"/>
                <a:gd name="connsiteX650" fmla="*/ 592331 w 2967861"/>
                <a:gd name="connsiteY650" fmla="*/ 790085 h 2340761"/>
                <a:gd name="connsiteX651" fmla="*/ 587053 w 2967861"/>
                <a:gd name="connsiteY651" fmla="*/ 787911 h 2340761"/>
                <a:gd name="connsiteX652" fmla="*/ 581775 w 2967861"/>
                <a:gd name="connsiteY652" fmla="*/ 785738 h 2340761"/>
                <a:gd name="connsiteX653" fmla="*/ 579602 w 2967861"/>
                <a:gd name="connsiteY653" fmla="*/ 784807 h 2340761"/>
                <a:gd name="connsiteX654" fmla="*/ 577429 w 2967861"/>
                <a:gd name="connsiteY654" fmla="*/ 780461 h 2340761"/>
                <a:gd name="connsiteX655" fmla="*/ 575256 w 2967861"/>
                <a:gd name="connsiteY655" fmla="*/ 777356 h 2340761"/>
                <a:gd name="connsiteX656" fmla="*/ 572152 w 2967861"/>
                <a:gd name="connsiteY656" fmla="*/ 773010 h 2340761"/>
                <a:gd name="connsiteX657" fmla="*/ 572152 w 2967861"/>
                <a:gd name="connsiteY657" fmla="*/ 769906 h 2340761"/>
                <a:gd name="connsiteX658" fmla="*/ 566874 w 2967861"/>
                <a:gd name="connsiteY658" fmla="*/ 770837 h 2340761"/>
                <a:gd name="connsiteX659" fmla="*/ 562838 w 2967861"/>
                <a:gd name="connsiteY659" fmla="*/ 773010 h 2340761"/>
                <a:gd name="connsiteX660" fmla="*/ 559734 w 2967861"/>
                <a:gd name="connsiteY660" fmla="*/ 777356 h 2340761"/>
                <a:gd name="connsiteX661" fmla="*/ 555698 w 2967861"/>
                <a:gd name="connsiteY661" fmla="*/ 778288 h 2340761"/>
                <a:gd name="connsiteX662" fmla="*/ 552593 w 2967861"/>
                <a:gd name="connsiteY662" fmla="*/ 782634 h 2340761"/>
                <a:gd name="connsiteX663" fmla="*/ 548558 w 2967861"/>
                <a:gd name="connsiteY663" fmla="*/ 808090 h 2340761"/>
                <a:gd name="connsiteX664" fmla="*/ 548558 w 2967861"/>
                <a:gd name="connsiteY664" fmla="*/ 839756 h 2340761"/>
                <a:gd name="connsiteX665" fmla="*/ 543280 w 2967861"/>
                <a:gd name="connsiteY665" fmla="*/ 841929 h 2340761"/>
                <a:gd name="connsiteX666" fmla="*/ 539244 w 2967861"/>
                <a:gd name="connsiteY666" fmla="*/ 841929 h 2340761"/>
                <a:gd name="connsiteX667" fmla="*/ 536140 w 2967861"/>
                <a:gd name="connsiteY667" fmla="*/ 842860 h 2340761"/>
                <a:gd name="connsiteX668" fmla="*/ 532104 w 2967861"/>
                <a:gd name="connsiteY668" fmla="*/ 847207 h 2340761"/>
                <a:gd name="connsiteX669" fmla="*/ 531173 w 2967861"/>
                <a:gd name="connsiteY669" fmla="*/ 849380 h 2340761"/>
                <a:gd name="connsiteX670" fmla="*/ 528999 w 2967861"/>
                <a:gd name="connsiteY670" fmla="*/ 854657 h 2340761"/>
                <a:gd name="connsiteX671" fmla="*/ 509131 w 2967861"/>
                <a:gd name="connsiteY671" fmla="*/ 850311 h 2340761"/>
                <a:gd name="connsiteX672" fmla="*/ 494540 w 2967861"/>
                <a:gd name="connsiteY672" fmla="*/ 849380 h 2340761"/>
                <a:gd name="connsiteX673" fmla="*/ 485227 w 2967861"/>
                <a:gd name="connsiteY673" fmla="*/ 852484 h 2340761"/>
                <a:gd name="connsiteX674" fmla="*/ 478086 w 2967861"/>
                <a:gd name="connsiteY674" fmla="*/ 856830 h 2340761"/>
                <a:gd name="connsiteX675" fmla="*/ 472809 w 2967861"/>
                <a:gd name="connsiteY675" fmla="*/ 862108 h 2340761"/>
                <a:gd name="connsiteX676" fmla="*/ 463495 w 2967861"/>
                <a:gd name="connsiteY676" fmla="*/ 867386 h 2340761"/>
                <a:gd name="connsiteX677" fmla="*/ 452940 w 2967861"/>
                <a:gd name="connsiteY677" fmla="*/ 871732 h 2340761"/>
                <a:gd name="connsiteX678" fmla="*/ 443627 w 2967861"/>
                <a:gd name="connsiteY678" fmla="*/ 871732 h 2340761"/>
                <a:gd name="connsiteX679" fmla="*/ 436487 w 2967861"/>
                <a:gd name="connsiteY679" fmla="*/ 865523 h 2340761"/>
                <a:gd name="connsiteX680" fmla="*/ 431209 w 2967861"/>
                <a:gd name="connsiteY680" fmla="*/ 862418 h 2340761"/>
                <a:gd name="connsiteX681" fmla="*/ 423138 w 2967861"/>
                <a:gd name="connsiteY681" fmla="*/ 862418 h 2340761"/>
                <a:gd name="connsiteX682" fmla="*/ 411651 w 2967861"/>
                <a:gd name="connsiteY682" fmla="*/ 867696 h 2340761"/>
                <a:gd name="connsiteX683" fmla="*/ 406373 w 2967861"/>
                <a:gd name="connsiteY683" fmla="*/ 864592 h 2340761"/>
                <a:gd name="connsiteX684" fmla="*/ 402338 w 2967861"/>
                <a:gd name="connsiteY684" fmla="*/ 862418 h 2340761"/>
                <a:gd name="connsiteX685" fmla="*/ 401406 w 2967861"/>
                <a:gd name="connsiteY685" fmla="*/ 860245 h 2340761"/>
                <a:gd name="connsiteX686" fmla="*/ 397371 w 2967861"/>
                <a:gd name="connsiteY686" fmla="*/ 858072 h 2340761"/>
                <a:gd name="connsiteX687" fmla="*/ 392093 w 2967861"/>
                <a:gd name="connsiteY687" fmla="*/ 854968 h 2340761"/>
                <a:gd name="connsiteX688" fmla="*/ 392093 w 2967861"/>
                <a:gd name="connsiteY688" fmla="*/ 842239 h 2340761"/>
                <a:gd name="connsiteX689" fmla="*/ 394266 w 2967861"/>
                <a:gd name="connsiteY689" fmla="*/ 825165 h 2340761"/>
                <a:gd name="connsiteX690" fmla="*/ 395197 w 2967861"/>
                <a:gd name="connsiteY690" fmla="*/ 807159 h 2340761"/>
                <a:gd name="connsiteX691" fmla="*/ 397371 w 2967861"/>
                <a:gd name="connsiteY691" fmla="*/ 793500 h 2340761"/>
                <a:gd name="connsiteX692" fmla="*/ 399544 w 2967861"/>
                <a:gd name="connsiteY692" fmla="*/ 786049 h 2340761"/>
                <a:gd name="connsiteX693" fmla="*/ 399544 w 2967861"/>
                <a:gd name="connsiteY693" fmla="*/ 777667 h 2340761"/>
                <a:gd name="connsiteX694" fmla="*/ 387126 w 2967861"/>
                <a:gd name="connsiteY694" fmla="*/ 780771 h 2340761"/>
                <a:gd name="connsiteX695" fmla="*/ 375639 w 2967861"/>
                <a:gd name="connsiteY695" fmla="*/ 785117 h 2340761"/>
                <a:gd name="connsiteX696" fmla="*/ 360117 w 2967861"/>
                <a:gd name="connsiteY696" fmla="*/ 786049 h 2340761"/>
                <a:gd name="connsiteX697" fmla="*/ 361048 w 2967861"/>
                <a:gd name="connsiteY697" fmla="*/ 803123 h 2340761"/>
                <a:gd name="connsiteX698" fmla="*/ 361048 w 2967861"/>
                <a:gd name="connsiteY698" fmla="*/ 823302 h 2340761"/>
                <a:gd name="connsiteX699" fmla="*/ 365084 w 2967861"/>
                <a:gd name="connsiteY699" fmla="*/ 845654 h 2340761"/>
                <a:gd name="connsiteX700" fmla="*/ 372224 w 2967861"/>
                <a:gd name="connsiteY700" fmla="*/ 864592 h 2340761"/>
                <a:gd name="connsiteX701" fmla="*/ 370051 w 2967861"/>
                <a:gd name="connsiteY701" fmla="*/ 865523 h 2340761"/>
                <a:gd name="connsiteX702" fmla="*/ 370051 w 2967861"/>
                <a:gd name="connsiteY702" fmla="*/ 867696 h 2340761"/>
                <a:gd name="connsiteX703" fmla="*/ 370051 w 2967861"/>
                <a:gd name="connsiteY703" fmla="*/ 869869 h 2340761"/>
                <a:gd name="connsiteX704" fmla="*/ 367878 w 2967861"/>
                <a:gd name="connsiteY704" fmla="*/ 872042 h 2340761"/>
                <a:gd name="connsiteX705" fmla="*/ 353287 w 2967861"/>
                <a:gd name="connsiteY705" fmla="*/ 877320 h 2340761"/>
                <a:gd name="connsiteX706" fmla="*/ 337765 w 2967861"/>
                <a:gd name="connsiteY706" fmla="*/ 882597 h 2340761"/>
                <a:gd name="connsiteX707" fmla="*/ 324105 w 2967861"/>
                <a:gd name="connsiteY707" fmla="*/ 887875 h 2340761"/>
                <a:gd name="connsiteX708" fmla="*/ 313550 w 2967861"/>
                <a:gd name="connsiteY708" fmla="*/ 895326 h 2340761"/>
                <a:gd name="connsiteX709" fmla="*/ 308273 w 2967861"/>
                <a:gd name="connsiteY709" fmla="*/ 906812 h 2340761"/>
                <a:gd name="connsiteX710" fmla="*/ 306099 w 2967861"/>
                <a:gd name="connsiteY710" fmla="*/ 917367 h 2340761"/>
                <a:gd name="connsiteX711" fmla="*/ 298959 w 2967861"/>
                <a:gd name="connsiteY711" fmla="*/ 928854 h 2340761"/>
                <a:gd name="connsiteX712" fmla="*/ 264500 w 2967861"/>
                <a:gd name="connsiteY712" fmla="*/ 939409 h 2340761"/>
                <a:gd name="connsiteX713" fmla="*/ 262327 w 2967861"/>
                <a:gd name="connsiteY713" fmla="*/ 943755 h 2340761"/>
                <a:gd name="connsiteX714" fmla="*/ 260154 w 2967861"/>
                <a:gd name="connsiteY714" fmla="*/ 946860 h 2340761"/>
                <a:gd name="connsiteX715" fmla="*/ 260154 w 2967861"/>
                <a:gd name="connsiteY715" fmla="*/ 951206 h 2340761"/>
                <a:gd name="connsiteX716" fmla="*/ 260154 w 2967861"/>
                <a:gd name="connsiteY716" fmla="*/ 954310 h 2340761"/>
                <a:gd name="connsiteX717" fmla="*/ 260154 w 2967861"/>
                <a:gd name="connsiteY717" fmla="*/ 958657 h 2340761"/>
                <a:gd name="connsiteX718" fmla="*/ 259222 w 2967861"/>
                <a:gd name="connsiteY718" fmla="*/ 961761 h 2340761"/>
                <a:gd name="connsiteX719" fmla="*/ 257049 w 2967861"/>
                <a:gd name="connsiteY719" fmla="*/ 963934 h 2340761"/>
                <a:gd name="connsiteX720" fmla="*/ 251771 w 2967861"/>
                <a:gd name="connsiteY720" fmla="*/ 966107 h 2340761"/>
                <a:gd name="connsiteX721" fmla="*/ 247736 w 2967861"/>
                <a:gd name="connsiteY721" fmla="*/ 967039 h 2340761"/>
                <a:gd name="connsiteX722" fmla="*/ 242458 w 2967861"/>
                <a:gd name="connsiteY722" fmla="*/ 969212 h 2340761"/>
                <a:gd name="connsiteX723" fmla="*/ 238422 w 2967861"/>
                <a:gd name="connsiteY723" fmla="*/ 973558 h 2340761"/>
                <a:gd name="connsiteX724" fmla="*/ 235318 w 2967861"/>
                <a:gd name="connsiteY724" fmla="*/ 971385 h 2340761"/>
                <a:gd name="connsiteX725" fmla="*/ 231282 w 2967861"/>
                <a:gd name="connsiteY725" fmla="*/ 969212 h 2340761"/>
                <a:gd name="connsiteX726" fmla="*/ 228178 w 2967861"/>
                <a:gd name="connsiteY726" fmla="*/ 969212 h 2340761"/>
                <a:gd name="connsiteX727" fmla="*/ 226004 w 2967861"/>
                <a:gd name="connsiteY727" fmla="*/ 967039 h 2340761"/>
                <a:gd name="connsiteX728" fmla="*/ 220727 w 2967861"/>
                <a:gd name="connsiteY728" fmla="*/ 966107 h 2340761"/>
                <a:gd name="connsiteX729" fmla="*/ 215449 w 2967861"/>
                <a:gd name="connsiteY729" fmla="*/ 966107 h 2340761"/>
                <a:gd name="connsiteX730" fmla="*/ 215449 w 2967861"/>
                <a:gd name="connsiteY730" fmla="*/ 986286 h 2340761"/>
                <a:gd name="connsiteX731" fmla="*/ 209240 w 2967861"/>
                <a:gd name="connsiteY731" fmla="*/ 986286 h 2340761"/>
                <a:gd name="connsiteX732" fmla="*/ 203963 w 2967861"/>
                <a:gd name="connsiteY732" fmla="*/ 986286 h 2340761"/>
                <a:gd name="connsiteX733" fmla="*/ 198685 w 2967861"/>
                <a:gd name="connsiteY733" fmla="*/ 988459 h 2340761"/>
                <a:gd name="connsiteX734" fmla="*/ 194650 w 2967861"/>
                <a:gd name="connsiteY734" fmla="*/ 989391 h 2340761"/>
                <a:gd name="connsiteX735" fmla="*/ 188441 w 2967861"/>
                <a:gd name="connsiteY735" fmla="*/ 989391 h 2340761"/>
                <a:gd name="connsiteX736" fmla="*/ 184405 w 2967861"/>
                <a:gd name="connsiteY736" fmla="*/ 991564 h 2340761"/>
                <a:gd name="connsiteX737" fmla="*/ 181300 w 2967861"/>
                <a:gd name="connsiteY737" fmla="*/ 991564 h 2340761"/>
                <a:gd name="connsiteX738" fmla="*/ 179127 w 2967861"/>
                <a:gd name="connsiteY738" fmla="*/ 993737 h 2340761"/>
                <a:gd name="connsiteX739" fmla="*/ 175091 w 2967861"/>
                <a:gd name="connsiteY739" fmla="*/ 995910 h 2340761"/>
                <a:gd name="connsiteX740" fmla="*/ 171987 w 2967861"/>
                <a:gd name="connsiteY740" fmla="*/ 996842 h 2340761"/>
                <a:gd name="connsiteX741" fmla="*/ 181300 w 2967861"/>
                <a:gd name="connsiteY741" fmla="*/ 1006465 h 2340761"/>
                <a:gd name="connsiteX742" fmla="*/ 193718 w 2967861"/>
                <a:gd name="connsiteY742" fmla="*/ 1013916 h 2340761"/>
                <a:gd name="connsiteX743" fmla="*/ 206136 w 2967861"/>
                <a:gd name="connsiteY743" fmla="*/ 1018262 h 2340761"/>
                <a:gd name="connsiteX744" fmla="*/ 218554 w 2967861"/>
                <a:gd name="connsiteY744" fmla="*/ 1021367 h 2340761"/>
                <a:gd name="connsiteX745" fmla="*/ 220727 w 2967861"/>
                <a:gd name="connsiteY745" fmla="*/ 1040304 h 2340761"/>
                <a:gd name="connsiteX746" fmla="*/ 222900 w 2967861"/>
                <a:gd name="connsiteY746" fmla="*/ 1056137 h 2340761"/>
                <a:gd name="connsiteX747" fmla="*/ 222900 w 2967861"/>
                <a:gd name="connsiteY747" fmla="*/ 1073211 h 2340761"/>
                <a:gd name="connsiteX748" fmla="*/ 218864 w 2967861"/>
                <a:gd name="connsiteY748" fmla="*/ 1088113 h 2340761"/>
                <a:gd name="connsiteX749" fmla="*/ 218864 w 2967861"/>
                <a:gd name="connsiteY749" fmla="*/ 1090286 h 2340761"/>
                <a:gd name="connsiteX750" fmla="*/ 218864 w 2967861"/>
                <a:gd name="connsiteY750" fmla="*/ 1091217 h 2340761"/>
                <a:gd name="connsiteX751" fmla="*/ 216691 w 2967861"/>
                <a:gd name="connsiteY751" fmla="*/ 1091217 h 2340761"/>
                <a:gd name="connsiteX752" fmla="*/ 216691 w 2967861"/>
                <a:gd name="connsiteY752" fmla="*/ 1093390 h 2340761"/>
                <a:gd name="connsiteX753" fmla="*/ 215760 w 2967861"/>
                <a:gd name="connsiteY753" fmla="*/ 1095563 h 2340761"/>
                <a:gd name="connsiteX754" fmla="*/ 202100 w 2967861"/>
                <a:gd name="connsiteY754" fmla="*/ 1100841 h 2340761"/>
                <a:gd name="connsiteX755" fmla="*/ 184405 w 2967861"/>
                <a:gd name="connsiteY755" fmla="*/ 1105187 h 2340761"/>
                <a:gd name="connsiteX756" fmla="*/ 166709 w 2967861"/>
                <a:gd name="connsiteY756" fmla="*/ 1105187 h 2340761"/>
                <a:gd name="connsiteX757" fmla="*/ 149945 w 2967861"/>
                <a:gd name="connsiteY757" fmla="*/ 1100841 h 2340761"/>
                <a:gd name="connsiteX758" fmla="*/ 135354 w 2967861"/>
                <a:gd name="connsiteY758" fmla="*/ 1095563 h 2340761"/>
                <a:gd name="connsiteX759" fmla="*/ 130077 w 2967861"/>
                <a:gd name="connsiteY759" fmla="*/ 1095563 h 2340761"/>
                <a:gd name="connsiteX760" fmla="*/ 126041 w 2967861"/>
                <a:gd name="connsiteY760" fmla="*/ 1097736 h 2340761"/>
                <a:gd name="connsiteX761" fmla="*/ 122936 w 2967861"/>
                <a:gd name="connsiteY761" fmla="*/ 1097736 h 2340761"/>
                <a:gd name="connsiteX762" fmla="*/ 120763 w 2967861"/>
                <a:gd name="connsiteY762" fmla="*/ 1097736 h 2340761"/>
                <a:gd name="connsiteX763" fmla="*/ 118590 w 2967861"/>
                <a:gd name="connsiteY763" fmla="*/ 1098668 h 2340761"/>
                <a:gd name="connsiteX764" fmla="*/ 116417 w 2967861"/>
                <a:gd name="connsiteY764" fmla="*/ 1103014 h 2340761"/>
                <a:gd name="connsiteX765" fmla="*/ 115796 w 2967861"/>
                <a:gd name="connsiteY765" fmla="*/ 1106739 h 2340761"/>
                <a:gd name="connsiteX766" fmla="*/ 111760 w 2967861"/>
                <a:gd name="connsiteY766" fmla="*/ 1119468 h 2340761"/>
                <a:gd name="connsiteX767" fmla="*/ 111760 w 2967861"/>
                <a:gd name="connsiteY767" fmla="*/ 1140578 h 2340761"/>
                <a:gd name="connsiteX768" fmla="*/ 111760 w 2967861"/>
                <a:gd name="connsiteY768" fmla="*/ 1163861 h 2340761"/>
                <a:gd name="connsiteX769" fmla="*/ 113934 w 2967861"/>
                <a:gd name="connsiteY769" fmla="*/ 1188076 h 2340761"/>
                <a:gd name="connsiteX770" fmla="*/ 116107 w 2967861"/>
                <a:gd name="connsiteY770" fmla="*/ 1208255 h 2340761"/>
                <a:gd name="connsiteX771" fmla="*/ 116107 w 2967861"/>
                <a:gd name="connsiteY771" fmla="*/ 1223157 h 2340761"/>
                <a:gd name="connsiteX772" fmla="*/ 119211 w 2967861"/>
                <a:gd name="connsiteY772" fmla="*/ 1223157 h 2340761"/>
                <a:gd name="connsiteX773" fmla="*/ 119211 w 2967861"/>
                <a:gd name="connsiteY773" fmla="*/ 1228434 h 2340761"/>
                <a:gd name="connsiteX774" fmla="*/ 126351 w 2967861"/>
                <a:gd name="connsiteY774" fmla="*/ 1228434 h 2340761"/>
                <a:gd name="connsiteX775" fmla="*/ 131629 w 2967861"/>
                <a:gd name="connsiteY775" fmla="*/ 1227503 h 2340761"/>
                <a:gd name="connsiteX776" fmla="*/ 135665 w 2967861"/>
                <a:gd name="connsiteY776" fmla="*/ 1227503 h 2340761"/>
                <a:gd name="connsiteX777" fmla="*/ 138769 w 2967861"/>
                <a:gd name="connsiteY777" fmla="*/ 1223157 h 2340761"/>
                <a:gd name="connsiteX778" fmla="*/ 144978 w 2967861"/>
                <a:gd name="connsiteY778" fmla="*/ 1225330 h 2340761"/>
                <a:gd name="connsiteX779" fmla="*/ 148083 w 2967861"/>
                <a:gd name="connsiteY779" fmla="*/ 1225330 h 2340761"/>
                <a:gd name="connsiteX780" fmla="*/ 152118 w 2967861"/>
                <a:gd name="connsiteY780" fmla="*/ 1227503 h 2340761"/>
                <a:gd name="connsiteX781" fmla="*/ 155223 w 2967861"/>
                <a:gd name="connsiteY781" fmla="*/ 1228434 h 2340761"/>
                <a:gd name="connsiteX782" fmla="*/ 157396 w 2967861"/>
                <a:gd name="connsiteY782" fmla="*/ 1230607 h 2340761"/>
                <a:gd name="connsiteX783" fmla="*/ 157396 w 2967861"/>
                <a:gd name="connsiteY783" fmla="*/ 1232780 h 2340761"/>
                <a:gd name="connsiteX784" fmla="*/ 157396 w 2967861"/>
                <a:gd name="connsiteY784" fmla="*/ 1234953 h 2340761"/>
                <a:gd name="connsiteX785" fmla="*/ 159569 w 2967861"/>
                <a:gd name="connsiteY785" fmla="*/ 1234953 h 2340761"/>
                <a:gd name="connsiteX786" fmla="*/ 159569 w 2967861"/>
                <a:gd name="connsiteY786" fmla="*/ 1235885 h 2340761"/>
                <a:gd name="connsiteX787" fmla="*/ 153360 w 2967861"/>
                <a:gd name="connsiteY787" fmla="*/ 1252959 h 2340761"/>
                <a:gd name="connsiteX788" fmla="*/ 142805 w 2967861"/>
                <a:gd name="connsiteY788" fmla="*/ 1265688 h 2340761"/>
                <a:gd name="connsiteX789" fmla="*/ 130387 w 2967861"/>
                <a:gd name="connsiteY789" fmla="*/ 1277174 h 2340761"/>
                <a:gd name="connsiteX790" fmla="*/ 116728 w 2967861"/>
                <a:gd name="connsiteY790" fmla="*/ 1287729 h 2340761"/>
                <a:gd name="connsiteX791" fmla="*/ 104310 w 2967861"/>
                <a:gd name="connsiteY791" fmla="*/ 1299216 h 2340761"/>
                <a:gd name="connsiteX792" fmla="*/ 94996 w 2967861"/>
                <a:gd name="connsiteY792" fmla="*/ 1314117 h 2340761"/>
                <a:gd name="connsiteX793" fmla="*/ 94065 w 2967861"/>
                <a:gd name="connsiteY793" fmla="*/ 1324672 h 2340761"/>
                <a:gd name="connsiteX794" fmla="*/ 94996 w 2967861"/>
                <a:gd name="connsiteY794" fmla="*/ 1337401 h 2340761"/>
                <a:gd name="connsiteX795" fmla="*/ 94996 w 2967861"/>
                <a:gd name="connsiteY795" fmla="*/ 1348887 h 2340761"/>
                <a:gd name="connsiteX796" fmla="*/ 91892 w 2967861"/>
                <a:gd name="connsiteY796" fmla="*/ 1357269 h 2340761"/>
                <a:gd name="connsiteX797" fmla="*/ 77301 w 2967861"/>
                <a:gd name="connsiteY797" fmla="*/ 1366893 h 2340761"/>
                <a:gd name="connsiteX798" fmla="*/ 62710 w 2967861"/>
                <a:gd name="connsiteY798" fmla="*/ 1374344 h 2340761"/>
                <a:gd name="connsiteX799" fmla="*/ 48119 w 2967861"/>
                <a:gd name="connsiteY799" fmla="*/ 1383967 h 2340761"/>
                <a:gd name="connsiteX800" fmla="*/ 35701 w 2967861"/>
                <a:gd name="connsiteY800" fmla="*/ 1394523 h 2340761"/>
                <a:gd name="connsiteX801" fmla="*/ 31666 w 2967861"/>
                <a:gd name="connsiteY801" fmla="*/ 1401973 h 2340761"/>
                <a:gd name="connsiteX802" fmla="*/ 24525 w 2967861"/>
                <a:gd name="connsiteY802" fmla="*/ 1415633 h 2340761"/>
                <a:gd name="connsiteX803" fmla="*/ 17385 w 2967861"/>
                <a:gd name="connsiteY803" fmla="*/ 1431466 h 2340761"/>
                <a:gd name="connsiteX804" fmla="*/ 10245 w 2967861"/>
                <a:gd name="connsiteY804" fmla="*/ 1450403 h 2340761"/>
                <a:gd name="connsiteX805" fmla="*/ 3104 w 2967861"/>
                <a:gd name="connsiteY805" fmla="*/ 1466236 h 2340761"/>
                <a:gd name="connsiteX806" fmla="*/ 0 w 2967861"/>
                <a:gd name="connsiteY806" fmla="*/ 1481137 h 2340761"/>
                <a:gd name="connsiteX807" fmla="*/ 0 w 2967861"/>
                <a:gd name="connsiteY807" fmla="*/ 1492623 h 2340761"/>
                <a:gd name="connsiteX808" fmla="*/ 3104 w 2967861"/>
                <a:gd name="connsiteY808" fmla="*/ 1500074 h 2340761"/>
                <a:gd name="connsiteX809" fmla="*/ 9313 w 2967861"/>
                <a:gd name="connsiteY809" fmla="*/ 1509698 h 2340761"/>
                <a:gd name="connsiteX810" fmla="*/ 12418 w 2967861"/>
                <a:gd name="connsiteY810" fmla="*/ 1518080 h 2340761"/>
                <a:gd name="connsiteX811" fmla="*/ 12418 w 2967861"/>
                <a:gd name="connsiteY811" fmla="*/ 1532981 h 2340761"/>
                <a:gd name="connsiteX812" fmla="*/ 10245 w 2967861"/>
                <a:gd name="connsiteY812" fmla="*/ 1542605 h 2340761"/>
                <a:gd name="connsiteX813" fmla="*/ 7140 w 2967861"/>
                <a:gd name="connsiteY813" fmla="*/ 1555334 h 2340761"/>
                <a:gd name="connsiteX814" fmla="*/ 3104 w 2967861"/>
                <a:gd name="connsiteY814" fmla="*/ 1570235 h 2340761"/>
                <a:gd name="connsiteX815" fmla="*/ 2173 w 2967861"/>
                <a:gd name="connsiteY815" fmla="*/ 1587309 h 2340761"/>
                <a:gd name="connsiteX816" fmla="*/ 5278 w 2967861"/>
                <a:gd name="connsiteY816" fmla="*/ 1597865 h 2340761"/>
                <a:gd name="connsiteX817" fmla="*/ 5278 w 2967861"/>
                <a:gd name="connsiteY817" fmla="*/ 1622079 h 2340761"/>
                <a:gd name="connsiteX818" fmla="*/ 14591 w 2967861"/>
                <a:gd name="connsiteY818" fmla="*/ 1633566 h 2340761"/>
                <a:gd name="connsiteX819" fmla="*/ 29182 w 2967861"/>
                <a:gd name="connsiteY819" fmla="*/ 1646294 h 2340761"/>
                <a:gd name="connsiteX820" fmla="*/ 45946 w 2967861"/>
                <a:gd name="connsiteY820" fmla="*/ 1659022 h 2340761"/>
                <a:gd name="connsiteX821" fmla="*/ 56501 w 2967861"/>
                <a:gd name="connsiteY821" fmla="*/ 1671751 h 2340761"/>
                <a:gd name="connsiteX822" fmla="*/ 65815 w 2967861"/>
                <a:gd name="connsiteY822" fmla="*/ 1695965 h 2340761"/>
                <a:gd name="connsiteX823" fmla="*/ 78232 w 2967861"/>
                <a:gd name="connsiteY823" fmla="*/ 1705589 h 2340761"/>
                <a:gd name="connsiteX824" fmla="*/ 92823 w 2967861"/>
                <a:gd name="connsiteY824" fmla="*/ 1713040 h 2340761"/>
                <a:gd name="connsiteX825" fmla="*/ 107414 w 2967861"/>
                <a:gd name="connsiteY825" fmla="*/ 1720491 h 2340761"/>
                <a:gd name="connsiteX826" fmla="*/ 122005 w 2967861"/>
                <a:gd name="connsiteY826" fmla="*/ 1727941 h 2340761"/>
                <a:gd name="connsiteX827" fmla="*/ 132560 w 2967861"/>
                <a:gd name="connsiteY827" fmla="*/ 1740670 h 2340761"/>
                <a:gd name="connsiteX828" fmla="*/ 139701 w 2967861"/>
                <a:gd name="connsiteY828" fmla="*/ 1738497 h 2340761"/>
                <a:gd name="connsiteX829" fmla="*/ 145910 w 2967861"/>
                <a:gd name="connsiteY829" fmla="*/ 1736323 h 2340761"/>
                <a:gd name="connsiteX830" fmla="*/ 149014 w 2967861"/>
                <a:gd name="connsiteY830" fmla="*/ 1733219 h 2340761"/>
                <a:gd name="connsiteX831" fmla="*/ 153050 w 2967861"/>
                <a:gd name="connsiteY831" fmla="*/ 1731046 h 2340761"/>
                <a:gd name="connsiteX832" fmla="*/ 161432 w 2967861"/>
                <a:gd name="connsiteY832" fmla="*/ 1733219 h 2340761"/>
                <a:gd name="connsiteX833" fmla="*/ 172918 w 2967861"/>
                <a:gd name="connsiteY833" fmla="*/ 1736323 h 2340761"/>
                <a:gd name="connsiteX834" fmla="*/ 185336 w 2967861"/>
                <a:gd name="connsiteY834" fmla="*/ 1736323 h 2340761"/>
                <a:gd name="connsiteX835" fmla="*/ 189372 w 2967861"/>
                <a:gd name="connsiteY835" fmla="*/ 1723595 h 2340761"/>
                <a:gd name="connsiteX836" fmla="*/ 224763 w 2967861"/>
                <a:gd name="connsiteY836" fmla="*/ 1731046 h 2340761"/>
                <a:gd name="connsiteX837" fmla="*/ 239354 w 2967861"/>
                <a:gd name="connsiteY837" fmla="*/ 1725768 h 2340761"/>
                <a:gd name="connsiteX838" fmla="*/ 257980 w 2967861"/>
                <a:gd name="connsiteY838" fmla="*/ 1718318 h 2340761"/>
                <a:gd name="connsiteX839" fmla="*/ 275676 w 2967861"/>
                <a:gd name="connsiteY839" fmla="*/ 1710867 h 2340761"/>
                <a:gd name="connsiteX840" fmla="*/ 290267 w 2967861"/>
                <a:gd name="connsiteY840" fmla="*/ 1713040 h 2340761"/>
                <a:gd name="connsiteX841" fmla="*/ 302685 w 2967861"/>
                <a:gd name="connsiteY841" fmla="*/ 1713971 h 2340761"/>
                <a:gd name="connsiteX842" fmla="*/ 316344 w 2967861"/>
                <a:gd name="connsiteY842" fmla="*/ 1716144 h 2340761"/>
                <a:gd name="connsiteX843" fmla="*/ 336213 w 2967861"/>
                <a:gd name="connsiteY843" fmla="*/ 1747810 h 2340761"/>
                <a:gd name="connsiteX844" fmla="*/ 343353 w 2967861"/>
                <a:gd name="connsiteY844" fmla="*/ 1747810 h 2340761"/>
                <a:gd name="connsiteX845" fmla="*/ 348631 w 2967861"/>
                <a:gd name="connsiteY845" fmla="*/ 1747810 h 2340761"/>
                <a:gd name="connsiteX846" fmla="*/ 353908 w 2967861"/>
                <a:gd name="connsiteY846" fmla="*/ 1745637 h 2340761"/>
                <a:gd name="connsiteX847" fmla="*/ 356081 w 2967861"/>
                <a:gd name="connsiteY847" fmla="*/ 1743464 h 2340761"/>
                <a:gd name="connsiteX848" fmla="*/ 360117 w 2967861"/>
                <a:gd name="connsiteY848" fmla="*/ 1740359 h 2340761"/>
                <a:gd name="connsiteX849" fmla="*/ 367257 w 2967861"/>
                <a:gd name="connsiteY849" fmla="*/ 1742532 h 2340761"/>
                <a:gd name="connsiteX850" fmla="*/ 372535 w 2967861"/>
                <a:gd name="connsiteY850" fmla="*/ 1742532 h 2340761"/>
                <a:gd name="connsiteX851" fmla="*/ 375639 w 2967861"/>
                <a:gd name="connsiteY851" fmla="*/ 1743464 h 2340761"/>
                <a:gd name="connsiteX852" fmla="*/ 379675 w 2967861"/>
                <a:gd name="connsiteY852" fmla="*/ 1747810 h 2340761"/>
                <a:gd name="connsiteX853" fmla="*/ 382780 w 2967861"/>
                <a:gd name="connsiteY853" fmla="*/ 1749983 h 2340761"/>
                <a:gd name="connsiteX854" fmla="*/ 388989 w 2967861"/>
                <a:gd name="connsiteY854" fmla="*/ 1753088 h 2340761"/>
                <a:gd name="connsiteX855" fmla="*/ 382780 w 2967861"/>
                <a:gd name="connsiteY855" fmla="*/ 1775440 h 2340761"/>
                <a:gd name="connsiteX856" fmla="*/ 377502 w 2967861"/>
                <a:gd name="connsiteY856" fmla="*/ 1795619 h 2340761"/>
                <a:gd name="connsiteX857" fmla="*/ 372224 w 2967861"/>
                <a:gd name="connsiteY857" fmla="*/ 1817971 h 2340761"/>
                <a:gd name="connsiteX858" fmla="*/ 388989 w 2967861"/>
                <a:gd name="connsiteY858" fmla="*/ 1835045 h 2340761"/>
                <a:gd name="connsiteX859" fmla="*/ 404511 w 2967861"/>
                <a:gd name="connsiteY859" fmla="*/ 1855224 h 2340761"/>
                <a:gd name="connsiteX860" fmla="*/ 421275 w 2967861"/>
                <a:gd name="connsiteY860" fmla="*/ 1877576 h 2340761"/>
                <a:gd name="connsiteX861" fmla="*/ 431830 w 2967861"/>
                <a:gd name="connsiteY861" fmla="*/ 1899928 h 2340761"/>
                <a:gd name="connsiteX862" fmla="*/ 435866 w 2967861"/>
                <a:gd name="connsiteY862" fmla="*/ 1917003 h 2340761"/>
                <a:gd name="connsiteX863" fmla="*/ 435866 w 2967861"/>
                <a:gd name="connsiteY863" fmla="*/ 1929731 h 2340761"/>
                <a:gd name="connsiteX864" fmla="*/ 438039 w 2967861"/>
                <a:gd name="connsiteY864" fmla="*/ 1942459 h 2340761"/>
                <a:gd name="connsiteX865" fmla="*/ 445179 w 2967861"/>
                <a:gd name="connsiteY865" fmla="*/ 1957361 h 2340761"/>
                <a:gd name="connsiteX866" fmla="*/ 438970 w 2967861"/>
                <a:gd name="connsiteY866" fmla="*/ 1972262 h 2340761"/>
                <a:gd name="connsiteX867" fmla="*/ 431830 w 2967861"/>
                <a:gd name="connsiteY867" fmla="*/ 1989337 h 2340761"/>
                <a:gd name="connsiteX868" fmla="*/ 421275 w 2967861"/>
                <a:gd name="connsiteY868" fmla="*/ 2009516 h 2340761"/>
                <a:gd name="connsiteX869" fmla="*/ 414135 w 2967861"/>
                <a:gd name="connsiteY869" fmla="*/ 2027522 h 2340761"/>
                <a:gd name="connsiteX870" fmla="*/ 410099 w 2967861"/>
                <a:gd name="connsiteY870" fmla="*/ 2048632 h 2340761"/>
                <a:gd name="connsiteX871" fmla="*/ 412272 w 2967861"/>
                <a:gd name="connsiteY871" fmla="*/ 2066638 h 2340761"/>
                <a:gd name="connsiteX872" fmla="*/ 419412 w 2967861"/>
                <a:gd name="connsiteY872" fmla="*/ 2081539 h 2340761"/>
                <a:gd name="connsiteX873" fmla="*/ 430899 w 2967861"/>
                <a:gd name="connsiteY873" fmla="*/ 2096441 h 2340761"/>
                <a:gd name="connsiteX874" fmla="*/ 441454 w 2967861"/>
                <a:gd name="connsiteY874" fmla="*/ 2113515 h 2340761"/>
                <a:gd name="connsiteX875" fmla="*/ 448594 w 2967861"/>
                <a:gd name="connsiteY875" fmla="*/ 2128416 h 2340761"/>
                <a:gd name="connsiteX876" fmla="*/ 448594 w 2967861"/>
                <a:gd name="connsiteY876" fmla="*/ 2133694 h 2340761"/>
                <a:gd name="connsiteX877" fmla="*/ 448594 w 2967861"/>
                <a:gd name="connsiteY877" fmla="*/ 2138972 h 2340761"/>
                <a:gd name="connsiteX878" fmla="*/ 446421 w 2967861"/>
                <a:gd name="connsiteY878" fmla="*/ 2143318 h 2340761"/>
                <a:gd name="connsiteX879" fmla="*/ 445490 w 2967861"/>
                <a:gd name="connsiteY879" fmla="*/ 2148595 h 2340761"/>
                <a:gd name="connsiteX880" fmla="*/ 445490 w 2967861"/>
                <a:gd name="connsiteY880" fmla="*/ 2151700 h 2340761"/>
                <a:gd name="connsiteX881" fmla="*/ 445490 w 2967861"/>
                <a:gd name="connsiteY881" fmla="*/ 2156046 h 2340761"/>
                <a:gd name="connsiteX882" fmla="*/ 452630 w 2967861"/>
                <a:gd name="connsiteY882" fmla="*/ 2159151 h 2340761"/>
                <a:gd name="connsiteX883" fmla="*/ 450457 w 2967861"/>
                <a:gd name="connsiteY883" fmla="*/ 2163497 h 2340761"/>
                <a:gd name="connsiteX884" fmla="*/ 448284 w 2967861"/>
                <a:gd name="connsiteY884" fmla="*/ 2166601 h 2340761"/>
                <a:gd name="connsiteX885" fmla="*/ 448284 w 2967861"/>
                <a:gd name="connsiteY885" fmla="*/ 2170948 h 2340761"/>
                <a:gd name="connsiteX886" fmla="*/ 446111 w 2967861"/>
                <a:gd name="connsiteY886" fmla="*/ 2176225 h 2340761"/>
                <a:gd name="connsiteX887" fmla="*/ 448284 w 2967861"/>
                <a:gd name="connsiteY887" fmla="*/ 2181503 h 2340761"/>
                <a:gd name="connsiteX888" fmla="*/ 450457 w 2967861"/>
                <a:gd name="connsiteY888" fmla="*/ 2181503 h 2340761"/>
                <a:gd name="connsiteX889" fmla="*/ 452630 w 2967861"/>
                <a:gd name="connsiteY889" fmla="*/ 2185849 h 2340761"/>
                <a:gd name="connsiteX890" fmla="*/ 455734 w 2967861"/>
                <a:gd name="connsiteY890" fmla="*/ 2186780 h 2340761"/>
                <a:gd name="connsiteX891" fmla="*/ 459770 w 2967861"/>
                <a:gd name="connsiteY891" fmla="*/ 2191127 h 2340761"/>
                <a:gd name="connsiteX892" fmla="*/ 459770 w 2967861"/>
                <a:gd name="connsiteY892" fmla="*/ 2193300 h 2340761"/>
                <a:gd name="connsiteX893" fmla="*/ 455734 w 2967861"/>
                <a:gd name="connsiteY893" fmla="*/ 2206028 h 2340761"/>
                <a:gd name="connsiteX894" fmla="*/ 465048 w 2967861"/>
                <a:gd name="connsiteY894" fmla="*/ 2224034 h 2340761"/>
                <a:gd name="connsiteX895" fmla="*/ 479639 w 2967861"/>
                <a:gd name="connsiteY895" fmla="*/ 2242971 h 2340761"/>
                <a:gd name="connsiteX896" fmla="*/ 494230 w 2967861"/>
                <a:gd name="connsiteY896" fmla="*/ 2260046 h 2340761"/>
                <a:gd name="connsiteX897" fmla="*/ 504785 w 2967861"/>
                <a:gd name="connsiteY897" fmla="*/ 2278051 h 2340761"/>
                <a:gd name="connsiteX898" fmla="*/ 506958 w 2967861"/>
                <a:gd name="connsiteY898" fmla="*/ 2290780 h 2340761"/>
                <a:gd name="connsiteX899" fmla="*/ 506958 w 2967861"/>
                <a:gd name="connsiteY899" fmla="*/ 2303508 h 2340761"/>
                <a:gd name="connsiteX900" fmla="*/ 506958 w 2967861"/>
                <a:gd name="connsiteY900" fmla="*/ 2314994 h 2340761"/>
                <a:gd name="connsiteX901" fmla="*/ 509131 w 2967861"/>
                <a:gd name="connsiteY901" fmla="*/ 2324618 h 2340761"/>
                <a:gd name="connsiteX902" fmla="*/ 512236 w 2967861"/>
                <a:gd name="connsiteY902" fmla="*/ 2327723 h 2340761"/>
                <a:gd name="connsiteX903" fmla="*/ 516271 w 2967861"/>
                <a:gd name="connsiteY903" fmla="*/ 2333000 h 2340761"/>
                <a:gd name="connsiteX904" fmla="*/ 519376 w 2967861"/>
                <a:gd name="connsiteY904" fmla="*/ 2335173 h 2340761"/>
                <a:gd name="connsiteX905" fmla="*/ 523411 w 2967861"/>
                <a:gd name="connsiteY905" fmla="*/ 2339520 h 2340761"/>
                <a:gd name="connsiteX906" fmla="*/ 528689 w 2967861"/>
                <a:gd name="connsiteY906" fmla="*/ 2342624 h 2340761"/>
                <a:gd name="connsiteX907" fmla="*/ 553835 w 2967861"/>
                <a:gd name="connsiteY907" fmla="*/ 2337347 h 2340761"/>
                <a:gd name="connsiteX908" fmla="*/ 582086 w 2967861"/>
                <a:gd name="connsiteY908" fmla="*/ 2332069 h 2340761"/>
                <a:gd name="connsiteX909" fmla="*/ 609095 w 2967861"/>
                <a:gd name="connsiteY909" fmla="*/ 2324618 h 2340761"/>
                <a:gd name="connsiteX910" fmla="*/ 636103 w 2967861"/>
                <a:gd name="connsiteY910" fmla="*/ 2317168 h 2340761"/>
                <a:gd name="connsiteX911" fmla="*/ 657834 w 2967861"/>
                <a:gd name="connsiteY911" fmla="*/ 2303508 h 2340761"/>
                <a:gd name="connsiteX912" fmla="*/ 675530 w 2967861"/>
                <a:gd name="connsiteY912" fmla="*/ 2287675 h 2340761"/>
                <a:gd name="connsiteX913" fmla="*/ 684843 w 2967861"/>
                <a:gd name="connsiteY913" fmla="*/ 2270601 h 2340761"/>
                <a:gd name="connsiteX914" fmla="*/ 691984 w 2967861"/>
                <a:gd name="connsiteY914" fmla="*/ 2253526 h 2340761"/>
                <a:gd name="connsiteX915" fmla="*/ 715888 w 2967861"/>
                <a:gd name="connsiteY915" fmla="*/ 2233347 h 2340761"/>
                <a:gd name="connsiteX916" fmla="*/ 718992 w 2967861"/>
                <a:gd name="connsiteY916" fmla="*/ 2218446 h 2340761"/>
                <a:gd name="connsiteX917" fmla="*/ 721165 w 2967861"/>
                <a:gd name="connsiteY917" fmla="*/ 2203544 h 2340761"/>
                <a:gd name="connsiteX918" fmla="*/ 723339 w 2967861"/>
                <a:gd name="connsiteY918" fmla="*/ 2188643 h 2340761"/>
                <a:gd name="connsiteX919" fmla="*/ 728616 w 2967861"/>
                <a:gd name="connsiteY919" fmla="*/ 2175915 h 2340761"/>
                <a:gd name="connsiteX920" fmla="*/ 748485 w 2967861"/>
                <a:gd name="connsiteY920" fmla="*/ 2171568 h 2340761"/>
                <a:gd name="connsiteX921" fmla="*/ 752520 w 2967861"/>
                <a:gd name="connsiteY921" fmla="*/ 2168464 h 2340761"/>
                <a:gd name="connsiteX922" fmla="*/ 753452 w 2967861"/>
                <a:gd name="connsiteY922" fmla="*/ 2164118 h 2340761"/>
                <a:gd name="connsiteX923" fmla="*/ 757488 w 2967861"/>
                <a:gd name="connsiteY923" fmla="*/ 2161013 h 2340761"/>
                <a:gd name="connsiteX924" fmla="*/ 759661 w 2967861"/>
                <a:gd name="connsiteY924" fmla="*/ 2158840 h 2340761"/>
                <a:gd name="connsiteX925" fmla="*/ 762765 w 2967861"/>
                <a:gd name="connsiteY925" fmla="*/ 2155736 h 2340761"/>
                <a:gd name="connsiteX926" fmla="*/ 768043 w 2967861"/>
                <a:gd name="connsiteY926" fmla="*/ 2151390 h 2340761"/>
                <a:gd name="connsiteX927" fmla="*/ 764938 w 2967861"/>
                <a:gd name="connsiteY927" fmla="*/ 2131211 h 2340761"/>
                <a:gd name="connsiteX928" fmla="*/ 757798 w 2967861"/>
                <a:gd name="connsiteY928" fmla="*/ 2114136 h 2340761"/>
                <a:gd name="connsiteX929" fmla="*/ 748485 w 2967861"/>
                <a:gd name="connsiteY929" fmla="*/ 2103581 h 2340761"/>
                <a:gd name="connsiteX930" fmla="*/ 757798 w 2967861"/>
                <a:gd name="connsiteY930" fmla="*/ 2084644 h 2340761"/>
                <a:gd name="connsiteX931" fmla="*/ 772389 w 2967861"/>
                <a:gd name="connsiteY931" fmla="*/ 2071915 h 2340761"/>
                <a:gd name="connsiteX932" fmla="*/ 790084 w 2967861"/>
                <a:gd name="connsiteY932" fmla="*/ 2062291 h 2340761"/>
                <a:gd name="connsiteX933" fmla="*/ 808711 w 2967861"/>
                <a:gd name="connsiteY933" fmla="*/ 2053909 h 2340761"/>
                <a:gd name="connsiteX934" fmla="*/ 824234 w 2967861"/>
                <a:gd name="connsiteY934" fmla="*/ 2042423 h 2340761"/>
                <a:gd name="connsiteX935" fmla="*/ 835720 w 2967861"/>
                <a:gd name="connsiteY935" fmla="*/ 2019140 h 2340761"/>
                <a:gd name="connsiteX936" fmla="*/ 837893 w 2967861"/>
                <a:gd name="connsiteY936" fmla="*/ 1996787 h 2340761"/>
                <a:gd name="connsiteX937" fmla="*/ 831684 w 2967861"/>
                <a:gd name="connsiteY937" fmla="*/ 1974435 h 2340761"/>
                <a:gd name="connsiteX938" fmla="*/ 824544 w 2967861"/>
                <a:gd name="connsiteY938" fmla="*/ 1952083 h 2340761"/>
                <a:gd name="connsiteX939" fmla="*/ 817404 w 2967861"/>
                <a:gd name="connsiteY939" fmla="*/ 1931904 h 2340761"/>
                <a:gd name="connsiteX940" fmla="*/ 810263 w 2967861"/>
                <a:gd name="connsiteY940" fmla="*/ 1909552 h 2340761"/>
                <a:gd name="connsiteX941" fmla="*/ 807159 w 2967861"/>
                <a:gd name="connsiteY941" fmla="*/ 1887200 h 2340761"/>
                <a:gd name="connsiteX942" fmla="*/ 812437 w 2967861"/>
                <a:gd name="connsiteY942" fmla="*/ 1862985 h 2340761"/>
                <a:gd name="connsiteX943" fmla="*/ 827027 w 2967861"/>
                <a:gd name="connsiteY943" fmla="*/ 1837529 h 2340761"/>
                <a:gd name="connsiteX944" fmla="*/ 845654 w 2967861"/>
                <a:gd name="connsiteY944" fmla="*/ 1815177 h 2340761"/>
                <a:gd name="connsiteX945" fmla="*/ 867385 w 2967861"/>
                <a:gd name="connsiteY945" fmla="*/ 1794066 h 2340761"/>
                <a:gd name="connsiteX946" fmla="*/ 890358 w 2967861"/>
                <a:gd name="connsiteY946" fmla="*/ 1776060 h 2340761"/>
                <a:gd name="connsiteX947" fmla="*/ 912090 w 2967861"/>
                <a:gd name="connsiteY947" fmla="*/ 1757123 h 2340761"/>
                <a:gd name="connsiteX948" fmla="*/ 931958 w 2967861"/>
                <a:gd name="connsiteY948" fmla="*/ 1736944 h 2340761"/>
                <a:gd name="connsiteX949" fmla="*/ 945618 w 2967861"/>
                <a:gd name="connsiteY949" fmla="*/ 1718938 h 2340761"/>
                <a:gd name="connsiteX950" fmla="*/ 958036 w 2967861"/>
                <a:gd name="connsiteY950" fmla="*/ 1696586 h 2340761"/>
                <a:gd name="connsiteX951" fmla="*/ 968591 w 2967861"/>
                <a:gd name="connsiteY951" fmla="*/ 1674234 h 2340761"/>
                <a:gd name="connsiteX952" fmla="*/ 975731 w 2967861"/>
                <a:gd name="connsiteY952" fmla="*/ 1655297 h 2340761"/>
                <a:gd name="connsiteX953" fmla="*/ 979767 w 2967861"/>
                <a:gd name="connsiteY953" fmla="*/ 1642569 h 2340761"/>
                <a:gd name="connsiteX954" fmla="*/ 979767 w 2967861"/>
                <a:gd name="connsiteY954" fmla="*/ 1631393 h 2340761"/>
                <a:gd name="connsiteX955" fmla="*/ 985044 w 2967861"/>
                <a:gd name="connsiteY955" fmla="*/ 1621769 h 2340761"/>
                <a:gd name="connsiteX956" fmla="*/ 985044 w 2967861"/>
                <a:gd name="connsiteY956" fmla="*/ 1618665 h 2340761"/>
                <a:gd name="connsiteX957" fmla="*/ 963313 w 2967861"/>
                <a:gd name="connsiteY957" fmla="*/ 1621769 h 2340761"/>
                <a:gd name="connsiteX958" fmla="*/ 939409 w 2967861"/>
                <a:gd name="connsiteY958" fmla="*/ 1627046 h 2340761"/>
                <a:gd name="connsiteX959" fmla="*/ 914263 w 2967861"/>
                <a:gd name="connsiteY959" fmla="*/ 1633255 h 2340761"/>
                <a:gd name="connsiteX960" fmla="*/ 895636 w 2967861"/>
                <a:gd name="connsiteY960" fmla="*/ 1641637 h 2340761"/>
                <a:gd name="connsiteX961" fmla="*/ 880114 w 2967861"/>
                <a:gd name="connsiteY961" fmla="*/ 1640706 h 2340761"/>
                <a:gd name="connsiteX962" fmla="*/ 874836 w 2967861"/>
                <a:gd name="connsiteY962" fmla="*/ 1634497 h 2340761"/>
                <a:gd name="connsiteX963" fmla="*/ 872663 w 2967861"/>
                <a:gd name="connsiteY963" fmla="*/ 1629220 h 2340761"/>
                <a:gd name="connsiteX964" fmla="*/ 872663 w 2967861"/>
                <a:gd name="connsiteY964" fmla="*/ 1623942 h 2340761"/>
                <a:gd name="connsiteX965" fmla="*/ 872663 w 2967861"/>
                <a:gd name="connsiteY965" fmla="*/ 1616491 h 2340761"/>
                <a:gd name="connsiteX966" fmla="*/ 868627 w 2967861"/>
                <a:gd name="connsiteY966" fmla="*/ 1611214 h 2340761"/>
                <a:gd name="connsiteX967" fmla="*/ 854036 w 2967861"/>
                <a:gd name="connsiteY967" fmla="*/ 1599727 h 2340761"/>
                <a:gd name="connsiteX968" fmla="*/ 836341 w 2967861"/>
                <a:gd name="connsiteY968" fmla="*/ 1589172 h 2340761"/>
                <a:gd name="connsiteX969" fmla="*/ 819577 w 2967861"/>
                <a:gd name="connsiteY969" fmla="*/ 1577686 h 2340761"/>
                <a:gd name="connsiteX970" fmla="*/ 809022 w 2967861"/>
                <a:gd name="connsiteY970" fmla="*/ 1564957 h 2340761"/>
                <a:gd name="connsiteX971" fmla="*/ 804986 w 2967861"/>
                <a:gd name="connsiteY971" fmla="*/ 1553471 h 2340761"/>
                <a:gd name="connsiteX972" fmla="*/ 802813 w 2967861"/>
                <a:gd name="connsiteY972" fmla="*/ 1545089 h 2340761"/>
                <a:gd name="connsiteX973" fmla="*/ 799708 w 2967861"/>
                <a:gd name="connsiteY973" fmla="*/ 1533602 h 2340761"/>
                <a:gd name="connsiteX974" fmla="*/ 797535 w 2967861"/>
                <a:gd name="connsiteY974" fmla="*/ 1530498 h 2340761"/>
                <a:gd name="connsiteX975" fmla="*/ 792258 w 2967861"/>
                <a:gd name="connsiteY975" fmla="*/ 1526152 h 2340761"/>
                <a:gd name="connsiteX976" fmla="*/ 786980 w 2967861"/>
                <a:gd name="connsiteY976" fmla="*/ 1523047 h 2340761"/>
                <a:gd name="connsiteX977" fmla="*/ 782944 w 2967861"/>
                <a:gd name="connsiteY977" fmla="*/ 1517770 h 2340761"/>
                <a:gd name="connsiteX978" fmla="*/ 779840 w 2967861"/>
                <a:gd name="connsiteY978" fmla="*/ 1513423 h 2340761"/>
                <a:gd name="connsiteX979" fmla="*/ 779840 w 2967861"/>
                <a:gd name="connsiteY979" fmla="*/ 1476480 h 2340761"/>
                <a:gd name="connsiteX980" fmla="*/ 777667 w 2967861"/>
                <a:gd name="connsiteY980" fmla="*/ 1471203 h 2340761"/>
                <a:gd name="connsiteX981" fmla="*/ 772389 w 2967861"/>
                <a:gd name="connsiteY981" fmla="*/ 1466856 h 2340761"/>
                <a:gd name="connsiteX982" fmla="*/ 768353 w 2967861"/>
                <a:gd name="connsiteY982" fmla="*/ 1463752 h 2340761"/>
                <a:gd name="connsiteX983" fmla="*/ 763076 w 2967861"/>
                <a:gd name="connsiteY983" fmla="*/ 1459406 h 2340761"/>
                <a:gd name="connsiteX984" fmla="*/ 759971 w 2967861"/>
                <a:gd name="connsiteY984" fmla="*/ 1456301 h 2340761"/>
                <a:gd name="connsiteX985" fmla="*/ 750658 w 2967861"/>
                <a:gd name="connsiteY985" fmla="*/ 1436122 h 2340761"/>
                <a:gd name="connsiteX986" fmla="*/ 743518 w 2967861"/>
                <a:gd name="connsiteY986" fmla="*/ 1415943 h 2340761"/>
                <a:gd name="connsiteX987" fmla="*/ 736377 w 2967861"/>
                <a:gd name="connsiteY987" fmla="*/ 1393591 h 2340761"/>
                <a:gd name="connsiteX988" fmla="*/ 724891 w 2967861"/>
                <a:gd name="connsiteY988" fmla="*/ 1374654 h 2340761"/>
                <a:gd name="connsiteX989" fmla="*/ 712473 w 2967861"/>
                <a:gd name="connsiteY989" fmla="*/ 1357580 h 2340761"/>
                <a:gd name="connsiteX990" fmla="*/ 712473 w 2967861"/>
                <a:gd name="connsiteY990" fmla="*/ 1350129 h 2340761"/>
                <a:gd name="connsiteX991" fmla="*/ 716509 w 2967861"/>
                <a:gd name="connsiteY991" fmla="*/ 1350129 h 2340761"/>
                <a:gd name="connsiteX992" fmla="*/ 719613 w 2967861"/>
                <a:gd name="connsiteY992" fmla="*/ 1357580 h 2340761"/>
                <a:gd name="connsiteX993" fmla="*/ 723649 w 2967861"/>
                <a:gd name="connsiteY993" fmla="*/ 1363788 h 2340761"/>
                <a:gd name="connsiteX994" fmla="*/ 726753 w 2967861"/>
                <a:gd name="connsiteY994" fmla="*/ 1366893 h 2340761"/>
                <a:gd name="connsiteX995" fmla="*/ 730789 w 2967861"/>
                <a:gd name="connsiteY995" fmla="*/ 1369066 h 2340761"/>
                <a:gd name="connsiteX996" fmla="*/ 733894 w 2967861"/>
                <a:gd name="connsiteY996" fmla="*/ 1371239 h 2340761"/>
                <a:gd name="connsiteX997" fmla="*/ 737930 w 2967861"/>
                <a:gd name="connsiteY997" fmla="*/ 1372170 h 2340761"/>
                <a:gd name="connsiteX998" fmla="*/ 738861 w 2967861"/>
                <a:gd name="connsiteY998" fmla="*/ 1376517 h 2340761"/>
                <a:gd name="connsiteX999" fmla="*/ 745070 w 2967861"/>
                <a:gd name="connsiteY999" fmla="*/ 1378690 h 2340761"/>
                <a:gd name="connsiteX1000" fmla="*/ 755625 w 2967861"/>
                <a:gd name="connsiteY1000" fmla="*/ 1386141 h 2340761"/>
                <a:gd name="connsiteX1001" fmla="*/ 762765 w 2967861"/>
                <a:gd name="connsiteY1001" fmla="*/ 1396696 h 2340761"/>
                <a:gd name="connsiteX1002" fmla="*/ 768043 w 2967861"/>
                <a:gd name="connsiteY1002" fmla="*/ 1409424 h 2340761"/>
                <a:gd name="connsiteX1003" fmla="*/ 774252 w 2967861"/>
                <a:gd name="connsiteY1003" fmla="*/ 1423084 h 2340761"/>
                <a:gd name="connsiteX1004" fmla="*/ 779529 w 2967861"/>
                <a:gd name="connsiteY1004" fmla="*/ 1435812 h 2340761"/>
                <a:gd name="connsiteX1005" fmla="*/ 799398 w 2967861"/>
                <a:gd name="connsiteY1005" fmla="*/ 1448540 h 2340761"/>
                <a:gd name="connsiteX1006" fmla="*/ 804675 w 2967861"/>
                <a:gd name="connsiteY1006" fmla="*/ 1459095 h 2340761"/>
                <a:gd name="connsiteX1007" fmla="*/ 806848 w 2967861"/>
                <a:gd name="connsiteY1007" fmla="*/ 1472755 h 2340761"/>
                <a:gd name="connsiteX1008" fmla="*/ 809022 w 2967861"/>
                <a:gd name="connsiteY1008" fmla="*/ 1485483 h 2340761"/>
                <a:gd name="connsiteX1009" fmla="*/ 812126 w 2967861"/>
                <a:gd name="connsiteY1009" fmla="*/ 1496038 h 2340761"/>
                <a:gd name="connsiteX1010" fmla="*/ 824544 w 2967861"/>
                <a:gd name="connsiteY1010" fmla="*/ 1510940 h 2340761"/>
                <a:gd name="connsiteX1011" fmla="*/ 838204 w 2967861"/>
                <a:gd name="connsiteY1011" fmla="*/ 1525841 h 2340761"/>
                <a:gd name="connsiteX1012" fmla="*/ 850621 w 2967861"/>
                <a:gd name="connsiteY1012" fmla="*/ 1542916 h 2340761"/>
                <a:gd name="connsiteX1013" fmla="*/ 859935 w 2967861"/>
                <a:gd name="connsiteY1013" fmla="*/ 1560922 h 2340761"/>
                <a:gd name="connsiteX1014" fmla="*/ 860866 w 2967861"/>
                <a:gd name="connsiteY1014" fmla="*/ 1572408 h 2340761"/>
                <a:gd name="connsiteX1015" fmla="*/ 860866 w 2967861"/>
                <a:gd name="connsiteY1015" fmla="*/ 1582963 h 2340761"/>
                <a:gd name="connsiteX1016" fmla="*/ 863039 w 2967861"/>
                <a:gd name="connsiteY1016" fmla="*/ 1594450 h 2340761"/>
                <a:gd name="connsiteX1017" fmla="*/ 868317 w 2967861"/>
                <a:gd name="connsiteY1017" fmla="*/ 1605005 h 2340761"/>
                <a:gd name="connsiteX1018" fmla="*/ 870490 w 2967861"/>
                <a:gd name="connsiteY1018" fmla="*/ 1609351 h 2340761"/>
                <a:gd name="connsiteX1019" fmla="*/ 872663 w 2967861"/>
                <a:gd name="connsiteY1019" fmla="*/ 1611524 h 2340761"/>
                <a:gd name="connsiteX1020" fmla="*/ 874836 w 2967861"/>
                <a:gd name="connsiteY1020" fmla="*/ 1612456 h 2340761"/>
                <a:gd name="connsiteX1021" fmla="*/ 875767 w 2967861"/>
                <a:gd name="connsiteY1021" fmla="*/ 1612456 h 2340761"/>
                <a:gd name="connsiteX1022" fmla="*/ 879803 w 2967861"/>
                <a:gd name="connsiteY1022" fmla="*/ 1614629 h 2340761"/>
                <a:gd name="connsiteX1023" fmla="*/ 889117 w 2967861"/>
                <a:gd name="connsiteY1023" fmla="*/ 1614629 h 2340761"/>
                <a:gd name="connsiteX1024" fmla="*/ 901534 w 2967861"/>
                <a:gd name="connsiteY1024" fmla="*/ 1611524 h 2340761"/>
                <a:gd name="connsiteX1025" fmla="*/ 913952 w 2967861"/>
                <a:gd name="connsiteY1025" fmla="*/ 1604074 h 2340761"/>
                <a:gd name="connsiteX1026" fmla="*/ 928543 w 2967861"/>
                <a:gd name="connsiteY1026" fmla="*/ 1597865 h 2340761"/>
                <a:gd name="connsiteX1027" fmla="*/ 946239 w 2967861"/>
                <a:gd name="connsiteY1027" fmla="*/ 1592587 h 2340761"/>
                <a:gd name="connsiteX1028" fmla="*/ 963003 w 2967861"/>
                <a:gd name="connsiteY1028" fmla="*/ 1589483 h 2340761"/>
                <a:gd name="connsiteX1029" fmla="*/ 979767 w 2967861"/>
                <a:gd name="connsiteY1029" fmla="*/ 1582032 h 2340761"/>
                <a:gd name="connsiteX1030" fmla="*/ 992185 w 2967861"/>
                <a:gd name="connsiteY1030" fmla="*/ 1572408 h 2340761"/>
                <a:gd name="connsiteX1031" fmla="*/ 1002740 w 2967861"/>
                <a:gd name="connsiteY1031" fmla="*/ 1560922 h 2340761"/>
                <a:gd name="connsiteX1032" fmla="*/ 1016399 w 2967861"/>
                <a:gd name="connsiteY1032" fmla="*/ 1553471 h 2340761"/>
                <a:gd name="connsiteX1033" fmla="*/ 1039372 w 2967861"/>
                <a:gd name="connsiteY1033" fmla="*/ 1553471 h 2340761"/>
                <a:gd name="connsiteX1034" fmla="*/ 1039372 w 2967861"/>
                <a:gd name="connsiteY1034" fmla="*/ 1544468 h 2340761"/>
                <a:gd name="connsiteX1035" fmla="*/ 1057999 w 2967861"/>
                <a:gd name="connsiteY1035" fmla="*/ 1531740 h 2340761"/>
                <a:gd name="connsiteX1036" fmla="*/ 1075694 w 2967861"/>
                <a:gd name="connsiteY1036" fmla="*/ 1520253 h 2340761"/>
                <a:gd name="connsiteX1037" fmla="*/ 1075694 w 2967861"/>
                <a:gd name="connsiteY1037" fmla="*/ 1500074 h 2340761"/>
                <a:gd name="connsiteX1038" fmla="*/ 1089354 w 2967861"/>
                <a:gd name="connsiteY1038" fmla="*/ 1494797 h 2340761"/>
                <a:gd name="connsiteX1039" fmla="*/ 1095563 w 2967861"/>
                <a:gd name="connsiteY1039" fmla="*/ 1487346 h 2340761"/>
                <a:gd name="connsiteX1040" fmla="*/ 1101772 w 2967861"/>
                <a:gd name="connsiteY1040" fmla="*/ 1477722 h 2340761"/>
                <a:gd name="connsiteX1041" fmla="*/ 1108912 w 2967861"/>
                <a:gd name="connsiteY1041" fmla="*/ 1468098 h 2340761"/>
                <a:gd name="connsiteX1042" fmla="*/ 1087181 w 2967861"/>
                <a:gd name="connsiteY1042" fmla="*/ 1450092 h 2340761"/>
                <a:gd name="connsiteX1043" fmla="*/ 1060172 w 2967861"/>
                <a:gd name="connsiteY1043" fmla="*/ 1435191 h 2340761"/>
                <a:gd name="connsiteX1044" fmla="*/ 1057999 w 2967861"/>
                <a:gd name="connsiteY1044" fmla="*/ 1420290 h 2340761"/>
                <a:gd name="connsiteX1045" fmla="*/ 1055826 w 2967861"/>
                <a:gd name="connsiteY1045" fmla="*/ 1401352 h 2340761"/>
                <a:gd name="connsiteX1046" fmla="*/ 1035958 w 2967861"/>
                <a:gd name="connsiteY1046" fmla="*/ 1416254 h 2340761"/>
                <a:gd name="connsiteX1047" fmla="*/ 1019193 w 2967861"/>
                <a:gd name="connsiteY1047" fmla="*/ 1435191 h 2340761"/>
                <a:gd name="connsiteX1048" fmla="*/ 1008638 w 2967861"/>
                <a:gd name="connsiteY1048" fmla="*/ 1435191 h 2340761"/>
                <a:gd name="connsiteX1049" fmla="*/ 999325 w 2967861"/>
                <a:gd name="connsiteY1049" fmla="*/ 1437364 h 2340761"/>
                <a:gd name="connsiteX1050" fmla="*/ 992185 w 2967861"/>
                <a:gd name="connsiteY1050" fmla="*/ 1438295 h 2340761"/>
                <a:gd name="connsiteX1051" fmla="*/ 990011 w 2967861"/>
                <a:gd name="connsiteY1051" fmla="*/ 1433018 h 2340761"/>
                <a:gd name="connsiteX1052" fmla="*/ 989080 w 2967861"/>
                <a:gd name="connsiteY1052" fmla="*/ 1427740 h 2340761"/>
                <a:gd name="connsiteX1053" fmla="*/ 989080 w 2967861"/>
                <a:gd name="connsiteY1053" fmla="*/ 1422463 h 2340761"/>
                <a:gd name="connsiteX1054" fmla="*/ 986907 w 2967861"/>
                <a:gd name="connsiteY1054" fmla="*/ 1416254 h 2340761"/>
                <a:gd name="connsiteX1055" fmla="*/ 984734 w 2967861"/>
                <a:gd name="connsiteY1055" fmla="*/ 1410976 h 2340761"/>
                <a:gd name="connsiteX1056" fmla="*/ 979456 w 2967861"/>
                <a:gd name="connsiteY1056" fmla="*/ 1408803 h 2340761"/>
                <a:gd name="connsiteX1057" fmla="*/ 977283 w 2967861"/>
                <a:gd name="connsiteY1057" fmla="*/ 1408803 h 2340761"/>
                <a:gd name="connsiteX1058" fmla="*/ 975110 w 2967861"/>
                <a:gd name="connsiteY1058" fmla="*/ 1408803 h 2340761"/>
                <a:gd name="connsiteX1059" fmla="*/ 975110 w 2967861"/>
                <a:gd name="connsiteY1059" fmla="*/ 1410976 h 2340761"/>
                <a:gd name="connsiteX1060" fmla="*/ 974179 w 2967861"/>
                <a:gd name="connsiteY1060" fmla="*/ 1413149 h 2340761"/>
                <a:gd name="connsiteX1061" fmla="*/ 972006 w 2967861"/>
                <a:gd name="connsiteY1061" fmla="*/ 1418427 h 2340761"/>
                <a:gd name="connsiteX1062" fmla="*/ 964865 w 2967861"/>
                <a:gd name="connsiteY1062" fmla="*/ 1407872 h 2340761"/>
                <a:gd name="connsiteX1063" fmla="*/ 957725 w 2967861"/>
                <a:gd name="connsiteY1063" fmla="*/ 1392970 h 2340761"/>
                <a:gd name="connsiteX1064" fmla="*/ 948412 w 2967861"/>
                <a:gd name="connsiteY1064" fmla="*/ 1375896 h 2340761"/>
                <a:gd name="connsiteX1065" fmla="*/ 943134 w 2967861"/>
                <a:gd name="connsiteY1065" fmla="*/ 1358821 h 2340761"/>
                <a:gd name="connsiteX1066" fmla="*/ 939098 w 2967861"/>
                <a:gd name="connsiteY1066" fmla="*/ 1343920 h 2340761"/>
                <a:gd name="connsiteX1067" fmla="*/ 946239 w 2967861"/>
                <a:gd name="connsiteY1067" fmla="*/ 1343920 h 2340761"/>
                <a:gd name="connsiteX1068" fmla="*/ 950274 w 2967861"/>
                <a:gd name="connsiteY1068" fmla="*/ 1343920 h 2340761"/>
                <a:gd name="connsiteX1069" fmla="*/ 952448 w 2967861"/>
                <a:gd name="connsiteY1069" fmla="*/ 1343920 h 2340761"/>
                <a:gd name="connsiteX1070" fmla="*/ 953379 w 2967861"/>
                <a:gd name="connsiteY1070" fmla="*/ 1343920 h 2340761"/>
                <a:gd name="connsiteX1071" fmla="*/ 955552 w 2967861"/>
                <a:gd name="connsiteY1071" fmla="*/ 1343920 h 2340761"/>
                <a:gd name="connsiteX1072" fmla="*/ 967039 w 2967861"/>
                <a:gd name="connsiteY1072" fmla="*/ 1353544 h 2340761"/>
                <a:gd name="connsiteX1073" fmla="*/ 972316 w 2967861"/>
                <a:gd name="connsiteY1073" fmla="*/ 1363167 h 2340761"/>
                <a:gd name="connsiteX1074" fmla="*/ 975421 w 2967861"/>
                <a:gd name="connsiteY1074" fmla="*/ 1373723 h 2340761"/>
                <a:gd name="connsiteX1075" fmla="*/ 984734 w 2967861"/>
                <a:gd name="connsiteY1075" fmla="*/ 1381173 h 2340761"/>
                <a:gd name="connsiteX1076" fmla="*/ 997152 w 2967861"/>
                <a:gd name="connsiteY1076" fmla="*/ 1388624 h 2340761"/>
                <a:gd name="connsiteX1077" fmla="*/ 1008638 w 2967861"/>
                <a:gd name="connsiteY1077" fmla="*/ 1393902 h 2340761"/>
                <a:gd name="connsiteX1078" fmla="*/ 1019193 w 2967861"/>
                <a:gd name="connsiteY1078" fmla="*/ 1401352 h 2340761"/>
                <a:gd name="connsiteX1079" fmla="*/ 1031611 w 2967861"/>
                <a:gd name="connsiteY1079" fmla="*/ 1401352 h 2340761"/>
                <a:gd name="connsiteX1080" fmla="*/ 1040925 w 2967861"/>
                <a:gd name="connsiteY1080" fmla="*/ 1400421 h 2340761"/>
                <a:gd name="connsiteX1081" fmla="*/ 1048065 w 2967861"/>
                <a:gd name="connsiteY1081" fmla="*/ 1398248 h 2340761"/>
                <a:gd name="connsiteX1082" fmla="*/ 1059551 w 2967861"/>
                <a:gd name="connsiteY1082" fmla="*/ 1393902 h 2340761"/>
                <a:gd name="connsiteX1083" fmla="*/ 1066692 w 2967861"/>
                <a:gd name="connsiteY1083" fmla="*/ 1407561 h 2340761"/>
                <a:gd name="connsiteX1084" fmla="*/ 1071969 w 2967861"/>
                <a:gd name="connsiteY1084" fmla="*/ 1418116 h 2340761"/>
                <a:gd name="connsiteX1085" fmla="*/ 1102082 w 2967861"/>
                <a:gd name="connsiteY1085" fmla="*/ 1420290 h 2340761"/>
                <a:gd name="connsiteX1086" fmla="*/ 1133438 w 2967861"/>
                <a:gd name="connsiteY1086" fmla="*/ 1422463 h 2340761"/>
                <a:gd name="connsiteX1087" fmla="*/ 1164793 w 2967861"/>
                <a:gd name="connsiteY1087" fmla="*/ 1422463 h 2340761"/>
                <a:gd name="connsiteX1088" fmla="*/ 1194906 w 2967861"/>
                <a:gd name="connsiteY1088" fmla="*/ 1418116 h 2340761"/>
                <a:gd name="connsiteX1089" fmla="*/ 1206392 w 2967861"/>
                <a:gd name="connsiteY1089" fmla="*/ 1429603 h 2340761"/>
                <a:gd name="connsiteX1090" fmla="*/ 1218810 w 2967861"/>
                <a:gd name="connsiteY1090" fmla="*/ 1437985 h 2340761"/>
                <a:gd name="connsiteX1091" fmla="*/ 1231228 w 2967861"/>
                <a:gd name="connsiteY1091" fmla="*/ 1447609 h 2340761"/>
                <a:gd name="connsiteX1092" fmla="*/ 1238368 w 2967861"/>
                <a:gd name="connsiteY1092" fmla="*/ 1458164 h 2340761"/>
                <a:gd name="connsiteX1093" fmla="*/ 1235264 w 2967861"/>
                <a:gd name="connsiteY1093" fmla="*/ 1471824 h 2340761"/>
                <a:gd name="connsiteX1094" fmla="*/ 1238368 w 2967861"/>
                <a:gd name="connsiteY1094" fmla="*/ 1474928 h 2340761"/>
                <a:gd name="connsiteX1095" fmla="*/ 1242404 w 2967861"/>
                <a:gd name="connsiteY1095" fmla="*/ 1479274 h 2340761"/>
                <a:gd name="connsiteX1096" fmla="*/ 1247681 w 2967861"/>
                <a:gd name="connsiteY1096" fmla="*/ 1482379 h 2340761"/>
                <a:gd name="connsiteX1097" fmla="*/ 1251717 w 2967861"/>
                <a:gd name="connsiteY1097" fmla="*/ 1486725 h 2340761"/>
                <a:gd name="connsiteX1098" fmla="*/ 1262273 w 2967861"/>
                <a:gd name="connsiteY1098" fmla="*/ 1487656 h 2340761"/>
                <a:gd name="connsiteX1099" fmla="*/ 1271586 w 2967861"/>
                <a:gd name="connsiteY1099" fmla="*/ 1487656 h 2340761"/>
                <a:gd name="connsiteX1100" fmla="*/ 1284004 w 2967861"/>
                <a:gd name="connsiteY1100" fmla="*/ 1486725 h 2340761"/>
                <a:gd name="connsiteX1101" fmla="*/ 1288039 w 2967861"/>
                <a:gd name="connsiteY1101" fmla="*/ 1524910 h 2340761"/>
                <a:gd name="connsiteX1102" fmla="*/ 1296422 w 2967861"/>
                <a:gd name="connsiteY1102" fmla="*/ 1556575 h 2340761"/>
                <a:gd name="connsiteX1103" fmla="*/ 1308840 w 2967861"/>
                <a:gd name="connsiteY1103" fmla="*/ 1586068 h 2340761"/>
                <a:gd name="connsiteX1104" fmla="*/ 1327466 w 2967861"/>
                <a:gd name="connsiteY1104" fmla="*/ 1613697 h 2340761"/>
                <a:gd name="connsiteX1105" fmla="*/ 1327466 w 2967861"/>
                <a:gd name="connsiteY1105" fmla="*/ 1615870 h 2340761"/>
                <a:gd name="connsiteX1106" fmla="*/ 1325293 w 2967861"/>
                <a:gd name="connsiteY1106" fmla="*/ 1618044 h 2340761"/>
                <a:gd name="connsiteX1107" fmla="*/ 1323120 w 2967861"/>
                <a:gd name="connsiteY1107" fmla="*/ 1621148 h 2340761"/>
                <a:gd name="connsiteX1108" fmla="*/ 1322188 w 2967861"/>
                <a:gd name="connsiteY1108" fmla="*/ 1625494 h 2340761"/>
                <a:gd name="connsiteX1109" fmla="*/ 1323120 w 2967861"/>
                <a:gd name="connsiteY1109" fmla="*/ 1628599 h 2340761"/>
                <a:gd name="connsiteX1110" fmla="*/ 1329329 w 2967861"/>
                <a:gd name="connsiteY1110" fmla="*/ 1645673 h 2340761"/>
                <a:gd name="connsiteX1111" fmla="*/ 1339884 w 2967861"/>
                <a:gd name="connsiteY1111" fmla="*/ 1665852 h 2340761"/>
                <a:gd name="connsiteX1112" fmla="*/ 1351370 w 2967861"/>
                <a:gd name="connsiteY1112" fmla="*/ 1678581 h 2340761"/>
                <a:gd name="connsiteX1113" fmla="*/ 1352302 w 2967861"/>
                <a:gd name="connsiteY1113" fmla="*/ 1680754 h 2340761"/>
                <a:gd name="connsiteX1114" fmla="*/ 1354475 w 2967861"/>
                <a:gd name="connsiteY1114" fmla="*/ 1680754 h 2340761"/>
                <a:gd name="connsiteX1115" fmla="*/ 1356648 w 2967861"/>
                <a:gd name="connsiteY1115" fmla="*/ 1682927 h 2340761"/>
                <a:gd name="connsiteX1116" fmla="*/ 1358821 w 2967861"/>
                <a:gd name="connsiteY1116" fmla="*/ 1682927 h 2340761"/>
                <a:gd name="connsiteX1117" fmla="*/ 1378690 w 2967861"/>
                <a:gd name="connsiteY1117" fmla="*/ 1658712 h 2340761"/>
                <a:gd name="connsiteX1118" fmla="*/ 1391108 w 2967861"/>
                <a:gd name="connsiteY1118" fmla="*/ 1633255 h 2340761"/>
                <a:gd name="connsiteX1119" fmla="*/ 1400421 w 2967861"/>
                <a:gd name="connsiteY1119" fmla="*/ 1601590 h 2340761"/>
                <a:gd name="connsiteX1120" fmla="*/ 1403525 w 2967861"/>
                <a:gd name="connsiteY1120" fmla="*/ 1564647 h 2340761"/>
                <a:gd name="connsiteX1121" fmla="*/ 1415943 w 2967861"/>
                <a:gd name="connsiteY1121" fmla="*/ 1557196 h 2340761"/>
                <a:gd name="connsiteX1122" fmla="*/ 1425257 w 2967861"/>
                <a:gd name="connsiteY1122" fmla="*/ 1547572 h 2340761"/>
                <a:gd name="connsiteX1123" fmla="*/ 1434570 w 2967861"/>
                <a:gd name="connsiteY1123" fmla="*/ 1540122 h 2340761"/>
                <a:gd name="connsiteX1124" fmla="*/ 1451334 w 2967861"/>
                <a:gd name="connsiteY1124" fmla="*/ 1540122 h 2340761"/>
                <a:gd name="connsiteX1125" fmla="*/ 1463752 w 2967861"/>
                <a:gd name="connsiteY1125" fmla="*/ 1507214 h 2340761"/>
                <a:gd name="connsiteX1126" fmla="*/ 1470892 w 2967861"/>
                <a:gd name="connsiteY1126" fmla="*/ 1501937 h 2340761"/>
                <a:gd name="connsiteX1127" fmla="*/ 1478032 w 2967861"/>
                <a:gd name="connsiteY1127" fmla="*/ 1499764 h 2340761"/>
                <a:gd name="connsiteX1128" fmla="*/ 1485172 w 2967861"/>
                <a:gd name="connsiteY1128" fmla="*/ 1499764 h 2340761"/>
                <a:gd name="connsiteX1129" fmla="*/ 1488277 w 2967861"/>
                <a:gd name="connsiteY1129" fmla="*/ 1497591 h 2340761"/>
                <a:gd name="connsiteX1130" fmla="*/ 1493555 w 2967861"/>
                <a:gd name="connsiteY1130" fmla="*/ 1490140 h 2340761"/>
                <a:gd name="connsiteX1131" fmla="*/ 1497590 w 2967861"/>
                <a:gd name="connsiteY1131" fmla="*/ 1475239 h 2340761"/>
                <a:gd name="connsiteX1132" fmla="*/ 1512181 w 2967861"/>
                <a:gd name="connsiteY1132" fmla="*/ 1475239 h 2340761"/>
                <a:gd name="connsiteX1133" fmla="*/ 1526772 w 2967861"/>
                <a:gd name="connsiteY1133" fmla="*/ 1477412 h 2340761"/>
                <a:gd name="connsiteX1134" fmla="*/ 1543536 w 2967861"/>
                <a:gd name="connsiteY1134" fmla="*/ 1475239 h 2340761"/>
                <a:gd name="connsiteX1135" fmla="*/ 1544468 w 2967861"/>
                <a:gd name="connsiteY1135" fmla="*/ 1473065 h 2340761"/>
                <a:gd name="connsiteX1136" fmla="*/ 1546641 w 2967861"/>
                <a:gd name="connsiteY1136" fmla="*/ 1472134 h 2340761"/>
                <a:gd name="connsiteX1137" fmla="*/ 1548814 w 2967861"/>
                <a:gd name="connsiteY1137" fmla="*/ 1467788 h 2340761"/>
                <a:gd name="connsiteX1138" fmla="*/ 1550987 w 2967861"/>
                <a:gd name="connsiteY1138" fmla="*/ 1465615 h 2340761"/>
                <a:gd name="connsiteX1139" fmla="*/ 1554092 w 2967861"/>
                <a:gd name="connsiteY1139" fmla="*/ 1462510 h 2340761"/>
                <a:gd name="connsiteX1140" fmla="*/ 1565578 w 2967861"/>
                <a:gd name="connsiteY1140" fmla="*/ 1480516 h 2340761"/>
                <a:gd name="connsiteX1141" fmla="*/ 1573960 w 2967861"/>
                <a:gd name="connsiteY1141" fmla="*/ 1495418 h 2340761"/>
                <a:gd name="connsiteX1142" fmla="*/ 1585447 w 2967861"/>
                <a:gd name="connsiteY1142" fmla="*/ 1509077 h 2340761"/>
                <a:gd name="connsiteX1143" fmla="*/ 1592587 w 2967861"/>
                <a:gd name="connsiteY1143" fmla="*/ 1523979 h 2340761"/>
                <a:gd name="connsiteX1144" fmla="*/ 1597864 w 2967861"/>
                <a:gd name="connsiteY1144" fmla="*/ 1541984 h 2340761"/>
                <a:gd name="connsiteX1145" fmla="*/ 1597864 w 2967861"/>
                <a:gd name="connsiteY1145" fmla="*/ 1564337 h 2340761"/>
                <a:gd name="connsiteX1146" fmla="*/ 1600037 w 2967861"/>
                <a:gd name="connsiteY1146" fmla="*/ 1566509 h 2340761"/>
                <a:gd name="connsiteX1147" fmla="*/ 1600969 w 2967861"/>
                <a:gd name="connsiteY1147" fmla="*/ 1566509 h 2340761"/>
                <a:gd name="connsiteX1148" fmla="*/ 1600969 w 2967861"/>
                <a:gd name="connsiteY1148" fmla="*/ 1567441 h 2340761"/>
                <a:gd name="connsiteX1149" fmla="*/ 1603142 w 2967861"/>
                <a:gd name="connsiteY1149" fmla="*/ 1567441 h 2340761"/>
                <a:gd name="connsiteX1150" fmla="*/ 1610282 w 2967861"/>
                <a:gd name="connsiteY1150" fmla="*/ 1567441 h 2340761"/>
                <a:gd name="connsiteX1151" fmla="*/ 1617422 w 2967861"/>
                <a:gd name="connsiteY1151" fmla="*/ 1566509 h 2340761"/>
                <a:gd name="connsiteX1152" fmla="*/ 1621458 w 2967861"/>
                <a:gd name="connsiteY1152" fmla="*/ 1564337 h 2340761"/>
                <a:gd name="connsiteX1153" fmla="*/ 1626736 w 2967861"/>
                <a:gd name="connsiteY1153" fmla="*/ 1559990 h 2340761"/>
                <a:gd name="connsiteX1154" fmla="*/ 1629840 w 2967861"/>
                <a:gd name="connsiteY1154" fmla="*/ 1556886 h 2340761"/>
                <a:gd name="connsiteX1155" fmla="*/ 1641327 w 2967861"/>
                <a:gd name="connsiteY1155" fmla="*/ 1569614 h 2340761"/>
                <a:gd name="connsiteX1156" fmla="*/ 1648467 w 2967861"/>
                <a:gd name="connsiteY1156" fmla="*/ 1586688 h 2340761"/>
                <a:gd name="connsiteX1157" fmla="*/ 1650640 w 2967861"/>
                <a:gd name="connsiteY1157" fmla="*/ 1606867 h 2340761"/>
                <a:gd name="connsiteX1158" fmla="*/ 1650640 w 2967861"/>
                <a:gd name="connsiteY1158" fmla="*/ 1629220 h 2340761"/>
                <a:gd name="connsiteX1159" fmla="*/ 1650640 w 2967861"/>
                <a:gd name="connsiteY1159" fmla="*/ 1649399 h 2340761"/>
                <a:gd name="connsiteX1160" fmla="*/ 1650640 w 2967861"/>
                <a:gd name="connsiteY1160" fmla="*/ 1668336 h 2340761"/>
                <a:gd name="connsiteX1161" fmla="*/ 1653745 w 2967861"/>
                <a:gd name="connsiteY1161" fmla="*/ 1683237 h 2340761"/>
                <a:gd name="connsiteX1162" fmla="*/ 1653745 w 2967861"/>
                <a:gd name="connsiteY1162" fmla="*/ 1686342 h 2340761"/>
                <a:gd name="connsiteX1163" fmla="*/ 1663058 w 2967861"/>
                <a:gd name="connsiteY1163" fmla="*/ 1683237 h 2340761"/>
                <a:gd name="connsiteX1164" fmla="*/ 1663058 w 2967861"/>
                <a:gd name="connsiteY1164" fmla="*/ 1686342 h 2340761"/>
                <a:gd name="connsiteX1165" fmla="*/ 1672371 w 2967861"/>
                <a:gd name="connsiteY1165" fmla="*/ 1699070 h 2340761"/>
                <a:gd name="connsiteX1166" fmla="*/ 1677649 w 2967861"/>
                <a:gd name="connsiteY1166" fmla="*/ 1713971 h 2340761"/>
                <a:gd name="connsiteX1167" fmla="*/ 1682927 w 2967861"/>
                <a:gd name="connsiteY1167" fmla="*/ 1728873 h 2340761"/>
                <a:gd name="connsiteX1168" fmla="*/ 1686962 w 2967861"/>
                <a:gd name="connsiteY1168" fmla="*/ 1745947 h 2340761"/>
                <a:gd name="connsiteX1169" fmla="*/ 1693171 w 2967861"/>
                <a:gd name="connsiteY1169" fmla="*/ 1760849 h 2340761"/>
                <a:gd name="connsiteX1170" fmla="*/ 1702485 w 2967861"/>
                <a:gd name="connsiteY1170" fmla="*/ 1768299 h 2340761"/>
                <a:gd name="connsiteX1171" fmla="*/ 1704658 w 2967861"/>
                <a:gd name="connsiteY1171" fmla="*/ 1770472 h 2340761"/>
                <a:gd name="connsiteX1172" fmla="*/ 1715213 w 2967861"/>
                <a:gd name="connsiteY1172" fmla="*/ 1775750 h 2340761"/>
                <a:gd name="connsiteX1173" fmla="*/ 1726699 w 2967861"/>
                <a:gd name="connsiteY1173" fmla="*/ 1785374 h 2340761"/>
                <a:gd name="connsiteX1174" fmla="*/ 1737255 w 2967861"/>
                <a:gd name="connsiteY1174" fmla="*/ 1785374 h 2340761"/>
                <a:gd name="connsiteX1175" fmla="*/ 1736323 w 2967861"/>
                <a:gd name="connsiteY1175" fmla="*/ 1758986 h 2340761"/>
                <a:gd name="connsiteX1176" fmla="*/ 1729183 w 2967861"/>
                <a:gd name="connsiteY1176" fmla="*/ 1733529 h 2340761"/>
                <a:gd name="connsiteX1177" fmla="*/ 1717696 w 2967861"/>
                <a:gd name="connsiteY1177" fmla="*/ 1711177 h 2340761"/>
                <a:gd name="connsiteX1178" fmla="*/ 1703106 w 2967861"/>
                <a:gd name="connsiteY1178" fmla="*/ 1696276 h 2340761"/>
                <a:gd name="connsiteX1179" fmla="*/ 1700001 w 2967861"/>
                <a:gd name="connsiteY1179" fmla="*/ 1694103 h 2340761"/>
                <a:gd name="connsiteX1180" fmla="*/ 1695965 w 2967861"/>
                <a:gd name="connsiteY1180" fmla="*/ 1694103 h 2340761"/>
                <a:gd name="connsiteX1181" fmla="*/ 1692861 w 2967861"/>
                <a:gd name="connsiteY1181" fmla="*/ 1694103 h 2340761"/>
                <a:gd name="connsiteX1182" fmla="*/ 1688825 w 2967861"/>
                <a:gd name="connsiteY1182" fmla="*/ 1694103 h 2340761"/>
                <a:gd name="connsiteX1183" fmla="*/ 1687894 w 2967861"/>
                <a:gd name="connsiteY1183" fmla="*/ 1691930 h 2340761"/>
                <a:gd name="connsiteX1184" fmla="*/ 1681685 w 2967861"/>
                <a:gd name="connsiteY1184" fmla="*/ 1681374 h 2340761"/>
                <a:gd name="connsiteX1185" fmla="*/ 1680753 w 2967861"/>
                <a:gd name="connsiteY1185" fmla="*/ 1671751 h 2340761"/>
                <a:gd name="connsiteX1186" fmla="*/ 1676718 w 2967861"/>
                <a:gd name="connsiteY1186" fmla="*/ 1664300 h 2340761"/>
                <a:gd name="connsiteX1187" fmla="*/ 1667404 w 2967861"/>
                <a:gd name="connsiteY1187" fmla="*/ 1659022 h 2340761"/>
                <a:gd name="connsiteX1188" fmla="*/ 1676718 w 2967861"/>
                <a:gd name="connsiteY1188" fmla="*/ 1634808 h 2340761"/>
                <a:gd name="connsiteX1189" fmla="*/ 1683858 w 2967861"/>
                <a:gd name="connsiteY1189" fmla="*/ 1605315 h 2340761"/>
                <a:gd name="connsiteX1190" fmla="*/ 1700622 w 2967861"/>
                <a:gd name="connsiteY1190" fmla="*/ 1618975 h 2340761"/>
                <a:gd name="connsiteX1191" fmla="*/ 1716144 w 2967861"/>
                <a:gd name="connsiteY1191" fmla="*/ 1631703 h 2340761"/>
                <a:gd name="connsiteX1192" fmla="*/ 1730735 w 2967861"/>
                <a:gd name="connsiteY1192" fmla="*/ 1644431 h 2340761"/>
                <a:gd name="connsiteX1193" fmla="*/ 1742222 w 2967861"/>
                <a:gd name="connsiteY1193" fmla="*/ 1659333 h 2340761"/>
                <a:gd name="connsiteX1194" fmla="*/ 1747499 w 2967861"/>
                <a:gd name="connsiteY1194" fmla="*/ 1679512 h 2340761"/>
                <a:gd name="connsiteX1195" fmla="*/ 1754640 w 2967861"/>
                <a:gd name="connsiteY1195" fmla="*/ 1679512 h 2340761"/>
                <a:gd name="connsiteX1196" fmla="*/ 1815176 w 2967861"/>
                <a:gd name="connsiteY1196" fmla="*/ 1629841 h 2340761"/>
                <a:gd name="connsiteX1197" fmla="*/ 1813003 w 2967861"/>
                <a:gd name="connsiteY1197" fmla="*/ 1600348 h 2340761"/>
                <a:gd name="connsiteX1198" fmla="*/ 1807726 w 2967861"/>
                <a:gd name="connsiteY1198" fmla="*/ 1576133 h 2340761"/>
                <a:gd name="connsiteX1199" fmla="*/ 1796239 w 2967861"/>
                <a:gd name="connsiteY1199" fmla="*/ 1558128 h 2340761"/>
                <a:gd name="connsiteX1200" fmla="*/ 1783822 w 2967861"/>
                <a:gd name="connsiteY1200" fmla="*/ 1541053 h 2340761"/>
                <a:gd name="connsiteX1201" fmla="*/ 1767057 w 2967861"/>
                <a:gd name="connsiteY1201" fmla="*/ 1525220 h 2340761"/>
                <a:gd name="connsiteX1202" fmla="*/ 1769230 w 2967861"/>
                <a:gd name="connsiteY1202" fmla="*/ 1510319 h 2340761"/>
                <a:gd name="connsiteX1203" fmla="*/ 1774508 w 2967861"/>
                <a:gd name="connsiteY1203" fmla="*/ 1500695 h 2340761"/>
                <a:gd name="connsiteX1204" fmla="*/ 1780717 w 2967861"/>
                <a:gd name="connsiteY1204" fmla="*/ 1495418 h 2340761"/>
                <a:gd name="connsiteX1205" fmla="*/ 1787857 w 2967861"/>
                <a:gd name="connsiteY1205" fmla="*/ 1489209 h 2340761"/>
                <a:gd name="connsiteX1206" fmla="*/ 1794066 w 2967861"/>
                <a:gd name="connsiteY1206" fmla="*/ 1480827 h 2340761"/>
                <a:gd name="connsiteX1207" fmla="*/ 1800275 w 2967861"/>
                <a:gd name="connsiteY1207" fmla="*/ 1480827 h 2340761"/>
                <a:gd name="connsiteX1208" fmla="*/ 1805553 w 2967861"/>
                <a:gd name="connsiteY1208" fmla="*/ 1481758 h 2340761"/>
                <a:gd name="connsiteX1209" fmla="*/ 1807726 w 2967861"/>
                <a:gd name="connsiteY1209" fmla="*/ 1481758 h 2340761"/>
                <a:gd name="connsiteX1210" fmla="*/ 1810830 w 2967861"/>
                <a:gd name="connsiteY1210" fmla="*/ 1483931 h 2340761"/>
                <a:gd name="connsiteX1211" fmla="*/ 1813003 w 2967861"/>
                <a:gd name="connsiteY1211" fmla="*/ 1488277 h 2340761"/>
                <a:gd name="connsiteX1212" fmla="*/ 1816108 w 2967861"/>
                <a:gd name="connsiteY1212" fmla="*/ 1493555 h 2340761"/>
                <a:gd name="connsiteX1213" fmla="*/ 1818281 w 2967861"/>
                <a:gd name="connsiteY1213" fmla="*/ 1496659 h 2340761"/>
                <a:gd name="connsiteX1214" fmla="*/ 1816108 w 2967861"/>
                <a:gd name="connsiteY1214" fmla="*/ 1501006 h 2340761"/>
                <a:gd name="connsiteX1215" fmla="*/ 1815176 w 2967861"/>
                <a:gd name="connsiteY1215" fmla="*/ 1504110 h 2340761"/>
                <a:gd name="connsiteX1216" fmla="*/ 1811141 w 2967861"/>
                <a:gd name="connsiteY1216" fmla="*/ 1506283 h 2340761"/>
                <a:gd name="connsiteX1217" fmla="*/ 1808036 w 2967861"/>
                <a:gd name="connsiteY1217" fmla="*/ 1506283 h 2340761"/>
                <a:gd name="connsiteX1218" fmla="*/ 1804000 w 2967861"/>
                <a:gd name="connsiteY1218" fmla="*/ 1508456 h 2340761"/>
                <a:gd name="connsiteX1219" fmla="*/ 1804000 w 2967861"/>
                <a:gd name="connsiteY1219" fmla="*/ 1518080 h 2340761"/>
                <a:gd name="connsiteX1220" fmla="*/ 1804000 w 2967861"/>
                <a:gd name="connsiteY1220" fmla="*/ 1523358 h 2340761"/>
                <a:gd name="connsiteX1221" fmla="*/ 1806173 w 2967861"/>
                <a:gd name="connsiteY1221" fmla="*/ 1528635 h 2340761"/>
                <a:gd name="connsiteX1222" fmla="*/ 1808346 w 2967861"/>
                <a:gd name="connsiteY1222" fmla="*/ 1533913 h 2340761"/>
                <a:gd name="connsiteX1223" fmla="*/ 1811451 w 2967861"/>
                <a:gd name="connsiteY1223" fmla="*/ 1532981 h 2340761"/>
                <a:gd name="connsiteX1224" fmla="*/ 1813624 w 2967861"/>
                <a:gd name="connsiteY1224" fmla="*/ 1532981 h 2340761"/>
                <a:gd name="connsiteX1225" fmla="*/ 1815797 w 2967861"/>
                <a:gd name="connsiteY1225" fmla="*/ 1532981 h 2340761"/>
                <a:gd name="connsiteX1226" fmla="*/ 1816729 w 2967861"/>
                <a:gd name="connsiteY1226" fmla="*/ 1530808 h 2340761"/>
                <a:gd name="connsiteX1227" fmla="*/ 1818902 w 2967861"/>
                <a:gd name="connsiteY1227" fmla="*/ 1530808 h 2340761"/>
                <a:gd name="connsiteX1228" fmla="*/ 1826042 w 2967861"/>
                <a:gd name="connsiteY1228" fmla="*/ 1526462 h 2340761"/>
                <a:gd name="connsiteX1229" fmla="*/ 1830078 w 2967861"/>
                <a:gd name="connsiteY1229" fmla="*/ 1523358 h 2340761"/>
                <a:gd name="connsiteX1230" fmla="*/ 1831009 w 2967861"/>
                <a:gd name="connsiteY1230" fmla="*/ 1521184 h 2340761"/>
                <a:gd name="connsiteX1231" fmla="*/ 1835045 w 2967861"/>
                <a:gd name="connsiteY1231" fmla="*/ 1518080 h 2340761"/>
                <a:gd name="connsiteX1232" fmla="*/ 1838150 w 2967861"/>
                <a:gd name="connsiteY1232" fmla="*/ 1513734 h 2340761"/>
                <a:gd name="connsiteX1233" fmla="*/ 1837218 w 2967861"/>
                <a:gd name="connsiteY1233" fmla="*/ 1508456 h 2340761"/>
                <a:gd name="connsiteX1234" fmla="*/ 1837218 w 2967861"/>
                <a:gd name="connsiteY1234" fmla="*/ 1503179 h 2340761"/>
                <a:gd name="connsiteX1235" fmla="*/ 1835045 w 2967861"/>
                <a:gd name="connsiteY1235" fmla="*/ 1501006 h 2340761"/>
                <a:gd name="connsiteX1236" fmla="*/ 1835045 w 2967861"/>
                <a:gd name="connsiteY1236" fmla="*/ 1498832 h 2340761"/>
                <a:gd name="connsiteX1237" fmla="*/ 1835045 w 2967861"/>
                <a:gd name="connsiteY1237" fmla="*/ 1495728 h 2340761"/>
                <a:gd name="connsiteX1238" fmla="*/ 1835045 w 2967861"/>
                <a:gd name="connsiteY1238" fmla="*/ 1491382 h 2340761"/>
                <a:gd name="connsiteX1239" fmla="*/ 1835045 w 2967861"/>
                <a:gd name="connsiteY1239" fmla="*/ 1483931 h 2340761"/>
                <a:gd name="connsiteX1240" fmla="*/ 1862054 w 2967861"/>
                <a:gd name="connsiteY1240" fmla="*/ 1478653 h 2340761"/>
                <a:gd name="connsiteX1241" fmla="*/ 1891236 w 2967861"/>
                <a:gd name="connsiteY1241" fmla="*/ 1469030 h 2340761"/>
                <a:gd name="connsiteX1242" fmla="*/ 1916382 w 2967861"/>
                <a:gd name="connsiteY1242" fmla="*/ 1458474 h 2340761"/>
                <a:gd name="connsiteX1243" fmla="*/ 1940286 w 2967861"/>
                <a:gd name="connsiteY1243" fmla="*/ 1443573 h 2340761"/>
                <a:gd name="connsiteX1244" fmla="*/ 1958913 w 2967861"/>
                <a:gd name="connsiteY1244" fmla="*/ 1423394 h 2340761"/>
                <a:gd name="connsiteX1245" fmla="*/ 1967295 w 2967861"/>
                <a:gd name="connsiteY1245" fmla="*/ 1408493 h 2340761"/>
                <a:gd name="connsiteX1246" fmla="*/ 1974435 w 2967861"/>
                <a:gd name="connsiteY1246" fmla="*/ 1394833 h 2340761"/>
                <a:gd name="connsiteX1247" fmla="*/ 1981575 w 2967861"/>
                <a:gd name="connsiteY1247" fmla="*/ 1379932 h 2340761"/>
                <a:gd name="connsiteX1248" fmla="*/ 1993993 w 2967861"/>
                <a:gd name="connsiteY1248" fmla="*/ 1371550 h 2340761"/>
                <a:gd name="connsiteX1249" fmla="*/ 1993993 w 2967861"/>
                <a:gd name="connsiteY1249" fmla="*/ 1351992 h 2340761"/>
                <a:gd name="connsiteX1250" fmla="*/ 1993062 w 2967861"/>
                <a:gd name="connsiteY1250" fmla="*/ 1329639 h 2340761"/>
                <a:gd name="connsiteX1251" fmla="*/ 1989026 w 2967861"/>
                <a:gd name="connsiteY1251" fmla="*/ 1309460 h 2340761"/>
                <a:gd name="connsiteX1252" fmla="*/ 1981886 w 2967861"/>
                <a:gd name="connsiteY1252" fmla="*/ 1289281 h 2340761"/>
                <a:gd name="connsiteX1253" fmla="*/ 1973504 w 2967861"/>
                <a:gd name="connsiteY1253" fmla="*/ 1274380 h 2340761"/>
                <a:gd name="connsiteX1254" fmla="*/ 1958913 w 2967861"/>
                <a:gd name="connsiteY1254" fmla="*/ 1264756 h 2340761"/>
                <a:gd name="connsiteX1255" fmla="*/ 1964190 w 2967861"/>
                <a:gd name="connsiteY1255" fmla="*/ 1252028 h 2340761"/>
                <a:gd name="connsiteX1256" fmla="*/ 1969468 w 2967861"/>
                <a:gd name="connsiteY1256" fmla="*/ 1244577 h 2340761"/>
                <a:gd name="connsiteX1257" fmla="*/ 1976608 w 2967861"/>
                <a:gd name="connsiteY1257" fmla="*/ 1237127 h 2340761"/>
                <a:gd name="connsiteX1258" fmla="*/ 1983748 w 2967861"/>
                <a:gd name="connsiteY1258" fmla="*/ 1227503 h 2340761"/>
                <a:gd name="connsiteX1259" fmla="*/ 2003617 w 2967861"/>
                <a:gd name="connsiteY1259" fmla="*/ 1227503 h 2340761"/>
                <a:gd name="connsiteX1260" fmla="*/ 2003617 w 2967861"/>
                <a:gd name="connsiteY1260" fmla="*/ 1214774 h 2340761"/>
                <a:gd name="connsiteX1261" fmla="*/ 1998339 w 2967861"/>
                <a:gd name="connsiteY1261" fmla="*/ 1214774 h 2340761"/>
                <a:gd name="connsiteX1262" fmla="*/ 1987784 w 2967861"/>
                <a:gd name="connsiteY1262" fmla="*/ 1209497 h 2340761"/>
                <a:gd name="connsiteX1263" fmla="*/ 1978471 w 2967861"/>
                <a:gd name="connsiteY1263" fmla="*/ 1209497 h 2340761"/>
                <a:gd name="connsiteX1264" fmla="*/ 1969157 w 2967861"/>
                <a:gd name="connsiteY1264" fmla="*/ 1212601 h 2340761"/>
                <a:gd name="connsiteX1265" fmla="*/ 1958602 w 2967861"/>
                <a:gd name="connsiteY1265" fmla="*/ 1218810 h 2340761"/>
                <a:gd name="connsiteX1266" fmla="*/ 1954567 w 2967861"/>
                <a:gd name="connsiteY1266" fmla="*/ 1212601 h 2340761"/>
                <a:gd name="connsiteX1267" fmla="*/ 1951462 w 2967861"/>
                <a:gd name="connsiteY1267" fmla="*/ 1209497 h 2340761"/>
                <a:gd name="connsiteX1268" fmla="*/ 1947426 w 2967861"/>
                <a:gd name="connsiteY1268" fmla="*/ 1205151 h 2340761"/>
                <a:gd name="connsiteX1269" fmla="*/ 1942149 w 2967861"/>
                <a:gd name="connsiteY1269" fmla="*/ 1202046 h 2340761"/>
                <a:gd name="connsiteX1270" fmla="*/ 1935008 w 2967861"/>
                <a:gd name="connsiteY1270" fmla="*/ 1197700 h 2340761"/>
                <a:gd name="connsiteX1271" fmla="*/ 1942149 w 2967861"/>
                <a:gd name="connsiteY1271" fmla="*/ 1184972 h 2340761"/>
                <a:gd name="connsiteX1272" fmla="*/ 1954567 w 2967861"/>
                <a:gd name="connsiteY1272" fmla="*/ 1174416 h 2340761"/>
                <a:gd name="connsiteX1273" fmla="*/ 1966985 w 2967861"/>
                <a:gd name="connsiteY1273" fmla="*/ 1164793 h 2340761"/>
                <a:gd name="connsiteX1274" fmla="*/ 1978471 w 2967861"/>
                <a:gd name="connsiteY1274" fmla="*/ 1153306 h 2340761"/>
                <a:gd name="connsiteX1275" fmla="*/ 1983748 w 2967861"/>
                <a:gd name="connsiteY1275" fmla="*/ 1155479 h 2340761"/>
                <a:gd name="connsiteX1276" fmla="*/ 1987784 w 2967861"/>
                <a:gd name="connsiteY1276" fmla="*/ 1155479 h 2340761"/>
                <a:gd name="connsiteX1277" fmla="*/ 1990889 w 2967861"/>
                <a:gd name="connsiteY1277" fmla="*/ 1157652 h 2340761"/>
                <a:gd name="connsiteX1278" fmla="*/ 1993993 w 2967861"/>
                <a:gd name="connsiteY1278" fmla="*/ 1157652 h 2340761"/>
                <a:gd name="connsiteX1279" fmla="*/ 1990889 w 2967861"/>
                <a:gd name="connsiteY1279" fmla="*/ 1165103 h 2340761"/>
                <a:gd name="connsiteX1280" fmla="*/ 1988716 w 2967861"/>
                <a:gd name="connsiteY1280" fmla="*/ 1168208 h 2340761"/>
                <a:gd name="connsiteX1281" fmla="*/ 1987784 w 2967861"/>
                <a:gd name="connsiteY1281" fmla="*/ 1174416 h 2340761"/>
                <a:gd name="connsiteX1282" fmla="*/ 1985611 w 2967861"/>
                <a:gd name="connsiteY1282" fmla="*/ 1177521 h 2340761"/>
                <a:gd name="connsiteX1283" fmla="*/ 1983438 w 2967861"/>
                <a:gd name="connsiteY1283" fmla="*/ 1182799 h 2340761"/>
                <a:gd name="connsiteX1284" fmla="*/ 1983438 w 2967861"/>
                <a:gd name="connsiteY1284" fmla="*/ 1187145 h 2340761"/>
                <a:gd name="connsiteX1285" fmla="*/ 1995856 w 2967861"/>
                <a:gd name="connsiteY1285" fmla="*/ 1181867 h 2340761"/>
                <a:gd name="connsiteX1286" fmla="*/ 2010447 w 2967861"/>
                <a:gd name="connsiteY1286" fmla="*/ 1175658 h 2340761"/>
                <a:gd name="connsiteX1287" fmla="*/ 2022865 w 2967861"/>
                <a:gd name="connsiteY1287" fmla="*/ 1172554 h 2340761"/>
                <a:gd name="connsiteX1288" fmla="*/ 2034351 w 2967861"/>
                <a:gd name="connsiteY1288" fmla="*/ 1174727 h 2340761"/>
                <a:gd name="connsiteX1289" fmla="*/ 2043664 w 2967861"/>
                <a:gd name="connsiteY1289" fmla="*/ 1174727 h 2340761"/>
                <a:gd name="connsiteX1290" fmla="*/ 2039629 w 2967861"/>
                <a:gd name="connsiteY1290" fmla="*/ 1182178 h 2340761"/>
                <a:gd name="connsiteX1291" fmla="*/ 2037456 w 2967861"/>
                <a:gd name="connsiteY1291" fmla="*/ 1187455 h 2340761"/>
                <a:gd name="connsiteX1292" fmla="*/ 2034351 w 2967861"/>
                <a:gd name="connsiteY1292" fmla="*/ 1192733 h 2340761"/>
                <a:gd name="connsiteX1293" fmla="*/ 2030315 w 2967861"/>
                <a:gd name="connsiteY1293" fmla="*/ 1198010 h 2340761"/>
                <a:gd name="connsiteX1294" fmla="*/ 2034351 w 2967861"/>
                <a:gd name="connsiteY1294" fmla="*/ 1204219 h 2340761"/>
                <a:gd name="connsiteX1295" fmla="*/ 2037456 w 2967861"/>
                <a:gd name="connsiteY1295" fmla="*/ 1205151 h 2340761"/>
                <a:gd name="connsiteX1296" fmla="*/ 2039629 w 2967861"/>
                <a:gd name="connsiteY1296" fmla="*/ 1207324 h 2340761"/>
                <a:gd name="connsiteX1297" fmla="*/ 2041802 w 2967861"/>
                <a:gd name="connsiteY1297" fmla="*/ 1207324 h 2340761"/>
                <a:gd name="connsiteX1298" fmla="*/ 2044906 w 2967861"/>
                <a:gd name="connsiteY1298" fmla="*/ 1207324 h 2340761"/>
                <a:gd name="connsiteX1299" fmla="*/ 2048942 w 2967861"/>
                <a:gd name="connsiteY1299" fmla="*/ 1207324 h 2340761"/>
                <a:gd name="connsiteX1300" fmla="*/ 2054220 w 2967861"/>
                <a:gd name="connsiteY1300" fmla="*/ 1207324 h 2340761"/>
                <a:gd name="connsiteX1301" fmla="*/ 2054220 w 2967861"/>
                <a:gd name="connsiteY1301" fmla="*/ 1218810 h 2340761"/>
                <a:gd name="connsiteX1302" fmla="*/ 2052046 w 2967861"/>
                <a:gd name="connsiteY1302" fmla="*/ 1233712 h 2340761"/>
                <a:gd name="connsiteX1303" fmla="*/ 2052046 w 2967861"/>
                <a:gd name="connsiteY1303" fmla="*/ 1246440 h 2340761"/>
                <a:gd name="connsiteX1304" fmla="*/ 2054220 w 2967861"/>
                <a:gd name="connsiteY1304" fmla="*/ 1254822 h 2340761"/>
                <a:gd name="connsiteX1305" fmla="*/ 2054220 w 2967861"/>
                <a:gd name="connsiteY1305" fmla="*/ 1264446 h 2340761"/>
                <a:gd name="connsiteX1306" fmla="*/ 2078124 w 2967861"/>
                <a:gd name="connsiteY1306" fmla="*/ 1261341 h 2340761"/>
                <a:gd name="connsiteX1307" fmla="*/ 2092715 w 2967861"/>
                <a:gd name="connsiteY1307" fmla="*/ 1255132 h 2340761"/>
                <a:gd name="connsiteX1308" fmla="*/ 2099855 w 2967861"/>
                <a:gd name="connsiteY1308" fmla="*/ 1247682 h 2340761"/>
                <a:gd name="connsiteX1309" fmla="*/ 2102960 w 2967861"/>
                <a:gd name="connsiteY1309" fmla="*/ 1239300 h 2340761"/>
                <a:gd name="connsiteX1310" fmla="*/ 2100787 w 2967861"/>
                <a:gd name="connsiteY1310" fmla="*/ 1226571 h 2340761"/>
                <a:gd name="connsiteX1311" fmla="*/ 2097682 w 2967861"/>
                <a:gd name="connsiteY1311" fmla="*/ 1215085 h 2340761"/>
                <a:gd name="connsiteX1312" fmla="*/ 2090542 w 2967861"/>
                <a:gd name="connsiteY1312" fmla="*/ 1202357 h 2340761"/>
                <a:gd name="connsiteX1313" fmla="*/ 2085264 w 2967861"/>
                <a:gd name="connsiteY1313" fmla="*/ 1189628 h 2340761"/>
                <a:gd name="connsiteX1314" fmla="*/ 2078124 w 2967861"/>
                <a:gd name="connsiteY1314" fmla="*/ 1178142 h 2340761"/>
                <a:gd name="connsiteX1315" fmla="*/ 2074088 w 2967861"/>
                <a:gd name="connsiteY1315" fmla="*/ 1167587 h 2340761"/>
                <a:gd name="connsiteX1316" fmla="*/ 2078124 w 2967861"/>
                <a:gd name="connsiteY1316" fmla="*/ 1165414 h 2340761"/>
                <a:gd name="connsiteX1317" fmla="*/ 2081228 w 2967861"/>
                <a:gd name="connsiteY1317" fmla="*/ 1165414 h 2340761"/>
                <a:gd name="connsiteX1318" fmla="*/ 2083402 w 2967861"/>
                <a:gd name="connsiteY1318" fmla="*/ 1165414 h 2340761"/>
                <a:gd name="connsiteX1319" fmla="*/ 2085575 w 2967861"/>
                <a:gd name="connsiteY1319" fmla="*/ 1163241 h 2340761"/>
                <a:gd name="connsiteX1320" fmla="*/ 2087748 w 2967861"/>
                <a:gd name="connsiteY1320" fmla="*/ 1163241 h 2340761"/>
                <a:gd name="connsiteX1321" fmla="*/ 2098303 w 2967861"/>
                <a:gd name="connsiteY1321" fmla="*/ 1155790 h 2340761"/>
                <a:gd name="connsiteX1322" fmla="*/ 2105443 w 2967861"/>
                <a:gd name="connsiteY1322" fmla="*/ 1145235 h 2340761"/>
                <a:gd name="connsiteX1323" fmla="*/ 2110721 w 2967861"/>
                <a:gd name="connsiteY1323" fmla="*/ 1133748 h 2340761"/>
                <a:gd name="connsiteX1324" fmla="*/ 2117861 w 2967861"/>
                <a:gd name="connsiteY1324" fmla="*/ 1123193 h 2340761"/>
                <a:gd name="connsiteX1325" fmla="*/ 2127175 w 2967861"/>
                <a:gd name="connsiteY1325" fmla="*/ 1113569 h 2340761"/>
                <a:gd name="connsiteX1326" fmla="*/ 2137730 w 2967861"/>
                <a:gd name="connsiteY1326" fmla="*/ 1111396 h 2340761"/>
                <a:gd name="connsiteX1327" fmla="*/ 2149216 w 2967861"/>
                <a:gd name="connsiteY1327" fmla="*/ 1111396 h 2340761"/>
                <a:gd name="connsiteX1328" fmla="*/ 2161634 w 2967861"/>
                <a:gd name="connsiteY1328" fmla="*/ 1113569 h 2340761"/>
                <a:gd name="connsiteX1329" fmla="*/ 2174052 w 2967861"/>
                <a:gd name="connsiteY1329" fmla="*/ 1110465 h 2340761"/>
                <a:gd name="connsiteX1330" fmla="*/ 2178088 w 2967861"/>
                <a:gd name="connsiteY1330" fmla="*/ 1106118 h 2340761"/>
                <a:gd name="connsiteX1331" fmla="*/ 2185228 w 2967861"/>
                <a:gd name="connsiteY1331" fmla="*/ 1096495 h 2340761"/>
                <a:gd name="connsiteX1332" fmla="*/ 2195783 w 2967861"/>
                <a:gd name="connsiteY1332" fmla="*/ 1083766 h 2340761"/>
                <a:gd name="connsiteX1333" fmla="*/ 2208201 w 2967861"/>
                <a:gd name="connsiteY1333" fmla="*/ 1071038 h 2340761"/>
                <a:gd name="connsiteX1334" fmla="*/ 2219687 w 2967861"/>
                <a:gd name="connsiteY1334" fmla="*/ 1056137 h 2340761"/>
                <a:gd name="connsiteX1335" fmla="*/ 2230242 w 2967861"/>
                <a:gd name="connsiteY1335" fmla="*/ 1043408 h 2340761"/>
                <a:gd name="connsiteX1336" fmla="*/ 2239556 w 2967861"/>
                <a:gd name="connsiteY1336" fmla="*/ 1031922 h 2340761"/>
                <a:gd name="connsiteX1337" fmla="*/ 2243592 w 2967861"/>
                <a:gd name="connsiteY1337" fmla="*/ 1028817 h 2340761"/>
                <a:gd name="connsiteX1338" fmla="*/ 2250732 w 2967861"/>
                <a:gd name="connsiteY1338" fmla="*/ 1011743 h 2340761"/>
                <a:gd name="connsiteX1339" fmla="*/ 2256010 w 2967861"/>
                <a:gd name="connsiteY1339" fmla="*/ 999015 h 2340761"/>
                <a:gd name="connsiteX1340" fmla="*/ 2263150 w 2967861"/>
                <a:gd name="connsiteY1340" fmla="*/ 986286 h 2340761"/>
                <a:gd name="connsiteX1341" fmla="*/ 2273705 w 2967861"/>
                <a:gd name="connsiteY1341" fmla="*/ 974800 h 2340761"/>
                <a:gd name="connsiteX1342" fmla="*/ 2270600 w 2967861"/>
                <a:gd name="connsiteY1342" fmla="*/ 962072 h 2340761"/>
                <a:gd name="connsiteX1343" fmla="*/ 2266565 w 2967861"/>
                <a:gd name="connsiteY1343" fmla="*/ 952448 h 2340761"/>
                <a:gd name="connsiteX1344" fmla="*/ 2263460 w 2967861"/>
                <a:gd name="connsiteY1344" fmla="*/ 942824 h 2340761"/>
                <a:gd name="connsiteX1345" fmla="*/ 2263460 w 2967861"/>
                <a:gd name="connsiteY1345" fmla="*/ 932269 h 2340761"/>
                <a:gd name="connsiteX1346" fmla="*/ 2265633 w 2967861"/>
                <a:gd name="connsiteY1346" fmla="*/ 922645 h 2340761"/>
                <a:gd name="connsiteX1347" fmla="*/ 2270911 w 2967861"/>
                <a:gd name="connsiteY1347" fmla="*/ 917367 h 2340761"/>
                <a:gd name="connsiteX1348" fmla="*/ 2273084 w 2967861"/>
                <a:gd name="connsiteY1348" fmla="*/ 912090 h 2340761"/>
                <a:gd name="connsiteX1349" fmla="*/ 2270911 w 2967861"/>
                <a:gd name="connsiteY1349" fmla="*/ 902466 h 2340761"/>
                <a:gd name="connsiteX1350" fmla="*/ 2266875 w 2967861"/>
                <a:gd name="connsiteY1350" fmla="*/ 887565 h 2340761"/>
                <a:gd name="connsiteX1351" fmla="*/ 2263771 w 2967861"/>
                <a:gd name="connsiteY1351" fmla="*/ 877941 h 2340761"/>
                <a:gd name="connsiteX1352" fmla="*/ 2258493 w 2967861"/>
                <a:gd name="connsiteY1352" fmla="*/ 870490 h 2340761"/>
                <a:gd name="connsiteX1353" fmla="*/ 2251353 w 2967861"/>
                <a:gd name="connsiteY1353" fmla="*/ 862108 h 2340761"/>
                <a:gd name="connsiteX1354" fmla="*/ 2242039 w 2967861"/>
                <a:gd name="connsiteY1354" fmla="*/ 862108 h 2340761"/>
                <a:gd name="connsiteX1355" fmla="*/ 2236762 w 2967861"/>
                <a:gd name="connsiteY1355" fmla="*/ 862108 h 2340761"/>
                <a:gd name="connsiteX1356" fmla="*/ 2230553 w 2967861"/>
                <a:gd name="connsiteY1356" fmla="*/ 863039 h 2340761"/>
                <a:gd name="connsiteX1357" fmla="*/ 2227448 w 2967861"/>
                <a:gd name="connsiteY1357" fmla="*/ 865213 h 2340761"/>
                <a:gd name="connsiteX1358" fmla="*/ 2223413 w 2967861"/>
                <a:gd name="connsiteY1358" fmla="*/ 869559 h 2340761"/>
                <a:gd name="connsiteX1359" fmla="*/ 2216272 w 2967861"/>
                <a:gd name="connsiteY1359" fmla="*/ 867386 h 2340761"/>
                <a:gd name="connsiteX1360" fmla="*/ 2213168 w 2967861"/>
                <a:gd name="connsiteY1360" fmla="*/ 865213 h 2340761"/>
                <a:gd name="connsiteX1361" fmla="*/ 2209132 w 2967861"/>
                <a:gd name="connsiteY1361" fmla="*/ 862108 h 2340761"/>
                <a:gd name="connsiteX1362" fmla="*/ 2208201 w 2967861"/>
                <a:gd name="connsiteY1362" fmla="*/ 857762 h 2340761"/>
                <a:gd name="connsiteX1363" fmla="*/ 2206028 w 2967861"/>
                <a:gd name="connsiteY1363" fmla="*/ 854657 h 2340761"/>
                <a:gd name="connsiteX1364" fmla="*/ 2203854 w 2967861"/>
                <a:gd name="connsiteY1364" fmla="*/ 848448 h 2340761"/>
                <a:gd name="connsiteX1365" fmla="*/ 2188332 w 2967861"/>
                <a:gd name="connsiteY1365" fmla="*/ 848448 h 2340761"/>
                <a:gd name="connsiteX1366" fmla="*/ 2188332 w 2967861"/>
                <a:gd name="connsiteY1366" fmla="*/ 837893 h 2340761"/>
                <a:gd name="connsiteX1367" fmla="*/ 2200750 w 2967861"/>
                <a:gd name="connsiteY1367" fmla="*/ 828269 h 2340761"/>
                <a:gd name="connsiteX1368" fmla="*/ 2206028 w 2967861"/>
                <a:gd name="connsiteY1368" fmla="*/ 820819 h 2340761"/>
                <a:gd name="connsiteX1369" fmla="*/ 2211305 w 2967861"/>
                <a:gd name="connsiteY1369" fmla="*/ 812437 h 2340761"/>
                <a:gd name="connsiteX1370" fmla="*/ 2218446 w 2967861"/>
                <a:gd name="connsiteY1370" fmla="*/ 804986 h 2340761"/>
                <a:gd name="connsiteX1371" fmla="*/ 2247627 w 2967861"/>
                <a:gd name="connsiteY1371" fmla="*/ 795362 h 2340761"/>
                <a:gd name="connsiteX1372" fmla="*/ 2256941 w 2967861"/>
                <a:gd name="connsiteY1372" fmla="*/ 785738 h 2340761"/>
                <a:gd name="connsiteX1373" fmla="*/ 2264081 w 2967861"/>
                <a:gd name="connsiteY1373" fmla="*/ 773010 h 2340761"/>
                <a:gd name="connsiteX1374" fmla="*/ 2271221 w 2967861"/>
                <a:gd name="connsiteY1374" fmla="*/ 760282 h 2340761"/>
                <a:gd name="connsiteX1375" fmla="*/ 2278361 w 2967861"/>
                <a:gd name="connsiteY1375" fmla="*/ 746622 h 2340761"/>
                <a:gd name="connsiteX1376" fmla="*/ 2290779 w 2967861"/>
                <a:gd name="connsiteY1376" fmla="*/ 736067 h 2340761"/>
                <a:gd name="connsiteX1377" fmla="*/ 2305370 w 2967861"/>
                <a:gd name="connsiteY1377" fmla="*/ 726443 h 2340761"/>
                <a:gd name="connsiteX1378" fmla="*/ 2317788 w 2967861"/>
                <a:gd name="connsiteY1378" fmla="*/ 713715 h 2340761"/>
                <a:gd name="connsiteX1379" fmla="*/ 2354110 w 2967861"/>
                <a:gd name="connsiteY1379" fmla="*/ 718993 h 2340761"/>
                <a:gd name="connsiteX1380" fmla="*/ 2363424 w 2967861"/>
                <a:gd name="connsiteY1380" fmla="*/ 730479 h 2340761"/>
                <a:gd name="connsiteX1381" fmla="*/ 2375841 w 2967861"/>
                <a:gd name="connsiteY1381" fmla="*/ 732652 h 2340761"/>
                <a:gd name="connsiteX1382" fmla="*/ 2390432 w 2967861"/>
                <a:gd name="connsiteY1382" fmla="*/ 726443 h 2340761"/>
                <a:gd name="connsiteX1383" fmla="*/ 2407196 w 2967861"/>
                <a:gd name="connsiteY1383" fmla="*/ 723339 h 2340761"/>
                <a:gd name="connsiteX1384" fmla="*/ 2407196 w 2967861"/>
                <a:gd name="connsiteY1384" fmla="*/ 743518 h 2340761"/>
                <a:gd name="connsiteX1385" fmla="*/ 2422719 w 2967861"/>
                <a:gd name="connsiteY1385" fmla="*/ 743518 h 2340761"/>
                <a:gd name="connsiteX1386" fmla="*/ 2439483 w 2967861"/>
                <a:gd name="connsiteY1386" fmla="*/ 741345 h 2340761"/>
                <a:gd name="connsiteX1387" fmla="*/ 2451901 w 2967861"/>
                <a:gd name="connsiteY1387" fmla="*/ 739171 h 2340761"/>
                <a:gd name="connsiteX1388" fmla="*/ 2463387 w 2967861"/>
                <a:gd name="connsiteY1388" fmla="*/ 733894 h 2340761"/>
                <a:gd name="connsiteX1389" fmla="*/ 2463387 w 2967861"/>
                <a:gd name="connsiteY1389" fmla="*/ 730789 h 2340761"/>
                <a:gd name="connsiteX1390" fmla="*/ 2461214 w 2967861"/>
                <a:gd name="connsiteY1390" fmla="*/ 726443 h 2340761"/>
                <a:gd name="connsiteX1391" fmla="*/ 2459041 w 2967861"/>
                <a:gd name="connsiteY1391" fmla="*/ 721166 h 2340761"/>
                <a:gd name="connsiteX1392" fmla="*/ 2458110 w 2967861"/>
                <a:gd name="connsiteY1392" fmla="*/ 718061 h 2340761"/>
                <a:gd name="connsiteX1393" fmla="*/ 2458110 w 2967861"/>
                <a:gd name="connsiteY1393" fmla="*/ 713715 h 2340761"/>
                <a:gd name="connsiteX1394" fmla="*/ 2458110 w 2967861"/>
                <a:gd name="connsiteY1394" fmla="*/ 710610 h 2340761"/>
                <a:gd name="connsiteX1395" fmla="*/ 2463387 w 2967861"/>
                <a:gd name="connsiteY1395" fmla="*/ 700987 h 2340761"/>
                <a:gd name="connsiteX1396" fmla="*/ 2473942 w 2967861"/>
                <a:gd name="connsiteY1396" fmla="*/ 688258 h 2340761"/>
                <a:gd name="connsiteX1397" fmla="*/ 2485429 w 2967861"/>
                <a:gd name="connsiteY1397" fmla="*/ 674599 h 2340761"/>
                <a:gd name="connsiteX1398" fmla="*/ 2497847 w 2967861"/>
                <a:gd name="connsiteY1398" fmla="*/ 664044 h 2340761"/>
                <a:gd name="connsiteX1399" fmla="*/ 2507160 w 2967861"/>
                <a:gd name="connsiteY1399" fmla="*/ 658766 h 2340761"/>
                <a:gd name="connsiteX1400" fmla="*/ 2510265 w 2967861"/>
                <a:gd name="connsiteY1400" fmla="*/ 656593 h 2340761"/>
                <a:gd name="connsiteX1401" fmla="*/ 2515542 w 2967861"/>
                <a:gd name="connsiteY1401" fmla="*/ 658766 h 2340761"/>
                <a:gd name="connsiteX1402" fmla="*/ 2519578 w 2967861"/>
                <a:gd name="connsiteY1402" fmla="*/ 659697 h 2340761"/>
                <a:gd name="connsiteX1403" fmla="*/ 2524855 w 2967861"/>
                <a:gd name="connsiteY1403" fmla="*/ 661871 h 2340761"/>
                <a:gd name="connsiteX1404" fmla="*/ 2530133 w 2967861"/>
                <a:gd name="connsiteY1404" fmla="*/ 666217 h 2340761"/>
                <a:gd name="connsiteX1405" fmla="*/ 2530133 w 2967861"/>
                <a:gd name="connsiteY1405" fmla="*/ 669321 h 2340761"/>
                <a:gd name="connsiteX1406" fmla="*/ 2529202 w 2967861"/>
                <a:gd name="connsiteY1406" fmla="*/ 673667 h 2340761"/>
                <a:gd name="connsiteX1407" fmla="*/ 2529202 w 2967861"/>
                <a:gd name="connsiteY1407" fmla="*/ 674599 h 2340761"/>
                <a:gd name="connsiteX1408" fmla="*/ 2529202 w 2967861"/>
                <a:gd name="connsiteY1408" fmla="*/ 676772 h 2340761"/>
                <a:gd name="connsiteX1409" fmla="*/ 2527028 w 2967861"/>
                <a:gd name="connsiteY1409" fmla="*/ 678945 h 2340761"/>
                <a:gd name="connsiteX1410" fmla="*/ 2527028 w 2967861"/>
                <a:gd name="connsiteY1410" fmla="*/ 684223 h 2340761"/>
                <a:gd name="connsiteX1411" fmla="*/ 2529202 w 2967861"/>
                <a:gd name="connsiteY1411" fmla="*/ 688569 h 2340761"/>
                <a:gd name="connsiteX1412" fmla="*/ 2529202 w 2967861"/>
                <a:gd name="connsiteY1412" fmla="*/ 689500 h 2340761"/>
                <a:gd name="connsiteX1413" fmla="*/ 2530133 w 2967861"/>
                <a:gd name="connsiteY1413" fmla="*/ 695709 h 2340761"/>
                <a:gd name="connsiteX1414" fmla="*/ 2546897 w 2967861"/>
                <a:gd name="connsiteY1414" fmla="*/ 688258 h 2340761"/>
                <a:gd name="connsiteX1415" fmla="*/ 2559315 w 2967861"/>
                <a:gd name="connsiteY1415" fmla="*/ 678635 h 2340761"/>
                <a:gd name="connsiteX1416" fmla="*/ 2568628 w 2967861"/>
                <a:gd name="connsiteY1416" fmla="*/ 665906 h 2340761"/>
                <a:gd name="connsiteX1417" fmla="*/ 2577942 w 2967861"/>
                <a:gd name="connsiteY1417" fmla="*/ 651005 h 2340761"/>
                <a:gd name="connsiteX1418" fmla="*/ 2587255 w 2967861"/>
                <a:gd name="connsiteY1418" fmla="*/ 637345 h 2340761"/>
                <a:gd name="connsiteX1419" fmla="*/ 2588186 w 2967861"/>
                <a:gd name="connsiteY1419" fmla="*/ 636414 h 2340761"/>
                <a:gd name="connsiteX1420" fmla="*/ 2590359 w 2967861"/>
                <a:gd name="connsiteY1420" fmla="*/ 634241 h 2340761"/>
                <a:gd name="connsiteX1421" fmla="*/ 2593464 w 2967861"/>
                <a:gd name="connsiteY1421" fmla="*/ 632068 h 2340761"/>
                <a:gd name="connsiteX1422" fmla="*/ 2595637 w 2967861"/>
                <a:gd name="connsiteY1422" fmla="*/ 634241 h 2340761"/>
                <a:gd name="connsiteX1423" fmla="*/ 2595637 w 2967861"/>
                <a:gd name="connsiteY1423" fmla="*/ 636414 h 2340761"/>
                <a:gd name="connsiteX1424" fmla="*/ 2597810 w 2967861"/>
                <a:gd name="connsiteY1424" fmla="*/ 636414 h 2340761"/>
                <a:gd name="connsiteX1425" fmla="*/ 2597810 w 2967861"/>
                <a:gd name="connsiteY1425" fmla="*/ 637345 h 2340761"/>
                <a:gd name="connsiteX1426" fmla="*/ 2592533 w 2967861"/>
                <a:gd name="connsiteY1426" fmla="*/ 651005 h 2340761"/>
                <a:gd name="connsiteX1427" fmla="*/ 2588497 w 2967861"/>
                <a:gd name="connsiteY1427" fmla="*/ 665906 h 2340761"/>
                <a:gd name="connsiteX1428" fmla="*/ 2583219 w 2967861"/>
                <a:gd name="connsiteY1428" fmla="*/ 678635 h 2340761"/>
                <a:gd name="connsiteX1429" fmla="*/ 2570802 w 2967861"/>
                <a:gd name="connsiteY1429" fmla="*/ 688258 h 2340761"/>
                <a:gd name="connsiteX1430" fmla="*/ 2558384 w 2967861"/>
                <a:gd name="connsiteY1430" fmla="*/ 696640 h 2340761"/>
                <a:gd name="connsiteX1431" fmla="*/ 2546897 w 2967861"/>
                <a:gd name="connsiteY1431" fmla="*/ 706264 h 2340761"/>
                <a:gd name="connsiteX1432" fmla="*/ 2532306 w 2967861"/>
                <a:gd name="connsiteY1432" fmla="*/ 728616 h 2340761"/>
                <a:gd name="connsiteX1433" fmla="*/ 2517715 w 2967861"/>
                <a:gd name="connsiteY1433" fmla="*/ 750968 h 2340761"/>
                <a:gd name="connsiteX1434" fmla="*/ 2510575 w 2967861"/>
                <a:gd name="connsiteY1434" fmla="*/ 758419 h 2340761"/>
                <a:gd name="connsiteX1435" fmla="*/ 2500020 w 2967861"/>
                <a:gd name="connsiteY1435" fmla="*/ 761524 h 2340761"/>
                <a:gd name="connsiteX1436" fmla="*/ 2490706 w 2967861"/>
                <a:gd name="connsiteY1436" fmla="*/ 765870 h 2340761"/>
                <a:gd name="connsiteX1437" fmla="*/ 2483566 w 2967861"/>
                <a:gd name="connsiteY1437" fmla="*/ 771147 h 2340761"/>
                <a:gd name="connsiteX1438" fmla="*/ 2476426 w 2967861"/>
                <a:gd name="connsiteY1438" fmla="*/ 786049 h 2340761"/>
                <a:gd name="connsiteX1439" fmla="*/ 2478599 w 2967861"/>
                <a:gd name="connsiteY1439" fmla="*/ 798777 h 2340761"/>
                <a:gd name="connsiteX1440" fmla="*/ 2483877 w 2967861"/>
                <a:gd name="connsiteY1440" fmla="*/ 808401 h 2340761"/>
                <a:gd name="connsiteX1441" fmla="*/ 2480772 w 2967861"/>
                <a:gd name="connsiteY1441" fmla="*/ 815852 h 2340761"/>
                <a:gd name="connsiteX1442" fmla="*/ 2478599 w 2967861"/>
                <a:gd name="connsiteY1442" fmla="*/ 821129 h 2340761"/>
                <a:gd name="connsiteX1443" fmla="*/ 2473322 w 2967861"/>
                <a:gd name="connsiteY1443" fmla="*/ 825475 h 2340761"/>
                <a:gd name="connsiteX1444" fmla="*/ 2469286 w 2967861"/>
                <a:gd name="connsiteY1444" fmla="*/ 828580 h 2340761"/>
                <a:gd name="connsiteX1445" fmla="*/ 2464008 w 2967861"/>
                <a:gd name="connsiteY1445" fmla="*/ 832926 h 2340761"/>
                <a:gd name="connsiteX1446" fmla="*/ 2461835 w 2967861"/>
                <a:gd name="connsiteY1446" fmla="*/ 865833 h 2340761"/>
                <a:gd name="connsiteX1447" fmla="*/ 2464008 w 2967861"/>
                <a:gd name="connsiteY1447" fmla="*/ 893463 h 2340761"/>
                <a:gd name="connsiteX1448" fmla="*/ 2473322 w 2967861"/>
                <a:gd name="connsiteY1448" fmla="*/ 917678 h 2340761"/>
                <a:gd name="connsiteX1449" fmla="*/ 2487912 w 2967861"/>
                <a:gd name="connsiteY1449" fmla="*/ 937857 h 2340761"/>
                <a:gd name="connsiteX1450" fmla="*/ 2487912 w 2967861"/>
                <a:gd name="connsiteY1450" fmla="*/ 943134 h 2340761"/>
                <a:gd name="connsiteX1451" fmla="*/ 2494121 w 2967861"/>
                <a:gd name="connsiteY1451" fmla="*/ 943134 h 2340761"/>
                <a:gd name="connsiteX1452" fmla="*/ 2498157 w 2967861"/>
                <a:gd name="connsiteY1452" fmla="*/ 922955 h 2340761"/>
                <a:gd name="connsiteX1453" fmla="*/ 2510575 w 2967861"/>
                <a:gd name="connsiteY1453" fmla="*/ 922955 h 2340761"/>
                <a:gd name="connsiteX1454" fmla="*/ 2515852 w 2967861"/>
                <a:gd name="connsiteY1454" fmla="*/ 904950 h 2340761"/>
                <a:gd name="connsiteX1455" fmla="*/ 2522993 w 2967861"/>
                <a:gd name="connsiteY1455" fmla="*/ 890048 h 2340761"/>
                <a:gd name="connsiteX1456" fmla="*/ 2527028 w 2967861"/>
                <a:gd name="connsiteY1456" fmla="*/ 890048 h 2340761"/>
                <a:gd name="connsiteX1457" fmla="*/ 2529202 w 2967861"/>
                <a:gd name="connsiteY1457" fmla="*/ 890048 h 2340761"/>
                <a:gd name="connsiteX1458" fmla="*/ 2530133 w 2967861"/>
                <a:gd name="connsiteY1458" fmla="*/ 890048 h 2340761"/>
                <a:gd name="connsiteX1459" fmla="*/ 2534169 w 2967861"/>
                <a:gd name="connsiteY1459" fmla="*/ 890048 h 2340761"/>
                <a:gd name="connsiteX1460" fmla="*/ 2537273 w 2967861"/>
                <a:gd name="connsiteY1460" fmla="*/ 890048 h 2340761"/>
                <a:gd name="connsiteX1461" fmla="*/ 2539446 w 2967861"/>
                <a:gd name="connsiteY1461" fmla="*/ 875147 h 2340761"/>
                <a:gd name="connsiteX1462" fmla="*/ 2541620 w 2967861"/>
                <a:gd name="connsiteY1462" fmla="*/ 867696 h 2340761"/>
                <a:gd name="connsiteX1463" fmla="*/ 2546897 w 2967861"/>
                <a:gd name="connsiteY1463" fmla="*/ 860245 h 2340761"/>
                <a:gd name="connsiteX1464" fmla="*/ 2554037 w 2967861"/>
                <a:gd name="connsiteY1464" fmla="*/ 848759 h 2340761"/>
                <a:gd name="connsiteX1465" fmla="*/ 2566455 w 2967861"/>
                <a:gd name="connsiteY1465" fmla="*/ 848759 h 2340761"/>
                <a:gd name="connsiteX1466" fmla="*/ 2566455 w 2967861"/>
                <a:gd name="connsiteY1466" fmla="*/ 840377 h 2340761"/>
                <a:gd name="connsiteX1467" fmla="*/ 2566455 w 2967861"/>
                <a:gd name="connsiteY1467" fmla="*/ 832926 h 2340761"/>
                <a:gd name="connsiteX1468" fmla="*/ 2568628 w 2967861"/>
                <a:gd name="connsiteY1468" fmla="*/ 827649 h 2340761"/>
                <a:gd name="connsiteX1469" fmla="*/ 2570802 w 2967861"/>
                <a:gd name="connsiteY1469" fmla="*/ 821440 h 2340761"/>
                <a:gd name="connsiteX1470" fmla="*/ 2572975 w 2967861"/>
                <a:gd name="connsiteY1470" fmla="*/ 820508 h 2340761"/>
                <a:gd name="connsiteX1471" fmla="*/ 2573906 w 2967861"/>
                <a:gd name="connsiteY1471" fmla="*/ 818335 h 2340761"/>
                <a:gd name="connsiteX1472" fmla="*/ 2576079 w 2967861"/>
                <a:gd name="connsiteY1472" fmla="*/ 818335 h 2340761"/>
                <a:gd name="connsiteX1473" fmla="*/ 2578252 w 2967861"/>
                <a:gd name="connsiteY1473" fmla="*/ 818335 h 2340761"/>
                <a:gd name="connsiteX1474" fmla="*/ 2583530 w 2967861"/>
                <a:gd name="connsiteY1474" fmla="*/ 818335 h 2340761"/>
                <a:gd name="connsiteX1475" fmla="*/ 2580425 w 2967861"/>
                <a:gd name="connsiteY1475" fmla="*/ 794120 h 2340761"/>
                <a:gd name="connsiteX1476" fmla="*/ 2580425 w 2967861"/>
                <a:gd name="connsiteY1476" fmla="*/ 766491 h 2340761"/>
                <a:gd name="connsiteX1477" fmla="*/ 2581356 w 2967861"/>
                <a:gd name="connsiteY1477" fmla="*/ 742276 h 2340761"/>
                <a:gd name="connsiteX1478" fmla="*/ 2590670 w 2967861"/>
                <a:gd name="connsiteY1478" fmla="*/ 719924 h 2340761"/>
                <a:gd name="connsiteX1479" fmla="*/ 2595948 w 2967861"/>
                <a:gd name="connsiteY1479" fmla="*/ 718993 h 2340761"/>
                <a:gd name="connsiteX1480" fmla="*/ 2607434 w 2967861"/>
                <a:gd name="connsiteY1480" fmla="*/ 716819 h 2340761"/>
                <a:gd name="connsiteX1481" fmla="*/ 2619852 w 2967861"/>
                <a:gd name="connsiteY1481" fmla="*/ 716819 h 2340761"/>
                <a:gd name="connsiteX1482" fmla="*/ 2629165 w 2967861"/>
                <a:gd name="connsiteY1482" fmla="*/ 716819 h 2340761"/>
                <a:gd name="connsiteX1483" fmla="*/ 2634443 w 2967861"/>
                <a:gd name="connsiteY1483" fmla="*/ 714646 h 2340761"/>
                <a:gd name="connsiteX1484" fmla="*/ 2634443 w 2967861"/>
                <a:gd name="connsiteY1484" fmla="*/ 707196 h 2340761"/>
                <a:gd name="connsiteX1485" fmla="*/ 2639720 w 2967861"/>
                <a:gd name="connsiteY1485" fmla="*/ 704091 h 2340761"/>
                <a:gd name="connsiteX1486" fmla="*/ 2646861 w 2967861"/>
                <a:gd name="connsiteY1486" fmla="*/ 699745 h 2340761"/>
                <a:gd name="connsiteX1487" fmla="*/ 2656174 w 2967861"/>
                <a:gd name="connsiteY1487" fmla="*/ 697572 h 2340761"/>
                <a:gd name="connsiteX1488" fmla="*/ 2663314 w 2967861"/>
                <a:gd name="connsiteY1488" fmla="*/ 696640 h 2340761"/>
                <a:gd name="connsiteX1489" fmla="*/ 2666419 w 2967861"/>
                <a:gd name="connsiteY1489" fmla="*/ 701918 h 2340761"/>
                <a:gd name="connsiteX1490" fmla="*/ 2672628 w 2967861"/>
                <a:gd name="connsiteY1490" fmla="*/ 707196 h 2340761"/>
                <a:gd name="connsiteX1491" fmla="*/ 2677905 w 2967861"/>
                <a:gd name="connsiteY1491" fmla="*/ 711542 h 2340761"/>
                <a:gd name="connsiteX1492" fmla="*/ 2685045 w 2967861"/>
                <a:gd name="connsiteY1492" fmla="*/ 709369 h 2340761"/>
                <a:gd name="connsiteX1493" fmla="*/ 2692186 w 2967861"/>
                <a:gd name="connsiteY1493" fmla="*/ 705022 h 2340761"/>
                <a:gd name="connsiteX1494" fmla="*/ 2702741 w 2967861"/>
                <a:gd name="connsiteY1494" fmla="*/ 701918 h 2340761"/>
                <a:gd name="connsiteX1495" fmla="*/ 2717332 w 2967861"/>
                <a:gd name="connsiteY1495" fmla="*/ 699745 h 2340761"/>
                <a:gd name="connsiteX1496" fmla="*/ 2724472 w 2967861"/>
                <a:gd name="connsiteY1496" fmla="*/ 689190 h 2340761"/>
                <a:gd name="connsiteX1497" fmla="*/ 2728508 w 2967861"/>
                <a:gd name="connsiteY1497" fmla="*/ 677703 h 2340761"/>
                <a:gd name="connsiteX1498" fmla="*/ 2729439 w 2967861"/>
                <a:gd name="connsiteY1498" fmla="*/ 662802 h 2340761"/>
                <a:gd name="connsiteX1499" fmla="*/ 2744030 w 2967861"/>
                <a:gd name="connsiteY1499" fmla="*/ 657524 h 2340761"/>
                <a:gd name="connsiteX1500" fmla="*/ 2757690 w 2967861"/>
                <a:gd name="connsiteY1500" fmla="*/ 652247 h 2340761"/>
                <a:gd name="connsiteX1501" fmla="*/ 2768245 w 2967861"/>
                <a:gd name="connsiteY1501" fmla="*/ 644796 h 2340761"/>
                <a:gd name="connsiteX1502" fmla="*/ 2773522 w 2967861"/>
                <a:gd name="connsiteY1502" fmla="*/ 629895 h 2340761"/>
                <a:gd name="connsiteX1503" fmla="*/ 2782836 w 2967861"/>
                <a:gd name="connsiteY1503" fmla="*/ 632068 h 2340761"/>
                <a:gd name="connsiteX1504" fmla="*/ 2789976 w 2967861"/>
                <a:gd name="connsiteY1504" fmla="*/ 632999 h 2340761"/>
                <a:gd name="connsiteX1505" fmla="*/ 2795254 w 2967861"/>
                <a:gd name="connsiteY1505" fmla="*/ 637345 h 2340761"/>
                <a:gd name="connsiteX1506" fmla="*/ 2802394 w 2967861"/>
                <a:gd name="connsiteY1506" fmla="*/ 642623 h 2340761"/>
                <a:gd name="connsiteX1507" fmla="*/ 2807671 w 2967861"/>
                <a:gd name="connsiteY1507" fmla="*/ 640450 h 2340761"/>
                <a:gd name="connsiteX1508" fmla="*/ 2811707 w 2967861"/>
                <a:gd name="connsiteY1508" fmla="*/ 640450 h 2340761"/>
                <a:gd name="connsiteX1509" fmla="*/ 2813880 w 2967861"/>
                <a:gd name="connsiteY1509" fmla="*/ 638277 h 2340761"/>
                <a:gd name="connsiteX1510" fmla="*/ 2816985 w 2967861"/>
                <a:gd name="connsiteY1510" fmla="*/ 638277 h 2340761"/>
                <a:gd name="connsiteX1511" fmla="*/ 2811707 w 2967861"/>
                <a:gd name="connsiteY1511" fmla="*/ 612820 h 2340761"/>
                <a:gd name="connsiteX1512" fmla="*/ 2800221 w 2967861"/>
                <a:gd name="connsiteY1512" fmla="*/ 590468 h 2340761"/>
                <a:gd name="connsiteX1513" fmla="*/ 2789666 w 2967861"/>
                <a:gd name="connsiteY1513" fmla="*/ 577740 h 2340761"/>
                <a:gd name="connsiteX1514" fmla="*/ 2792770 w 2967861"/>
                <a:gd name="connsiteY1514" fmla="*/ 572462 h 2340761"/>
                <a:gd name="connsiteX1515" fmla="*/ 2794943 w 2967861"/>
                <a:gd name="connsiteY1515" fmla="*/ 570289 h 2340761"/>
                <a:gd name="connsiteX1516" fmla="*/ 2797116 w 2967861"/>
                <a:gd name="connsiteY1516" fmla="*/ 568116 h 2340761"/>
                <a:gd name="connsiteX1517" fmla="*/ 2799290 w 2967861"/>
                <a:gd name="connsiteY1517" fmla="*/ 568116 h 2340761"/>
                <a:gd name="connsiteX1518" fmla="*/ 2800221 w 2967861"/>
                <a:gd name="connsiteY1518" fmla="*/ 568116 h 2340761"/>
                <a:gd name="connsiteX1519" fmla="*/ 2802394 w 2967861"/>
                <a:gd name="connsiteY1519" fmla="*/ 570289 h 2340761"/>
                <a:gd name="connsiteX1520" fmla="*/ 2804567 w 2967861"/>
                <a:gd name="connsiteY1520" fmla="*/ 570289 h 2340761"/>
                <a:gd name="connsiteX1521" fmla="*/ 2806740 w 2967861"/>
                <a:gd name="connsiteY1521" fmla="*/ 570289 h 2340761"/>
                <a:gd name="connsiteX1522" fmla="*/ 2809845 w 2967861"/>
                <a:gd name="connsiteY1522" fmla="*/ 570289 h 2340761"/>
                <a:gd name="connsiteX1523" fmla="*/ 2813880 w 2967861"/>
                <a:gd name="connsiteY1523" fmla="*/ 568116 h 2340761"/>
                <a:gd name="connsiteX1524" fmla="*/ 2822263 w 2967861"/>
                <a:gd name="connsiteY1524" fmla="*/ 560665 h 2340761"/>
                <a:gd name="connsiteX1525" fmla="*/ 2826298 w 2967861"/>
                <a:gd name="connsiteY1525" fmla="*/ 547937 h 2340761"/>
                <a:gd name="connsiteX1526" fmla="*/ 2829403 w 2967861"/>
                <a:gd name="connsiteY1526" fmla="*/ 533036 h 2340761"/>
                <a:gd name="connsiteX1527" fmla="*/ 2829403 w 2967861"/>
                <a:gd name="connsiteY1527" fmla="*/ 520307 h 2340761"/>
                <a:gd name="connsiteX1528" fmla="*/ 2833439 w 2967861"/>
                <a:gd name="connsiteY1528" fmla="*/ 525585 h 2340761"/>
                <a:gd name="connsiteX1529" fmla="*/ 2838716 w 2967861"/>
                <a:gd name="connsiteY1529" fmla="*/ 533036 h 2340761"/>
                <a:gd name="connsiteX1530" fmla="*/ 2842752 w 2967861"/>
                <a:gd name="connsiteY1530" fmla="*/ 540486 h 2340761"/>
                <a:gd name="connsiteX1531" fmla="*/ 2845856 w 2967861"/>
                <a:gd name="connsiteY1531" fmla="*/ 538313 h 2340761"/>
                <a:gd name="connsiteX1532" fmla="*/ 2848029 w 2967861"/>
                <a:gd name="connsiteY1532" fmla="*/ 538313 h 2340761"/>
                <a:gd name="connsiteX1533" fmla="*/ 2850203 w 2967861"/>
                <a:gd name="connsiteY1533" fmla="*/ 538313 h 2340761"/>
                <a:gd name="connsiteX1534" fmla="*/ 2851134 w 2967861"/>
                <a:gd name="connsiteY1534" fmla="*/ 536140 h 2340761"/>
                <a:gd name="connsiteX1535" fmla="*/ 2853307 w 2967861"/>
                <a:gd name="connsiteY1535" fmla="*/ 536140 h 2340761"/>
                <a:gd name="connsiteX1536" fmla="*/ 2860447 w 2967861"/>
                <a:gd name="connsiteY1536" fmla="*/ 536140 h 2340761"/>
                <a:gd name="connsiteX1537" fmla="*/ 2864483 w 2967861"/>
                <a:gd name="connsiteY1537" fmla="*/ 538313 h 2340761"/>
                <a:gd name="connsiteX1538" fmla="*/ 2865414 w 2967861"/>
                <a:gd name="connsiteY1538" fmla="*/ 540486 h 2340761"/>
                <a:gd name="connsiteX1539" fmla="*/ 2869450 w 2967861"/>
                <a:gd name="connsiteY1539" fmla="*/ 542659 h 2340761"/>
                <a:gd name="connsiteX1540" fmla="*/ 2872555 w 2967861"/>
                <a:gd name="connsiteY1540" fmla="*/ 543591 h 2340761"/>
                <a:gd name="connsiteX1541" fmla="*/ 2872555 w 2967861"/>
                <a:gd name="connsiteY1541" fmla="*/ 557250 h 2340761"/>
                <a:gd name="connsiteX1542" fmla="*/ 2887146 w 2967861"/>
                <a:gd name="connsiteY1542" fmla="*/ 560355 h 2340761"/>
                <a:gd name="connsiteX1543" fmla="*/ 2898632 w 2967861"/>
                <a:gd name="connsiteY1543" fmla="*/ 565632 h 2340761"/>
                <a:gd name="connsiteX1544" fmla="*/ 2905772 w 2967861"/>
                <a:gd name="connsiteY1544" fmla="*/ 577119 h 2340761"/>
                <a:gd name="connsiteX1545" fmla="*/ 2912913 w 2967861"/>
                <a:gd name="connsiteY1545" fmla="*/ 577119 h 2340761"/>
                <a:gd name="connsiteX1546" fmla="*/ 2916017 w 2967861"/>
                <a:gd name="connsiteY1546" fmla="*/ 577119 h 2340761"/>
                <a:gd name="connsiteX1547" fmla="*/ 2920053 w 2967861"/>
                <a:gd name="connsiteY1547" fmla="*/ 577119 h 2340761"/>
                <a:gd name="connsiteX1548" fmla="*/ 2923158 w 2967861"/>
                <a:gd name="connsiteY1548" fmla="*/ 574946 h 2340761"/>
                <a:gd name="connsiteX1549" fmla="*/ 2925330 w 2967861"/>
                <a:gd name="connsiteY1549" fmla="*/ 572773 h 2340761"/>
                <a:gd name="connsiteX1550" fmla="*/ 2928435 w 2967861"/>
                <a:gd name="connsiteY1550" fmla="*/ 567495 h 2340761"/>
                <a:gd name="connsiteX1551" fmla="*/ 2930608 w 2967861"/>
                <a:gd name="connsiteY1551" fmla="*/ 564390 h 2340761"/>
                <a:gd name="connsiteX1552" fmla="*/ 2930608 w 2967861"/>
                <a:gd name="connsiteY1552" fmla="*/ 562217 h 2340761"/>
                <a:gd name="connsiteX1553" fmla="*/ 2928435 w 2967861"/>
                <a:gd name="connsiteY1553" fmla="*/ 557871 h 2340761"/>
                <a:gd name="connsiteX1554" fmla="*/ 2927503 w 2967861"/>
                <a:gd name="connsiteY1554" fmla="*/ 556940 h 2340761"/>
                <a:gd name="connsiteX1555" fmla="*/ 2925330 w 2967861"/>
                <a:gd name="connsiteY1555" fmla="*/ 554767 h 2340761"/>
                <a:gd name="connsiteX1556" fmla="*/ 2921295 w 2967861"/>
                <a:gd name="connsiteY1556" fmla="*/ 552594 h 2340761"/>
                <a:gd name="connsiteX1557" fmla="*/ 2923468 w 2967861"/>
                <a:gd name="connsiteY1557" fmla="*/ 547316 h 2340761"/>
                <a:gd name="connsiteX1558" fmla="*/ 2925641 w 2967861"/>
                <a:gd name="connsiteY1558" fmla="*/ 542038 h 2340761"/>
                <a:gd name="connsiteX1559" fmla="*/ 2927814 w 2967861"/>
                <a:gd name="connsiteY1559" fmla="*/ 539865 h 2340761"/>
                <a:gd name="connsiteX1560" fmla="*/ 2930919 w 2967861"/>
                <a:gd name="connsiteY1560" fmla="*/ 535519 h 2340761"/>
                <a:gd name="connsiteX1561" fmla="*/ 2933092 w 2967861"/>
                <a:gd name="connsiteY1561" fmla="*/ 532415 h 2340761"/>
                <a:gd name="connsiteX1562" fmla="*/ 2969414 w 2967861"/>
                <a:gd name="connsiteY1562" fmla="*/ 532415 h 2340761"/>
                <a:gd name="connsiteX1563" fmla="*/ 2965999 w 2967861"/>
                <a:gd name="connsiteY1563" fmla="*/ 516271 h 2340761"/>
                <a:gd name="connsiteX1564" fmla="*/ 758729 w 2967861"/>
                <a:gd name="connsiteY1564" fmla="*/ 1039993 h 2340761"/>
                <a:gd name="connsiteX1565" fmla="*/ 776425 w 2967861"/>
                <a:gd name="connsiteY1565" fmla="*/ 1034716 h 2340761"/>
                <a:gd name="connsiteX1566" fmla="*/ 791016 w 2967861"/>
                <a:gd name="connsiteY1566" fmla="*/ 1027265 h 2340761"/>
                <a:gd name="connsiteX1567" fmla="*/ 791016 w 2967861"/>
                <a:gd name="connsiteY1567" fmla="*/ 1030370 h 2340761"/>
                <a:gd name="connsiteX1568" fmla="*/ 791016 w 2967861"/>
                <a:gd name="connsiteY1568" fmla="*/ 1034716 h 2340761"/>
                <a:gd name="connsiteX1569" fmla="*/ 791016 w 2967861"/>
                <a:gd name="connsiteY1569" fmla="*/ 1039993 h 2340761"/>
                <a:gd name="connsiteX1570" fmla="*/ 788843 w 2967861"/>
                <a:gd name="connsiteY1570" fmla="*/ 1045271 h 2340761"/>
                <a:gd name="connsiteX1571" fmla="*/ 785738 w 2967861"/>
                <a:gd name="connsiteY1571" fmla="*/ 1050549 h 2340761"/>
                <a:gd name="connsiteX1572" fmla="*/ 785738 w 2967861"/>
                <a:gd name="connsiteY1572" fmla="*/ 1057999 h 2340761"/>
                <a:gd name="connsiteX1573" fmla="*/ 774252 w 2967861"/>
                <a:gd name="connsiteY1573" fmla="*/ 1057999 h 2340761"/>
                <a:gd name="connsiteX1574" fmla="*/ 765870 w 2967861"/>
                <a:gd name="connsiteY1574" fmla="*/ 1057068 h 2340761"/>
                <a:gd name="connsiteX1575" fmla="*/ 758729 w 2967861"/>
                <a:gd name="connsiteY1575" fmla="*/ 1054895 h 2340761"/>
                <a:gd name="connsiteX1576" fmla="*/ 758729 w 2967861"/>
                <a:gd name="connsiteY1576" fmla="*/ 1039993 h 2340761"/>
                <a:gd name="connsiteX1577" fmla="*/ 644175 w 2967861"/>
                <a:gd name="connsiteY1577" fmla="*/ 1152064 h 2340761"/>
                <a:gd name="connsiteX1578" fmla="*/ 645106 w 2967861"/>
                <a:gd name="connsiteY1578" fmla="*/ 1151133 h 2340761"/>
                <a:gd name="connsiteX1579" fmla="*/ 645106 w 2967861"/>
                <a:gd name="connsiteY1579" fmla="*/ 1148960 h 2340761"/>
                <a:gd name="connsiteX1580" fmla="*/ 647279 w 2967861"/>
                <a:gd name="connsiteY1580" fmla="*/ 1148960 h 2340761"/>
                <a:gd name="connsiteX1581" fmla="*/ 649453 w 2967861"/>
                <a:gd name="connsiteY1581" fmla="*/ 1146787 h 2340761"/>
                <a:gd name="connsiteX1582" fmla="*/ 651626 w 2967861"/>
                <a:gd name="connsiteY1582" fmla="*/ 1144614 h 2340761"/>
                <a:gd name="connsiteX1583" fmla="*/ 666217 w 2967861"/>
                <a:gd name="connsiteY1583" fmla="*/ 1144614 h 2340761"/>
                <a:gd name="connsiteX1584" fmla="*/ 662181 w 2967861"/>
                <a:gd name="connsiteY1584" fmla="*/ 1148960 h 2340761"/>
                <a:gd name="connsiteX1585" fmla="*/ 659076 w 2967861"/>
                <a:gd name="connsiteY1585" fmla="*/ 1151133 h 2340761"/>
                <a:gd name="connsiteX1586" fmla="*/ 655041 w 2967861"/>
                <a:gd name="connsiteY1586" fmla="*/ 1152064 h 2340761"/>
                <a:gd name="connsiteX1587" fmla="*/ 651936 w 2967861"/>
                <a:gd name="connsiteY1587" fmla="*/ 1154238 h 2340761"/>
                <a:gd name="connsiteX1588" fmla="*/ 645727 w 2967861"/>
                <a:gd name="connsiteY1588" fmla="*/ 1156411 h 2340761"/>
                <a:gd name="connsiteX1589" fmla="*/ 642623 w 2967861"/>
                <a:gd name="connsiteY1589" fmla="*/ 1156411 h 2340761"/>
                <a:gd name="connsiteX1590" fmla="*/ 644175 w 2967861"/>
                <a:gd name="connsiteY1590" fmla="*/ 1152064 h 2340761"/>
                <a:gd name="connsiteX1591" fmla="*/ 765870 w 2967861"/>
                <a:gd name="connsiteY1591" fmla="*/ 1265377 h 2340761"/>
                <a:gd name="connsiteX1592" fmla="*/ 759661 w 2967861"/>
                <a:gd name="connsiteY1592" fmla="*/ 1282452 h 2340761"/>
                <a:gd name="connsiteX1593" fmla="*/ 752520 w 2967861"/>
                <a:gd name="connsiteY1593" fmla="*/ 1300457 h 2340761"/>
                <a:gd name="connsiteX1594" fmla="*/ 751589 w 2967861"/>
                <a:gd name="connsiteY1594" fmla="*/ 1315359 h 2340761"/>
                <a:gd name="connsiteX1595" fmla="*/ 737930 w 2967861"/>
                <a:gd name="connsiteY1595" fmla="*/ 1319705 h 2340761"/>
                <a:gd name="connsiteX1596" fmla="*/ 725512 w 2967861"/>
                <a:gd name="connsiteY1596" fmla="*/ 1320636 h 2340761"/>
                <a:gd name="connsiteX1597" fmla="*/ 714957 w 2967861"/>
                <a:gd name="connsiteY1597" fmla="*/ 1315359 h 2340761"/>
                <a:gd name="connsiteX1598" fmla="*/ 701297 w 2967861"/>
                <a:gd name="connsiteY1598" fmla="*/ 1312254 h 2340761"/>
                <a:gd name="connsiteX1599" fmla="*/ 696019 w 2967861"/>
                <a:gd name="connsiteY1599" fmla="*/ 1312254 h 2340761"/>
                <a:gd name="connsiteX1600" fmla="*/ 692915 w 2967861"/>
                <a:gd name="connsiteY1600" fmla="*/ 1312254 h 2340761"/>
                <a:gd name="connsiteX1601" fmla="*/ 688879 w 2967861"/>
                <a:gd name="connsiteY1601" fmla="*/ 1313186 h 2340761"/>
                <a:gd name="connsiteX1602" fmla="*/ 685775 w 2967861"/>
                <a:gd name="connsiteY1602" fmla="*/ 1317532 h 2340761"/>
                <a:gd name="connsiteX1603" fmla="*/ 683602 w 2967861"/>
                <a:gd name="connsiteY1603" fmla="*/ 1319705 h 2340761"/>
                <a:gd name="connsiteX1604" fmla="*/ 681428 w 2967861"/>
                <a:gd name="connsiteY1604" fmla="*/ 1322810 h 2340761"/>
                <a:gd name="connsiteX1605" fmla="*/ 678324 w 2967861"/>
                <a:gd name="connsiteY1605" fmla="*/ 1324983 h 2340761"/>
                <a:gd name="connsiteX1606" fmla="*/ 673046 w 2967861"/>
                <a:gd name="connsiteY1606" fmla="*/ 1322810 h 2340761"/>
                <a:gd name="connsiteX1607" fmla="*/ 661560 w 2967861"/>
                <a:gd name="connsiteY1607" fmla="*/ 1320636 h 2340761"/>
                <a:gd name="connsiteX1608" fmla="*/ 646969 w 2967861"/>
                <a:gd name="connsiteY1608" fmla="*/ 1319705 h 2340761"/>
                <a:gd name="connsiteX1609" fmla="*/ 632378 w 2967861"/>
                <a:gd name="connsiteY1609" fmla="*/ 1315359 h 2340761"/>
                <a:gd name="connsiteX1610" fmla="*/ 617787 w 2967861"/>
                <a:gd name="connsiteY1610" fmla="*/ 1313186 h 2340761"/>
                <a:gd name="connsiteX1611" fmla="*/ 610647 w 2967861"/>
                <a:gd name="connsiteY1611" fmla="*/ 1312254 h 2340761"/>
                <a:gd name="connsiteX1612" fmla="*/ 596056 w 2967861"/>
                <a:gd name="connsiteY1612" fmla="*/ 1306046 h 2340761"/>
                <a:gd name="connsiteX1613" fmla="*/ 581465 w 2967861"/>
                <a:gd name="connsiteY1613" fmla="*/ 1298595 h 2340761"/>
                <a:gd name="connsiteX1614" fmla="*/ 566874 w 2967861"/>
                <a:gd name="connsiteY1614" fmla="*/ 1295490 h 2340761"/>
                <a:gd name="connsiteX1615" fmla="*/ 551352 w 2967861"/>
                <a:gd name="connsiteY1615" fmla="*/ 1298595 h 2340761"/>
                <a:gd name="connsiteX1616" fmla="*/ 539865 w 2967861"/>
                <a:gd name="connsiteY1616" fmla="*/ 1306046 h 2340761"/>
                <a:gd name="connsiteX1617" fmla="*/ 536761 w 2967861"/>
                <a:gd name="connsiteY1617" fmla="*/ 1315669 h 2340761"/>
                <a:gd name="connsiteX1618" fmla="*/ 532725 w 2967861"/>
                <a:gd name="connsiteY1618" fmla="*/ 1325293 h 2340761"/>
                <a:gd name="connsiteX1619" fmla="*/ 530552 w 2967861"/>
                <a:gd name="connsiteY1619" fmla="*/ 1335848 h 2340761"/>
                <a:gd name="connsiteX1620" fmla="*/ 523411 w 2967861"/>
                <a:gd name="connsiteY1620" fmla="*/ 1334917 h 2340761"/>
                <a:gd name="connsiteX1621" fmla="*/ 510994 w 2967861"/>
                <a:gd name="connsiteY1621" fmla="*/ 1330571 h 2340761"/>
                <a:gd name="connsiteX1622" fmla="*/ 496403 w 2967861"/>
                <a:gd name="connsiteY1622" fmla="*/ 1327466 h 2340761"/>
                <a:gd name="connsiteX1623" fmla="*/ 485848 w 2967861"/>
                <a:gd name="connsiteY1623" fmla="*/ 1323120 h 2340761"/>
                <a:gd name="connsiteX1624" fmla="*/ 478707 w 2967861"/>
                <a:gd name="connsiteY1624" fmla="*/ 1320016 h 2340761"/>
                <a:gd name="connsiteX1625" fmla="*/ 474671 w 2967861"/>
                <a:gd name="connsiteY1625" fmla="*/ 1305114 h 2340761"/>
                <a:gd name="connsiteX1626" fmla="*/ 460081 w 2967861"/>
                <a:gd name="connsiteY1626" fmla="*/ 1297664 h 2340761"/>
                <a:gd name="connsiteX1627" fmla="*/ 445490 w 2967861"/>
                <a:gd name="connsiteY1627" fmla="*/ 1295490 h 2340761"/>
                <a:gd name="connsiteX1628" fmla="*/ 430899 w 2967861"/>
                <a:gd name="connsiteY1628" fmla="*/ 1295490 h 2340761"/>
                <a:gd name="connsiteX1629" fmla="*/ 418481 w 2967861"/>
                <a:gd name="connsiteY1629" fmla="*/ 1291144 h 2340761"/>
                <a:gd name="connsiteX1630" fmla="*/ 415376 w 2967861"/>
                <a:gd name="connsiteY1630" fmla="*/ 1288040 h 2340761"/>
                <a:gd name="connsiteX1631" fmla="*/ 413203 w 2967861"/>
                <a:gd name="connsiteY1631" fmla="*/ 1285867 h 2340761"/>
                <a:gd name="connsiteX1632" fmla="*/ 409167 w 2967861"/>
                <a:gd name="connsiteY1632" fmla="*/ 1282762 h 2340761"/>
                <a:gd name="connsiteX1633" fmla="*/ 408236 w 2967861"/>
                <a:gd name="connsiteY1633" fmla="*/ 1278416 h 2340761"/>
                <a:gd name="connsiteX1634" fmla="*/ 402027 w 2967861"/>
                <a:gd name="connsiteY1634" fmla="*/ 1275311 h 2340761"/>
                <a:gd name="connsiteX1635" fmla="*/ 406063 w 2967861"/>
                <a:gd name="connsiteY1635" fmla="*/ 1256374 h 2340761"/>
                <a:gd name="connsiteX1636" fmla="*/ 409167 w 2967861"/>
                <a:gd name="connsiteY1636" fmla="*/ 1238368 h 2340761"/>
                <a:gd name="connsiteX1637" fmla="*/ 415376 w 2967861"/>
                <a:gd name="connsiteY1637" fmla="*/ 1221294 h 2340761"/>
                <a:gd name="connsiteX1638" fmla="*/ 410720 w 2967861"/>
                <a:gd name="connsiteY1638" fmla="*/ 1221294 h 2340761"/>
                <a:gd name="connsiteX1639" fmla="*/ 401406 w 2967861"/>
                <a:gd name="connsiteY1639" fmla="*/ 1219121 h 2340761"/>
                <a:gd name="connsiteX1640" fmla="*/ 381538 w 2967861"/>
                <a:gd name="connsiteY1640" fmla="*/ 1218189 h 2340761"/>
                <a:gd name="connsiteX1641" fmla="*/ 358565 w 2967861"/>
                <a:gd name="connsiteY1641" fmla="*/ 1218189 h 2340761"/>
                <a:gd name="connsiteX1642" fmla="*/ 330314 w 2967861"/>
                <a:gd name="connsiteY1642" fmla="*/ 1218189 h 2340761"/>
                <a:gd name="connsiteX1643" fmla="*/ 305168 w 2967861"/>
                <a:gd name="connsiteY1643" fmla="*/ 1219121 h 2340761"/>
                <a:gd name="connsiteX1644" fmla="*/ 281264 w 2967861"/>
                <a:gd name="connsiteY1644" fmla="*/ 1223467 h 2340761"/>
                <a:gd name="connsiteX1645" fmla="*/ 265742 w 2967861"/>
                <a:gd name="connsiteY1645" fmla="*/ 1226571 h 2340761"/>
                <a:gd name="connsiteX1646" fmla="*/ 254255 w 2967861"/>
                <a:gd name="connsiteY1646" fmla="*/ 1234022 h 2340761"/>
                <a:gd name="connsiteX1647" fmla="*/ 239664 w 2967861"/>
                <a:gd name="connsiteY1647" fmla="*/ 1243646 h 2340761"/>
                <a:gd name="connsiteX1648" fmla="*/ 225073 w 2967861"/>
                <a:gd name="connsiteY1648" fmla="*/ 1251097 h 2340761"/>
                <a:gd name="connsiteX1649" fmla="*/ 174160 w 2967861"/>
                <a:gd name="connsiteY1649" fmla="*/ 1243646 h 2340761"/>
                <a:gd name="connsiteX1650" fmla="*/ 174160 w 2967861"/>
                <a:gd name="connsiteY1650" fmla="*/ 1234022 h 2340761"/>
                <a:gd name="connsiteX1651" fmla="*/ 180369 w 2967861"/>
                <a:gd name="connsiteY1651" fmla="*/ 1233091 h 2340761"/>
                <a:gd name="connsiteX1652" fmla="*/ 183473 w 2967861"/>
                <a:gd name="connsiteY1652" fmla="*/ 1230918 h 2340761"/>
                <a:gd name="connsiteX1653" fmla="*/ 187509 w 2967861"/>
                <a:gd name="connsiteY1653" fmla="*/ 1228744 h 2340761"/>
                <a:gd name="connsiteX1654" fmla="*/ 190614 w 2967861"/>
                <a:gd name="connsiteY1654" fmla="*/ 1226571 h 2340761"/>
                <a:gd name="connsiteX1655" fmla="*/ 192787 w 2967861"/>
                <a:gd name="connsiteY1655" fmla="*/ 1226571 h 2340761"/>
                <a:gd name="connsiteX1656" fmla="*/ 195891 w 2967861"/>
                <a:gd name="connsiteY1656" fmla="*/ 1228744 h 2340761"/>
                <a:gd name="connsiteX1657" fmla="*/ 199927 w 2967861"/>
                <a:gd name="connsiteY1657" fmla="*/ 1230918 h 2340761"/>
                <a:gd name="connsiteX1658" fmla="*/ 205205 w 2967861"/>
                <a:gd name="connsiteY1658" fmla="*/ 1233091 h 2340761"/>
                <a:gd name="connsiteX1659" fmla="*/ 208309 w 2967861"/>
                <a:gd name="connsiteY1659" fmla="*/ 1233091 h 2340761"/>
                <a:gd name="connsiteX1660" fmla="*/ 214518 w 2967861"/>
                <a:gd name="connsiteY1660" fmla="*/ 1230918 h 2340761"/>
                <a:gd name="connsiteX1661" fmla="*/ 219796 w 2967861"/>
                <a:gd name="connsiteY1661" fmla="*/ 1225640 h 2340761"/>
                <a:gd name="connsiteX1662" fmla="*/ 222900 w 2967861"/>
                <a:gd name="connsiteY1662" fmla="*/ 1219431 h 2340761"/>
                <a:gd name="connsiteX1663" fmla="*/ 226936 w 2967861"/>
                <a:gd name="connsiteY1663" fmla="*/ 1216327 h 2340761"/>
                <a:gd name="connsiteX1664" fmla="*/ 232213 w 2967861"/>
                <a:gd name="connsiteY1664" fmla="*/ 1211980 h 2340761"/>
                <a:gd name="connsiteX1665" fmla="*/ 244631 w 2967861"/>
                <a:gd name="connsiteY1665" fmla="*/ 1211049 h 2340761"/>
                <a:gd name="connsiteX1666" fmla="*/ 244631 w 2967861"/>
                <a:gd name="connsiteY1666" fmla="*/ 1204840 h 2340761"/>
                <a:gd name="connsiteX1667" fmla="*/ 244631 w 2967861"/>
                <a:gd name="connsiteY1667" fmla="*/ 1202978 h 2340761"/>
                <a:gd name="connsiteX1668" fmla="*/ 244631 w 2967861"/>
                <a:gd name="connsiteY1668" fmla="*/ 1200804 h 2340761"/>
                <a:gd name="connsiteX1669" fmla="*/ 244631 w 2967861"/>
                <a:gd name="connsiteY1669" fmla="*/ 1196458 h 2340761"/>
                <a:gd name="connsiteX1670" fmla="*/ 248667 w 2967861"/>
                <a:gd name="connsiteY1670" fmla="*/ 1195527 h 2340761"/>
                <a:gd name="connsiteX1671" fmla="*/ 250840 w 2967861"/>
                <a:gd name="connsiteY1671" fmla="*/ 1193354 h 2340761"/>
                <a:gd name="connsiteX1672" fmla="*/ 251771 w 2967861"/>
                <a:gd name="connsiteY1672" fmla="*/ 1191181 h 2340761"/>
                <a:gd name="connsiteX1673" fmla="*/ 253945 w 2967861"/>
                <a:gd name="connsiteY1673" fmla="*/ 1191181 h 2340761"/>
                <a:gd name="connsiteX1674" fmla="*/ 256118 w 2967861"/>
                <a:gd name="connsiteY1674" fmla="*/ 1189007 h 2340761"/>
                <a:gd name="connsiteX1675" fmla="*/ 261395 w 2967861"/>
                <a:gd name="connsiteY1675" fmla="*/ 1189007 h 2340761"/>
                <a:gd name="connsiteX1676" fmla="*/ 259222 w 2967861"/>
                <a:gd name="connsiteY1676" fmla="*/ 1185903 h 2340761"/>
                <a:gd name="connsiteX1677" fmla="*/ 256118 w 2967861"/>
                <a:gd name="connsiteY1677" fmla="*/ 1181557 h 2340761"/>
                <a:gd name="connsiteX1678" fmla="*/ 253945 w 2967861"/>
                <a:gd name="connsiteY1678" fmla="*/ 1180625 h 2340761"/>
                <a:gd name="connsiteX1679" fmla="*/ 251771 w 2967861"/>
                <a:gd name="connsiteY1679" fmla="*/ 1178452 h 2340761"/>
                <a:gd name="connsiteX1680" fmla="*/ 251771 w 2967861"/>
                <a:gd name="connsiteY1680" fmla="*/ 1174106 h 2340761"/>
                <a:gd name="connsiteX1681" fmla="*/ 253945 w 2967861"/>
                <a:gd name="connsiteY1681" fmla="*/ 1173175 h 2340761"/>
                <a:gd name="connsiteX1682" fmla="*/ 257980 w 2967861"/>
                <a:gd name="connsiteY1682" fmla="*/ 1159515 h 2340761"/>
                <a:gd name="connsiteX1683" fmla="*/ 263258 w 2967861"/>
                <a:gd name="connsiteY1683" fmla="*/ 1148960 h 2340761"/>
                <a:gd name="connsiteX1684" fmla="*/ 270398 w 2967861"/>
                <a:gd name="connsiteY1684" fmla="*/ 1139336 h 2340761"/>
                <a:gd name="connsiteX1685" fmla="*/ 290267 w 2967861"/>
                <a:gd name="connsiteY1685" fmla="*/ 1139336 h 2340761"/>
                <a:gd name="connsiteX1686" fmla="*/ 295544 w 2967861"/>
                <a:gd name="connsiteY1686" fmla="*/ 1130954 h 2340761"/>
                <a:gd name="connsiteX1687" fmla="*/ 297717 w 2967861"/>
                <a:gd name="connsiteY1687" fmla="*/ 1119468 h 2340761"/>
                <a:gd name="connsiteX1688" fmla="*/ 300822 w 2967861"/>
                <a:gd name="connsiteY1688" fmla="*/ 1108912 h 2340761"/>
                <a:gd name="connsiteX1689" fmla="*/ 310135 w 2967861"/>
                <a:gd name="connsiteY1689" fmla="*/ 1101462 h 2340761"/>
                <a:gd name="connsiteX1690" fmla="*/ 314171 w 2967861"/>
                <a:gd name="connsiteY1690" fmla="*/ 1099289 h 2340761"/>
                <a:gd name="connsiteX1691" fmla="*/ 315102 w 2967861"/>
                <a:gd name="connsiteY1691" fmla="*/ 1099289 h 2340761"/>
                <a:gd name="connsiteX1692" fmla="*/ 319138 w 2967861"/>
                <a:gd name="connsiteY1692" fmla="*/ 1099289 h 2340761"/>
                <a:gd name="connsiteX1693" fmla="*/ 321311 w 2967861"/>
                <a:gd name="connsiteY1693" fmla="*/ 1101462 h 2340761"/>
                <a:gd name="connsiteX1694" fmla="*/ 322243 w 2967861"/>
                <a:gd name="connsiteY1694" fmla="*/ 1104566 h 2340761"/>
                <a:gd name="connsiteX1695" fmla="*/ 324416 w 2967861"/>
                <a:gd name="connsiteY1695" fmla="*/ 1108912 h 2340761"/>
                <a:gd name="connsiteX1696" fmla="*/ 344284 w 2967861"/>
                <a:gd name="connsiteY1696" fmla="*/ 1104566 h 2340761"/>
                <a:gd name="connsiteX1697" fmla="*/ 361048 w 2967861"/>
                <a:gd name="connsiteY1697" fmla="*/ 1094942 h 2340761"/>
                <a:gd name="connsiteX1698" fmla="*/ 373466 w 2967861"/>
                <a:gd name="connsiteY1698" fmla="*/ 1084387 h 2340761"/>
                <a:gd name="connsiteX1699" fmla="*/ 388057 w 2967861"/>
                <a:gd name="connsiteY1699" fmla="*/ 1089665 h 2340761"/>
                <a:gd name="connsiteX1700" fmla="*/ 399544 w 2967861"/>
                <a:gd name="connsiteY1700" fmla="*/ 1101151 h 2340761"/>
                <a:gd name="connsiteX1701" fmla="*/ 406684 w 2967861"/>
                <a:gd name="connsiteY1701" fmla="*/ 1113880 h 2340761"/>
                <a:gd name="connsiteX1702" fmla="*/ 415066 w 2967861"/>
                <a:gd name="connsiteY1702" fmla="*/ 1124435 h 2340761"/>
                <a:gd name="connsiteX1703" fmla="*/ 424379 w 2967861"/>
                <a:gd name="connsiteY1703" fmla="*/ 1135921 h 2340761"/>
                <a:gd name="connsiteX1704" fmla="*/ 453561 w 2967861"/>
                <a:gd name="connsiteY1704" fmla="*/ 1156100 h 2340761"/>
                <a:gd name="connsiteX1705" fmla="*/ 480570 w 2967861"/>
                <a:gd name="connsiteY1705" fmla="*/ 1176279 h 2340761"/>
                <a:gd name="connsiteX1706" fmla="*/ 480570 w 2967861"/>
                <a:gd name="connsiteY1706" fmla="*/ 1180625 h 2340761"/>
                <a:gd name="connsiteX1707" fmla="*/ 480570 w 2967861"/>
                <a:gd name="connsiteY1707" fmla="*/ 1183730 h 2340761"/>
                <a:gd name="connsiteX1708" fmla="*/ 479639 w 2967861"/>
                <a:gd name="connsiteY1708" fmla="*/ 1185903 h 2340761"/>
                <a:gd name="connsiteX1709" fmla="*/ 479639 w 2967861"/>
                <a:gd name="connsiteY1709" fmla="*/ 1188076 h 2340761"/>
                <a:gd name="connsiteX1710" fmla="*/ 477466 w 2967861"/>
                <a:gd name="connsiteY1710" fmla="*/ 1189007 h 2340761"/>
                <a:gd name="connsiteX1711" fmla="*/ 470325 w 2967861"/>
                <a:gd name="connsiteY1711" fmla="*/ 1196458 h 2340761"/>
                <a:gd name="connsiteX1712" fmla="*/ 458839 w 2967861"/>
                <a:gd name="connsiteY1712" fmla="*/ 1200804 h 2340761"/>
                <a:gd name="connsiteX1713" fmla="*/ 444248 w 2967861"/>
                <a:gd name="connsiteY1713" fmla="*/ 1202978 h 2340761"/>
                <a:gd name="connsiteX1714" fmla="*/ 429657 w 2967861"/>
                <a:gd name="connsiteY1714" fmla="*/ 1200804 h 2340761"/>
                <a:gd name="connsiteX1715" fmla="*/ 435866 w 2967861"/>
                <a:gd name="connsiteY1715" fmla="*/ 1213533 h 2340761"/>
                <a:gd name="connsiteX1716" fmla="*/ 444248 w 2967861"/>
                <a:gd name="connsiteY1716" fmla="*/ 1218810 h 2340761"/>
                <a:gd name="connsiteX1717" fmla="*/ 455734 w 2967861"/>
                <a:gd name="connsiteY1717" fmla="*/ 1223157 h 2340761"/>
                <a:gd name="connsiteX1718" fmla="*/ 465048 w 2967861"/>
                <a:gd name="connsiteY1718" fmla="*/ 1230607 h 2340761"/>
                <a:gd name="connsiteX1719" fmla="*/ 473430 w 2967861"/>
                <a:gd name="connsiteY1719" fmla="*/ 1230607 h 2340761"/>
                <a:gd name="connsiteX1720" fmla="*/ 473430 w 2967861"/>
                <a:gd name="connsiteY1720" fmla="*/ 1206082 h 2340761"/>
                <a:gd name="connsiteX1721" fmla="*/ 484916 w 2967861"/>
                <a:gd name="connsiteY1721" fmla="*/ 1206082 h 2340761"/>
                <a:gd name="connsiteX1722" fmla="*/ 488021 w 2967861"/>
                <a:gd name="connsiteY1722" fmla="*/ 1198631 h 2340761"/>
                <a:gd name="connsiteX1723" fmla="*/ 492057 w 2967861"/>
                <a:gd name="connsiteY1723" fmla="*/ 1193354 h 2340761"/>
                <a:gd name="connsiteX1724" fmla="*/ 495161 w 2967861"/>
                <a:gd name="connsiteY1724" fmla="*/ 1189007 h 2340761"/>
                <a:gd name="connsiteX1725" fmla="*/ 500439 w 2967861"/>
                <a:gd name="connsiteY1725" fmla="*/ 1185903 h 2340761"/>
                <a:gd name="connsiteX1726" fmla="*/ 499507 w 2967861"/>
                <a:gd name="connsiteY1726" fmla="*/ 1180625 h 2340761"/>
                <a:gd name="connsiteX1727" fmla="*/ 497334 w 2967861"/>
                <a:gd name="connsiteY1727" fmla="*/ 1176279 h 2340761"/>
                <a:gd name="connsiteX1728" fmla="*/ 497334 w 2967861"/>
                <a:gd name="connsiteY1728" fmla="*/ 1174106 h 2340761"/>
                <a:gd name="connsiteX1729" fmla="*/ 495161 w 2967861"/>
                <a:gd name="connsiteY1729" fmla="*/ 1171002 h 2340761"/>
                <a:gd name="connsiteX1730" fmla="*/ 494230 w 2967861"/>
                <a:gd name="connsiteY1730" fmla="*/ 1166655 h 2340761"/>
                <a:gd name="connsiteX1731" fmla="*/ 494230 w 2967861"/>
                <a:gd name="connsiteY1731" fmla="*/ 1161378 h 2340761"/>
                <a:gd name="connsiteX1732" fmla="*/ 499507 w 2967861"/>
                <a:gd name="connsiteY1732" fmla="*/ 1161378 h 2340761"/>
                <a:gd name="connsiteX1733" fmla="*/ 504785 w 2967861"/>
                <a:gd name="connsiteY1733" fmla="*/ 1163551 h 2340761"/>
                <a:gd name="connsiteX1734" fmla="*/ 507889 w 2967861"/>
                <a:gd name="connsiteY1734" fmla="*/ 1165724 h 2340761"/>
                <a:gd name="connsiteX1735" fmla="*/ 510062 w 2967861"/>
                <a:gd name="connsiteY1735" fmla="*/ 1165724 h 2340761"/>
                <a:gd name="connsiteX1736" fmla="*/ 514098 w 2967861"/>
                <a:gd name="connsiteY1736" fmla="*/ 1165724 h 2340761"/>
                <a:gd name="connsiteX1737" fmla="*/ 517203 w 2967861"/>
                <a:gd name="connsiteY1737" fmla="*/ 1165724 h 2340761"/>
                <a:gd name="connsiteX1738" fmla="*/ 521238 w 2967861"/>
                <a:gd name="connsiteY1738" fmla="*/ 1165724 h 2340761"/>
                <a:gd name="connsiteX1739" fmla="*/ 521238 w 2967861"/>
                <a:gd name="connsiteY1739" fmla="*/ 1161378 h 2340761"/>
                <a:gd name="connsiteX1740" fmla="*/ 509752 w 2967861"/>
                <a:gd name="connsiteY1740" fmla="*/ 1151754 h 2340761"/>
                <a:gd name="connsiteX1741" fmla="*/ 499197 w 2967861"/>
                <a:gd name="connsiteY1741" fmla="*/ 1144303 h 2340761"/>
                <a:gd name="connsiteX1742" fmla="*/ 484606 w 2967861"/>
                <a:gd name="connsiteY1742" fmla="*/ 1139026 h 2340761"/>
                <a:gd name="connsiteX1743" fmla="*/ 484606 w 2967861"/>
                <a:gd name="connsiteY1743" fmla="*/ 1128471 h 2340761"/>
                <a:gd name="connsiteX1744" fmla="*/ 470015 w 2967861"/>
                <a:gd name="connsiteY1744" fmla="*/ 1128471 h 2340761"/>
                <a:gd name="connsiteX1745" fmla="*/ 457597 w 2967861"/>
                <a:gd name="connsiteY1745" fmla="*/ 1109533 h 2340761"/>
                <a:gd name="connsiteX1746" fmla="*/ 443937 w 2967861"/>
                <a:gd name="connsiteY1746" fmla="*/ 1093701 h 2340761"/>
                <a:gd name="connsiteX1747" fmla="*/ 429346 w 2967861"/>
                <a:gd name="connsiteY1747" fmla="*/ 1078799 h 2340761"/>
                <a:gd name="connsiteX1748" fmla="*/ 429346 w 2967861"/>
                <a:gd name="connsiteY1748" fmla="*/ 1072590 h 2340761"/>
                <a:gd name="connsiteX1749" fmla="*/ 429346 w 2967861"/>
                <a:gd name="connsiteY1749" fmla="*/ 1069486 h 2340761"/>
                <a:gd name="connsiteX1750" fmla="*/ 429346 w 2967861"/>
                <a:gd name="connsiteY1750" fmla="*/ 1065140 h 2340761"/>
                <a:gd name="connsiteX1751" fmla="*/ 429346 w 2967861"/>
                <a:gd name="connsiteY1751" fmla="*/ 1064208 h 2340761"/>
                <a:gd name="connsiteX1752" fmla="*/ 433382 w 2967861"/>
                <a:gd name="connsiteY1752" fmla="*/ 1062035 h 2340761"/>
                <a:gd name="connsiteX1753" fmla="*/ 436487 w 2967861"/>
                <a:gd name="connsiteY1753" fmla="*/ 1057689 h 2340761"/>
                <a:gd name="connsiteX1754" fmla="*/ 438660 w 2967861"/>
                <a:gd name="connsiteY1754" fmla="*/ 1057689 h 2340761"/>
                <a:gd name="connsiteX1755" fmla="*/ 438660 w 2967861"/>
                <a:gd name="connsiteY1755" fmla="*/ 1056758 h 2340761"/>
                <a:gd name="connsiteX1756" fmla="*/ 440833 w 2967861"/>
                <a:gd name="connsiteY1756" fmla="*/ 1056758 h 2340761"/>
                <a:gd name="connsiteX1757" fmla="*/ 443006 w 2967861"/>
                <a:gd name="connsiteY1757" fmla="*/ 1056758 h 2340761"/>
                <a:gd name="connsiteX1758" fmla="*/ 443937 w 2967861"/>
                <a:gd name="connsiteY1758" fmla="*/ 1054584 h 2340761"/>
                <a:gd name="connsiteX1759" fmla="*/ 446111 w 2967861"/>
                <a:gd name="connsiteY1759" fmla="*/ 1057689 h 2340761"/>
                <a:gd name="connsiteX1760" fmla="*/ 448284 w 2967861"/>
                <a:gd name="connsiteY1760" fmla="*/ 1062035 h 2340761"/>
                <a:gd name="connsiteX1761" fmla="*/ 448284 w 2967861"/>
                <a:gd name="connsiteY1761" fmla="*/ 1065140 h 2340761"/>
                <a:gd name="connsiteX1762" fmla="*/ 450457 w 2967861"/>
                <a:gd name="connsiteY1762" fmla="*/ 1071349 h 2340761"/>
                <a:gd name="connsiteX1763" fmla="*/ 465048 w 2967861"/>
                <a:gd name="connsiteY1763" fmla="*/ 1067002 h 2340761"/>
                <a:gd name="connsiteX1764" fmla="*/ 472188 w 2967861"/>
                <a:gd name="connsiteY1764" fmla="*/ 1087181 h 2340761"/>
                <a:gd name="connsiteX1765" fmla="*/ 479328 w 2967861"/>
                <a:gd name="connsiteY1765" fmla="*/ 1098668 h 2340761"/>
                <a:gd name="connsiteX1766" fmla="*/ 487710 w 2967861"/>
                <a:gd name="connsiteY1766" fmla="*/ 1103945 h 2340761"/>
                <a:gd name="connsiteX1767" fmla="*/ 497024 w 2967861"/>
                <a:gd name="connsiteY1767" fmla="*/ 1106118 h 2340761"/>
                <a:gd name="connsiteX1768" fmla="*/ 507579 w 2967861"/>
                <a:gd name="connsiteY1768" fmla="*/ 1111396 h 2340761"/>
                <a:gd name="connsiteX1769" fmla="*/ 521238 w 2967861"/>
                <a:gd name="connsiteY1769" fmla="*/ 1121020 h 2340761"/>
                <a:gd name="connsiteX1770" fmla="*/ 526516 w 2967861"/>
                <a:gd name="connsiteY1770" fmla="*/ 1126297 h 2340761"/>
                <a:gd name="connsiteX1771" fmla="*/ 526516 w 2967861"/>
                <a:gd name="connsiteY1771" fmla="*/ 1133748 h 2340761"/>
                <a:gd name="connsiteX1772" fmla="*/ 524343 w 2967861"/>
                <a:gd name="connsiteY1772" fmla="*/ 1141199 h 2340761"/>
                <a:gd name="connsiteX1773" fmla="*/ 522170 w 2967861"/>
                <a:gd name="connsiteY1773" fmla="*/ 1150823 h 2340761"/>
                <a:gd name="connsiteX1774" fmla="*/ 524343 w 2967861"/>
                <a:gd name="connsiteY1774" fmla="*/ 1161378 h 2340761"/>
                <a:gd name="connsiteX1775" fmla="*/ 528379 w 2967861"/>
                <a:gd name="connsiteY1775" fmla="*/ 1165724 h 2340761"/>
                <a:gd name="connsiteX1776" fmla="*/ 531483 w 2967861"/>
                <a:gd name="connsiteY1776" fmla="*/ 1166655 h 2340761"/>
                <a:gd name="connsiteX1777" fmla="*/ 536761 w 2967861"/>
                <a:gd name="connsiteY1777" fmla="*/ 1171002 h 2340761"/>
                <a:gd name="connsiteX1778" fmla="*/ 540797 w 2967861"/>
                <a:gd name="connsiteY1778" fmla="*/ 1174106 h 2340761"/>
                <a:gd name="connsiteX1779" fmla="*/ 543901 w 2967861"/>
                <a:gd name="connsiteY1779" fmla="*/ 1176279 h 2340761"/>
                <a:gd name="connsiteX1780" fmla="*/ 560665 w 2967861"/>
                <a:gd name="connsiteY1780" fmla="*/ 1225951 h 2340761"/>
                <a:gd name="connsiteX1781" fmla="*/ 564701 w 2967861"/>
                <a:gd name="connsiteY1781" fmla="*/ 1225951 h 2340761"/>
                <a:gd name="connsiteX1782" fmla="*/ 565632 w 2967861"/>
                <a:gd name="connsiteY1782" fmla="*/ 1228124 h 2340761"/>
                <a:gd name="connsiteX1783" fmla="*/ 567805 w 2967861"/>
                <a:gd name="connsiteY1783" fmla="*/ 1228124 h 2340761"/>
                <a:gd name="connsiteX1784" fmla="*/ 569978 w 2967861"/>
                <a:gd name="connsiteY1784" fmla="*/ 1230297 h 2340761"/>
                <a:gd name="connsiteX1785" fmla="*/ 575256 w 2967861"/>
                <a:gd name="connsiteY1785" fmla="*/ 1228124 h 2340761"/>
                <a:gd name="connsiteX1786" fmla="*/ 580534 w 2967861"/>
                <a:gd name="connsiteY1786" fmla="*/ 1225951 h 2340761"/>
                <a:gd name="connsiteX1787" fmla="*/ 582707 w 2967861"/>
                <a:gd name="connsiteY1787" fmla="*/ 1225019 h 2340761"/>
                <a:gd name="connsiteX1788" fmla="*/ 584880 w 2967861"/>
                <a:gd name="connsiteY1788" fmla="*/ 1220673 h 2340761"/>
                <a:gd name="connsiteX1789" fmla="*/ 584880 w 2967861"/>
                <a:gd name="connsiteY1789" fmla="*/ 1218500 h 2340761"/>
                <a:gd name="connsiteX1790" fmla="*/ 587053 w 2967861"/>
                <a:gd name="connsiteY1790" fmla="*/ 1215395 h 2340761"/>
                <a:gd name="connsiteX1791" fmla="*/ 587984 w 2967861"/>
                <a:gd name="connsiteY1791" fmla="*/ 1211049 h 2340761"/>
                <a:gd name="connsiteX1792" fmla="*/ 592020 w 2967861"/>
                <a:gd name="connsiteY1792" fmla="*/ 1210118 h 2340761"/>
                <a:gd name="connsiteX1793" fmla="*/ 597298 w 2967861"/>
                <a:gd name="connsiteY1793" fmla="*/ 1205772 h 2340761"/>
                <a:gd name="connsiteX1794" fmla="*/ 594193 w 2967861"/>
                <a:gd name="connsiteY1794" fmla="*/ 1188697 h 2340761"/>
                <a:gd name="connsiteX1795" fmla="*/ 587053 w 2967861"/>
                <a:gd name="connsiteY1795" fmla="*/ 1172864 h 2340761"/>
                <a:gd name="connsiteX1796" fmla="*/ 577740 w 2967861"/>
                <a:gd name="connsiteY1796" fmla="*/ 1161378 h 2340761"/>
                <a:gd name="connsiteX1797" fmla="*/ 577740 w 2967861"/>
                <a:gd name="connsiteY1797" fmla="*/ 1156411 h 2340761"/>
                <a:gd name="connsiteX1798" fmla="*/ 580844 w 2967861"/>
                <a:gd name="connsiteY1798" fmla="*/ 1158584 h 2340761"/>
                <a:gd name="connsiteX1799" fmla="*/ 580844 w 2967861"/>
                <a:gd name="connsiteY1799" fmla="*/ 1159515 h 2340761"/>
                <a:gd name="connsiteX1800" fmla="*/ 583017 w 2967861"/>
                <a:gd name="connsiteY1800" fmla="*/ 1161688 h 2340761"/>
                <a:gd name="connsiteX1801" fmla="*/ 585190 w 2967861"/>
                <a:gd name="connsiteY1801" fmla="*/ 1166035 h 2340761"/>
                <a:gd name="connsiteX1802" fmla="*/ 592331 w 2967861"/>
                <a:gd name="connsiteY1802" fmla="*/ 1163861 h 2340761"/>
                <a:gd name="connsiteX1803" fmla="*/ 595435 w 2967861"/>
                <a:gd name="connsiteY1803" fmla="*/ 1163861 h 2340761"/>
                <a:gd name="connsiteX1804" fmla="*/ 597608 w 2967861"/>
                <a:gd name="connsiteY1804" fmla="*/ 1163861 h 2340761"/>
                <a:gd name="connsiteX1805" fmla="*/ 599781 w 2967861"/>
                <a:gd name="connsiteY1805" fmla="*/ 1161688 h 2340761"/>
                <a:gd name="connsiteX1806" fmla="*/ 599781 w 2967861"/>
                <a:gd name="connsiteY1806" fmla="*/ 1159515 h 2340761"/>
                <a:gd name="connsiteX1807" fmla="*/ 599781 w 2967861"/>
                <a:gd name="connsiteY1807" fmla="*/ 1158584 h 2340761"/>
                <a:gd name="connsiteX1808" fmla="*/ 597608 w 2967861"/>
                <a:gd name="connsiteY1808" fmla="*/ 1154238 h 2340761"/>
                <a:gd name="connsiteX1809" fmla="*/ 597608 w 2967861"/>
                <a:gd name="connsiteY1809" fmla="*/ 1148960 h 2340761"/>
                <a:gd name="connsiteX1810" fmla="*/ 600713 w 2967861"/>
                <a:gd name="connsiteY1810" fmla="*/ 1148960 h 2340761"/>
                <a:gd name="connsiteX1811" fmla="*/ 600713 w 2967861"/>
                <a:gd name="connsiteY1811" fmla="*/ 1144614 h 2340761"/>
                <a:gd name="connsiteX1812" fmla="*/ 604748 w 2967861"/>
                <a:gd name="connsiteY1812" fmla="*/ 1144614 h 2340761"/>
                <a:gd name="connsiteX1813" fmla="*/ 607853 w 2967861"/>
                <a:gd name="connsiteY1813" fmla="*/ 1144614 h 2340761"/>
                <a:gd name="connsiteX1814" fmla="*/ 610026 w 2967861"/>
                <a:gd name="connsiteY1814" fmla="*/ 1146787 h 2340761"/>
                <a:gd name="connsiteX1815" fmla="*/ 612199 w 2967861"/>
                <a:gd name="connsiteY1815" fmla="*/ 1146787 h 2340761"/>
                <a:gd name="connsiteX1816" fmla="*/ 614372 w 2967861"/>
                <a:gd name="connsiteY1816" fmla="*/ 1148960 h 2340761"/>
                <a:gd name="connsiteX1817" fmla="*/ 619650 w 2967861"/>
                <a:gd name="connsiteY1817" fmla="*/ 1151133 h 2340761"/>
                <a:gd name="connsiteX1818" fmla="*/ 622754 w 2967861"/>
                <a:gd name="connsiteY1818" fmla="*/ 1152064 h 2340761"/>
                <a:gd name="connsiteX1819" fmla="*/ 624927 w 2967861"/>
                <a:gd name="connsiteY1819" fmla="*/ 1154238 h 2340761"/>
                <a:gd name="connsiteX1820" fmla="*/ 627100 w 2967861"/>
                <a:gd name="connsiteY1820" fmla="*/ 1156411 h 2340761"/>
                <a:gd name="connsiteX1821" fmla="*/ 630205 w 2967861"/>
                <a:gd name="connsiteY1821" fmla="*/ 1158584 h 2340761"/>
                <a:gd name="connsiteX1822" fmla="*/ 634241 w 2967861"/>
                <a:gd name="connsiteY1822" fmla="*/ 1161688 h 2340761"/>
                <a:gd name="connsiteX1823" fmla="*/ 632068 w 2967861"/>
                <a:gd name="connsiteY1823" fmla="*/ 1166966 h 2340761"/>
                <a:gd name="connsiteX1824" fmla="*/ 629894 w 2967861"/>
                <a:gd name="connsiteY1824" fmla="*/ 1171312 h 2340761"/>
                <a:gd name="connsiteX1825" fmla="*/ 629894 w 2967861"/>
                <a:gd name="connsiteY1825" fmla="*/ 1174416 h 2340761"/>
                <a:gd name="connsiteX1826" fmla="*/ 629894 w 2967861"/>
                <a:gd name="connsiteY1826" fmla="*/ 1178763 h 2340761"/>
                <a:gd name="connsiteX1827" fmla="*/ 629894 w 2967861"/>
                <a:gd name="connsiteY1827" fmla="*/ 1181867 h 2340761"/>
                <a:gd name="connsiteX1828" fmla="*/ 629894 w 2967861"/>
                <a:gd name="connsiteY1828" fmla="*/ 1186213 h 2340761"/>
                <a:gd name="connsiteX1829" fmla="*/ 629894 w 2967861"/>
                <a:gd name="connsiteY1829" fmla="*/ 1189318 h 2340761"/>
                <a:gd name="connsiteX1830" fmla="*/ 636103 w 2967861"/>
                <a:gd name="connsiteY1830" fmla="*/ 1206392 h 2340761"/>
                <a:gd name="connsiteX1831" fmla="*/ 648521 w 2967861"/>
                <a:gd name="connsiteY1831" fmla="*/ 1223467 h 2340761"/>
                <a:gd name="connsiteX1832" fmla="*/ 665285 w 2967861"/>
                <a:gd name="connsiteY1832" fmla="*/ 1234022 h 2340761"/>
                <a:gd name="connsiteX1833" fmla="*/ 680808 w 2967861"/>
                <a:gd name="connsiteY1833" fmla="*/ 1238368 h 2340761"/>
                <a:gd name="connsiteX1834" fmla="*/ 684843 w 2967861"/>
                <a:gd name="connsiteY1834" fmla="*/ 1236195 h 2340761"/>
                <a:gd name="connsiteX1835" fmla="*/ 687948 w 2967861"/>
                <a:gd name="connsiteY1835" fmla="*/ 1233091 h 2340761"/>
                <a:gd name="connsiteX1836" fmla="*/ 690121 w 2967861"/>
                <a:gd name="connsiteY1836" fmla="*/ 1228744 h 2340761"/>
                <a:gd name="connsiteX1837" fmla="*/ 695399 w 2967861"/>
                <a:gd name="connsiteY1837" fmla="*/ 1226571 h 2340761"/>
                <a:gd name="connsiteX1838" fmla="*/ 699434 w 2967861"/>
                <a:gd name="connsiteY1838" fmla="*/ 1225640 h 2340761"/>
                <a:gd name="connsiteX1839" fmla="*/ 704712 w 2967861"/>
                <a:gd name="connsiteY1839" fmla="*/ 1226571 h 2340761"/>
                <a:gd name="connsiteX1840" fmla="*/ 714025 w 2967861"/>
                <a:gd name="connsiteY1840" fmla="*/ 1230918 h 2340761"/>
                <a:gd name="connsiteX1841" fmla="*/ 721165 w 2967861"/>
                <a:gd name="connsiteY1841" fmla="*/ 1234022 h 2340761"/>
                <a:gd name="connsiteX1842" fmla="*/ 728306 w 2967861"/>
                <a:gd name="connsiteY1842" fmla="*/ 1236195 h 2340761"/>
                <a:gd name="connsiteX1843" fmla="*/ 735446 w 2967861"/>
                <a:gd name="connsiteY1843" fmla="*/ 1234022 h 2340761"/>
                <a:gd name="connsiteX1844" fmla="*/ 743828 w 2967861"/>
                <a:gd name="connsiteY1844" fmla="*/ 1226571 h 2340761"/>
                <a:gd name="connsiteX1845" fmla="*/ 750968 w 2967861"/>
                <a:gd name="connsiteY1845" fmla="*/ 1226571 h 2340761"/>
                <a:gd name="connsiteX1846" fmla="*/ 755004 w 2967861"/>
                <a:gd name="connsiteY1846" fmla="*/ 1226571 h 2340761"/>
                <a:gd name="connsiteX1847" fmla="*/ 758109 w 2967861"/>
                <a:gd name="connsiteY1847" fmla="*/ 1226571 h 2340761"/>
                <a:gd name="connsiteX1848" fmla="*/ 760282 w 2967861"/>
                <a:gd name="connsiteY1848" fmla="*/ 1228744 h 2340761"/>
                <a:gd name="connsiteX1849" fmla="*/ 762455 w 2967861"/>
                <a:gd name="connsiteY1849" fmla="*/ 1230918 h 2340761"/>
                <a:gd name="connsiteX1850" fmla="*/ 762455 w 2967861"/>
                <a:gd name="connsiteY1850" fmla="*/ 1234022 h 2340761"/>
                <a:gd name="connsiteX1851" fmla="*/ 764628 w 2967861"/>
                <a:gd name="connsiteY1851" fmla="*/ 1238368 h 2340761"/>
                <a:gd name="connsiteX1852" fmla="*/ 767732 w 2967861"/>
                <a:gd name="connsiteY1852" fmla="*/ 1251097 h 2340761"/>
                <a:gd name="connsiteX1853" fmla="*/ 765870 w 2967861"/>
                <a:gd name="connsiteY1853" fmla="*/ 1265377 h 2340761"/>
                <a:gd name="connsiteX1854" fmla="*/ 845033 w 2967861"/>
                <a:gd name="connsiteY1854" fmla="*/ 1136232 h 2340761"/>
                <a:gd name="connsiteX1855" fmla="*/ 825165 w 2967861"/>
                <a:gd name="connsiteY1855" fmla="*/ 1141509 h 2340761"/>
                <a:gd name="connsiteX1856" fmla="*/ 803434 w 2967861"/>
                <a:gd name="connsiteY1856" fmla="*/ 1143682 h 2340761"/>
                <a:gd name="connsiteX1857" fmla="*/ 781702 w 2967861"/>
                <a:gd name="connsiteY1857" fmla="*/ 1139336 h 2340761"/>
                <a:gd name="connsiteX1858" fmla="*/ 773320 w 2967861"/>
                <a:gd name="connsiteY1858" fmla="*/ 1136232 h 2340761"/>
                <a:gd name="connsiteX1859" fmla="*/ 766180 w 2967861"/>
                <a:gd name="connsiteY1859" fmla="*/ 1130954 h 2340761"/>
                <a:gd name="connsiteX1860" fmla="*/ 756867 w 2967861"/>
                <a:gd name="connsiteY1860" fmla="*/ 1124745 h 2340761"/>
                <a:gd name="connsiteX1861" fmla="*/ 742276 w 2967861"/>
                <a:gd name="connsiteY1861" fmla="*/ 1124745 h 2340761"/>
                <a:gd name="connsiteX1862" fmla="*/ 727685 w 2967861"/>
                <a:gd name="connsiteY1862" fmla="*/ 1126918 h 2340761"/>
                <a:gd name="connsiteX1863" fmla="*/ 713094 w 2967861"/>
                <a:gd name="connsiteY1863" fmla="*/ 1134369 h 2340761"/>
                <a:gd name="connsiteX1864" fmla="*/ 700676 w 2967861"/>
                <a:gd name="connsiteY1864" fmla="*/ 1139647 h 2340761"/>
                <a:gd name="connsiteX1865" fmla="*/ 686085 w 2967861"/>
                <a:gd name="connsiteY1865" fmla="*/ 1141820 h 2340761"/>
                <a:gd name="connsiteX1866" fmla="*/ 671494 w 2967861"/>
                <a:gd name="connsiteY1866" fmla="*/ 1136542 h 2340761"/>
                <a:gd name="connsiteX1867" fmla="*/ 666217 w 2967861"/>
                <a:gd name="connsiteY1867" fmla="*/ 1134369 h 2340761"/>
                <a:gd name="connsiteX1868" fmla="*/ 662181 w 2967861"/>
                <a:gd name="connsiteY1868" fmla="*/ 1132196 h 2340761"/>
                <a:gd name="connsiteX1869" fmla="*/ 659076 w 2967861"/>
                <a:gd name="connsiteY1869" fmla="*/ 1131265 h 2340761"/>
                <a:gd name="connsiteX1870" fmla="*/ 656903 w 2967861"/>
                <a:gd name="connsiteY1870" fmla="*/ 1126918 h 2340761"/>
                <a:gd name="connsiteX1871" fmla="*/ 656903 w 2967861"/>
                <a:gd name="connsiteY1871" fmla="*/ 1123814 h 2340761"/>
                <a:gd name="connsiteX1872" fmla="*/ 654730 w 2967861"/>
                <a:gd name="connsiteY1872" fmla="*/ 1116363 h 2340761"/>
                <a:gd name="connsiteX1873" fmla="*/ 654730 w 2967861"/>
                <a:gd name="connsiteY1873" fmla="*/ 1110154 h 2340761"/>
                <a:gd name="connsiteX1874" fmla="*/ 658766 w 2967861"/>
                <a:gd name="connsiteY1874" fmla="*/ 1099599 h 2340761"/>
                <a:gd name="connsiteX1875" fmla="*/ 665906 w 2967861"/>
                <a:gd name="connsiteY1875" fmla="*/ 1086871 h 2340761"/>
                <a:gd name="connsiteX1876" fmla="*/ 674288 w 2967861"/>
                <a:gd name="connsiteY1876" fmla="*/ 1071969 h 2340761"/>
                <a:gd name="connsiteX1877" fmla="*/ 683602 w 2967861"/>
                <a:gd name="connsiteY1877" fmla="*/ 1057068 h 2340761"/>
                <a:gd name="connsiteX1878" fmla="*/ 690742 w 2967861"/>
                <a:gd name="connsiteY1878" fmla="*/ 1043408 h 2340761"/>
                <a:gd name="connsiteX1879" fmla="*/ 694778 w 2967861"/>
                <a:gd name="connsiteY1879" fmla="*/ 1035026 h 2340761"/>
                <a:gd name="connsiteX1880" fmla="*/ 703160 w 2967861"/>
                <a:gd name="connsiteY1880" fmla="*/ 1037199 h 2340761"/>
                <a:gd name="connsiteX1881" fmla="*/ 710300 w 2967861"/>
                <a:gd name="connsiteY1881" fmla="*/ 1040304 h 2340761"/>
                <a:gd name="connsiteX1882" fmla="*/ 715578 w 2967861"/>
                <a:gd name="connsiteY1882" fmla="*/ 1042477 h 2340761"/>
                <a:gd name="connsiteX1883" fmla="*/ 721786 w 2967861"/>
                <a:gd name="connsiteY1883" fmla="*/ 1047755 h 2340761"/>
                <a:gd name="connsiteX1884" fmla="*/ 724891 w 2967861"/>
                <a:gd name="connsiteY1884" fmla="*/ 1049928 h 2340761"/>
                <a:gd name="connsiteX1885" fmla="*/ 727064 w 2967861"/>
                <a:gd name="connsiteY1885" fmla="*/ 1049928 h 2340761"/>
                <a:gd name="connsiteX1886" fmla="*/ 729237 w 2967861"/>
                <a:gd name="connsiteY1886" fmla="*/ 1049928 h 2340761"/>
                <a:gd name="connsiteX1887" fmla="*/ 730168 w 2967861"/>
                <a:gd name="connsiteY1887" fmla="*/ 1050859 h 2340761"/>
                <a:gd name="connsiteX1888" fmla="*/ 717751 w 2967861"/>
                <a:gd name="connsiteY1888" fmla="*/ 1055205 h 2340761"/>
                <a:gd name="connsiteX1889" fmla="*/ 721786 w 2967861"/>
                <a:gd name="connsiteY1889" fmla="*/ 1064829 h 2340761"/>
                <a:gd name="connsiteX1890" fmla="*/ 728927 w 2967861"/>
                <a:gd name="connsiteY1890" fmla="*/ 1072280 h 2340761"/>
                <a:gd name="connsiteX1891" fmla="*/ 734204 w 2967861"/>
                <a:gd name="connsiteY1891" fmla="*/ 1079731 h 2340761"/>
                <a:gd name="connsiteX1892" fmla="*/ 743518 w 2967861"/>
                <a:gd name="connsiteY1892" fmla="*/ 1080662 h 2340761"/>
                <a:gd name="connsiteX1893" fmla="*/ 755935 w 2967861"/>
                <a:gd name="connsiteY1893" fmla="*/ 1075384 h 2340761"/>
                <a:gd name="connsiteX1894" fmla="*/ 765249 w 2967861"/>
                <a:gd name="connsiteY1894" fmla="*/ 1067934 h 2340761"/>
                <a:gd name="connsiteX1895" fmla="*/ 780771 w 2967861"/>
                <a:gd name="connsiteY1895" fmla="*/ 1073211 h 2340761"/>
                <a:gd name="connsiteX1896" fmla="*/ 800640 w 2967861"/>
                <a:gd name="connsiteY1896" fmla="*/ 1084698 h 2340761"/>
                <a:gd name="connsiteX1897" fmla="*/ 821439 w 2967861"/>
                <a:gd name="connsiteY1897" fmla="*/ 1097426 h 2340761"/>
                <a:gd name="connsiteX1898" fmla="*/ 836030 w 2967861"/>
                <a:gd name="connsiteY1898" fmla="*/ 1110154 h 2340761"/>
                <a:gd name="connsiteX1899" fmla="*/ 844413 w 2967861"/>
                <a:gd name="connsiteY1899" fmla="*/ 1125056 h 2340761"/>
                <a:gd name="connsiteX1900" fmla="*/ 850621 w 2967861"/>
                <a:gd name="connsiteY1900" fmla="*/ 1125056 h 2340761"/>
                <a:gd name="connsiteX1901" fmla="*/ 845033 w 2967861"/>
                <a:gd name="connsiteY1901" fmla="*/ 1136232 h 2340761"/>
                <a:gd name="connsiteX1902" fmla="*/ 1025402 w 2967861"/>
                <a:gd name="connsiteY1902" fmla="*/ 1146787 h 2340761"/>
                <a:gd name="connsiteX1903" fmla="*/ 1022298 w 2967861"/>
                <a:gd name="connsiteY1903" fmla="*/ 1146787 h 2340761"/>
                <a:gd name="connsiteX1904" fmla="*/ 1018262 w 2967861"/>
                <a:gd name="connsiteY1904" fmla="*/ 1146787 h 2340761"/>
                <a:gd name="connsiteX1905" fmla="*/ 1015157 w 2967861"/>
                <a:gd name="connsiteY1905" fmla="*/ 1146787 h 2340761"/>
                <a:gd name="connsiteX1906" fmla="*/ 1011122 w 2967861"/>
                <a:gd name="connsiteY1906" fmla="*/ 1144614 h 2340761"/>
                <a:gd name="connsiteX1907" fmla="*/ 1008949 w 2967861"/>
                <a:gd name="connsiteY1907" fmla="*/ 1161688 h 2340761"/>
                <a:gd name="connsiteX1908" fmla="*/ 1011122 w 2967861"/>
                <a:gd name="connsiteY1908" fmla="*/ 1173175 h 2340761"/>
                <a:gd name="connsiteX1909" fmla="*/ 1016399 w 2967861"/>
                <a:gd name="connsiteY1909" fmla="*/ 1183730 h 2340761"/>
                <a:gd name="connsiteX1910" fmla="*/ 1020435 w 2967861"/>
                <a:gd name="connsiteY1910" fmla="*/ 1196458 h 2340761"/>
                <a:gd name="connsiteX1911" fmla="*/ 1022608 w 2967861"/>
                <a:gd name="connsiteY1911" fmla="*/ 1217569 h 2340761"/>
                <a:gd name="connsiteX1912" fmla="*/ 995600 w 2967861"/>
                <a:gd name="connsiteY1912" fmla="*/ 1218500 h 2340761"/>
                <a:gd name="connsiteX1913" fmla="*/ 976973 w 2967861"/>
                <a:gd name="connsiteY1913" fmla="*/ 1215395 h 2340761"/>
                <a:gd name="connsiteX1914" fmla="*/ 966418 w 2967861"/>
                <a:gd name="connsiteY1914" fmla="*/ 1205772 h 2340761"/>
                <a:gd name="connsiteX1915" fmla="*/ 962382 w 2967861"/>
                <a:gd name="connsiteY1915" fmla="*/ 1188697 h 2340761"/>
                <a:gd name="connsiteX1916" fmla="*/ 962382 w 2967861"/>
                <a:gd name="connsiteY1916" fmla="*/ 1165414 h 2340761"/>
                <a:gd name="connsiteX1917" fmla="*/ 974800 w 2967861"/>
                <a:gd name="connsiteY1917" fmla="*/ 1165414 h 2340761"/>
                <a:gd name="connsiteX1918" fmla="*/ 967660 w 2967861"/>
                <a:gd name="connsiteY1918" fmla="*/ 1151754 h 2340761"/>
                <a:gd name="connsiteX1919" fmla="*/ 955242 w 2967861"/>
                <a:gd name="connsiteY1919" fmla="*/ 1138094 h 2340761"/>
                <a:gd name="connsiteX1920" fmla="*/ 944686 w 2967861"/>
                <a:gd name="connsiteY1920" fmla="*/ 1121020 h 2340761"/>
                <a:gd name="connsiteX1921" fmla="*/ 933200 w 2967861"/>
                <a:gd name="connsiteY1921" fmla="*/ 1103945 h 2340761"/>
                <a:gd name="connsiteX1922" fmla="*/ 927922 w 2967861"/>
                <a:gd name="connsiteY1922" fmla="*/ 1086871 h 2340761"/>
                <a:gd name="connsiteX1923" fmla="*/ 931027 w 2967861"/>
                <a:gd name="connsiteY1923" fmla="*/ 1071038 h 2340761"/>
                <a:gd name="connsiteX1924" fmla="*/ 938167 w 2967861"/>
                <a:gd name="connsiteY1924" fmla="*/ 1059552 h 2340761"/>
                <a:gd name="connsiteX1925" fmla="*/ 949653 w 2967861"/>
                <a:gd name="connsiteY1925" fmla="*/ 1049928 h 2340761"/>
                <a:gd name="connsiteX1926" fmla="*/ 962071 w 2967861"/>
                <a:gd name="connsiteY1926" fmla="*/ 1044650 h 2340761"/>
                <a:gd name="connsiteX1927" fmla="*/ 974489 w 2967861"/>
                <a:gd name="connsiteY1927" fmla="*/ 1039373 h 2340761"/>
                <a:gd name="connsiteX1928" fmla="*/ 985976 w 2967861"/>
                <a:gd name="connsiteY1928" fmla="*/ 1029749 h 2340761"/>
                <a:gd name="connsiteX1929" fmla="*/ 995289 w 2967861"/>
                <a:gd name="connsiteY1929" fmla="*/ 1029749 h 2340761"/>
                <a:gd name="connsiteX1930" fmla="*/ 1000567 w 2967861"/>
                <a:gd name="connsiteY1930" fmla="*/ 1031922 h 2340761"/>
                <a:gd name="connsiteX1931" fmla="*/ 1005844 w 2967861"/>
                <a:gd name="connsiteY1931" fmla="*/ 1031922 h 2340761"/>
                <a:gd name="connsiteX1932" fmla="*/ 1011122 w 2967861"/>
                <a:gd name="connsiteY1932" fmla="*/ 1034095 h 2340761"/>
                <a:gd name="connsiteX1933" fmla="*/ 1008017 w 2967861"/>
                <a:gd name="connsiteY1933" fmla="*/ 1049928 h 2340761"/>
                <a:gd name="connsiteX1934" fmla="*/ 1000877 w 2967861"/>
                <a:gd name="connsiteY1934" fmla="*/ 1063587 h 2340761"/>
                <a:gd name="connsiteX1935" fmla="*/ 986286 w 2967861"/>
                <a:gd name="connsiteY1935" fmla="*/ 1068865 h 2340761"/>
                <a:gd name="connsiteX1936" fmla="*/ 966418 w 2967861"/>
                <a:gd name="connsiteY1936" fmla="*/ 1071038 h 2340761"/>
                <a:gd name="connsiteX1937" fmla="*/ 973558 w 2967861"/>
                <a:gd name="connsiteY1937" fmla="*/ 1086871 h 2340761"/>
                <a:gd name="connsiteX1938" fmla="*/ 985976 w 2967861"/>
                <a:gd name="connsiteY1938" fmla="*/ 1101772 h 2340761"/>
                <a:gd name="connsiteX1939" fmla="*/ 1001498 w 2967861"/>
                <a:gd name="connsiteY1939" fmla="*/ 1111396 h 2340761"/>
                <a:gd name="connsiteX1940" fmla="*/ 1000567 w 2967861"/>
                <a:gd name="connsiteY1940" fmla="*/ 1115742 h 2340761"/>
                <a:gd name="connsiteX1941" fmla="*/ 998394 w 2967861"/>
                <a:gd name="connsiteY1941" fmla="*/ 1116674 h 2340761"/>
                <a:gd name="connsiteX1942" fmla="*/ 996220 w 2967861"/>
                <a:gd name="connsiteY1942" fmla="*/ 1116674 h 2340761"/>
                <a:gd name="connsiteX1943" fmla="*/ 995289 w 2967861"/>
                <a:gd name="connsiteY1943" fmla="*/ 1121020 h 2340761"/>
                <a:gd name="connsiteX1944" fmla="*/ 1000567 w 2967861"/>
                <a:gd name="connsiteY1944" fmla="*/ 1130644 h 2340761"/>
                <a:gd name="connsiteX1945" fmla="*/ 1005844 w 2967861"/>
                <a:gd name="connsiteY1945" fmla="*/ 1139026 h 2340761"/>
                <a:gd name="connsiteX1946" fmla="*/ 1008017 w 2967861"/>
                <a:gd name="connsiteY1946" fmla="*/ 1143372 h 2340761"/>
                <a:gd name="connsiteX1947" fmla="*/ 1008949 w 2967861"/>
                <a:gd name="connsiteY1947" fmla="*/ 1144303 h 2340761"/>
                <a:gd name="connsiteX1948" fmla="*/ 1011122 w 2967861"/>
                <a:gd name="connsiteY1948" fmla="*/ 1143372 h 2340761"/>
                <a:gd name="connsiteX1949" fmla="*/ 1011122 w 2967861"/>
                <a:gd name="connsiteY1949" fmla="*/ 1141199 h 2340761"/>
                <a:gd name="connsiteX1950" fmla="*/ 1013295 w 2967861"/>
                <a:gd name="connsiteY1950" fmla="*/ 1138094 h 2340761"/>
                <a:gd name="connsiteX1951" fmla="*/ 1013295 w 2967861"/>
                <a:gd name="connsiteY1951" fmla="*/ 1133748 h 2340761"/>
                <a:gd name="connsiteX1952" fmla="*/ 1015468 w 2967861"/>
                <a:gd name="connsiteY1952" fmla="*/ 1131575 h 2340761"/>
                <a:gd name="connsiteX1953" fmla="*/ 1018573 w 2967861"/>
                <a:gd name="connsiteY1953" fmla="*/ 1133748 h 2340761"/>
                <a:gd name="connsiteX1954" fmla="*/ 1022608 w 2967861"/>
                <a:gd name="connsiteY1954" fmla="*/ 1138094 h 2340761"/>
                <a:gd name="connsiteX1955" fmla="*/ 1023540 w 2967861"/>
                <a:gd name="connsiteY1955" fmla="*/ 1139026 h 2340761"/>
                <a:gd name="connsiteX1956" fmla="*/ 1027575 w 2967861"/>
                <a:gd name="connsiteY1956" fmla="*/ 1141199 h 2340761"/>
                <a:gd name="connsiteX1957" fmla="*/ 1030680 w 2967861"/>
                <a:gd name="connsiteY1957" fmla="*/ 1144303 h 2340761"/>
                <a:gd name="connsiteX1958" fmla="*/ 1025402 w 2967861"/>
                <a:gd name="connsiteY1958" fmla="*/ 1146787 h 23407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</a:cxnLst>
              <a:rect l="l" t="t" r="r" b="b"/>
              <a:pathLst>
                <a:path w="2967861" h="2340761">
                  <a:moveTo>
                    <a:pt x="2965999" y="516271"/>
                  </a:moveTo>
                  <a:lnTo>
                    <a:pt x="2956685" y="502612"/>
                  </a:lnTo>
                  <a:lnTo>
                    <a:pt x="2945199" y="489883"/>
                  </a:lnTo>
                  <a:lnTo>
                    <a:pt x="2934644" y="477155"/>
                  </a:lnTo>
                  <a:lnTo>
                    <a:pt x="2930608" y="477155"/>
                  </a:lnTo>
                  <a:lnTo>
                    <a:pt x="2929677" y="477155"/>
                  </a:lnTo>
                  <a:lnTo>
                    <a:pt x="2927503" y="479328"/>
                  </a:lnTo>
                  <a:lnTo>
                    <a:pt x="2925330" y="479328"/>
                  </a:lnTo>
                  <a:lnTo>
                    <a:pt x="2923158" y="480260"/>
                  </a:lnTo>
                  <a:lnTo>
                    <a:pt x="2905462" y="477155"/>
                  </a:lnTo>
                  <a:lnTo>
                    <a:pt x="2896149" y="469705"/>
                  </a:lnTo>
                  <a:lnTo>
                    <a:pt x="2889008" y="460081"/>
                  </a:lnTo>
                  <a:lnTo>
                    <a:pt x="2881868" y="449526"/>
                  </a:lnTo>
                  <a:lnTo>
                    <a:pt x="2871313" y="439902"/>
                  </a:lnTo>
                  <a:lnTo>
                    <a:pt x="2866035" y="435555"/>
                  </a:lnTo>
                  <a:lnTo>
                    <a:pt x="2859827" y="435555"/>
                  </a:lnTo>
                  <a:lnTo>
                    <a:pt x="2854549" y="434624"/>
                  </a:lnTo>
                  <a:lnTo>
                    <a:pt x="2849271" y="434624"/>
                  </a:lnTo>
                  <a:lnTo>
                    <a:pt x="2843994" y="430278"/>
                  </a:lnTo>
                  <a:lnTo>
                    <a:pt x="2810776" y="395508"/>
                  </a:lnTo>
                  <a:lnTo>
                    <a:pt x="2751481" y="370051"/>
                  </a:lnTo>
                  <a:lnTo>
                    <a:pt x="2747445" y="370983"/>
                  </a:lnTo>
                  <a:lnTo>
                    <a:pt x="2744340" y="373156"/>
                  </a:lnTo>
                  <a:lnTo>
                    <a:pt x="2740305" y="377502"/>
                  </a:lnTo>
                  <a:lnTo>
                    <a:pt x="2735027" y="378433"/>
                  </a:lnTo>
                  <a:lnTo>
                    <a:pt x="2729750" y="378433"/>
                  </a:lnTo>
                  <a:lnTo>
                    <a:pt x="2723541" y="378433"/>
                  </a:lnTo>
                  <a:lnTo>
                    <a:pt x="2708950" y="373156"/>
                  </a:lnTo>
                  <a:lnTo>
                    <a:pt x="2696532" y="365705"/>
                  </a:lnTo>
                  <a:lnTo>
                    <a:pt x="2678836" y="362601"/>
                  </a:lnTo>
                  <a:lnTo>
                    <a:pt x="2678836" y="367878"/>
                  </a:lnTo>
                  <a:lnTo>
                    <a:pt x="2678836" y="373156"/>
                  </a:lnTo>
                  <a:lnTo>
                    <a:pt x="2676664" y="377502"/>
                  </a:lnTo>
                  <a:lnTo>
                    <a:pt x="2676664" y="380607"/>
                  </a:lnTo>
                  <a:lnTo>
                    <a:pt x="2678836" y="382780"/>
                  </a:lnTo>
                  <a:lnTo>
                    <a:pt x="2681010" y="385884"/>
                  </a:lnTo>
                  <a:lnTo>
                    <a:pt x="2684114" y="392093"/>
                  </a:lnTo>
                  <a:lnTo>
                    <a:pt x="2681941" y="397371"/>
                  </a:lnTo>
                  <a:lnTo>
                    <a:pt x="2681941" y="400475"/>
                  </a:lnTo>
                  <a:lnTo>
                    <a:pt x="2681010" y="404821"/>
                  </a:lnTo>
                  <a:lnTo>
                    <a:pt x="2678836" y="406994"/>
                  </a:lnTo>
                  <a:lnTo>
                    <a:pt x="2678836" y="412272"/>
                  </a:lnTo>
                  <a:lnTo>
                    <a:pt x="2671696" y="406994"/>
                  </a:lnTo>
                  <a:lnTo>
                    <a:pt x="2666419" y="402648"/>
                  </a:lnTo>
                  <a:lnTo>
                    <a:pt x="2660210" y="395198"/>
                  </a:lnTo>
                  <a:lnTo>
                    <a:pt x="2654932" y="389920"/>
                  </a:lnTo>
                  <a:lnTo>
                    <a:pt x="2651828" y="382469"/>
                  </a:lnTo>
                  <a:lnTo>
                    <a:pt x="2616437" y="382469"/>
                  </a:lnTo>
                  <a:lnTo>
                    <a:pt x="2581978" y="382469"/>
                  </a:lnTo>
                  <a:lnTo>
                    <a:pt x="2547518" y="385574"/>
                  </a:lnTo>
                  <a:lnTo>
                    <a:pt x="2544414" y="384642"/>
                  </a:lnTo>
                  <a:lnTo>
                    <a:pt x="2542240" y="380296"/>
                  </a:lnTo>
                  <a:lnTo>
                    <a:pt x="2538205" y="378123"/>
                  </a:lnTo>
                  <a:lnTo>
                    <a:pt x="2535100" y="365395"/>
                  </a:lnTo>
                  <a:lnTo>
                    <a:pt x="2532927" y="350493"/>
                  </a:lnTo>
                  <a:lnTo>
                    <a:pt x="2527650" y="333419"/>
                  </a:lnTo>
                  <a:lnTo>
                    <a:pt x="2515232" y="330314"/>
                  </a:lnTo>
                  <a:lnTo>
                    <a:pt x="2498468" y="327210"/>
                  </a:lnTo>
                  <a:lnTo>
                    <a:pt x="2481703" y="325037"/>
                  </a:lnTo>
                  <a:lnTo>
                    <a:pt x="2464008" y="325037"/>
                  </a:lnTo>
                  <a:lnTo>
                    <a:pt x="2451590" y="330314"/>
                  </a:lnTo>
                  <a:lnTo>
                    <a:pt x="2437931" y="325037"/>
                  </a:lnTo>
                  <a:lnTo>
                    <a:pt x="2427375" y="315413"/>
                  </a:lnTo>
                  <a:lnTo>
                    <a:pt x="2420235" y="304858"/>
                  </a:lnTo>
                  <a:lnTo>
                    <a:pt x="2414958" y="293371"/>
                  </a:lnTo>
                  <a:lnTo>
                    <a:pt x="2401298" y="293371"/>
                  </a:lnTo>
                  <a:lnTo>
                    <a:pt x="2388880" y="293371"/>
                  </a:lnTo>
                  <a:lnTo>
                    <a:pt x="2378325" y="297718"/>
                  </a:lnTo>
                  <a:lnTo>
                    <a:pt x="2373047" y="295544"/>
                  </a:lnTo>
                  <a:lnTo>
                    <a:pt x="2369012" y="293371"/>
                  </a:lnTo>
                  <a:lnTo>
                    <a:pt x="2365907" y="291198"/>
                  </a:lnTo>
                  <a:lnTo>
                    <a:pt x="2365907" y="288094"/>
                  </a:lnTo>
                  <a:lnTo>
                    <a:pt x="2363734" y="285921"/>
                  </a:lnTo>
                  <a:lnTo>
                    <a:pt x="2363734" y="282816"/>
                  </a:lnTo>
                  <a:lnTo>
                    <a:pt x="2361561" y="276607"/>
                  </a:lnTo>
                  <a:lnTo>
                    <a:pt x="2358457" y="273503"/>
                  </a:lnTo>
                  <a:lnTo>
                    <a:pt x="2351316" y="268225"/>
                  </a:lnTo>
                  <a:lnTo>
                    <a:pt x="2334552" y="262016"/>
                  </a:lnTo>
                  <a:lnTo>
                    <a:pt x="2315925" y="256739"/>
                  </a:lnTo>
                  <a:lnTo>
                    <a:pt x="2296057" y="251461"/>
                  </a:lnTo>
                  <a:lnTo>
                    <a:pt x="2276188" y="249288"/>
                  </a:lnTo>
                  <a:lnTo>
                    <a:pt x="2258493" y="249288"/>
                  </a:lnTo>
                  <a:lnTo>
                    <a:pt x="2247007" y="253634"/>
                  </a:lnTo>
                  <a:lnTo>
                    <a:pt x="2234589" y="256739"/>
                  </a:lnTo>
                  <a:lnTo>
                    <a:pt x="2237693" y="273813"/>
                  </a:lnTo>
                  <a:lnTo>
                    <a:pt x="2241729" y="286541"/>
                  </a:lnTo>
                  <a:lnTo>
                    <a:pt x="2243902" y="305479"/>
                  </a:lnTo>
                  <a:lnTo>
                    <a:pt x="2236762" y="305479"/>
                  </a:lnTo>
                  <a:lnTo>
                    <a:pt x="2232726" y="303306"/>
                  </a:lnTo>
                  <a:lnTo>
                    <a:pt x="2227448" y="303306"/>
                  </a:lnTo>
                  <a:lnTo>
                    <a:pt x="2225275" y="303306"/>
                  </a:lnTo>
                  <a:lnTo>
                    <a:pt x="2222171" y="303306"/>
                  </a:lnTo>
                  <a:lnTo>
                    <a:pt x="2218135" y="306410"/>
                  </a:lnTo>
                  <a:lnTo>
                    <a:pt x="2215030" y="310756"/>
                  </a:lnTo>
                  <a:lnTo>
                    <a:pt x="2207890" y="306410"/>
                  </a:lnTo>
                  <a:lnTo>
                    <a:pt x="2201681" y="303306"/>
                  </a:lnTo>
                  <a:lnTo>
                    <a:pt x="2198577" y="298028"/>
                  </a:lnTo>
                  <a:lnTo>
                    <a:pt x="2193299" y="293682"/>
                  </a:lnTo>
                  <a:lnTo>
                    <a:pt x="2188022" y="288404"/>
                  </a:lnTo>
                  <a:lnTo>
                    <a:pt x="2174362" y="310756"/>
                  </a:lnTo>
                  <a:lnTo>
                    <a:pt x="2165980" y="308583"/>
                  </a:lnTo>
                  <a:lnTo>
                    <a:pt x="2158840" y="306410"/>
                  </a:lnTo>
                  <a:lnTo>
                    <a:pt x="2152631" y="303306"/>
                  </a:lnTo>
                  <a:lnTo>
                    <a:pt x="2149526" y="298028"/>
                  </a:lnTo>
                  <a:lnTo>
                    <a:pt x="2147353" y="290577"/>
                  </a:lnTo>
                  <a:lnTo>
                    <a:pt x="2147353" y="280953"/>
                  </a:lnTo>
                  <a:lnTo>
                    <a:pt x="2140213" y="290577"/>
                  </a:lnTo>
                  <a:lnTo>
                    <a:pt x="2137109" y="301132"/>
                  </a:lnTo>
                  <a:lnTo>
                    <a:pt x="2133073" y="312619"/>
                  </a:lnTo>
                  <a:lnTo>
                    <a:pt x="2127795" y="321001"/>
                  </a:lnTo>
                  <a:lnTo>
                    <a:pt x="2125622" y="323174"/>
                  </a:lnTo>
                  <a:lnTo>
                    <a:pt x="2123449" y="325347"/>
                  </a:lnTo>
                  <a:lnTo>
                    <a:pt x="2112894" y="317896"/>
                  </a:lnTo>
                  <a:lnTo>
                    <a:pt x="2100476" y="310446"/>
                  </a:lnTo>
                  <a:lnTo>
                    <a:pt x="2091163" y="300822"/>
                  </a:lnTo>
                  <a:lnTo>
                    <a:pt x="2088989" y="295544"/>
                  </a:lnTo>
                  <a:lnTo>
                    <a:pt x="2088058" y="291198"/>
                  </a:lnTo>
                  <a:lnTo>
                    <a:pt x="2088058" y="288094"/>
                  </a:lnTo>
                  <a:lnTo>
                    <a:pt x="2085885" y="283747"/>
                  </a:lnTo>
                  <a:lnTo>
                    <a:pt x="2083712" y="280643"/>
                  </a:lnTo>
                  <a:lnTo>
                    <a:pt x="2090852" y="261706"/>
                  </a:lnTo>
                  <a:lnTo>
                    <a:pt x="2103270" y="248978"/>
                  </a:lnTo>
                  <a:lnTo>
                    <a:pt x="2093957" y="212034"/>
                  </a:lnTo>
                  <a:lnTo>
                    <a:pt x="2090852" y="212034"/>
                  </a:lnTo>
                  <a:lnTo>
                    <a:pt x="2090852" y="206757"/>
                  </a:lnTo>
                  <a:lnTo>
                    <a:pt x="2070984" y="208930"/>
                  </a:lnTo>
                  <a:lnTo>
                    <a:pt x="2058566" y="214208"/>
                  </a:lnTo>
                  <a:lnTo>
                    <a:pt x="2047079" y="223831"/>
                  </a:lnTo>
                  <a:lnTo>
                    <a:pt x="2036524" y="218554"/>
                  </a:lnTo>
                  <a:lnTo>
                    <a:pt x="2025038" y="212345"/>
                  </a:lnTo>
                  <a:lnTo>
                    <a:pt x="2014482" y="207067"/>
                  </a:lnTo>
                  <a:lnTo>
                    <a:pt x="2012310" y="209240"/>
                  </a:lnTo>
                  <a:lnTo>
                    <a:pt x="2012310" y="211414"/>
                  </a:lnTo>
                  <a:lnTo>
                    <a:pt x="2010136" y="211414"/>
                  </a:lnTo>
                  <a:lnTo>
                    <a:pt x="2007032" y="212345"/>
                  </a:lnTo>
                  <a:lnTo>
                    <a:pt x="2007032" y="218554"/>
                  </a:lnTo>
                  <a:lnTo>
                    <a:pt x="2007032" y="223831"/>
                  </a:lnTo>
                  <a:lnTo>
                    <a:pt x="2007032" y="226936"/>
                  </a:lnTo>
                  <a:lnTo>
                    <a:pt x="2007032" y="229109"/>
                  </a:lnTo>
                  <a:lnTo>
                    <a:pt x="2007032" y="232213"/>
                  </a:lnTo>
                  <a:lnTo>
                    <a:pt x="2002996" y="243700"/>
                  </a:lnTo>
                  <a:lnTo>
                    <a:pt x="1950841" y="239354"/>
                  </a:lnTo>
                  <a:lnTo>
                    <a:pt x="1948668" y="234076"/>
                  </a:lnTo>
                  <a:lnTo>
                    <a:pt x="1948668" y="228799"/>
                  </a:lnTo>
                  <a:lnTo>
                    <a:pt x="1946495" y="223521"/>
                  </a:lnTo>
                  <a:lnTo>
                    <a:pt x="1946495" y="218243"/>
                  </a:lnTo>
                  <a:lnTo>
                    <a:pt x="1946495" y="216070"/>
                  </a:lnTo>
                  <a:lnTo>
                    <a:pt x="1934077" y="206446"/>
                  </a:lnTo>
                  <a:lnTo>
                    <a:pt x="1921659" y="204273"/>
                  </a:lnTo>
                  <a:lnTo>
                    <a:pt x="1904895" y="204273"/>
                  </a:lnTo>
                  <a:lnTo>
                    <a:pt x="1887200" y="206446"/>
                  </a:lnTo>
                  <a:lnTo>
                    <a:pt x="1887200" y="219175"/>
                  </a:lnTo>
                  <a:lnTo>
                    <a:pt x="1877886" y="219175"/>
                  </a:lnTo>
                  <a:lnTo>
                    <a:pt x="1877886" y="218243"/>
                  </a:lnTo>
                  <a:lnTo>
                    <a:pt x="1875713" y="218243"/>
                  </a:lnTo>
                  <a:lnTo>
                    <a:pt x="1873540" y="216070"/>
                  </a:lnTo>
                  <a:lnTo>
                    <a:pt x="1875713" y="206446"/>
                  </a:lnTo>
                  <a:lnTo>
                    <a:pt x="1877886" y="198996"/>
                  </a:lnTo>
                  <a:lnTo>
                    <a:pt x="1880060" y="193718"/>
                  </a:lnTo>
                  <a:lnTo>
                    <a:pt x="1883164" y="188441"/>
                  </a:lnTo>
                  <a:lnTo>
                    <a:pt x="1883164" y="182232"/>
                  </a:lnTo>
                  <a:lnTo>
                    <a:pt x="1873851" y="186578"/>
                  </a:lnTo>
                  <a:lnTo>
                    <a:pt x="1866710" y="191856"/>
                  </a:lnTo>
                  <a:lnTo>
                    <a:pt x="1859570" y="197133"/>
                  </a:lnTo>
                  <a:lnTo>
                    <a:pt x="1854293" y="203342"/>
                  </a:lnTo>
                  <a:lnTo>
                    <a:pt x="1851188" y="201169"/>
                  </a:lnTo>
                  <a:lnTo>
                    <a:pt x="1849015" y="201169"/>
                  </a:lnTo>
                  <a:lnTo>
                    <a:pt x="1849015" y="198996"/>
                  </a:lnTo>
                  <a:lnTo>
                    <a:pt x="1849015" y="196823"/>
                  </a:lnTo>
                  <a:lnTo>
                    <a:pt x="1849015" y="195891"/>
                  </a:lnTo>
                  <a:lnTo>
                    <a:pt x="1851188" y="191545"/>
                  </a:lnTo>
                  <a:lnTo>
                    <a:pt x="1851188" y="188441"/>
                  </a:lnTo>
                  <a:lnTo>
                    <a:pt x="1834424" y="186267"/>
                  </a:lnTo>
                  <a:lnTo>
                    <a:pt x="1819833" y="188441"/>
                  </a:lnTo>
                  <a:lnTo>
                    <a:pt x="1807415" y="195891"/>
                  </a:lnTo>
                  <a:lnTo>
                    <a:pt x="1803379" y="195891"/>
                  </a:lnTo>
                  <a:lnTo>
                    <a:pt x="1815797" y="180990"/>
                  </a:lnTo>
                  <a:lnTo>
                    <a:pt x="1832561" y="169503"/>
                  </a:lnTo>
                  <a:lnTo>
                    <a:pt x="1849325" y="159880"/>
                  </a:lnTo>
                  <a:lnTo>
                    <a:pt x="1863916" y="151498"/>
                  </a:lnTo>
                  <a:lnTo>
                    <a:pt x="1869194" y="141874"/>
                  </a:lnTo>
                  <a:lnTo>
                    <a:pt x="1873230" y="132250"/>
                  </a:lnTo>
                  <a:lnTo>
                    <a:pt x="1878507" y="123868"/>
                  </a:lnTo>
                  <a:lnTo>
                    <a:pt x="1890925" y="114244"/>
                  </a:lnTo>
                  <a:lnTo>
                    <a:pt x="1890925" y="90029"/>
                  </a:lnTo>
                  <a:lnTo>
                    <a:pt x="1881612" y="77301"/>
                  </a:lnTo>
                  <a:lnTo>
                    <a:pt x="1873230" y="65815"/>
                  </a:lnTo>
                  <a:lnTo>
                    <a:pt x="1861743" y="57432"/>
                  </a:lnTo>
                  <a:lnTo>
                    <a:pt x="1847152" y="49982"/>
                  </a:lnTo>
                  <a:lnTo>
                    <a:pt x="1847152" y="47809"/>
                  </a:lnTo>
                  <a:lnTo>
                    <a:pt x="1847152" y="45636"/>
                  </a:lnTo>
                  <a:lnTo>
                    <a:pt x="1844979" y="43462"/>
                  </a:lnTo>
                  <a:lnTo>
                    <a:pt x="1844048" y="45636"/>
                  </a:lnTo>
                  <a:lnTo>
                    <a:pt x="1827284" y="50913"/>
                  </a:lnTo>
                  <a:lnTo>
                    <a:pt x="1812693" y="53086"/>
                  </a:lnTo>
                  <a:lnTo>
                    <a:pt x="1800275" y="55259"/>
                  </a:lnTo>
                  <a:lnTo>
                    <a:pt x="1787857" y="60537"/>
                  </a:lnTo>
                  <a:lnTo>
                    <a:pt x="1780717" y="50913"/>
                  </a:lnTo>
                  <a:lnTo>
                    <a:pt x="1773577" y="43462"/>
                  </a:lnTo>
                  <a:lnTo>
                    <a:pt x="1766436" y="40358"/>
                  </a:lnTo>
                  <a:lnTo>
                    <a:pt x="1751845" y="36012"/>
                  </a:lnTo>
                  <a:lnTo>
                    <a:pt x="1752777" y="30734"/>
                  </a:lnTo>
                  <a:lnTo>
                    <a:pt x="1754950" y="28561"/>
                  </a:lnTo>
                  <a:lnTo>
                    <a:pt x="1757123" y="25457"/>
                  </a:lnTo>
                  <a:lnTo>
                    <a:pt x="1760227" y="23283"/>
                  </a:lnTo>
                  <a:lnTo>
                    <a:pt x="1762401" y="22352"/>
                  </a:lnTo>
                  <a:lnTo>
                    <a:pt x="1767678" y="20179"/>
                  </a:lnTo>
                  <a:lnTo>
                    <a:pt x="1766747" y="14901"/>
                  </a:lnTo>
                  <a:lnTo>
                    <a:pt x="1762711" y="10555"/>
                  </a:lnTo>
                  <a:lnTo>
                    <a:pt x="1760538" y="7451"/>
                  </a:lnTo>
                  <a:lnTo>
                    <a:pt x="1759607" y="5278"/>
                  </a:lnTo>
                  <a:lnTo>
                    <a:pt x="1755571" y="0"/>
                  </a:lnTo>
                  <a:lnTo>
                    <a:pt x="1735702" y="0"/>
                  </a:lnTo>
                  <a:lnTo>
                    <a:pt x="1731666" y="18006"/>
                  </a:lnTo>
                  <a:lnTo>
                    <a:pt x="1721111" y="28561"/>
                  </a:lnTo>
                  <a:lnTo>
                    <a:pt x="1708693" y="38185"/>
                  </a:lnTo>
                  <a:lnTo>
                    <a:pt x="1695034" y="45636"/>
                  </a:lnTo>
                  <a:lnTo>
                    <a:pt x="1679511" y="53086"/>
                  </a:lnTo>
                  <a:lnTo>
                    <a:pt x="1679511" y="73265"/>
                  </a:lnTo>
                  <a:lnTo>
                    <a:pt x="1674234" y="73265"/>
                  </a:lnTo>
                  <a:lnTo>
                    <a:pt x="1668025" y="72334"/>
                  </a:lnTo>
                  <a:lnTo>
                    <a:pt x="1664921" y="72334"/>
                  </a:lnTo>
                  <a:lnTo>
                    <a:pt x="1659643" y="70161"/>
                  </a:lnTo>
                  <a:lnTo>
                    <a:pt x="1653434" y="75438"/>
                  </a:lnTo>
                  <a:lnTo>
                    <a:pt x="1646294" y="82889"/>
                  </a:lnTo>
                  <a:lnTo>
                    <a:pt x="1639153" y="88167"/>
                  </a:lnTo>
                  <a:lnTo>
                    <a:pt x="1632013" y="94376"/>
                  </a:lnTo>
                  <a:lnTo>
                    <a:pt x="1626736" y="94376"/>
                  </a:lnTo>
                  <a:lnTo>
                    <a:pt x="1616181" y="94376"/>
                  </a:lnTo>
                  <a:lnTo>
                    <a:pt x="1601590" y="94376"/>
                  </a:lnTo>
                  <a:lnTo>
                    <a:pt x="1586999" y="94376"/>
                  </a:lnTo>
                  <a:lnTo>
                    <a:pt x="1575512" y="94376"/>
                  </a:lnTo>
                  <a:lnTo>
                    <a:pt x="1572408" y="99653"/>
                  </a:lnTo>
                  <a:lnTo>
                    <a:pt x="1570235" y="104931"/>
                  </a:lnTo>
                  <a:lnTo>
                    <a:pt x="1567130" y="110208"/>
                  </a:lnTo>
                  <a:lnTo>
                    <a:pt x="1564957" y="117659"/>
                  </a:lnTo>
                  <a:lnTo>
                    <a:pt x="1543226" y="117659"/>
                  </a:lnTo>
                  <a:lnTo>
                    <a:pt x="1526462" y="123868"/>
                  </a:lnTo>
                  <a:lnTo>
                    <a:pt x="1511871" y="130077"/>
                  </a:lnTo>
                  <a:lnTo>
                    <a:pt x="1497280" y="141563"/>
                  </a:lnTo>
                  <a:lnTo>
                    <a:pt x="1484862" y="152118"/>
                  </a:lnTo>
                  <a:lnTo>
                    <a:pt x="1468098" y="161742"/>
                  </a:lnTo>
                  <a:lnTo>
                    <a:pt x="1462821" y="180679"/>
                  </a:lnTo>
                  <a:lnTo>
                    <a:pt x="1459716" y="198685"/>
                  </a:lnTo>
                  <a:lnTo>
                    <a:pt x="1455680" y="215760"/>
                  </a:lnTo>
                  <a:lnTo>
                    <a:pt x="1452576" y="215760"/>
                  </a:lnTo>
                  <a:lnTo>
                    <a:pt x="1445436" y="198685"/>
                  </a:lnTo>
                  <a:lnTo>
                    <a:pt x="1419358" y="203963"/>
                  </a:lnTo>
                  <a:lnTo>
                    <a:pt x="1395454" y="211414"/>
                  </a:lnTo>
                  <a:lnTo>
                    <a:pt x="1399490" y="233766"/>
                  </a:lnTo>
                  <a:lnTo>
                    <a:pt x="1404767" y="253945"/>
                  </a:lnTo>
                  <a:lnTo>
                    <a:pt x="1410045" y="275055"/>
                  </a:lnTo>
                  <a:lnTo>
                    <a:pt x="1419358" y="290888"/>
                  </a:lnTo>
                  <a:lnTo>
                    <a:pt x="1431776" y="304547"/>
                  </a:lnTo>
                  <a:lnTo>
                    <a:pt x="1431776" y="312929"/>
                  </a:lnTo>
                  <a:lnTo>
                    <a:pt x="1416254" y="302374"/>
                  </a:lnTo>
                  <a:lnTo>
                    <a:pt x="1399490" y="287473"/>
                  </a:lnTo>
                  <a:lnTo>
                    <a:pt x="1388934" y="272571"/>
                  </a:lnTo>
                  <a:lnTo>
                    <a:pt x="1368135" y="272571"/>
                  </a:lnTo>
                  <a:lnTo>
                    <a:pt x="1352612" y="275676"/>
                  </a:lnTo>
                  <a:lnTo>
                    <a:pt x="1338953" y="283127"/>
                  </a:lnTo>
                  <a:lnTo>
                    <a:pt x="1331812" y="274745"/>
                  </a:lnTo>
                  <a:lnTo>
                    <a:pt x="1328708" y="263258"/>
                  </a:lnTo>
                  <a:lnTo>
                    <a:pt x="1324672" y="252703"/>
                  </a:lnTo>
                  <a:lnTo>
                    <a:pt x="1321568" y="250530"/>
                  </a:lnTo>
                  <a:lnTo>
                    <a:pt x="1321568" y="249909"/>
                  </a:lnTo>
                  <a:lnTo>
                    <a:pt x="1319394" y="249909"/>
                  </a:lnTo>
                  <a:lnTo>
                    <a:pt x="1316290" y="249909"/>
                  </a:lnTo>
                  <a:lnTo>
                    <a:pt x="1312254" y="249909"/>
                  </a:lnTo>
                  <a:lnTo>
                    <a:pt x="1312254" y="284679"/>
                  </a:lnTo>
                  <a:lnTo>
                    <a:pt x="1289281" y="305789"/>
                  </a:lnTo>
                  <a:lnTo>
                    <a:pt x="1294559" y="320691"/>
                  </a:lnTo>
                  <a:lnTo>
                    <a:pt x="1299837" y="331246"/>
                  </a:lnTo>
                  <a:lnTo>
                    <a:pt x="1305114" y="343974"/>
                  </a:lnTo>
                  <a:lnTo>
                    <a:pt x="1309150" y="362911"/>
                  </a:lnTo>
                  <a:lnTo>
                    <a:pt x="1329018" y="370362"/>
                  </a:lnTo>
                  <a:lnTo>
                    <a:pt x="1350750" y="378744"/>
                  </a:lnTo>
                  <a:lnTo>
                    <a:pt x="1368445" y="386195"/>
                  </a:lnTo>
                  <a:lnTo>
                    <a:pt x="1368445" y="392403"/>
                  </a:lnTo>
                  <a:lnTo>
                    <a:pt x="1350750" y="386195"/>
                  </a:lnTo>
                  <a:lnTo>
                    <a:pt x="1332123" y="386195"/>
                  </a:lnTo>
                  <a:lnTo>
                    <a:pt x="1312254" y="386195"/>
                  </a:lnTo>
                  <a:lnTo>
                    <a:pt x="1314427" y="401096"/>
                  </a:lnTo>
                  <a:lnTo>
                    <a:pt x="1316601" y="418170"/>
                  </a:lnTo>
                  <a:lnTo>
                    <a:pt x="1319705" y="435245"/>
                  </a:lnTo>
                  <a:lnTo>
                    <a:pt x="1316601" y="453251"/>
                  </a:lnTo>
                  <a:lnTo>
                    <a:pt x="1310392" y="464737"/>
                  </a:lnTo>
                  <a:lnTo>
                    <a:pt x="1303251" y="479639"/>
                  </a:lnTo>
                  <a:lnTo>
                    <a:pt x="1296111" y="492367"/>
                  </a:lnTo>
                  <a:lnTo>
                    <a:pt x="1293006" y="494540"/>
                  </a:lnTo>
                  <a:lnTo>
                    <a:pt x="1290833" y="495472"/>
                  </a:lnTo>
                  <a:lnTo>
                    <a:pt x="1289902" y="497645"/>
                  </a:lnTo>
                  <a:lnTo>
                    <a:pt x="1269102" y="497645"/>
                  </a:lnTo>
                  <a:lnTo>
                    <a:pt x="1269102" y="492057"/>
                  </a:lnTo>
                  <a:lnTo>
                    <a:pt x="1276243" y="489883"/>
                  </a:lnTo>
                  <a:lnTo>
                    <a:pt x="1282452" y="486779"/>
                  </a:lnTo>
                  <a:lnTo>
                    <a:pt x="1287729" y="484606"/>
                  </a:lnTo>
                  <a:lnTo>
                    <a:pt x="1290833" y="480260"/>
                  </a:lnTo>
                  <a:lnTo>
                    <a:pt x="1296111" y="477155"/>
                  </a:lnTo>
                  <a:lnTo>
                    <a:pt x="1296111" y="460081"/>
                  </a:lnTo>
                  <a:lnTo>
                    <a:pt x="1300147" y="447352"/>
                  </a:lnTo>
                  <a:lnTo>
                    <a:pt x="1305424" y="435866"/>
                  </a:lnTo>
                  <a:lnTo>
                    <a:pt x="1302320" y="429657"/>
                  </a:lnTo>
                  <a:lnTo>
                    <a:pt x="1300147" y="423448"/>
                  </a:lnTo>
                  <a:lnTo>
                    <a:pt x="1296111" y="420344"/>
                  </a:lnTo>
                  <a:lnTo>
                    <a:pt x="1293006" y="415997"/>
                  </a:lnTo>
                  <a:lnTo>
                    <a:pt x="1290833" y="412893"/>
                  </a:lnTo>
                  <a:lnTo>
                    <a:pt x="1289902" y="407615"/>
                  </a:lnTo>
                  <a:lnTo>
                    <a:pt x="1289902" y="400165"/>
                  </a:lnTo>
                  <a:lnTo>
                    <a:pt x="1293006" y="390541"/>
                  </a:lnTo>
                  <a:lnTo>
                    <a:pt x="1296111" y="379054"/>
                  </a:lnTo>
                  <a:lnTo>
                    <a:pt x="1296111" y="366326"/>
                  </a:lnTo>
                  <a:lnTo>
                    <a:pt x="1293006" y="355771"/>
                  </a:lnTo>
                  <a:lnTo>
                    <a:pt x="1289902" y="340870"/>
                  </a:lnTo>
                  <a:lnTo>
                    <a:pt x="1283693" y="328141"/>
                  </a:lnTo>
                  <a:lnTo>
                    <a:pt x="1280589" y="318517"/>
                  </a:lnTo>
                  <a:lnTo>
                    <a:pt x="1282762" y="311067"/>
                  </a:lnTo>
                  <a:lnTo>
                    <a:pt x="1283693" y="299580"/>
                  </a:lnTo>
                  <a:lnTo>
                    <a:pt x="1287729" y="286852"/>
                  </a:lnTo>
                  <a:lnTo>
                    <a:pt x="1290833" y="271951"/>
                  </a:lnTo>
                  <a:lnTo>
                    <a:pt x="1293006" y="257049"/>
                  </a:lnTo>
                  <a:lnTo>
                    <a:pt x="1285866" y="249598"/>
                  </a:lnTo>
                  <a:lnTo>
                    <a:pt x="1280589" y="239975"/>
                  </a:lnTo>
                  <a:lnTo>
                    <a:pt x="1260720" y="239043"/>
                  </a:lnTo>
                  <a:lnTo>
                    <a:pt x="1243956" y="239975"/>
                  </a:lnTo>
                  <a:lnTo>
                    <a:pt x="1234643" y="246184"/>
                  </a:lnTo>
                  <a:lnTo>
                    <a:pt x="1227502" y="254566"/>
                  </a:lnTo>
                  <a:lnTo>
                    <a:pt x="1222225" y="266052"/>
                  </a:lnTo>
                  <a:lnTo>
                    <a:pt x="1218189" y="276607"/>
                  </a:lnTo>
                  <a:lnTo>
                    <a:pt x="1215085" y="290267"/>
                  </a:lnTo>
                  <a:lnTo>
                    <a:pt x="1211049" y="300822"/>
                  </a:lnTo>
                  <a:lnTo>
                    <a:pt x="1203909" y="310446"/>
                  </a:lnTo>
                  <a:lnTo>
                    <a:pt x="1193353" y="317896"/>
                  </a:lnTo>
                  <a:lnTo>
                    <a:pt x="1196458" y="338075"/>
                  </a:lnTo>
                  <a:lnTo>
                    <a:pt x="1198631" y="352977"/>
                  </a:lnTo>
                  <a:lnTo>
                    <a:pt x="1202667" y="370051"/>
                  </a:lnTo>
                  <a:lnTo>
                    <a:pt x="1200494" y="392403"/>
                  </a:lnTo>
                  <a:lnTo>
                    <a:pt x="1217258" y="392403"/>
                  </a:lnTo>
                  <a:lnTo>
                    <a:pt x="1218189" y="399854"/>
                  </a:lnTo>
                  <a:lnTo>
                    <a:pt x="1222225" y="405132"/>
                  </a:lnTo>
                  <a:lnTo>
                    <a:pt x="1224398" y="410409"/>
                  </a:lnTo>
                  <a:lnTo>
                    <a:pt x="1227502" y="414756"/>
                  </a:lnTo>
                  <a:lnTo>
                    <a:pt x="1232780" y="420033"/>
                  </a:lnTo>
                  <a:lnTo>
                    <a:pt x="1231849" y="423138"/>
                  </a:lnTo>
                  <a:lnTo>
                    <a:pt x="1231849" y="425311"/>
                  </a:lnTo>
                  <a:lnTo>
                    <a:pt x="1229676" y="427484"/>
                  </a:lnTo>
                  <a:lnTo>
                    <a:pt x="1220362" y="423138"/>
                  </a:lnTo>
                  <a:lnTo>
                    <a:pt x="1205771" y="415687"/>
                  </a:lnTo>
                  <a:lnTo>
                    <a:pt x="1190249" y="402959"/>
                  </a:lnTo>
                  <a:lnTo>
                    <a:pt x="1171622" y="390230"/>
                  </a:lnTo>
                  <a:lnTo>
                    <a:pt x="1159204" y="377502"/>
                  </a:lnTo>
                  <a:lnTo>
                    <a:pt x="1149891" y="366016"/>
                  </a:lnTo>
                  <a:lnTo>
                    <a:pt x="1142751" y="366016"/>
                  </a:lnTo>
                  <a:lnTo>
                    <a:pt x="1135611" y="366016"/>
                  </a:lnTo>
                  <a:lnTo>
                    <a:pt x="1130333" y="363842"/>
                  </a:lnTo>
                  <a:lnTo>
                    <a:pt x="1126297" y="362911"/>
                  </a:lnTo>
                  <a:lnTo>
                    <a:pt x="1119157" y="366016"/>
                  </a:lnTo>
                  <a:lnTo>
                    <a:pt x="1116052" y="368189"/>
                  </a:lnTo>
                  <a:lnTo>
                    <a:pt x="1112017" y="371293"/>
                  </a:lnTo>
                  <a:lnTo>
                    <a:pt x="1106739" y="375639"/>
                  </a:lnTo>
                  <a:lnTo>
                    <a:pt x="1106739" y="383090"/>
                  </a:lnTo>
                  <a:lnTo>
                    <a:pt x="1106739" y="388368"/>
                  </a:lnTo>
                  <a:lnTo>
                    <a:pt x="1108912" y="392714"/>
                  </a:lnTo>
                  <a:lnTo>
                    <a:pt x="1111085" y="395818"/>
                  </a:lnTo>
                  <a:lnTo>
                    <a:pt x="1114190" y="400165"/>
                  </a:lnTo>
                  <a:lnTo>
                    <a:pt x="1114190" y="405442"/>
                  </a:lnTo>
                  <a:lnTo>
                    <a:pt x="1112017" y="410720"/>
                  </a:lnTo>
                  <a:lnTo>
                    <a:pt x="1112017" y="415066"/>
                  </a:lnTo>
                  <a:lnTo>
                    <a:pt x="1111085" y="415997"/>
                  </a:lnTo>
                  <a:lnTo>
                    <a:pt x="1108912" y="420344"/>
                  </a:lnTo>
                  <a:lnTo>
                    <a:pt x="1106739" y="423448"/>
                  </a:lnTo>
                  <a:lnTo>
                    <a:pt x="1099599" y="422517"/>
                  </a:lnTo>
                  <a:lnTo>
                    <a:pt x="1096495" y="422517"/>
                  </a:lnTo>
                  <a:lnTo>
                    <a:pt x="1094321" y="420344"/>
                  </a:lnTo>
                  <a:lnTo>
                    <a:pt x="1092148" y="418170"/>
                  </a:lnTo>
                  <a:lnTo>
                    <a:pt x="1089044" y="415066"/>
                  </a:lnTo>
                  <a:lnTo>
                    <a:pt x="1086871" y="412893"/>
                  </a:lnTo>
                  <a:lnTo>
                    <a:pt x="1083766" y="412893"/>
                  </a:lnTo>
                  <a:lnTo>
                    <a:pt x="1072280" y="415997"/>
                  </a:lnTo>
                  <a:lnTo>
                    <a:pt x="1061724" y="420344"/>
                  </a:lnTo>
                  <a:lnTo>
                    <a:pt x="1048065" y="425621"/>
                  </a:lnTo>
                  <a:lnTo>
                    <a:pt x="1035647" y="430899"/>
                  </a:lnTo>
                  <a:lnTo>
                    <a:pt x="1030369" y="436176"/>
                  </a:lnTo>
                  <a:lnTo>
                    <a:pt x="1021056" y="436176"/>
                  </a:lnTo>
                  <a:lnTo>
                    <a:pt x="1028196" y="425621"/>
                  </a:lnTo>
                  <a:lnTo>
                    <a:pt x="1035336" y="420344"/>
                  </a:lnTo>
                  <a:lnTo>
                    <a:pt x="1044650" y="415066"/>
                  </a:lnTo>
                  <a:lnTo>
                    <a:pt x="1053963" y="407615"/>
                  </a:lnTo>
                  <a:lnTo>
                    <a:pt x="1040304" y="403269"/>
                  </a:lnTo>
                  <a:lnTo>
                    <a:pt x="1025713" y="400165"/>
                  </a:lnTo>
                  <a:lnTo>
                    <a:pt x="1010190" y="400165"/>
                  </a:lnTo>
                  <a:lnTo>
                    <a:pt x="1008017" y="407615"/>
                  </a:lnTo>
                  <a:lnTo>
                    <a:pt x="1008017" y="412893"/>
                  </a:lnTo>
                  <a:lnTo>
                    <a:pt x="1005844" y="415997"/>
                  </a:lnTo>
                  <a:lnTo>
                    <a:pt x="1003671" y="420344"/>
                  </a:lnTo>
                  <a:lnTo>
                    <a:pt x="1000567" y="423448"/>
                  </a:lnTo>
                  <a:lnTo>
                    <a:pt x="1000567" y="427794"/>
                  </a:lnTo>
                  <a:lnTo>
                    <a:pt x="996531" y="425621"/>
                  </a:lnTo>
                  <a:lnTo>
                    <a:pt x="995600" y="422517"/>
                  </a:lnTo>
                  <a:lnTo>
                    <a:pt x="993426" y="420344"/>
                  </a:lnTo>
                  <a:lnTo>
                    <a:pt x="991253" y="415997"/>
                  </a:lnTo>
                  <a:lnTo>
                    <a:pt x="990322" y="412893"/>
                  </a:lnTo>
                  <a:lnTo>
                    <a:pt x="986286" y="410720"/>
                  </a:lnTo>
                  <a:lnTo>
                    <a:pt x="983182" y="408547"/>
                  </a:lnTo>
                  <a:lnTo>
                    <a:pt x="981009" y="410720"/>
                  </a:lnTo>
                  <a:lnTo>
                    <a:pt x="975731" y="410720"/>
                  </a:lnTo>
                  <a:lnTo>
                    <a:pt x="969522" y="412893"/>
                  </a:lnTo>
                  <a:lnTo>
                    <a:pt x="957104" y="429967"/>
                  </a:lnTo>
                  <a:lnTo>
                    <a:pt x="942513" y="443627"/>
                  </a:lnTo>
                  <a:lnTo>
                    <a:pt x="930095" y="460702"/>
                  </a:lnTo>
                  <a:lnTo>
                    <a:pt x="932269" y="465979"/>
                  </a:lnTo>
                  <a:lnTo>
                    <a:pt x="932269" y="470325"/>
                  </a:lnTo>
                  <a:lnTo>
                    <a:pt x="932269" y="475603"/>
                  </a:lnTo>
                  <a:lnTo>
                    <a:pt x="932269" y="479949"/>
                  </a:lnTo>
                  <a:lnTo>
                    <a:pt x="930095" y="485227"/>
                  </a:lnTo>
                  <a:lnTo>
                    <a:pt x="926060" y="487400"/>
                  </a:lnTo>
                  <a:lnTo>
                    <a:pt x="925128" y="487400"/>
                  </a:lnTo>
                  <a:lnTo>
                    <a:pt x="922955" y="488331"/>
                  </a:lnTo>
                  <a:lnTo>
                    <a:pt x="920782" y="488331"/>
                  </a:lnTo>
                  <a:lnTo>
                    <a:pt x="915504" y="488331"/>
                  </a:lnTo>
                  <a:lnTo>
                    <a:pt x="911469" y="487400"/>
                  </a:lnTo>
                  <a:lnTo>
                    <a:pt x="908364" y="485227"/>
                  </a:lnTo>
                  <a:lnTo>
                    <a:pt x="906191" y="483054"/>
                  </a:lnTo>
                  <a:lnTo>
                    <a:pt x="900914" y="480881"/>
                  </a:lnTo>
                  <a:lnTo>
                    <a:pt x="900914" y="460702"/>
                  </a:lnTo>
                  <a:lnTo>
                    <a:pt x="908054" y="460702"/>
                  </a:lnTo>
                  <a:lnTo>
                    <a:pt x="911158" y="458528"/>
                  </a:lnTo>
                  <a:lnTo>
                    <a:pt x="913331" y="458528"/>
                  </a:lnTo>
                  <a:lnTo>
                    <a:pt x="917367" y="457597"/>
                  </a:lnTo>
                  <a:lnTo>
                    <a:pt x="917367" y="447973"/>
                  </a:lnTo>
                  <a:lnTo>
                    <a:pt x="911158" y="438349"/>
                  </a:lnTo>
                  <a:lnTo>
                    <a:pt x="904018" y="427794"/>
                  </a:lnTo>
                  <a:lnTo>
                    <a:pt x="896878" y="420344"/>
                  </a:lnTo>
                  <a:lnTo>
                    <a:pt x="866765" y="420344"/>
                  </a:lnTo>
                  <a:lnTo>
                    <a:pt x="873905" y="464737"/>
                  </a:lnTo>
                  <a:lnTo>
                    <a:pt x="877009" y="504785"/>
                  </a:lnTo>
                  <a:lnTo>
                    <a:pt x="869869" y="502612"/>
                  </a:lnTo>
                  <a:lnTo>
                    <a:pt x="862729" y="501680"/>
                  </a:lnTo>
                  <a:lnTo>
                    <a:pt x="855588" y="499507"/>
                  </a:lnTo>
                  <a:lnTo>
                    <a:pt x="850311" y="497334"/>
                  </a:lnTo>
                  <a:lnTo>
                    <a:pt x="840997" y="510062"/>
                  </a:lnTo>
                  <a:lnTo>
                    <a:pt x="830442" y="521549"/>
                  </a:lnTo>
                  <a:lnTo>
                    <a:pt x="813678" y="529000"/>
                  </a:lnTo>
                  <a:lnTo>
                    <a:pt x="815851" y="534277"/>
                  </a:lnTo>
                  <a:lnTo>
                    <a:pt x="815851" y="537382"/>
                  </a:lnTo>
                  <a:lnTo>
                    <a:pt x="815851" y="539555"/>
                  </a:lnTo>
                  <a:lnTo>
                    <a:pt x="818025" y="541728"/>
                  </a:lnTo>
                  <a:lnTo>
                    <a:pt x="818956" y="543901"/>
                  </a:lnTo>
                  <a:lnTo>
                    <a:pt x="821129" y="544832"/>
                  </a:lnTo>
                  <a:lnTo>
                    <a:pt x="821129" y="551041"/>
                  </a:lnTo>
                  <a:lnTo>
                    <a:pt x="818956" y="556319"/>
                  </a:lnTo>
                  <a:lnTo>
                    <a:pt x="818025" y="558492"/>
                  </a:lnTo>
                  <a:lnTo>
                    <a:pt x="815851" y="561596"/>
                  </a:lnTo>
                  <a:lnTo>
                    <a:pt x="813678" y="565943"/>
                  </a:lnTo>
                  <a:lnTo>
                    <a:pt x="799087" y="559734"/>
                  </a:lnTo>
                  <a:lnTo>
                    <a:pt x="786669" y="552283"/>
                  </a:lnTo>
                  <a:lnTo>
                    <a:pt x="774252" y="544832"/>
                  </a:lnTo>
                  <a:lnTo>
                    <a:pt x="774252" y="549179"/>
                  </a:lnTo>
                  <a:lnTo>
                    <a:pt x="767732" y="549179"/>
                  </a:lnTo>
                  <a:lnTo>
                    <a:pt x="767732" y="559734"/>
                  </a:lnTo>
                  <a:lnTo>
                    <a:pt x="769906" y="569358"/>
                  </a:lnTo>
                  <a:lnTo>
                    <a:pt x="772079" y="582086"/>
                  </a:lnTo>
                  <a:lnTo>
                    <a:pt x="764938" y="581155"/>
                  </a:lnTo>
                  <a:lnTo>
                    <a:pt x="760903" y="576808"/>
                  </a:lnTo>
                  <a:lnTo>
                    <a:pt x="755625" y="574635"/>
                  </a:lnTo>
                  <a:lnTo>
                    <a:pt x="752520" y="569358"/>
                  </a:lnTo>
                  <a:lnTo>
                    <a:pt x="748485" y="559734"/>
                  </a:lnTo>
                  <a:lnTo>
                    <a:pt x="745380" y="544832"/>
                  </a:lnTo>
                  <a:lnTo>
                    <a:pt x="743207" y="526827"/>
                  </a:lnTo>
                  <a:lnTo>
                    <a:pt x="741034" y="509752"/>
                  </a:lnTo>
                  <a:lnTo>
                    <a:pt x="738861" y="497024"/>
                  </a:lnTo>
                  <a:lnTo>
                    <a:pt x="753452" y="502301"/>
                  </a:lnTo>
                  <a:lnTo>
                    <a:pt x="768043" y="509752"/>
                  </a:lnTo>
                  <a:lnTo>
                    <a:pt x="784807" y="517203"/>
                  </a:lnTo>
                  <a:lnTo>
                    <a:pt x="802502" y="517203"/>
                  </a:lnTo>
                  <a:lnTo>
                    <a:pt x="819266" y="508821"/>
                  </a:lnTo>
                  <a:lnTo>
                    <a:pt x="831684" y="495161"/>
                  </a:lnTo>
                  <a:lnTo>
                    <a:pt x="833857" y="479328"/>
                  </a:lnTo>
                  <a:lnTo>
                    <a:pt x="830753" y="462254"/>
                  </a:lnTo>
                  <a:lnTo>
                    <a:pt x="819266" y="445179"/>
                  </a:lnTo>
                  <a:lnTo>
                    <a:pt x="806848" y="429347"/>
                  </a:lnTo>
                  <a:lnTo>
                    <a:pt x="792258" y="414445"/>
                  </a:lnTo>
                  <a:lnTo>
                    <a:pt x="777667" y="402959"/>
                  </a:lnTo>
                  <a:lnTo>
                    <a:pt x="765249" y="395508"/>
                  </a:lnTo>
                  <a:lnTo>
                    <a:pt x="732031" y="392403"/>
                  </a:lnTo>
                  <a:lnTo>
                    <a:pt x="726753" y="386195"/>
                  </a:lnTo>
                  <a:lnTo>
                    <a:pt x="721476" y="380917"/>
                  </a:lnTo>
                  <a:lnTo>
                    <a:pt x="719303" y="375639"/>
                  </a:lnTo>
                  <a:lnTo>
                    <a:pt x="717130" y="371293"/>
                  </a:lnTo>
                  <a:lnTo>
                    <a:pt x="711852" y="371293"/>
                  </a:lnTo>
                  <a:lnTo>
                    <a:pt x="704712" y="373466"/>
                  </a:lnTo>
                  <a:lnTo>
                    <a:pt x="692294" y="378744"/>
                  </a:lnTo>
                  <a:lnTo>
                    <a:pt x="690121" y="375639"/>
                  </a:lnTo>
                  <a:lnTo>
                    <a:pt x="689190" y="373466"/>
                  </a:lnTo>
                  <a:lnTo>
                    <a:pt x="687016" y="373466"/>
                  </a:lnTo>
                  <a:lnTo>
                    <a:pt x="684843" y="370362"/>
                  </a:lnTo>
                  <a:lnTo>
                    <a:pt x="684843" y="366016"/>
                  </a:lnTo>
                  <a:lnTo>
                    <a:pt x="687016" y="363842"/>
                  </a:lnTo>
                  <a:lnTo>
                    <a:pt x="687016" y="362911"/>
                  </a:lnTo>
                  <a:lnTo>
                    <a:pt x="689190" y="362911"/>
                  </a:lnTo>
                  <a:lnTo>
                    <a:pt x="690121" y="360738"/>
                  </a:lnTo>
                  <a:lnTo>
                    <a:pt x="692294" y="358565"/>
                  </a:lnTo>
                  <a:lnTo>
                    <a:pt x="689190" y="343664"/>
                  </a:lnTo>
                  <a:lnTo>
                    <a:pt x="682981" y="336213"/>
                  </a:lnTo>
                  <a:lnTo>
                    <a:pt x="675840" y="334040"/>
                  </a:lnTo>
                  <a:lnTo>
                    <a:pt x="668700" y="333108"/>
                  </a:lnTo>
                  <a:lnTo>
                    <a:pt x="660318" y="328762"/>
                  </a:lnTo>
                  <a:lnTo>
                    <a:pt x="653178" y="321311"/>
                  </a:lnTo>
                  <a:lnTo>
                    <a:pt x="636414" y="323485"/>
                  </a:lnTo>
                  <a:lnTo>
                    <a:pt x="619650" y="327831"/>
                  </a:lnTo>
                  <a:lnTo>
                    <a:pt x="607232" y="330935"/>
                  </a:lnTo>
                  <a:lnTo>
                    <a:pt x="595745" y="340559"/>
                  </a:lnTo>
                  <a:lnTo>
                    <a:pt x="589536" y="355460"/>
                  </a:lnTo>
                  <a:lnTo>
                    <a:pt x="583328" y="351114"/>
                  </a:lnTo>
                  <a:lnTo>
                    <a:pt x="581465" y="351114"/>
                  </a:lnTo>
                  <a:lnTo>
                    <a:pt x="579292" y="348941"/>
                  </a:lnTo>
                  <a:lnTo>
                    <a:pt x="577119" y="348941"/>
                  </a:lnTo>
                  <a:lnTo>
                    <a:pt x="574014" y="348941"/>
                  </a:lnTo>
                  <a:lnTo>
                    <a:pt x="569978" y="348941"/>
                  </a:lnTo>
                  <a:lnTo>
                    <a:pt x="564701" y="348941"/>
                  </a:lnTo>
                  <a:lnTo>
                    <a:pt x="564701" y="362601"/>
                  </a:lnTo>
                  <a:lnTo>
                    <a:pt x="560665" y="360428"/>
                  </a:lnTo>
                  <a:lnTo>
                    <a:pt x="559734" y="360428"/>
                  </a:lnTo>
                  <a:lnTo>
                    <a:pt x="557561" y="360428"/>
                  </a:lnTo>
                  <a:lnTo>
                    <a:pt x="555387" y="358254"/>
                  </a:lnTo>
                  <a:lnTo>
                    <a:pt x="535519" y="363532"/>
                  </a:lnTo>
                  <a:lnTo>
                    <a:pt x="520928" y="375019"/>
                  </a:lnTo>
                  <a:lnTo>
                    <a:pt x="511615" y="392093"/>
                  </a:lnTo>
                  <a:lnTo>
                    <a:pt x="494850" y="392093"/>
                  </a:lnTo>
                  <a:lnTo>
                    <a:pt x="494850" y="406994"/>
                  </a:lnTo>
                  <a:lnTo>
                    <a:pt x="479328" y="415377"/>
                  </a:lnTo>
                  <a:lnTo>
                    <a:pt x="466910" y="430278"/>
                  </a:lnTo>
                  <a:lnTo>
                    <a:pt x="453251" y="452630"/>
                  </a:lnTo>
                  <a:lnTo>
                    <a:pt x="442696" y="476845"/>
                  </a:lnTo>
                  <a:lnTo>
                    <a:pt x="431209" y="501060"/>
                  </a:lnTo>
                  <a:lnTo>
                    <a:pt x="420654" y="524343"/>
                  </a:lnTo>
                  <a:lnTo>
                    <a:pt x="408236" y="544522"/>
                  </a:lnTo>
                  <a:lnTo>
                    <a:pt x="394577" y="561596"/>
                  </a:lnTo>
                  <a:lnTo>
                    <a:pt x="396750" y="565943"/>
                  </a:lnTo>
                  <a:lnTo>
                    <a:pt x="396750" y="569047"/>
                  </a:lnTo>
                  <a:lnTo>
                    <a:pt x="396750" y="571220"/>
                  </a:lnTo>
                  <a:lnTo>
                    <a:pt x="398923" y="571220"/>
                  </a:lnTo>
                  <a:lnTo>
                    <a:pt x="401096" y="571220"/>
                  </a:lnTo>
                  <a:lnTo>
                    <a:pt x="404200" y="573393"/>
                  </a:lnTo>
                  <a:lnTo>
                    <a:pt x="394887" y="581775"/>
                  </a:lnTo>
                  <a:lnTo>
                    <a:pt x="384332" y="586122"/>
                  </a:lnTo>
                  <a:lnTo>
                    <a:pt x="371914" y="593572"/>
                  </a:lnTo>
                  <a:lnTo>
                    <a:pt x="369741" y="596677"/>
                  </a:lnTo>
                  <a:lnTo>
                    <a:pt x="367568" y="602886"/>
                  </a:lnTo>
                  <a:lnTo>
                    <a:pt x="366636" y="605990"/>
                  </a:lnTo>
                  <a:lnTo>
                    <a:pt x="364463" y="610336"/>
                  </a:lnTo>
                  <a:lnTo>
                    <a:pt x="360427" y="613441"/>
                  </a:lnTo>
                  <a:lnTo>
                    <a:pt x="359496" y="611268"/>
                  </a:lnTo>
                  <a:lnTo>
                    <a:pt x="357323" y="610336"/>
                  </a:lnTo>
                  <a:lnTo>
                    <a:pt x="355150" y="608163"/>
                  </a:lnTo>
                  <a:lnTo>
                    <a:pt x="352045" y="605990"/>
                  </a:lnTo>
                  <a:lnTo>
                    <a:pt x="345836" y="611268"/>
                  </a:lnTo>
                  <a:lnTo>
                    <a:pt x="340559" y="617477"/>
                  </a:lnTo>
                  <a:lnTo>
                    <a:pt x="335281" y="622754"/>
                  </a:lnTo>
                  <a:lnTo>
                    <a:pt x="331246" y="625859"/>
                  </a:lnTo>
                  <a:lnTo>
                    <a:pt x="325968" y="640760"/>
                  </a:lnTo>
                  <a:lnTo>
                    <a:pt x="323795" y="652247"/>
                  </a:lnTo>
                  <a:lnTo>
                    <a:pt x="320690" y="660629"/>
                  </a:lnTo>
                  <a:lnTo>
                    <a:pt x="311377" y="670252"/>
                  </a:lnTo>
                  <a:lnTo>
                    <a:pt x="313550" y="692605"/>
                  </a:lnTo>
                  <a:lnTo>
                    <a:pt x="316655" y="709679"/>
                  </a:lnTo>
                  <a:lnTo>
                    <a:pt x="320690" y="724581"/>
                  </a:lnTo>
                  <a:lnTo>
                    <a:pt x="322864" y="742586"/>
                  </a:lnTo>
                  <a:lnTo>
                    <a:pt x="323795" y="764938"/>
                  </a:lnTo>
                  <a:lnTo>
                    <a:pt x="327831" y="764938"/>
                  </a:lnTo>
                  <a:lnTo>
                    <a:pt x="330004" y="767112"/>
                  </a:lnTo>
                  <a:lnTo>
                    <a:pt x="330935" y="767112"/>
                  </a:lnTo>
                  <a:lnTo>
                    <a:pt x="333108" y="767112"/>
                  </a:lnTo>
                  <a:lnTo>
                    <a:pt x="335281" y="769285"/>
                  </a:lnTo>
                  <a:lnTo>
                    <a:pt x="352977" y="764938"/>
                  </a:lnTo>
                  <a:lnTo>
                    <a:pt x="364463" y="759661"/>
                  </a:lnTo>
                  <a:lnTo>
                    <a:pt x="375018" y="752210"/>
                  </a:lnTo>
                  <a:lnTo>
                    <a:pt x="384332" y="742586"/>
                  </a:lnTo>
                  <a:lnTo>
                    <a:pt x="398923" y="735136"/>
                  </a:lnTo>
                  <a:lnTo>
                    <a:pt x="409478" y="762765"/>
                  </a:lnTo>
                  <a:lnTo>
                    <a:pt x="415687" y="786980"/>
                  </a:lnTo>
                  <a:lnTo>
                    <a:pt x="424069" y="809332"/>
                  </a:lnTo>
                  <a:lnTo>
                    <a:pt x="438660" y="829511"/>
                  </a:lnTo>
                  <a:lnTo>
                    <a:pt x="438660" y="833857"/>
                  </a:lnTo>
                  <a:lnTo>
                    <a:pt x="444869" y="833857"/>
                  </a:lnTo>
                  <a:lnTo>
                    <a:pt x="453251" y="818956"/>
                  </a:lnTo>
                  <a:lnTo>
                    <a:pt x="462564" y="807470"/>
                  </a:lnTo>
                  <a:lnTo>
                    <a:pt x="474051" y="796914"/>
                  </a:lnTo>
                  <a:lnTo>
                    <a:pt x="481191" y="784186"/>
                  </a:lnTo>
                  <a:lnTo>
                    <a:pt x="488331" y="767112"/>
                  </a:lnTo>
                  <a:lnTo>
                    <a:pt x="491436" y="744759"/>
                  </a:lnTo>
                  <a:lnTo>
                    <a:pt x="515340" y="735136"/>
                  </a:lnTo>
                  <a:lnTo>
                    <a:pt x="516271" y="734204"/>
                  </a:lnTo>
                  <a:lnTo>
                    <a:pt x="516271" y="729858"/>
                  </a:lnTo>
                  <a:lnTo>
                    <a:pt x="518444" y="727685"/>
                  </a:lnTo>
                  <a:lnTo>
                    <a:pt x="518444" y="726754"/>
                  </a:lnTo>
                  <a:lnTo>
                    <a:pt x="520618" y="724581"/>
                  </a:lnTo>
                  <a:lnTo>
                    <a:pt x="522791" y="722407"/>
                  </a:lnTo>
                  <a:lnTo>
                    <a:pt x="528068" y="720234"/>
                  </a:lnTo>
                  <a:lnTo>
                    <a:pt x="524032" y="704402"/>
                  </a:lnTo>
                  <a:lnTo>
                    <a:pt x="516892" y="690742"/>
                  </a:lnTo>
                  <a:lnTo>
                    <a:pt x="506337" y="680187"/>
                  </a:lnTo>
                  <a:lnTo>
                    <a:pt x="494850" y="670563"/>
                  </a:lnTo>
                  <a:lnTo>
                    <a:pt x="501059" y="645106"/>
                  </a:lnTo>
                  <a:lnTo>
                    <a:pt x="509441" y="622754"/>
                  </a:lnTo>
                  <a:lnTo>
                    <a:pt x="523101" y="603817"/>
                  </a:lnTo>
                  <a:lnTo>
                    <a:pt x="537692" y="587984"/>
                  </a:lnTo>
                  <a:lnTo>
                    <a:pt x="550110" y="570910"/>
                  </a:lnTo>
                  <a:lnTo>
                    <a:pt x="559423" y="550731"/>
                  </a:lnTo>
                  <a:lnTo>
                    <a:pt x="564701" y="524343"/>
                  </a:lnTo>
                  <a:lnTo>
                    <a:pt x="581465" y="523412"/>
                  </a:lnTo>
                  <a:lnTo>
                    <a:pt x="595125" y="521238"/>
                  </a:lnTo>
                  <a:lnTo>
                    <a:pt x="601334" y="526516"/>
                  </a:lnTo>
                  <a:lnTo>
                    <a:pt x="606611" y="531794"/>
                  </a:lnTo>
                  <a:lnTo>
                    <a:pt x="611889" y="537071"/>
                  </a:lnTo>
                  <a:lnTo>
                    <a:pt x="602575" y="554146"/>
                  </a:lnTo>
                  <a:lnTo>
                    <a:pt x="590157" y="569047"/>
                  </a:lnTo>
                  <a:lnTo>
                    <a:pt x="575566" y="583949"/>
                  </a:lnTo>
                  <a:lnTo>
                    <a:pt x="560976" y="596677"/>
                  </a:lnTo>
                  <a:lnTo>
                    <a:pt x="552593" y="615614"/>
                  </a:lnTo>
                  <a:lnTo>
                    <a:pt x="550420" y="628342"/>
                  </a:lnTo>
                  <a:lnTo>
                    <a:pt x="552593" y="643244"/>
                  </a:lnTo>
                  <a:lnTo>
                    <a:pt x="553525" y="655972"/>
                  </a:lnTo>
                  <a:lnTo>
                    <a:pt x="552593" y="667458"/>
                  </a:lnTo>
                  <a:lnTo>
                    <a:pt x="553525" y="682360"/>
                  </a:lnTo>
                  <a:lnTo>
                    <a:pt x="557561" y="690742"/>
                  </a:lnTo>
                  <a:lnTo>
                    <a:pt x="562838" y="698193"/>
                  </a:lnTo>
                  <a:lnTo>
                    <a:pt x="568116" y="705643"/>
                  </a:lnTo>
                  <a:lnTo>
                    <a:pt x="572152" y="715267"/>
                  </a:lnTo>
                  <a:lnTo>
                    <a:pt x="593883" y="712163"/>
                  </a:lnTo>
                  <a:lnTo>
                    <a:pt x="613751" y="705954"/>
                  </a:lnTo>
                  <a:lnTo>
                    <a:pt x="631447" y="697572"/>
                  </a:lnTo>
                  <a:lnTo>
                    <a:pt x="638587" y="697572"/>
                  </a:lnTo>
                  <a:lnTo>
                    <a:pt x="644796" y="698503"/>
                  </a:lnTo>
                  <a:lnTo>
                    <a:pt x="647900" y="700676"/>
                  </a:lnTo>
                  <a:lnTo>
                    <a:pt x="653178" y="702849"/>
                  </a:lnTo>
                  <a:lnTo>
                    <a:pt x="659387" y="705022"/>
                  </a:lnTo>
                  <a:lnTo>
                    <a:pt x="652246" y="715578"/>
                  </a:lnTo>
                  <a:lnTo>
                    <a:pt x="642933" y="719924"/>
                  </a:lnTo>
                  <a:lnTo>
                    <a:pt x="633620" y="717751"/>
                  </a:lnTo>
                  <a:lnTo>
                    <a:pt x="621202" y="715578"/>
                  </a:lnTo>
                  <a:lnTo>
                    <a:pt x="608784" y="715578"/>
                  </a:lnTo>
                  <a:lnTo>
                    <a:pt x="601644" y="719924"/>
                  </a:lnTo>
                  <a:lnTo>
                    <a:pt x="595435" y="723028"/>
                  </a:lnTo>
                  <a:lnTo>
                    <a:pt x="589226" y="727375"/>
                  </a:lnTo>
                  <a:lnTo>
                    <a:pt x="579913" y="728306"/>
                  </a:lnTo>
                  <a:lnTo>
                    <a:pt x="583017" y="745380"/>
                  </a:lnTo>
                  <a:lnTo>
                    <a:pt x="585190" y="755004"/>
                  </a:lnTo>
                  <a:lnTo>
                    <a:pt x="589226" y="762455"/>
                  </a:lnTo>
                  <a:lnTo>
                    <a:pt x="590157" y="773010"/>
                  </a:lnTo>
                  <a:lnTo>
                    <a:pt x="592331" y="790085"/>
                  </a:lnTo>
                  <a:lnTo>
                    <a:pt x="587053" y="787911"/>
                  </a:lnTo>
                  <a:lnTo>
                    <a:pt x="581775" y="785738"/>
                  </a:lnTo>
                  <a:lnTo>
                    <a:pt x="579602" y="784807"/>
                  </a:lnTo>
                  <a:lnTo>
                    <a:pt x="577429" y="780461"/>
                  </a:lnTo>
                  <a:lnTo>
                    <a:pt x="575256" y="777356"/>
                  </a:lnTo>
                  <a:lnTo>
                    <a:pt x="572152" y="773010"/>
                  </a:lnTo>
                  <a:lnTo>
                    <a:pt x="572152" y="769906"/>
                  </a:lnTo>
                  <a:lnTo>
                    <a:pt x="566874" y="770837"/>
                  </a:lnTo>
                  <a:lnTo>
                    <a:pt x="562838" y="773010"/>
                  </a:lnTo>
                  <a:lnTo>
                    <a:pt x="559734" y="777356"/>
                  </a:lnTo>
                  <a:lnTo>
                    <a:pt x="555698" y="778288"/>
                  </a:lnTo>
                  <a:lnTo>
                    <a:pt x="552593" y="782634"/>
                  </a:lnTo>
                  <a:lnTo>
                    <a:pt x="548558" y="808090"/>
                  </a:lnTo>
                  <a:lnTo>
                    <a:pt x="548558" y="839756"/>
                  </a:lnTo>
                  <a:lnTo>
                    <a:pt x="543280" y="841929"/>
                  </a:lnTo>
                  <a:lnTo>
                    <a:pt x="539244" y="841929"/>
                  </a:lnTo>
                  <a:lnTo>
                    <a:pt x="536140" y="842860"/>
                  </a:lnTo>
                  <a:lnTo>
                    <a:pt x="532104" y="847207"/>
                  </a:lnTo>
                  <a:lnTo>
                    <a:pt x="531173" y="849380"/>
                  </a:lnTo>
                  <a:lnTo>
                    <a:pt x="528999" y="854657"/>
                  </a:lnTo>
                  <a:lnTo>
                    <a:pt x="509131" y="850311"/>
                  </a:lnTo>
                  <a:lnTo>
                    <a:pt x="494540" y="849380"/>
                  </a:lnTo>
                  <a:lnTo>
                    <a:pt x="485227" y="852484"/>
                  </a:lnTo>
                  <a:lnTo>
                    <a:pt x="478086" y="856830"/>
                  </a:lnTo>
                  <a:lnTo>
                    <a:pt x="472809" y="862108"/>
                  </a:lnTo>
                  <a:lnTo>
                    <a:pt x="463495" y="867386"/>
                  </a:lnTo>
                  <a:lnTo>
                    <a:pt x="452940" y="871732"/>
                  </a:lnTo>
                  <a:lnTo>
                    <a:pt x="443627" y="871732"/>
                  </a:lnTo>
                  <a:lnTo>
                    <a:pt x="436487" y="865523"/>
                  </a:lnTo>
                  <a:lnTo>
                    <a:pt x="431209" y="862418"/>
                  </a:lnTo>
                  <a:lnTo>
                    <a:pt x="423138" y="862418"/>
                  </a:lnTo>
                  <a:lnTo>
                    <a:pt x="411651" y="867696"/>
                  </a:lnTo>
                  <a:lnTo>
                    <a:pt x="406373" y="864592"/>
                  </a:lnTo>
                  <a:lnTo>
                    <a:pt x="402338" y="862418"/>
                  </a:lnTo>
                  <a:lnTo>
                    <a:pt x="401406" y="860245"/>
                  </a:lnTo>
                  <a:lnTo>
                    <a:pt x="397371" y="858072"/>
                  </a:lnTo>
                  <a:lnTo>
                    <a:pt x="392093" y="854968"/>
                  </a:lnTo>
                  <a:lnTo>
                    <a:pt x="392093" y="842239"/>
                  </a:lnTo>
                  <a:lnTo>
                    <a:pt x="394266" y="825165"/>
                  </a:lnTo>
                  <a:lnTo>
                    <a:pt x="395197" y="807159"/>
                  </a:lnTo>
                  <a:lnTo>
                    <a:pt x="397371" y="793500"/>
                  </a:lnTo>
                  <a:lnTo>
                    <a:pt x="399544" y="786049"/>
                  </a:lnTo>
                  <a:lnTo>
                    <a:pt x="399544" y="777667"/>
                  </a:lnTo>
                  <a:lnTo>
                    <a:pt x="387126" y="780771"/>
                  </a:lnTo>
                  <a:lnTo>
                    <a:pt x="375639" y="785117"/>
                  </a:lnTo>
                  <a:lnTo>
                    <a:pt x="360117" y="786049"/>
                  </a:lnTo>
                  <a:lnTo>
                    <a:pt x="361048" y="803123"/>
                  </a:lnTo>
                  <a:lnTo>
                    <a:pt x="361048" y="823302"/>
                  </a:lnTo>
                  <a:lnTo>
                    <a:pt x="365084" y="845654"/>
                  </a:lnTo>
                  <a:lnTo>
                    <a:pt x="372224" y="864592"/>
                  </a:lnTo>
                  <a:lnTo>
                    <a:pt x="370051" y="865523"/>
                  </a:lnTo>
                  <a:lnTo>
                    <a:pt x="370051" y="867696"/>
                  </a:lnTo>
                  <a:lnTo>
                    <a:pt x="370051" y="869869"/>
                  </a:lnTo>
                  <a:lnTo>
                    <a:pt x="367878" y="872042"/>
                  </a:lnTo>
                  <a:lnTo>
                    <a:pt x="353287" y="877320"/>
                  </a:lnTo>
                  <a:lnTo>
                    <a:pt x="337765" y="882597"/>
                  </a:lnTo>
                  <a:lnTo>
                    <a:pt x="324105" y="887875"/>
                  </a:lnTo>
                  <a:lnTo>
                    <a:pt x="313550" y="895326"/>
                  </a:lnTo>
                  <a:lnTo>
                    <a:pt x="308273" y="906812"/>
                  </a:lnTo>
                  <a:lnTo>
                    <a:pt x="306099" y="917367"/>
                  </a:lnTo>
                  <a:lnTo>
                    <a:pt x="298959" y="928854"/>
                  </a:lnTo>
                  <a:lnTo>
                    <a:pt x="264500" y="939409"/>
                  </a:lnTo>
                  <a:lnTo>
                    <a:pt x="262327" y="943755"/>
                  </a:lnTo>
                  <a:lnTo>
                    <a:pt x="260154" y="946860"/>
                  </a:lnTo>
                  <a:lnTo>
                    <a:pt x="260154" y="951206"/>
                  </a:lnTo>
                  <a:lnTo>
                    <a:pt x="260154" y="954310"/>
                  </a:lnTo>
                  <a:lnTo>
                    <a:pt x="260154" y="958657"/>
                  </a:lnTo>
                  <a:lnTo>
                    <a:pt x="259222" y="961761"/>
                  </a:lnTo>
                  <a:lnTo>
                    <a:pt x="257049" y="963934"/>
                  </a:lnTo>
                  <a:lnTo>
                    <a:pt x="251771" y="966107"/>
                  </a:lnTo>
                  <a:lnTo>
                    <a:pt x="247736" y="967039"/>
                  </a:lnTo>
                  <a:lnTo>
                    <a:pt x="242458" y="969212"/>
                  </a:lnTo>
                  <a:lnTo>
                    <a:pt x="238422" y="973558"/>
                  </a:lnTo>
                  <a:lnTo>
                    <a:pt x="235318" y="971385"/>
                  </a:lnTo>
                  <a:lnTo>
                    <a:pt x="231282" y="969212"/>
                  </a:lnTo>
                  <a:lnTo>
                    <a:pt x="228178" y="969212"/>
                  </a:lnTo>
                  <a:lnTo>
                    <a:pt x="226004" y="967039"/>
                  </a:lnTo>
                  <a:lnTo>
                    <a:pt x="220727" y="966107"/>
                  </a:lnTo>
                  <a:lnTo>
                    <a:pt x="215449" y="966107"/>
                  </a:lnTo>
                  <a:lnTo>
                    <a:pt x="215449" y="986286"/>
                  </a:lnTo>
                  <a:lnTo>
                    <a:pt x="209240" y="986286"/>
                  </a:lnTo>
                  <a:lnTo>
                    <a:pt x="203963" y="986286"/>
                  </a:lnTo>
                  <a:lnTo>
                    <a:pt x="198685" y="988459"/>
                  </a:lnTo>
                  <a:lnTo>
                    <a:pt x="194650" y="989391"/>
                  </a:lnTo>
                  <a:lnTo>
                    <a:pt x="188441" y="989391"/>
                  </a:lnTo>
                  <a:lnTo>
                    <a:pt x="184405" y="991564"/>
                  </a:lnTo>
                  <a:lnTo>
                    <a:pt x="181300" y="991564"/>
                  </a:lnTo>
                  <a:lnTo>
                    <a:pt x="179127" y="993737"/>
                  </a:lnTo>
                  <a:lnTo>
                    <a:pt x="175091" y="995910"/>
                  </a:lnTo>
                  <a:lnTo>
                    <a:pt x="171987" y="996842"/>
                  </a:lnTo>
                  <a:lnTo>
                    <a:pt x="181300" y="1006465"/>
                  </a:lnTo>
                  <a:lnTo>
                    <a:pt x="193718" y="1013916"/>
                  </a:lnTo>
                  <a:lnTo>
                    <a:pt x="206136" y="1018262"/>
                  </a:lnTo>
                  <a:lnTo>
                    <a:pt x="218554" y="1021367"/>
                  </a:lnTo>
                  <a:lnTo>
                    <a:pt x="220727" y="1040304"/>
                  </a:lnTo>
                  <a:lnTo>
                    <a:pt x="222900" y="1056137"/>
                  </a:lnTo>
                  <a:lnTo>
                    <a:pt x="222900" y="1073211"/>
                  </a:lnTo>
                  <a:lnTo>
                    <a:pt x="218864" y="1088113"/>
                  </a:lnTo>
                  <a:lnTo>
                    <a:pt x="218864" y="1090286"/>
                  </a:lnTo>
                  <a:lnTo>
                    <a:pt x="218864" y="1091217"/>
                  </a:lnTo>
                  <a:lnTo>
                    <a:pt x="216691" y="1091217"/>
                  </a:lnTo>
                  <a:lnTo>
                    <a:pt x="216691" y="1093390"/>
                  </a:lnTo>
                  <a:lnTo>
                    <a:pt x="215760" y="1095563"/>
                  </a:lnTo>
                  <a:lnTo>
                    <a:pt x="202100" y="1100841"/>
                  </a:lnTo>
                  <a:lnTo>
                    <a:pt x="184405" y="1105187"/>
                  </a:lnTo>
                  <a:lnTo>
                    <a:pt x="166709" y="1105187"/>
                  </a:lnTo>
                  <a:lnTo>
                    <a:pt x="149945" y="1100841"/>
                  </a:lnTo>
                  <a:lnTo>
                    <a:pt x="135354" y="1095563"/>
                  </a:lnTo>
                  <a:lnTo>
                    <a:pt x="130077" y="1095563"/>
                  </a:lnTo>
                  <a:lnTo>
                    <a:pt x="126041" y="1097736"/>
                  </a:lnTo>
                  <a:lnTo>
                    <a:pt x="122936" y="1097736"/>
                  </a:lnTo>
                  <a:lnTo>
                    <a:pt x="120763" y="1097736"/>
                  </a:lnTo>
                  <a:lnTo>
                    <a:pt x="118590" y="1098668"/>
                  </a:lnTo>
                  <a:lnTo>
                    <a:pt x="116417" y="1103014"/>
                  </a:lnTo>
                  <a:lnTo>
                    <a:pt x="115796" y="1106739"/>
                  </a:lnTo>
                  <a:lnTo>
                    <a:pt x="111760" y="1119468"/>
                  </a:lnTo>
                  <a:lnTo>
                    <a:pt x="111760" y="1140578"/>
                  </a:lnTo>
                  <a:lnTo>
                    <a:pt x="111760" y="1163861"/>
                  </a:lnTo>
                  <a:lnTo>
                    <a:pt x="113934" y="1188076"/>
                  </a:lnTo>
                  <a:lnTo>
                    <a:pt x="116107" y="1208255"/>
                  </a:lnTo>
                  <a:lnTo>
                    <a:pt x="116107" y="1223157"/>
                  </a:lnTo>
                  <a:lnTo>
                    <a:pt x="119211" y="1223157"/>
                  </a:lnTo>
                  <a:lnTo>
                    <a:pt x="119211" y="1228434"/>
                  </a:lnTo>
                  <a:lnTo>
                    <a:pt x="126351" y="1228434"/>
                  </a:lnTo>
                  <a:lnTo>
                    <a:pt x="131629" y="1227503"/>
                  </a:lnTo>
                  <a:lnTo>
                    <a:pt x="135665" y="1227503"/>
                  </a:lnTo>
                  <a:lnTo>
                    <a:pt x="138769" y="1223157"/>
                  </a:lnTo>
                  <a:lnTo>
                    <a:pt x="144978" y="1225330"/>
                  </a:lnTo>
                  <a:lnTo>
                    <a:pt x="148083" y="1225330"/>
                  </a:lnTo>
                  <a:lnTo>
                    <a:pt x="152118" y="1227503"/>
                  </a:lnTo>
                  <a:lnTo>
                    <a:pt x="155223" y="1228434"/>
                  </a:lnTo>
                  <a:lnTo>
                    <a:pt x="157396" y="1230607"/>
                  </a:lnTo>
                  <a:lnTo>
                    <a:pt x="157396" y="1232780"/>
                  </a:lnTo>
                  <a:lnTo>
                    <a:pt x="157396" y="1234953"/>
                  </a:lnTo>
                  <a:lnTo>
                    <a:pt x="159569" y="1234953"/>
                  </a:lnTo>
                  <a:lnTo>
                    <a:pt x="159569" y="1235885"/>
                  </a:lnTo>
                  <a:lnTo>
                    <a:pt x="153360" y="1252959"/>
                  </a:lnTo>
                  <a:lnTo>
                    <a:pt x="142805" y="1265688"/>
                  </a:lnTo>
                  <a:lnTo>
                    <a:pt x="130387" y="1277174"/>
                  </a:lnTo>
                  <a:lnTo>
                    <a:pt x="116728" y="1287729"/>
                  </a:lnTo>
                  <a:lnTo>
                    <a:pt x="104310" y="1299216"/>
                  </a:lnTo>
                  <a:lnTo>
                    <a:pt x="94996" y="1314117"/>
                  </a:lnTo>
                  <a:lnTo>
                    <a:pt x="94065" y="1324672"/>
                  </a:lnTo>
                  <a:lnTo>
                    <a:pt x="94996" y="1337401"/>
                  </a:lnTo>
                  <a:lnTo>
                    <a:pt x="94996" y="1348887"/>
                  </a:lnTo>
                  <a:lnTo>
                    <a:pt x="91892" y="1357269"/>
                  </a:lnTo>
                  <a:lnTo>
                    <a:pt x="77301" y="1366893"/>
                  </a:lnTo>
                  <a:lnTo>
                    <a:pt x="62710" y="1374344"/>
                  </a:lnTo>
                  <a:lnTo>
                    <a:pt x="48119" y="1383967"/>
                  </a:lnTo>
                  <a:lnTo>
                    <a:pt x="35701" y="1394523"/>
                  </a:lnTo>
                  <a:lnTo>
                    <a:pt x="31666" y="1401973"/>
                  </a:lnTo>
                  <a:lnTo>
                    <a:pt x="24525" y="1415633"/>
                  </a:lnTo>
                  <a:lnTo>
                    <a:pt x="17385" y="1431466"/>
                  </a:lnTo>
                  <a:lnTo>
                    <a:pt x="10245" y="1450403"/>
                  </a:lnTo>
                  <a:lnTo>
                    <a:pt x="3104" y="1466236"/>
                  </a:lnTo>
                  <a:lnTo>
                    <a:pt x="0" y="1481137"/>
                  </a:lnTo>
                  <a:lnTo>
                    <a:pt x="0" y="1492623"/>
                  </a:lnTo>
                  <a:lnTo>
                    <a:pt x="3104" y="1500074"/>
                  </a:lnTo>
                  <a:lnTo>
                    <a:pt x="9313" y="1509698"/>
                  </a:lnTo>
                  <a:lnTo>
                    <a:pt x="12418" y="1518080"/>
                  </a:lnTo>
                  <a:lnTo>
                    <a:pt x="12418" y="1532981"/>
                  </a:lnTo>
                  <a:lnTo>
                    <a:pt x="10245" y="1542605"/>
                  </a:lnTo>
                  <a:lnTo>
                    <a:pt x="7140" y="1555334"/>
                  </a:lnTo>
                  <a:lnTo>
                    <a:pt x="3104" y="1570235"/>
                  </a:lnTo>
                  <a:lnTo>
                    <a:pt x="2173" y="1587309"/>
                  </a:lnTo>
                  <a:lnTo>
                    <a:pt x="5278" y="1597865"/>
                  </a:lnTo>
                  <a:lnTo>
                    <a:pt x="5278" y="1622079"/>
                  </a:lnTo>
                  <a:lnTo>
                    <a:pt x="14591" y="1633566"/>
                  </a:lnTo>
                  <a:lnTo>
                    <a:pt x="29182" y="1646294"/>
                  </a:lnTo>
                  <a:lnTo>
                    <a:pt x="45946" y="1659022"/>
                  </a:lnTo>
                  <a:lnTo>
                    <a:pt x="56501" y="1671751"/>
                  </a:lnTo>
                  <a:lnTo>
                    <a:pt x="65815" y="1695965"/>
                  </a:lnTo>
                  <a:lnTo>
                    <a:pt x="78232" y="1705589"/>
                  </a:lnTo>
                  <a:lnTo>
                    <a:pt x="92823" y="1713040"/>
                  </a:lnTo>
                  <a:lnTo>
                    <a:pt x="107414" y="1720491"/>
                  </a:lnTo>
                  <a:lnTo>
                    <a:pt x="122005" y="1727941"/>
                  </a:lnTo>
                  <a:lnTo>
                    <a:pt x="132560" y="1740670"/>
                  </a:lnTo>
                  <a:lnTo>
                    <a:pt x="139701" y="1738497"/>
                  </a:lnTo>
                  <a:lnTo>
                    <a:pt x="145910" y="1736323"/>
                  </a:lnTo>
                  <a:lnTo>
                    <a:pt x="149014" y="1733219"/>
                  </a:lnTo>
                  <a:lnTo>
                    <a:pt x="153050" y="1731046"/>
                  </a:lnTo>
                  <a:lnTo>
                    <a:pt x="161432" y="1733219"/>
                  </a:lnTo>
                  <a:lnTo>
                    <a:pt x="172918" y="1736323"/>
                  </a:lnTo>
                  <a:lnTo>
                    <a:pt x="185336" y="1736323"/>
                  </a:lnTo>
                  <a:lnTo>
                    <a:pt x="189372" y="1723595"/>
                  </a:lnTo>
                  <a:lnTo>
                    <a:pt x="224763" y="1731046"/>
                  </a:lnTo>
                  <a:lnTo>
                    <a:pt x="239354" y="1725768"/>
                  </a:lnTo>
                  <a:lnTo>
                    <a:pt x="257980" y="1718318"/>
                  </a:lnTo>
                  <a:lnTo>
                    <a:pt x="275676" y="1710867"/>
                  </a:lnTo>
                  <a:lnTo>
                    <a:pt x="290267" y="1713040"/>
                  </a:lnTo>
                  <a:lnTo>
                    <a:pt x="302685" y="1713971"/>
                  </a:lnTo>
                  <a:lnTo>
                    <a:pt x="316344" y="1716144"/>
                  </a:lnTo>
                  <a:lnTo>
                    <a:pt x="336213" y="1747810"/>
                  </a:lnTo>
                  <a:lnTo>
                    <a:pt x="343353" y="1747810"/>
                  </a:lnTo>
                  <a:lnTo>
                    <a:pt x="348631" y="1747810"/>
                  </a:lnTo>
                  <a:lnTo>
                    <a:pt x="353908" y="1745637"/>
                  </a:lnTo>
                  <a:lnTo>
                    <a:pt x="356081" y="1743464"/>
                  </a:lnTo>
                  <a:lnTo>
                    <a:pt x="360117" y="1740359"/>
                  </a:lnTo>
                  <a:lnTo>
                    <a:pt x="367257" y="1742532"/>
                  </a:lnTo>
                  <a:lnTo>
                    <a:pt x="372535" y="1742532"/>
                  </a:lnTo>
                  <a:lnTo>
                    <a:pt x="375639" y="1743464"/>
                  </a:lnTo>
                  <a:lnTo>
                    <a:pt x="379675" y="1747810"/>
                  </a:lnTo>
                  <a:lnTo>
                    <a:pt x="382780" y="1749983"/>
                  </a:lnTo>
                  <a:lnTo>
                    <a:pt x="388989" y="1753088"/>
                  </a:lnTo>
                  <a:lnTo>
                    <a:pt x="382780" y="1775440"/>
                  </a:lnTo>
                  <a:lnTo>
                    <a:pt x="377502" y="1795619"/>
                  </a:lnTo>
                  <a:lnTo>
                    <a:pt x="372224" y="1817971"/>
                  </a:lnTo>
                  <a:lnTo>
                    <a:pt x="388989" y="1835045"/>
                  </a:lnTo>
                  <a:lnTo>
                    <a:pt x="404511" y="1855224"/>
                  </a:lnTo>
                  <a:lnTo>
                    <a:pt x="421275" y="1877576"/>
                  </a:lnTo>
                  <a:lnTo>
                    <a:pt x="431830" y="1899928"/>
                  </a:lnTo>
                  <a:lnTo>
                    <a:pt x="435866" y="1917003"/>
                  </a:lnTo>
                  <a:lnTo>
                    <a:pt x="435866" y="1929731"/>
                  </a:lnTo>
                  <a:lnTo>
                    <a:pt x="438039" y="1942459"/>
                  </a:lnTo>
                  <a:lnTo>
                    <a:pt x="445179" y="1957361"/>
                  </a:lnTo>
                  <a:lnTo>
                    <a:pt x="438970" y="1972262"/>
                  </a:lnTo>
                  <a:lnTo>
                    <a:pt x="431830" y="1989337"/>
                  </a:lnTo>
                  <a:lnTo>
                    <a:pt x="421275" y="2009516"/>
                  </a:lnTo>
                  <a:lnTo>
                    <a:pt x="414135" y="2027522"/>
                  </a:lnTo>
                  <a:lnTo>
                    <a:pt x="410099" y="2048632"/>
                  </a:lnTo>
                  <a:lnTo>
                    <a:pt x="412272" y="2066638"/>
                  </a:lnTo>
                  <a:lnTo>
                    <a:pt x="419412" y="2081539"/>
                  </a:lnTo>
                  <a:lnTo>
                    <a:pt x="430899" y="2096441"/>
                  </a:lnTo>
                  <a:lnTo>
                    <a:pt x="441454" y="2113515"/>
                  </a:lnTo>
                  <a:lnTo>
                    <a:pt x="448594" y="2128416"/>
                  </a:lnTo>
                  <a:lnTo>
                    <a:pt x="448594" y="2133694"/>
                  </a:lnTo>
                  <a:lnTo>
                    <a:pt x="448594" y="2138972"/>
                  </a:lnTo>
                  <a:lnTo>
                    <a:pt x="446421" y="2143318"/>
                  </a:lnTo>
                  <a:lnTo>
                    <a:pt x="445490" y="2148595"/>
                  </a:lnTo>
                  <a:lnTo>
                    <a:pt x="445490" y="2151700"/>
                  </a:lnTo>
                  <a:lnTo>
                    <a:pt x="445490" y="2156046"/>
                  </a:lnTo>
                  <a:lnTo>
                    <a:pt x="452630" y="2159151"/>
                  </a:lnTo>
                  <a:lnTo>
                    <a:pt x="450457" y="2163497"/>
                  </a:lnTo>
                  <a:lnTo>
                    <a:pt x="448284" y="2166601"/>
                  </a:lnTo>
                  <a:lnTo>
                    <a:pt x="448284" y="2170948"/>
                  </a:lnTo>
                  <a:lnTo>
                    <a:pt x="446111" y="2176225"/>
                  </a:lnTo>
                  <a:lnTo>
                    <a:pt x="448284" y="2181503"/>
                  </a:lnTo>
                  <a:lnTo>
                    <a:pt x="450457" y="2181503"/>
                  </a:lnTo>
                  <a:lnTo>
                    <a:pt x="452630" y="2185849"/>
                  </a:lnTo>
                  <a:lnTo>
                    <a:pt x="455734" y="2186780"/>
                  </a:lnTo>
                  <a:lnTo>
                    <a:pt x="459770" y="2191127"/>
                  </a:lnTo>
                  <a:lnTo>
                    <a:pt x="459770" y="2193300"/>
                  </a:lnTo>
                  <a:lnTo>
                    <a:pt x="455734" y="2206028"/>
                  </a:lnTo>
                  <a:lnTo>
                    <a:pt x="465048" y="2224034"/>
                  </a:lnTo>
                  <a:lnTo>
                    <a:pt x="479639" y="2242971"/>
                  </a:lnTo>
                  <a:lnTo>
                    <a:pt x="494230" y="2260046"/>
                  </a:lnTo>
                  <a:lnTo>
                    <a:pt x="504785" y="2278051"/>
                  </a:lnTo>
                  <a:lnTo>
                    <a:pt x="506958" y="2290780"/>
                  </a:lnTo>
                  <a:lnTo>
                    <a:pt x="506958" y="2303508"/>
                  </a:lnTo>
                  <a:lnTo>
                    <a:pt x="506958" y="2314994"/>
                  </a:lnTo>
                  <a:lnTo>
                    <a:pt x="509131" y="2324618"/>
                  </a:lnTo>
                  <a:lnTo>
                    <a:pt x="512236" y="2327723"/>
                  </a:lnTo>
                  <a:lnTo>
                    <a:pt x="516271" y="2333000"/>
                  </a:lnTo>
                  <a:lnTo>
                    <a:pt x="519376" y="2335173"/>
                  </a:lnTo>
                  <a:lnTo>
                    <a:pt x="523411" y="2339520"/>
                  </a:lnTo>
                  <a:lnTo>
                    <a:pt x="528689" y="2342624"/>
                  </a:lnTo>
                  <a:lnTo>
                    <a:pt x="553835" y="2337347"/>
                  </a:lnTo>
                  <a:lnTo>
                    <a:pt x="582086" y="2332069"/>
                  </a:lnTo>
                  <a:lnTo>
                    <a:pt x="609095" y="2324618"/>
                  </a:lnTo>
                  <a:lnTo>
                    <a:pt x="636103" y="2317168"/>
                  </a:lnTo>
                  <a:lnTo>
                    <a:pt x="657834" y="2303508"/>
                  </a:lnTo>
                  <a:lnTo>
                    <a:pt x="675530" y="2287675"/>
                  </a:lnTo>
                  <a:lnTo>
                    <a:pt x="684843" y="2270601"/>
                  </a:lnTo>
                  <a:lnTo>
                    <a:pt x="691984" y="2253526"/>
                  </a:lnTo>
                  <a:lnTo>
                    <a:pt x="715888" y="2233347"/>
                  </a:lnTo>
                  <a:lnTo>
                    <a:pt x="718992" y="2218446"/>
                  </a:lnTo>
                  <a:lnTo>
                    <a:pt x="721165" y="2203544"/>
                  </a:lnTo>
                  <a:lnTo>
                    <a:pt x="723339" y="2188643"/>
                  </a:lnTo>
                  <a:lnTo>
                    <a:pt x="728616" y="2175915"/>
                  </a:lnTo>
                  <a:lnTo>
                    <a:pt x="748485" y="2171568"/>
                  </a:lnTo>
                  <a:lnTo>
                    <a:pt x="752520" y="2168464"/>
                  </a:lnTo>
                  <a:lnTo>
                    <a:pt x="753452" y="2164118"/>
                  </a:lnTo>
                  <a:lnTo>
                    <a:pt x="757488" y="2161013"/>
                  </a:lnTo>
                  <a:lnTo>
                    <a:pt x="759661" y="2158840"/>
                  </a:lnTo>
                  <a:lnTo>
                    <a:pt x="762765" y="2155736"/>
                  </a:lnTo>
                  <a:lnTo>
                    <a:pt x="768043" y="2151390"/>
                  </a:lnTo>
                  <a:lnTo>
                    <a:pt x="764938" y="2131211"/>
                  </a:lnTo>
                  <a:lnTo>
                    <a:pt x="757798" y="2114136"/>
                  </a:lnTo>
                  <a:lnTo>
                    <a:pt x="748485" y="2103581"/>
                  </a:lnTo>
                  <a:lnTo>
                    <a:pt x="757798" y="2084644"/>
                  </a:lnTo>
                  <a:lnTo>
                    <a:pt x="772389" y="2071915"/>
                  </a:lnTo>
                  <a:lnTo>
                    <a:pt x="790084" y="2062291"/>
                  </a:lnTo>
                  <a:lnTo>
                    <a:pt x="808711" y="2053909"/>
                  </a:lnTo>
                  <a:lnTo>
                    <a:pt x="824234" y="2042423"/>
                  </a:lnTo>
                  <a:lnTo>
                    <a:pt x="835720" y="2019140"/>
                  </a:lnTo>
                  <a:lnTo>
                    <a:pt x="837893" y="1996787"/>
                  </a:lnTo>
                  <a:lnTo>
                    <a:pt x="831684" y="1974435"/>
                  </a:lnTo>
                  <a:lnTo>
                    <a:pt x="824544" y="1952083"/>
                  </a:lnTo>
                  <a:lnTo>
                    <a:pt x="817404" y="1931904"/>
                  </a:lnTo>
                  <a:lnTo>
                    <a:pt x="810263" y="1909552"/>
                  </a:lnTo>
                  <a:lnTo>
                    <a:pt x="807159" y="1887200"/>
                  </a:lnTo>
                  <a:lnTo>
                    <a:pt x="812437" y="1862985"/>
                  </a:lnTo>
                  <a:lnTo>
                    <a:pt x="827027" y="1837529"/>
                  </a:lnTo>
                  <a:lnTo>
                    <a:pt x="845654" y="1815177"/>
                  </a:lnTo>
                  <a:lnTo>
                    <a:pt x="867385" y="1794066"/>
                  </a:lnTo>
                  <a:lnTo>
                    <a:pt x="890358" y="1776060"/>
                  </a:lnTo>
                  <a:lnTo>
                    <a:pt x="912090" y="1757123"/>
                  </a:lnTo>
                  <a:lnTo>
                    <a:pt x="931958" y="1736944"/>
                  </a:lnTo>
                  <a:lnTo>
                    <a:pt x="945618" y="1718938"/>
                  </a:lnTo>
                  <a:lnTo>
                    <a:pt x="958036" y="1696586"/>
                  </a:lnTo>
                  <a:lnTo>
                    <a:pt x="968591" y="1674234"/>
                  </a:lnTo>
                  <a:lnTo>
                    <a:pt x="975731" y="1655297"/>
                  </a:lnTo>
                  <a:lnTo>
                    <a:pt x="979767" y="1642569"/>
                  </a:lnTo>
                  <a:lnTo>
                    <a:pt x="979767" y="1631393"/>
                  </a:lnTo>
                  <a:lnTo>
                    <a:pt x="985044" y="1621769"/>
                  </a:lnTo>
                  <a:lnTo>
                    <a:pt x="985044" y="1618665"/>
                  </a:lnTo>
                  <a:lnTo>
                    <a:pt x="963313" y="1621769"/>
                  </a:lnTo>
                  <a:lnTo>
                    <a:pt x="939409" y="1627046"/>
                  </a:lnTo>
                  <a:lnTo>
                    <a:pt x="914263" y="1633255"/>
                  </a:lnTo>
                  <a:lnTo>
                    <a:pt x="895636" y="1641637"/>
                  </a:lnTo>
                  <a:lnTo>
                    <a:pt x="880114" y="1640706"/>
                  </a:lnTo>
                  <a:lnTo>
                    <a:pt x="874836" y="1634497"/>
                  </a:lnTo>
                  <a:lnTo>
                    <a:pt x="872663" y="1629220"/>
                  </a:lnTo>
                  <a:lnTo>
                    <a:pt x="872663" y="1623942"/>
                  </a:lnTo>
                  <a:lnTo>
                    <a:pt x="872663" y="1616491"/>
                  </a:lnTo>
                  <a:lnTo>
                    <a:pt x="868627" y="1611214"/>
                  </a:lnTo>
                  <a:lnTo>
                    <a:pt x="854036" y="1599727"/>
                  </a:lnTo>
                  <a:lnTo>
                    <a:pt x="836341" y="1589172"/>
                  </a:lnTo>
                  <a:lnTo>
                    <a:pt x="819577" y="1577686"/>
                  </a:lnTo>
                  <a:lnTo>
                    <a:pt x="809022" y="1564957"/>
                  </a:lnTo>
                  <a:lnTo>
                    <a:pt x="804986" y="1553471"/>
                  </a:lnTo>
                  <a:lnTo>
                    <a:pt x="802813" y="1545089"/>
                  </a:lnTo>
                  <a:lnTo>
                    <a:pt x="799708" y="1533602"/>
                  </a:lnTo>
                  <a:lnTo>
                    <a:pt x="797535" y="1530498"/>
                  </a:lnTo>
                  <a:lnTo>
                    <a:pt x="792258" y="1526152"/>
                  </a:lnTo>
                  <a:lnTo>
                    <a:pt x="786980" y="1523047"/>
                  </a:lnTo>
                  <a:lnTo>
                    <a:pt x="782944" y="1517770"/>
                  </a:lnTo>
                  <a:lnTo>
                    <a:pt x="779840" y="1513423"/>
                  </a:lnTo>
                  <a:lnTo>
                    <a:pt x="779840" y="1476480"/>
                  </a:lnTo>
                  <a:lnTo>
                    <a:pt x="777667" y="1471203"/>
                  </a:lnTo>
                  <a:lnTo>
                    <a:pt x="772389" y="1466856"/>
                  </a:lnTo>
                  <a:lnTo>
                    <a:pt x="768353" y="1463752"/>
                  </a:lnTo>
                  <a:lnTo>
                    <a:pt x="763076" y="1459406"/>
                  </a:lnTo>
                  <a:lnTo>
                    <a:pt x="759971" y="1456301"/>
                  </a:lnTo>
                  <a:lnTo>
                    <a:pt x="750658" y="1436122"/>
                  </a:lnTo>
                  <a:lnTo>
                    <a:pt x="743518" y="1415943"/>
                  </a:lnTo>
                  <a:lnTo>
                    <a:pt x="736377" y="1393591"/>
                  </a:lnTo>
                  <a:lnTo>
                    <a:pt x="724891" y="1374654"/>
                  </a:lnTo>
                  <a:lnTo>
                    <a:pt x="712473" y="1357580"/>
                  </a:lnTo>
                  <a:lnTo>
                    <a:pt x="712473" y="1350129"/>
                  </a:lnTo>
                  <a:lnTo>
                    <a:pt x="716509" y="1350129"/>
                  </a:lnTo>
                  <a:lnTo>
                    <a:pt x="719613" y="1357580"/>
                  </a:lnTo>
                  <a:lnTo>
                    <a:pt x="723649" y="1363788"/>
                  </a:lnTo>
                  <a:lnTo>
                    <a:pt x="726753" y="1366893"/>
                  </a:lnTo>
                  <a:lnTo>
                    <a:pt x="730789" y="1369066"/>
                  </a:lnTo>
                  <a:lnTo>
                    <a:pt x="733894" y="1371239"/>
                  </a:lnTo>
                  <a:lnTo>
                    <a:pt x="737930" y="1372170"/>
                  </a:lnTo>
                  <a:lnTo>
                    <a:pt x="738861" y="1376517"/>
                  </a:lnTo>
                  <a:lnTo>
                    <a:pt x="745070" y="1378690"/>
                  </a:lnTo>
                  <a:lnTo>
                    <a:pt x="755625" y="1386141"/>
                  </a:lnTo>
                  <a:lnTo>
                    <a:pt x="762765" y="1396696"/>
                  </a:lnTo>
                  <a:lnTo>
                    <a:pt x="768043" y="1409424"/>
                  </a:lnTo>
                  <a:lnTo>
                    <a:pt x="774252" y="1423084"/>
                  </a:lnTo>
                  <a:lnTo>
                    <a:pt x="779529" y="1435812"/>
                  </a:lnTo>
                  <a:lnTo>
                    <a:pt x="799398" y="1448540"/>
                  </a:lnTo>
                  <a:lnTo>
                    <a:pt x="804675" y="1459095"/>
                  </a:lnTo>
                  <a:lnTo>
                    <a:pt x="806848" y="1472755"/>
                  </a:lnTo>
                  <a:lnTo>
                    <a:pt x="809022" y="1485483"/>
                  </a:lnTo>
                  <a:lnTo>
                    <a:pt x="812126" y="1496038"/>
                  </a:lnTo>
                  <a:lnTo>
                    <a:pt x="824544" y="1510940"/>
                  </a:lnTo>
                  <a:lnTo>
                    <a:pt x="838204" y="1525841"/>
                  </a:lnTo>
                  <a:lnTo>
                    <a:pt x="850621" y="1542916"/>
                  </a:lnTo>
                  <a:lnTo>
                    <a:pt x="859935" y="1560922"/>
                  </a:lnTo>
                  <a:lnTo>
                    <a:pt x="860866" y="1572408"/>
                  </a:lnTo>
                  <a:lnTo>
                    <a:pt x="860866" y="1582963"/>
                  </a:lnTo>
                  <a:lnTo>
                    <a:pt x="863039" y="1594450"/>
                  </a:lnTo>
                  <a:lnTo>
                    <a:pt x="868317" y="1605005"/>
                  </a:lnTo>
                  <a:lnTo>
                    <a:pt x="870490" y="1609351"/>
                  </a:lnTo>
                  <a:lnTo>
                    <a:pt x="872663" y="1611524"/>
                  </a:lnTo>
                  <a:lnTo>
                    <a:pt x="874836" y="1612456"/>
                  </a:lnTo>
                  <a:lnTo>
                    <a:pt x="875767" y="1612456"/>
                  </a:lnTo>
                  <a:lnTo>
                    <a:pt x="879803" y="1614629"/>
                  </a:lnTo>
                  <a:lnTo>
                    <a:pt x="889117" y="1614629"/>
                  </a:lnTo>
                  <a:lnTo>
                    <a:pt x="901534" y="1611524"/>
                  </a:lnTo>
                  <a:lnTo>
                    <a:pt x="913952" y="1604074"/>
                  </a:lnTo>
                  <a:lnTo>
                    <a:pt x="928543" y="1597865"/>
                  </a:lnTo>
                  <a:lnTo>
                    <a:pt x="946239" y="1592587"/>
                  </a:lnTo>
                  <a:lnTo>
                    <a:pt x="963003" y="1589483"/>
                  </a:lnTo>
                  <a:lnTo>
                    <a:pt x="979767" y="1582032"/>
                  </a:lnTo>
                  <a:lnTo>
                    <a:pt x="992185" y="1572408"/>
                  </a:lnTo>
                  <a:lnTo>
                    <a:pt x="1002740" y="1560922"/>
                  </a:lnTo>
                  <a:lnTo>
                    <a:pt x="1016399" y="1553471"/>
                  </a:lnTo>
                  <a:lnTo>
                    <a:pt x="1039372" y="1553471"/>
                  </a:lnTo>
                  <a:lnTo>
                    <a:pt x="1039372" y="1544468"/>
                  </a:lnTo>
                  <a:lnTo>
                    <a:pt x="1057999" y="1531740"/>
                  </a:lnTo>
                  <a:lnTo>
                    <a:pt x="1075694" y="1520253"/>
                  </a:lnTo>
                  <a:lnTo>
                    <a:pt x="1075694" y="1500074"/>
                  </a:lnTo>
                  <a:lnTo>
                    <a:pt x="1089354" y="1494797"/>
                  </a:lnTo>
                  <a:lnTo>
                    <a:pt x="1095563" y="1487346"/>
                  </a:lnTo>
                  <a:lnTo>
                    <a:pt x="1101772" y="1477722"/>
                  </a:lnTo>
                  <a:lnTo>
                    <a:pt x="1108912" y="1468098"/>
                  </a:lnTo>
                  <a:lnTo>
                    <a:pt x="1087181" y="1450092"/>
                  </a:lnTo>
                  <a:lnTo>
                    <a:pt x="1060172" y="1435191"/>
                  </a:lnTo>
                  <a:lnTo>
                    <a:pt x="1057999" y="1420290"/>
                  </a:lnTo>
                  <a:lnTo>
                    <a:pt x="1055826" y="1401352"/>
                  </a:lnTo>
                  <a:lnTo>
                    <a:pt x="1035958" y="1416254"/>
                  </a:lnTo>
                  <a:lnTo>
                    <a:pt x="1019193" y="1435191"/>
                  </a:lnTo>
                  <a:lnTo>
                    <a:pt x="1008638" y="1435191"/>
                  </a:lnTo>
                  <a:lnTo>
                    <a:pt x="999325" y="1437364"/>
                  </a:lnTo>
                  <a:lnTo>
                    <a:pt x="992185" y="1438295"/>
                  </a:lnTo>
                  <a:lnTo>
                    <a:pt x="990011" y="1433018"/>
                  </a:lnTo>
                  <a:lnTo>
                    <a:pt x="989080" y="1427740"/>
                  </a:lnTo>
                  <a:lnTo>
                    <a:pt x="989080" y="1422463"/>
                  </a:lnTo>
                  <a:lnTo>
                    <a:pt x="986907" y="1416254"/>
                  </a:lnTo>
                  <a:lnTo>
                    <a:pt x="984734" y="1410976"/>
                  </a:lnTo>
                  <a:lnTo>
                    <a:pt x="979456" y="1408803"/>
                  </a:lnTo>
                  <a:lnTo>
                    <a:pt x="977283" y="1408803"/>
                  </a:lnTo>
                  <a:lnTo>
                    <a:pt x="975110" y="1408803"/>
                  </a:lnTo>
                  <a:lnTo>
                    <a:pt x="975110" y="1410976"/>
                  </a:lnTo>
                  <a:lnTo>
                    <a:pt x="974179" y="1413149"/>
                  </a:lnTo>
                  <a:lnTo>
                    <a:pt x="972006" y="1418427"/>
                  </a:lnTo>
                  <a:lnTo>
                    <a:pt x="964865" y="1407872"/>
                  </a:lnTo>
                  <a:lnTo>
                    <a:pt x="957725" y="1392970"/>
                  </a:lnTo>
                  <a:lnTo>
                    <a:pt x="948412" y="1375896"/>
                  </a:lnTo>
                  <a:lnTo>
                    <a:pt x="943134" y="1358821"/>
                  </a:lnTo>
                  <a:lnTo>
                    <a:pt x="939098" y="1343920"/>
                  </a:lnTo>
                  <a:lnTo>
                    <a:pt x="946239" y="1343920"/>
                  </a:lnTo>
                  <a:lnTo>
                    <a:pt x="950274" y="1343920"/>
                  </a:lnTo>
                  <a:lnTo>
                    <a:pt x="952448" y="1343920"/>
                  </a:lnTo>
                  <a:lnTo>
                    <a:pt x="953379" y="1343920"/>
                  </a:lnTo>
                  <a:lnTo>
                    <a:pt x="955552" y="1343920"/>
                  </a:lnTo>
                  <a:lnTo>
                    <a:pt x="967039" y="1353544"/>
                  </a:lnTo>
                  <a:lnTo>
                    <a:pt x="972316" y="1363167"/>
                  </a:lnTo>
                  <a:lnTo>
                    <a:pt x="975421" y="1373723"/>
                  </a:lnTo>
                  <a:lnTo>
                    <a:pt x="984734" y="1381173"/>
                  </a:lnTo>
                  <a:lnTo>
                    <a:pt x="997152" y="1388624"/>
                  </a:lnTo>
                  <a:lnTo>
                    <a:pt x="1008638" y="1393902"/>
                  </a:lnTo>
                  <a:lnTo>
                    <a:pt x="1019193" y="1401352"/>
                  </a:lnTo>
                  <a:lnTo>
                    <a:pt x="1031611" y="1401352"/>
                  </a:lnTo>
                  <a:lnTo>
                    <a:pt x="1040925" y="1400421"/>
                  </a:lnTo>
                  <a:lnTo>
                    <a:pt x="1048065" y="1398248"/>
                  </a:lnTo>
                  <a:lnTo>
                    <a:pt x="1059551" y="1393902"/>
                  </a:lnTo>
                  <a:lnTo>
                    <a:pt x="1066692" y="1407561"/>
                  </a:lnTo>
                  <a:lnTo>
                    <a:pt x="1071969" y="1418116"/>
                  </a:lnTo>
                  <a:lnTo>
                    <a:pt x="1102082" y="1420290"/>
                  </a:lnTo>
                  <a:lnTo>
                    <a:pt x="1133438" y="1422463"/>
                  </a:lnTo>
                  <a:lnTo>
                    <a:pt x="1164793" y="1422463"/>
                  </a:lnTo>
                  <a:lnTo>
                    <a:pt x="1194906" y="1418116"/>
                  </a:lnTo>
                  <a:lnTo>
                    <a:pt x="1206392" y="1429603"/>
                  </a:lnTo>
                  <a:lnTo>
                    <a:pt x="1218810" y="1437985"/>
                  </a:lnTo>
                  <a:lnTo>
                    <a:pt x="1231228" y="1447609"/>
                  </a:lnTo>
                  <a:lnTo>
                    <a:pt x="1238368" y="1458164"/>
                  </a:lnTo>
                  <a:lnTo>
                    <a:pt x="1235264" y="1471824"/>
                  </a:lnTo>
                  <a:lnTo>
                    <a:pt x="1238368" y="1474928"/>
                  </a:lnTo>
                  <a:lnTo>
                    <a:pt x="1242404" y="1479274"/>
                  </a:lnTo>
                  <a:lnTo>
                    <a:pt x="1247681" y="1482379"/>
                  </a:lnTo>
                  <a:lnTo>
                    <a:pt x="1251717" y="1486725"/>
                  </a:lnTo>
                  <a:lnTo>
                    <a:pt x="1262273" y="1487656"/>
                  </a:lnTo>
                  <a:lnTo>
                    <a:pt x="1271586" y="1487656"/>
                  </a:lnTo>
                  <a:lnTo>
                    <a:pt x="1284004" y="1486725"/>
                  </a:lnTo>
                  <a:lnTo>
                    <a:pt x="1288039" y="1524910"/>
                  </a:lnTo>
                  <a:lnTo>
                    <a:pt x="1296422" y="1556575"/>
                  </a:lnTo>
                  <a:lnTo>
                    <a:pt x="1308840" y="1586068"/>
                  </a:lnTo>
                  <a:lnTo>
                    <a:pt x="1327466" y="1613697"/>
                  </a:lnTo>
                  <a:lnTo>
                    <a:pt x="1327466" y="1615870"/>
                  </a:lnTo>
                  <a:lnTo>
                    <a:pt x="1325293" y="1618044"/>
                  </a:lnTo>
                  <a:lnTo>
                    <a:pt x="1323120" y="1621148"/>
                  </a:lnTo>
                  <a:lnTo>
                    <a:pt x="1322188" y="1625494"/>
                  </a:lnTo>
                  <a:lnTo>
                    <a:pt x="1323120" y="1628599"/>
                  </a:lnTo>
                  <a:lnTo>
                    <a:pt x="1329329" y="1645673"/>
                  </a:lnTo>
                  <a:lnTo>
                    <a:pt x="1339884" y="1665852"/>
                  </a:lnTo>
                  <a:lnTo>
                    <a:pt x="1351370" y="1678581"/>
                  </a:lnTo>
                  <a:lnTo>
                    <a:pt x="1352302" y="1680754"/>
                  </a:lnTo>
                  <a:lnTo>
                    <a:pt x="1354475" y="1680754"/>
                  </a:lnTo>
                  <a:lnTo>
                    <a:pt x="1356648" y="1682927"/>
                  </a:lnTo>
                  <a:lnTo>
                    <a:pt x="1358821" y="1682927"/>
                  </a:lnTo>
                  <a:lnTo>
                    <a:pt x="1378690" y="1658712"/>
                  </a:lnTo>
                  <a:lnTo>
                    <a:pt x="1391108" y="1633255"/>
                  </a:lnTo>
                  <a:lnTo>
                    <a:pt x="1400421" y="1601590"/>
                  </a:lnTo>
                  <a:lnTo>
                    <a:pt x="1403525" y="1564647"/>
                  </a:lnTo>
                  <a:lnTo>
                    <a:pt x="1415943" y="1557196"/>
                  </a:lnTo>
                  <a:lnTo>
                    <a:pt x="1425257" y="1547572"/>
                  </a:lnTo>
                  <a:lnTo>
                    <a:pt x="1434570" y="1540122"/>
                  </a:lnTo>
                  <a:lnTo>
                    <a:pt x="1451334" y="1540122"/>
                  </a:lnTo>
                  <a:lnTo>
                    <a:pt x="1463752" y="1507214"/>
                  </a:lnTo>
                  <a:lnTo>
                    <a:pt x="1470892" y="1501937"/>
                  </a:lnTo>
                  <a:lnTo>
                    <a:pt x="1478032" y="1499764"/>
                  </a:lnTo>
                  <a:lnTo>
                    <a:pt x="1485172" y="1499764"/>
                  </a:lnTo>
                  <a:lnTo>
                    <a:pt x="1488277" y="1497591"/>
                  </a:lnTo>
                  <a:lnTo>
                    <a:pt x="1493555" y="1490140"/>
                  </a:lnTo>
                  <a:lnTo>
                    <a:pt x="1497590" y="1475239"/>
                  </a:lnTo>
                  <a:lnTo>
                    <a:pt x="1512181" y="1475239"/>
                  </a:lnTo>
                  <a:lnTo>
                    <a:pt x="1526772" y="1477412"/>
                  </a:lnTo>
                  <a:lnTo>
                    <a:pt x="1543536" y="1475239"/>
                  </a:lnTo>
                  <a:lnTo>
                    <a:pt x="1544468" y="1473065"/>
                  </a:lnTo>
                  <a:lnTo>
                    <a:pt x="1546641" y="1472134"/>
                  </a:lnTo>
                  <a:lnTo>
                    <a:pt x="1548814" y="1467788"/>
                  </a:lnTo>
                  <a:lnTo>
                    <a:pt x="1550987" y="1465615"/>
                  </a:lnTo>
                  <a:lnTo>
                    <a:pt x="1554092" y="1462510"/>
                  </a:lnTo>
                  <a:lnTo>
                    <a:pt x="1565578" y="1480516"/>
                  </a:lnTo>
                  <a:lnTo>
                    <a:pt x="1573960" y="1495418"/>
                  </a:lnTo>
                  <a:lnTo>
                    <a:pt x="1585447" y="1509077"/>
                  </a:lnTo>
                  <a:lnTo>
                    <a:pt x="1592587" y="1523979"/>
                  </a:lnTo>
                  <a:lnTo>
                    <a:pt x="1597864" y="1541984"/>
                  </a:lnTo>
                  <a:lnTo>
                    <a:pt x="1597864" y="1564337"/>
                  </a:lnTo>
                  <a:lnTo>
                    <a:pt x="1600037" y="1566509"/>
                  </a:lnTo>
                  <a:lnTo>
                    <a:pt x="1600969" y="1566509"/>
                  </a:lnTo>
                  <a:lnTo>
                    <a:pt x="1600969" y="1567441"/>
                  </a:lnTo>
                  <a:lnTo>
                    <a:pt x="1603142" y="1567441"/>
                  </a:lnTo>
                  <a:lnTo>
                    <a:pt x="1610282" y="1567441"/>
                  </a:lnTo>
                  <a:lnTo>
                    <a:pt x="1617422" y="1566509"/>
                  </a:lnTo>
                  <a:lnTo>
                    <a:pt x="1621458" y="1564337"/>
                  </a:lnTo>
                  <a:lnTo>
                    <a:pt x="1626736" y="1559990"/>
                  </a:lnTo>
                  <a:lnTo>
                    <a:pt x="1629840" y="1556886"/>
                  </a:lnTo>
                  <a:lnTo>
                    <a:pt x="1641327" y="1569614"/>
                  </a:lnTo>
                  <a:lnTo>
                    <a:pt x="1648467" y="1586688"/>
                  </a:lnTo>
                  <a:lnTo>
                    <a:pt x="1650640" y="1606867"/>
                  </a:lnTo>
                  <a:lnTo>
                    <a:pt x="1650640" y="1629220"/>
                  </a:lnTo>
                  <a:lnTo>
                    <a:pt x="1650640" y="1649399"/>
                  </a:lnTo>
                  <a:lnTo>
                    <a:pt x="1650640" y="1668336"/>
                  </a:lnTo>
                  <a:lnTo>
                    <a:pt x="1653745" y="1683237"/>
                  </a:lnTo>
                  <a:lnTo>
                    <a:pt x="1653745" y="1686342"/>
                  </a:lnTo>
                  <a:lnTo>
                    <a:pt x="1663058" y="1683237"/>
                  </a:lnTo>
                  <a:lnTo>
                    <a:pt x="1663058" y="1686342"/>
                  </a:lnTo>
                  <a:lnTo>
                    <a:pt x="1672371" y="1699070"/>
                  </a:lnTo>
                  <a:lnTo>
                    <a:pt x="1677649" y="1713971"/>
                  </a:lnTo>
                  <a:lnTo>
                    <a:pt x="1682927" y="1728873"/>
                  </a:lnTo>
                  <a:lnTo>
                    <a:pt x="1686962" y="1745947"/>
                  </a:lnTo>
                  <a:lnTo>
                    <a:pt x="1693171" y="1760849"/>
                  </a:lnTo>
                  <a:lnTo>
                    <a:pt x="1702485" y="1768299"/>
                  </a:lnTo>
                  <a:lnTo>
                    <a:pt x="1704658" y="1770472"/>
                  </a:lnTo>
                  <a:lnTo>
                    <a:pt x="1715213" y="1775750"/>
                  </a:lnTo>
                  <a:lnTo>
                    <a:pt x="1726699" y="1785374"/>
                  </a:lnTo>
                  <a:lnTo>
                    <a:pt x="1737255" y="1785374"/>
                  </a:lnTo>
                  <a:lnTo>
                    <a:pt x="1736323" y="1758986"/>
                  </a:lnTo>
                  <a:lnTo>
                    <a:pt x="1729183" y="1733529"/>
                  </a:lnTo>
                  <a:lnTo>
                    <a:pt x="1717696" y="1711177"/>
                  </a:lnTo>
                  <a:lnTo>
                    <a:pt x="1703106" y="1696276"/>
                  </a:lnTo>
                  <a:lnTo>
                    <a:pt x="1700001" y="1694103"/>
                  </a:lnTo>
                  <a:lnTo>
                    <a:pt x="1695965" y="1694103"/>
                  </a:lnTo>
                  <a:lnTo>
                    <a:pt x="1692861" y="1694103"/>
                  </a:lnTo>
                  <a:lnTo>
                    <a:pt x="1688825" y="1694103"/>
                  </a:lnTo>
                  <a:lnTo>
                    <a:pt x="1687894" y="1691930"/>
                  </a:lnTo>
                  <a:lnTo>
                    <a:pt x="1681685" y="1681374"/>
                  </a:lnTo>
                  <a:lnTo>
                    <a:pt x="1680753" y="1671751"/>
                  </a:lnTo>
                  <a:lnTo>
                    <a:pt x="1676718" y="1664300"/>
                  </a:lnTo>
                  <a:lnTo>
                    <a:pt x="1667404" y="1659022"/>
                  </a:lnTo>
                  <a:lnTo>
                    <a:pt x="1676718" y="1634808"/>
                  </a:lnTo>
                  <a:lnTo>
                    <a:pt x="1683858" y="1605315"/>
                  </a:lnTo>
                  <a:lnTo>
                    <a:pt x="1700622" y="1618975"/>
                  </a:lnTo>
                  <a:lnTo>
                    <a:pt x="1716144" y="1631703"/>
                  </a:lnTo>
                  <a:lnTo>
                    <a:pt x="1730735" y="1644431"/>
                  </a:lnTo>
                  <a:lnTo>
                    <a:pt x="1742222" y="1659333"/>
                  </a:lnTo>
                  <a:lnTo>
                    <a:pt x="1747499" y="1679512"/>
                  </a:lnTo>
                  <a:lnTo>
                    <a:pt x="1754640" y="1679512"/>
                  </a:lnTo>
                  <a:lnTo>
                    <a:pt x="1815176" y="1629841"/>
                  </a:lnTo>
                  <a:lnTo>
                    <a:pt x="1813003" y="1600348"/>
                  </a:lnTo>
                  <a:lnTo>
                    <a:pt x="1807726" y="1576133"/>
                  </a:lnTo>
                  <a:lnTo>
                    <a:pt x="1796239" y="1558128"/>
                  </a:lnTo>
                  <a:lnTo>
                    <a:pt x="1783822" y="1541053"/>
                  </a:lnTo>
                  <a:lnTo>
                    <a:pt x="1767057" y="1525220"/>
                  </a:lnTo>
                  <a:lnTo>
                    <a:pt x="1769230" y="1510319"/>
                  </a:lnTo>
                  <a:lnTo>
                    <a:pt x="1774508" y="1500695"/>
                  </a:lnTo>
                  <a:lnTo>
                    <a:pt x="1780717" y="1495418"/>
                  </a:lnTo>
                  <a:lnTo>
                    <a:pt x="1787857" y="1489209"/>
                  </a:lnTo>
                  <a:lnTo>
                    <a:pt x="1794066" y="1480827"/>
                  </a:lnTo>
                  <a:lnTo>
                    <a:pt x="1800275" y="1480827"/>
                  </a:lnTo>
                  <a:lnTo>
                    <a:pt x="1805553" y="1481758"/>
                  </a:lnTo>
                  <a:lnTo>
                    <a:pt x="1807726" y="1481758"/>
                  </a:lnTo>
                  <a:lnTo>
                    <a:pt x="1810830" y="1483931"/>
                  </a:lnTo>
                  <a:lnTo>
                    <a:pt x="1813003" y="1488277"/>
                  </a:lnTo>
                  <a:lnTo>
                    <a:pt x="1816108" y="1493555"/>
                  </a:lnTo>
                  <a:lnTo>
                    <a:pt x="1818281" y="1496659"/>
                  </a:lnTo>
                  <a:lnTo>
                    <a:pt x="1816108" y="1501006"/>
                  </a:lnTo>
                  <a:lnTo>
                    <a:pt x="1815176" y="1504110"/>
                  </a:lnTo>
                  <a:lnTo>
                    <a:pt x="1811141" y="1506283"/>
                  </a:lnTo>
                  <a:lnTo>
                    <a:pt x="1808036" y="1506283"/>
                  </a:lnTo>
                  <a:lnTo>
                    <a:pt x="1804000" y="1508456"/>
                  </a:lnTo>
                  <a:lnTo>
                    <a:pt x="1804000" y="1518080"/>
                  </a:lnTo>
                  <a:lnTo>
                    <a:pt x="1804000" y="1523358"/>
                  </a:lnTo>
                  <a:lnTo>
                    <a:pt x="1806173" y="1528635"/>
                  </a:lnTo>
                  <a:lnTo>
                    <a:pt x="1808346" y="1533913"/>
                  </a:lnTo>
                  <a:lnTo>
                    <a:pt x="1811451" y="1532981"/>
                  </a:lnTo>
                  <a:lnTo>
                    <a:pt x="1813624" y="1532981"/>
                  </a:lnTo>
                  <a:lnTo>
                    <a:pt x="1815797" y="1532981"/>
                  </a:lnTo>
                  <a:lnTo>
                    <a:pt x="1816729" y="1530808"/>
                  </a:lnTo>
                  <a:lnTo>
                    <a:pt x="1818902" y="1530808"/>
                  </a:lnTo>
                  <a:lnTo>
                    <a:pt x="1826042" y="1526462"/>
                  </a:lnTo>
                  <a:lnTo>
                    <a:pt x="1830078" y="1523358"/>
                  </a:lnTo>
                  <a:lnTo>
                    <a:pt x="1831009" y="1521184"/>
                  </a:lnTo>
                  <a:lnTo>
                    <a:pt x="1835045" y="1518080"/>
                  </a:lnTo>
                  <a:lnTo>
                    <a:pt x="1838150" y="1513734"/>
                  </a:lnTo>
                  <a:lnTo>
                    <a:pt x="1837218" y="1508456"/>
                  </a:lnTo>
                  <a:lnTo>
                    <a:pt x="1837218" y="1503179"/>
                  </a:lnTo>
                  <a:lnTo>
                    <a:pt x="1835045" y="1501006"/>
                  </a:lnTo>
                  <a:lnTo>
                    <a:pt x="1835045" y="1498832"/>
                  </a:lnTo>
                  <a:lnTo>
                    <a:pt x="1835045" y="1495728"/>
                  </a:lnTo>
                  <a:lnTo>
                    <a:pt x="1835045" y="1491382"/>
                  </a:lnTo>
                  <a:lnTo>
                    <a:pt x="1835045" y="1483931"/>
                  </a:lnTo>
                  <a:lnTo>
                    <a:pt x="1862054" y="1478653"/>
                  </a:lnTo>
                  <a:lnTo>
                    <a:pt x="1891236" y="1469030"/>
                  </a:lnTo>
                  <a:lnTo>
                    <a:pt x="1916382" y="1458474"/>
                  </a:lnTo>
                  <a:lnTo>
                    <a:pt x="1940286" y="1443573"/>
                  </a:lnTo>
                  <a:lnTo>
                    <a:pt x="1958913" y="1423394"/>
                  </a:lnTo>
                  <a:lnTo>
                    <a:pt x="1967295" y="1408493"/>
                  </a:lnTo>
                  <a:lnTo>
                    <a:pt x="1974435" y="1394833"/>
                  </a:lnTo>
                  <a:lnTo>
                    <a:pt x="1981575" y="1379932"/>
                  </a:lnTo>
                  <a:lnTo>
                    <a:pt x="1993993" y="1371550"/>
                  </a:lnTo>
                  <a:lnTo>
                    <a:pt x="1993993" y="1351992"/>
                  </a:lnTo>
                  <a:lnTo>
                    <a:pt x="1993062" y="1329639"/>
                  </a:lnTo>
                  <a:lnTo>
                    <a:pt x="1989026" y="1309460"/>
                  </a:lnTo>
                  <a:lnTo>
                    <a:pt x="1981886" y="1289281"/>
                  </a:lnTo>
                  <a:lnTo>
                    <a:pt x="1973504" y="1274380"/>
                  </a:lnTo>
                  <a:lnTo>
                    <a:pt x="1958913" y="1264756"/>
                  </a:lnTo>
                  <a:lnTo>
                    <a:pt x="1964190" y="1252028"/>
                  </a:lnTo>
                  <a:lnTo>
                    <a:pt x="1969468" y="1244577"/>
                  </a:lnTo>
                  <a:lnTo>
                    <a:pt x="1976608" y="1237127"/>
                  </a:lnTo>
                  <a:lnTo>
                    <a:pt x="1983748" y="1227503"/>
                  </a:lnTo>
                  <a:lnTo>
                    <a:pt x="2003617" y="1227503"/>
                  </a:lnTo>
                  <a:lnTo>
                    <a:pt x="2003617" y="1214774"/>
                  </a:lnTo>
                  <a:lnTo>
                    <a:pt x="1998339" y="1214774"/>
                  </a:lnTo>
                  <a:lnTo>
                    <a:pt x="1987784" y="1209497"/>
                  </a:lnTo>
                  <a:lnTo>
                    <a:pt x="1978471" y="1209497"/>
                  </a:lnTo>
                  <a:lnTo>
                    <a:pt x="1969157" y="1212601"/>
                  </a:lnTo>
                  <a:lnTo>
                    <a:pt x="1958602" y="1218810"/>
                  </a:lnTo>
                  <a:lnTo>
                    <a:pt x="1954567" y="1212601"/>
                  </a:lnTo>
                  <a:lnTo>
                    <a:pt x="1951462" y="1209497"/>
                  </a:lnTo>
                  <a:lnTo>
                    <a:pt x="1947426" y="1205151"/>
                  </a:lnTo>
                  <a:lnTo>
                    <a:pt x="1942149" y="1202046"/>
                  </a:lnTo>
                  <a:lnTo>
                    <a:pt x="1935008" y="1197700"/>
                  </a:lnTo>
                  <a:lnTo>
                    <a:pt x="1942149" y="1184972"/>
                  </a:lnTo>
                  <a:lnTo>
                    <a:pt x="1954567" y="1174416"/>
                  </a:lnTo>
                  <a:lnTo>
                    <a:pt x="1966985" y="1164793"/>
                  </a:lnTo>
                  <a:lnTo>
                    <a:pt x="1978471" y="1153306"/>
                  </a:lnTo>
                  <a:lnTo>
                    <a:pt x="1983748" y="1155479"/>
                  </a:lnTo>
                  <a:lnTo>
                    <a:pt x="1987784" y="1155479"/>
                  </a:lnTo>
                  <a:lnTo>
                    <a:pt x="1990889" y="1157652"/>
                  </a:lnTo>
                  <a:lnTo>
                    <a:pt x="1993993" y="1157652"/>
                  </a:lnTo>
                  <a:lnTo>
                    <a:pt x="1990889" y="1165103"/>
                  </a:lnTo>
                  <a:lnTo>
                    <a:pt x="1988716" y="1168208"/>
                  </a:lnTo>
                  <a:lnTo>
                    <a:pt x="1987784" y="1174416"/>
                  </a:lnTo>
                  <a:lnTo>
                    <a:pt x="1985611" y="1177521"/>
                  </a:lnTo>
                  <a:lnTo>
                    <a:pt x="1983438" y="1182799"/>
                  </a:lnTo>
                  <a:lnTo>
                    <a:pt x="1983438" y="1187145"/>
                  </a:lnTo>
                  <a:lnTo>
                    <a:pt x="1995856" y="1181867"/>
                  </a:lnTo>
                  <a:lnTo>
                    <a:pt x="2010447" y="1175658"/>
                  </a:lnTo>
                  <a:lnTo>
                    <a:pt x="2022865" y="1172554"/>
                  </a:lnTo>
                  <a:lnTo>
                    <a:pt x="2034351" y="1174727"/>
                  </a:lnTo>
                  <a:lnTo>
                    <a:pt x="2043664" y="1174727"/>
                  </a:lnTo>
                  <a:lnTo>
                    <a:pt x="2039629" y="1182178"/>
                  </a:lnTo>
                  <a:lnTo>
                    <a:pt x="2037456" y="1187455"/>
                  </a:lnTo>
                  <a:lnTo>
                    <a:pt x="2034351" y="1192733"/>
                  </a:lnTo>
                  <a:lnTo>
                    <a:pt x="2030315" y="1198010"/>
                  </a:lnTo>
                  <a:lnTo>
                    <a:pt x="2034351" y="1204219"/>
                  </a:lnTo>
                  <a:lnTo>
                    <a:pt x="2037456" y="1205151"/>
                  </a:lnTo>
                  <a:lnTo>
                    <a:pt x="2039629" y="1207324"/>
                  </a:lnTo>
                  <a:lnTo>
                    <a:pt x="2041802" y="1207324"/>
                  </a:lnTo>
                  <a:lnTo>
                    <a:pt x="2044906" y="1207324"/>
                  </a:lnTo>
                  <a:lnTo>
                    <a:pt x="2048942" y="1207324"/>
                  </a:lnTo>
                  <a:lnTo>
                    <a:pt x="2054220" y="1207324"/>
                  </a:lnTo>
                  <a:lnTo>
                    <a:pt x="2054220" y="1218810"/>
                  </a:lnTo>
                  <a:lnTo>
                    <a:pt x="2052046" y="1233712"/>
                  </a:lnTo>
                  <a:lnTo>
                    <a:pt x="2052046" y="1246440"/>
                  </a:lnTo>
                  <a:lnTo>
                    <a:pt x="2054220" y="1254822"/>
                  </a:lnTo>
                  <a:lnTo>
                    <a:pt x="2054220" y="1264446"/>
                  </a:lnTo>
                  <a:lnTo>
                    <a:pt x="2078124" y="1261341"/>
                  </a:lnTo>
                  <a:lnTo>
                    <a:pt x="2092715" y="1255132"/>
                  </a:lnTo>
                  <a:lnTo>
                    <a:pt x="2099855" y="1247682"/>
                  </a:lnTo>
                  <a:lnTo>
                    <a:pt x="2102960" y="1239300"/>
                  </a:lnTo>
                  <a:lnTo>
                    <a:pt x="2100787" y="1226571"/>
                  </a:lnTo>
                  <a:lnTo>
                    <a:pt x="2097682" y="1215085"/>
                  </a:lnTo>
                  <a:lnTo>
                    <a:pt x="2090542" y="1202357"/>
                  </a:lnTo>
                  <a:lnTo>
                    <a:pt x="2085264" y="1189628"/>
                  </a:lnTo>
                  <a:lnTo>
                    <a:pt x="2078124" y="1178142"/>
                  </a:lnTo>
                  <a:lnTo>
                    <a:pt x="2074088" y="1167587"/>
                  </a:lnTo>
                  <a:lnTo>
                    <a:pt x="2078124" y="1165414"/>
                  </a:lnTo>
                  <a:lnTo>
                    <a:pt x="2081228" y="1165414"/>
                  </a:lnTo>
                  <a:lnTo>
                    <a:pt x="2083402" y="1165414"/>
                  </a:lnTo>
                  <a:lnTo>
                    <a:pt x="2085575" y="1163241"/>
                  </a:lnTo>
                  <a:lnTo>
                    <a:pt x="2087748" y="1163241"/>
                  </a:lnTo>
                  <a:lnTo>
                    <a:pt x="2098303" y="1155790"/>
                  </a:lnTo>
                  <a:lnTo>
                    <a:pt x="2105443" y="1145235"/>
                  </a:lnTo>
                  <a:lnTo>
                    <a:pt x="2110721" y="1133748"/>
                  </a:lnTo>
                  <a:lnTo>
                    <a:pt x="2117861" y="1123193"/>
                  </a:lnTo>
                  <a:lnTo>
                    <a:pt x="2127175" y="1113569"/>
                  </a:lnTo>
                  <a:lnTo>
                    <a:pt x="2137730" y="1111396"/>
                  </a:lnTo>
                  <a:lnTo>
                    <a:pt x="2149216" y="1111396"/>
                  </a:lnTo>
                  <a:lnTo>
                    <a:pt x="2161634" y="1113569"/>
                  </a:lnTo>
                  <a:lnTo>
                    <a:pt x="2174052" y="1110465"/>
                  </a:lnTo>
                  <a:lnTo>
                    <a:pt x="2178088" y="1106118"/>
                  </a:lnTo>
                  <a:lnTo>
                    <a:pt x="2185228" y="1096495"/>
                  </a:lnTo>
                  <a:lnTo>
                    <a:pt x="2195783" y="1083766"/>
                  </a:lnTo>
                  <a:lnTo>
                    <a:pt x="2208201" y="1071038"/>
                  </a:lnTo>
                  <a:lnTo>
                    <a:pt x="2219687" y="1056137"/>
                  </a:lnTo>
                  <a:lnTo>
                    <a:pt x="2230242" y="1043408"/>
                  </a:lnTo>
                  <a:lnTo>
                    <a:pt x="2239556" y="1031922"/>
                  </a:lnTo>
                  <a:lnTo>
                    <a:pt x="2243592" y="1028817"/>
                  </a:lnTo>
                  <a:lnTo>
                    <a:pt x="2250732" y="1011743"/>
                  </a:lnTo>
                  <a:lnTo>
                    <a:pt x="2256010" y="999015"/>
                  </a:lnTo>
                  <a:lnTo>
                    <a:pt x="2263150" y="986286"/>
                  </a:lnTo>
                  <a:lnTo>
                    <a:pt x="2273705" y="974800"/>
                  </a:lnTo>
                  <a:lnTo>
                    <a:pt x="2270600" y="962072"/>
                  </a:lnTo>
                  <a:lnTo>
                    <a:pt x="2266565" y="952448"/>
                  </a:lnTo>
                  <a:lnTo>
                    <a:pt x="2263460" y="942824"/>
                  </a:lnTo>
                  <a:lnTo>
                    <a:pt x="2263460" y="932269"/>
                  </a:lnTo>
                  <a:lnTo>
                    <a:pt x="2265633" y="922645"/>
                  </a:lnTo>
                  <a:lnTo>
                    <a:pt x="2270911" y="917367"/>
                  </a:lnTo>
                  <a:lnTo>
                    <a:pt x="2273084" y="912090"/>
                  </a:lnTo>
                  <a:lnTo>
                    <a:pt x="2270911" y="902466"/>
                  </a:lnTo>
                  <a:lnTo>
                    <a:pt x="2266875" y="887565"/>
                  </a:lnTo>
                  <a:lnTo>
                    <a:pt x="2263771" y="877941"/>
                  </a:lnTo>
                  <a:lnTo>
                    <a:pt x="2258493" y="870490"/>
                  </a:lnTo>
                  <a:lnTo>
                    <a:pt x="2251353" y="862108"/>
                  </a:lnTo>
                  <a:lnTo>
                    <a:pt x="2242039" y="862108"/>
                  </a:lnTo>
                  <a:lnTo>
                    <a:pt x="2236762" y="862108"/>
                  </a:lnTo>
                  <a:lnTo>
                    <a:pt x="2230553" y="863039"/>
                  </a:lnTo>
                  <a:lnTo>
                    <a:pt x="2227448" y="865213"/>
                  </a:lnTo>
                  <a:lnTo>
                    <a:pt x="2223413" y="869559"/>
                  </a:lnTo>
                  <a:lnTo>
                    <a:pt x="2216272" y="867386"/>
                  </a:lnTo>
                  <a:lnTo>
                    <a:pt x="2213168" y="865213"/>
                  </a:lnTo>
                  <a:lnTo>
                    <a:pt x="2209132" y="862108"/>
                  </a:lnTo>
                  <a:lnTo>
                    <a:pt x="2208201" y="857762"/>
                  </a:lnTo>
                  <a:lnTo>
                    <a:pt x="2206028" y="854657"/>
                  </a:lnTo>
                  <a:lnTo>
                    <a:pt x="2203854" y="848448"/>
                  </a:lnTo>
                  <a:lnTo>
                    <a:pt x="2188332" y="848448"/>
                  </a:lnTo>
                  <a:lnTo>
                    <a:pt x="2188332" y="837893"/>
                  </a:lnTo>
                  <a:lnTo>
                    <a:pt x="2200750" y="828269"/>
                  </a:lnTo>
                  <a:lnTo>
                    <a:pt x="2206028" y="820819"/>
                  </a:lnTo>
                  <a:lnTo>
                    <a:pt x="2211305" y="812437"/>
                  </a:lnTo>
                  <a:lnTo>
                    <a:pt x="2218446" y="804986"/>
                  </a:lnTo>
                  <a:lnTo>
                    <a:pt x="2247627" y="795362"/>
                  </a:lnTo>
                  <a:lnTo>
                    <a:pt x="2256941" y="785738"/>
                  </a:lnTo>
                  <a:lnTo>
                    <a:pt x="2264081" y="773010"/>
                  </a:lnTo>
                  <a:lnTo>
                    <a:pt x="2271221" y="760282"/>
                  </a:lnTo>
                  <a:lnTo>
                    <a:pt x="2278361" y="746622"/>
                  </a:lnTo>
                  <a:lnTo>
                    <a:pt x="2290779" y="736067"/>
                  </a:lnTo>
                  <a:lnTo>
                    <a:pt x="2305370" y="726443"/>
                  </a:lnTo>
                  <a:lnTo>
                    <a:pt x="2317788" y="713715"/>
                  </a:lnTo>
                  <a:lnTo>
                    <a:pt x="2354110" y="718993"/>
                  </a:lnTo>
                  <a:lnTo>
                    <a:pt x="2363424" y="730479"/>
                  </a:lnTo>
                  <a:lnTo>
                    <a:pt x="2375841" y="732652"/>
                  </a:lnTo>
                  <a:lnTo>
                    <a:pt x="2390432" y="726443"/>
                  </a:lnTo>
                  <a:lnTo>
                    <a:pt x="2407196" y="723339"/>
                  </a:lnTo>
                  <a:lnTo>
                    <a:pt x="2407196" y="743518"/>
                  </a:lnTo>
                  <a:lnTo>
                    <a:pt x="2422719" y="743518"/>
                  </a:lnTo>
                  <a:lnTo>
                    <a:pt x="2439483" y="741345"/>
                  </a:lnTo>
                  <a:lnTo>
                    <a:pt x="2451901" y="739171"/>
                  </a:lnTo>
                  <a:lnTo>
                    <a:pt x="2463387" y="733894"/>
                  </a:lnTo>
                  <a:lnTo>
                    <a:pt x="2463387" y="730789"/>
                  </a:lnTo>
                  <a:lnTo>
                    <a:pt x="2461214" y="726443"/>
                  </a:lnTo>
                  <a:lnTo>
                    <a:pt x="2459041" y="721166"/>
                  </a:lnTo>
                  <a:lnTo>
                    <a:pt x="2458110" y="718061"/>
                  </a:lnTo>
                  <a:lnTo>
                    <a:pt x="2458110" y="713715"/>
                  </a:lnTo>
                  <a:lnTo>
                    <a:pt x="2458110" y="710610"/>
                  </a:lnTo>
                  <a:lnTo>
                    <a:pt x="2463387" y="700987"/>
                  </a:lnTo>
                  <a:lnTo>
                    <a:pt x="2473942" y="688258"/>
                  </a:lnTo>
                  <a:lnTo>
                    <a:pt x="2485429" y="674599"/>
                  </a:lnTo>
                  <a:lnTo>
                    <a:pt x="2497847" y="664044"/>
                  </a:lnTo>
                  <a:lnTo>
                    <a:pt x="2507160" y="658766"/>
                  </a:lnTo>
                  <a:lnTo>
                    <a:pt x="2510265" y="656593"/>
                  </a:lnTo>
                  <a:lnTo>
                    <a:pt x="2515542" y="658766"/>
                  </a:lnTo>
                  <a:lnTo>
                    <a:pt x="2519578" y="659697"/>
                  </a:lnTo>
                  <a:lnTo>
                    <a:pt x="2524855" y="661871"/>
                  </a:lnTo>
                  <a:lnTo>
                    <a:pt x="2530133" y="666217"/>
                  </a:lnTo>
                  <a:lnTo>
                    <a:pt x="2530133" y="669321"/>
                  </a:lnTo>
                  <a:lnTo>
                    <a:pt x="2529202" y="673667"/>
                  </a:lnTo>
                  <a:lnTo>
                    <a:pt x="2529202" y="674599"/>
                  </a:lnTo>
                  <a:lnTo>
                    <a:pt x="2529202" y="676772"/>
                  </a:lnTo>
                  <a:lnTo>
                    <a:pt x="2527028" y="678945"/>
                  </a:lnTo>
                  <a:lnTo>
                    <a:pt x="2527028" y="684223"/>
                  </a:lnTo>
                  <a:lnTo>
                    <a:pt x="2529202" y="688569"/>
                  </a:lnTo>
                  <a:lnTo>
                    <a:pt x="2529202" y="689500"/>
                  </a:lnTo>
                  <a:lnTo>
                    <a:pt x="2530133" y="695709"/>
                  </a:lnTo>
                  <a:lnTo>
                    <a:pt x="2546897" y="688258"/>
                  </a:lnTo>
                  <a:lnTo>
                    <a:pt x="2559315" y="678635"/>
                  </a:lnTo>
                  <a:lnTo>
                    <a:pt x="2568628" y="665906"/>
                  </a:lnTo>
                  <a:lnTo>
                    <a:pt x="2577942" y="651005"/>
                  </a:lnTo>
                  <a:lnTo>
                    <a:pt x="2587255" y="637345"/>
                  </a:lnTo>
                  <a:lnTo>
                    <a:pt x="2588186" y="636414"/>
                  </a:lnTo>
                  <a:lnTo>
                    <a:pt x="2590359" y="634241"/>
                  </a:lnTo>
                  <a:lnTo>
                    <a:pt x="2593464" y="632068"/>
                  </a:lnTo>
                  <a:lnTo>
                    <a:pt x="2595637" y="634241"/>
                  </a:lnTo>
                  <a:lnTo>
                    <a:pt x="2595637" y="636414"/>
                  </a:lnTo>
                  <a:lnTo>
                    <a:pt x="2597810" y="636414"/>
                  </a:lnTo>
                  <a:lnTo>
                    <a:pt x="2597810" y="637345"/>
                  </a:lnTo>
                  <a:lnTo>
                    <a:pt x="2592533" y="651005"/>
                  </a:lnTo>
                  <a:lnTo>
                    <a:pt x="2588497" y="665906"/>
                  </a:lnTo>
                  <a:lnTo>
                    <a:pt x="2583219" y="678635"/>
                  </a:lnTo>
                  <a:lnTo>
                    <a:pt x="2570802" y="688258"/>
                  </a:lnTo>
                  <a:lnTo>
                    <a:pt x="2558384" y="696640"/>
                  </a:lnTo>
                  <a:lnTo>
                    <a:pt x="2546897" y="706264"/>
                  </a:lnTo>
                  <a:lnTo>
                    <a:pt x="2532306" y="728616"/>
                  </a:lnTo>
                  <a:lnTo>
                    <a:pt x="2517715" y="750968"/>
                  </a:lnTo>
                  <a:lnTo>
                    <a:pt x="2510575" y="758419"/>
                  </a:lnTo>
                  <a:lnTo>
                    <a:pt x="2500020" y="761524"/>
                  </a:lnTo>
                  <a:lnTo>
                    <a:pt x="2490706" y="765870"/>
                  </a:lnTo>
                  <a:lnTo>
                    <a:pt x="2483566" y="771147"/>
                  </a:lnTo>
                  <a:lnTo>
                    <a:pt x="2476426" y="786049"/>
                  </a:lnTo>
                  <a:lnTo>
                    <a:pt x="2478599" y="798777"/>
                  </a:lnTo>
                  <a:lnTo>
                    <a:pt x="2483877" y="808401"/>
                  </a:lnTo>
                  <a:lnTo>
                    <a:pt x="2480772" y="815852"/>
                  </a:lnTo>
                  <a:lnTo>
                    <a:pt x="2478599" y="821129"/>
                  </a:lnTo>
                  <a:lnTo>
                    <a:pt x="2473322" y="825475"/>
                  </a:lnTo>
                  <a:lnTo>
                    <a:pt x="2469286" y="828580"/>
                  </a:lnTo>
                  <a:lnTo>
                    <a:pt x="2464008" y="832926"/>
                  </a:lnTo>
                  <a:lnTo>
                    <a:pt x="2461835" y="865833"/>
                  </a:lnTo>
                  <a:lnTo>
                    <a:pt x="2464008" y="893463"/>
                  </a:lnTo>
                  <a:lnTo>
                    <a:pt x="2473322" y="917678"/>
                  </a:lnTo>
                  <a:lnTo>
                    <a:pt x="2487912" y="937857"/>
                  </a:lnTo>
                  <a:lnTo>
                    <a:pt x="2487912" y="943134"/>
                  </a:lnTo>
                  <a:lnTo>
                    <a:pt x="2494121" y="943134"/>
                  </a:lnTo>
                  <a:lnTo>
                    <a:pt x="2498157" y="922955"/>
                  </a:lnTo>
                  <a:lnTo>
                    <a:pt x="2510575" y="922955"/>
                  </a:lnTo>
                  <a:lnTo>
                    <a:pt x="2515852" y="904950"/>
                  </a:lnTo>
                  <a:lnTo>
                    <a:pt x="2522993" y="890048"/>
                  </a:lnTo>
                  <a:lnTo>
                    <a:pt x="2527028" y="890048"/>
                  </a:lnTo>
                  <a:lnTo>
                    <a:pt x="2529202" y="890048"/>
                  </a:lnTo>
                  <a:lnTo>
                    <a:pt x="2530133" y="890048"/>
                  </a:lnTo>
                  <a:lnTo>
                    <a:pt x="2534169" y="890048"/>
                  </a:lnTo>
                  <a:lnTo>
                    <a:pt x="2537273" y="890048"/>
                  </a:lnTo>
                  <a:lnTo>
                    <a:pt x="2539446" y="875147"/>
                  </a:lnTo>
                  <a:lnTo>
                    <a:pt x="2541620" y="867696"/>
                  </a:lnTo>
                  <a:lnTo>
                    <a:pt x="2546897" y="860245"/>
                  </a:lnTo>
                  <a:lnTo>
                    <a:pt x="2554037" y="848759"/>
                  </a:lnTo>
                  <a:lnTo>
                    <a:pt x="2566455" y="848759"/>
                  </a:lnTo>
                  <a:lnTo>
                    <a:pt x="2566455" y="840377"/>
                  </a:lnTo>
                  <a:lnTo>
                    <a:pt x="2566455" y="832926"/>
                  </a:lnTo>
                  <a:lnTo>
                    <a:pt x="2568628" y="827649"/>
                  </a:lnTo>
                  <a:lnTo>
                    <a:pt x="2570802" y="821440"/>
                  </a:lnTo>
                  <a:lnTo>
                    <a:pt x="2572975" y="820508"/>
                  </a:lnTo>
                  <a:lnTo>
                    <a:pt x="2573906" y="818335"/>
                  </a:lnTo>
                  <a:lnTo>
                    <a:pt x="2576079" y="818335"/>
                  </a:lnTo>
                  <a:lnTo>
                    <a:pt x="2578252" y="818335"/>
                  </a:lnTo>
                  <a:lnTo>
                    <a:pt x="2583530" y="818335"/>
                  </a:lnTo>
                  <a:lnTo>
                    <a:pt x="2580425" y="794120"/>
                  </a:lnTo>
                  <a:lnTo>
                    <a:pt x="2580425" y="766491"/>
                  </a:lnTo>
                  <a:lnTo>
                    <a:pt x="2581356" y="742276"/>
                  </a:lnTo>
                  <a:lnTo>
                    <a:pt x="2590670" y="719924"/>
                  </a:lnTo>
                  <a:lnTo>
                    <a:pt x="2595948" y="718993"/>
                  </a:lnTo>
                  <a:lnTo>
                    <a:pt x="2607434" y="716819"/>
                  </a:lnTo>
                  <a:lnTo>
                    <a:pt x="2619852" y="716819"/>
                  </a:lnTo>
                  <a:lnTo>
                    <a:pt x="2629165" y="716819"/>
                  </a:lnTo>
                  <a:lnTo>
                    <a:pt x="2634443" y="714646"/>
                  </a:lnTo>
                  <a:lnTo>
                    <a:pt x="2634443" y="707196"/>
                  </a:lnTo>
                  <a:lnTo>
                    <a:pt x="2639720" y="704091"/>
                  </a:lnTo>
                  <a:lnTo>
                    <a:pt x="2646861" y="699745"/>
                  </a:lnTo>
                  <a:lnTo>
                    <a:pt x="2656174" y="697572"/>
                  </a:lnTo>
                  <a:lnTo>
                    <a:pt x="2663314" y="696640"/>
                  </a:lnTo>
                  <a:lnTo>
                    <a:pt x="2666419" y="701918"/>
                  </a:lnTo>
                  <a:lnTo>
                    <a:pt x="2672628" y="707196"/>
                  </a:lnTo>
                  <a:lnTo>
                    <a:pt x="2677905" y="711542"/>
                  </a:lnTo>
                  <a:lnTo>
                    <a:pt x="2685045" y="709369"/>
                  </a:lnTo>
                  <a:lnTo>
                    <a:pt x="2692186" y="705022"/>
                  </a:lnTo>
                  <a:lnTo>
                    <a:pt x="2702741" y="701918"/>
                  </a:lnTo>
                  <a:lnTo>
                    <a:pt x="2717332" y="699745"/>
                  </a:lnTo>
                  <a:lnTo>
                    <a:pt x="2724472" y="689190"/>
                  </a:lnTo>
                  <a:lnTo>
                    <a:pt x="2728508" y="677703"/>
                  </a:lnTo>
                  <a:lnTo>
                    <a:pt x="2729439" y="662802"/>
                  </a:lnTo>
                  <a:lnTo>
                    <a:pt x="2744030" y="657524"/>
                  </a:lnTo>
                  <a:lnTo>
                    <a:pt x="2757690" y="652247"/>
                  </a:lnTo>
                  <a:lnTo>
                    <a:pt x="2768245" y="644796"/>
                  </a:lnTo>
                  <a:lnTo>
                    <a:pt x="2773522" y="629895"/>
                  </a:lnTo>
                  <a:lnTo>
                    <a:pt x="2782836" y="632068"/>
                  </a:lnTo>
                  <a:lnTo>
                    <a:pt x="2789976" y="632999"/>
                  </a:lnTo>
                  <a:lnTo>
                    <a:pt x="2795254" y="637345"/>
                  </a:lnTo>
                  <a:lnTo>
                    <a:pt x="2802394" y="642623"/>
                  </a:lnTo>
                  <a:lnTo>
                    <a:pt x="2807671" y="640450"/>
                  </a:lnTo>
                  <a:lnTo>
                    <a:pt x="2811707" y="640450"/>
                  </a:lnTo>
                  <a:lnTo>
                    <a:pt x="2813880" y="638277"/>
                  </a:lnTo>
                  <a:lnTo>
                    <a:pt x="2816985" y="638277"/>
                  </a:lnTo>
                  <a:lnTo>
                    <a:pt x="2811707" y="612820"/>
                  </a:lnTo>
                  <a:lnTo>
                    <a:pt x="2800221" y="590468"/>
                  </a:lnTo>
                  <a:lnTo>
                    <a:pt x="2789666" y="577740"/>
                  </a:lnTo>
                  <a:lnTo>
                    <a:pt x="2792770" y="572462"/>
                  </a:lnTo>
                  <a:lnTo>
                    <a:pt x="2794943" y="570289"/>
                  </a:lnTo>
                  <a:lnTo>
                    <a:pt x="2797116" y="568116"/>
                  </a:lnTo>
                  <a:lnTo>
                    <a:pt x="2799290" y="568116"/>
                  </a:lnTo>
                  <a:lnTo>
                    <a:pt x="2800221" y="568116"/>
                  </a:lnTo>
                  <a:lnTo>
                    <a:pt x="2802394" y="570289"/>
                  </a:lnTo>
                  <a:lnTo>
                    <a:pt x="2804567" y="570289"/>
                  </a:lnTo>
                  <a:lnTo>
                    <a:pt x="2806740" y="570289"/>
                  </a:lnTo>
                  <a:lnTo>
                    <a:pt x="2809845" y="570289"/>
                  </a:lnTo>
                  <a:lnTo>
                    <a:pt x="2813880" y="568116"/>
                  </a:lnTo>
                  <a:lnTo>
                    <a:pt x="2822263" y="560665"/>
                  </a:lnTo>
                  <a:lnTo>
                    <a:pt x="2826298" y="547937"/>
                  </a:lnTo>
                  <a:lnTo>
                    <a:pt x="2829403" y="533036"/>
                  </a:lnTo>
                  <a:lnTo>
                    <a:pt x="2829403" y="520307"/>
                  </a:lnTo>
                  <a:lnTo>
                    <a:pt x="2833439" y="525585"/>
                  </a:lnTo>
                  <a:lnTo>
                    <a:pt x="2838716" y="533036"/>
                  </a:lnTo>
                  <a:lnTo>
                    <a:pt x="2842752" y="540486"/>
                  </a:lnTo>
                  <a:lnTo>
                    <a:pt x="2845856" y="538313"/>
                  </a:lnTo>
                  <a:lnTo>
                    <a:pt x="2848029" y="538313"/>
                  </a:lnTo>
                  <a:lnTo>
                    <a:pt x="2850203" y="538313"/>
                  </a:lnTo>
                  <a:lnTo>
                    <a:pt x="2851134" y="536140"/>
                  </a:lnTo>
                  <a:lnTo>
                    <a:pt x="2853307" y="536140"/>
                  </a:lnTo>
                  <a:lnTo>
                    <a:pt x="2860447" y="536140"/>
                  </a:lnTo>
                  <a:lnTo>
                    <a:pt x="2864483" y="538313"/>
                  </a:lnTo>
                  <a:lnTo>
                    <a:pt x="2865414" y="540486"/>
                  </a:lnTo>
                  <a:lnTo>
                    <a:pt x="2869450" y="542659"/>
                  </a:lnTo>
                  <a:lnTo>
                    <a:pt x="2872555" y="543591"/>
                  </a:lnTo>
                  <a:lnTo>
                    <a:pt x="2872555" y="557250"/>
                  </a:lnTo>
                  <a:lnTo>
                    <a:pt x="2887146" y="560355"/>
                  </a:lnTo>
                  <a:lnTo>
                    <a:pt x="2898632" y="565632"/>
                  </a:lnTo>
                  <a:lnTo>
                    <a:pt x="2905772" y="577119"/>
                  </a:lnTo>
                  <a:lnTo>
                    <a:pt x="2912913" y="577119"/>
                  </a:lnTo>
                  <a:lnTo>
                    <a:pt x="2916017" y="577119"/>
                  </a:lnTo>
                  <a:lnTo>
                    <a:pt x="2920053" y="577119"/>
                  </a:lnTo>
                  <a:lnTo>
                    <a:pt x="2923158" y="574946"/>
                  </a:lnTo>
                  <a:lnTo>
                    <a:pt x="2925330" y="572773"/>
                  </a:lnTo>
                  <a:lnTo>
                    <a:pt x="2928435" y="567495"/>
                  </a:lnTo>
                  <a:lnTo>
                    <a:pt x="2930608" y="564390"/>
                  </a:lnTo>
                  <a:lnTo>
                    <a:pt x="2930608" y="562217"/>
                  </a:lnTo>
                  <a:lnTo>
                    <a:pt x="2928435" y="557871"/>
                  </a:lnTo>
                  <a:lnTo>
                    <a:pt x="2927503" y="556940"/>
                  </a:lnTo>
                  <a:lnTo>
                    <a:pt x="2925330" y="554767"/>
                  </a:lnTo>
                  <a:lnTo>
                    <a:pt x="2921295" y="552594"/>
                  </a:lnTo>
                  <a:lnTo>
                    <a:pt x="2923468" y="547316"/>
                  </a:lnTo>
                  <a:lnTo>
                    <a:pt x="2925641" y="542038"/>
                  </a:lnTo>
                  <a:lnTo>
                    <a:pt x="2927814" y="539865"/>
                  </a:lnTo>
                  <a:lnTo>
                    <a:pt x="2930919" y="535519"/>
                  </a:lnTo>
                  <a:lnTo>
                    <a:pt x="2933092" y="532415"/>
                  </a:lnTo>
                  <a:lnTo>
                    <a:pt x="2969414" y="532415"/>
                  </a:lnTo>
                  <a:lnTo>
                    <a:pt x="2965999" y="516271"/>
                  </a:lnTo>
                  <a:close/>
                  <a:moveTo>
                    <a:pt x="758729" y="1039993"/>
                  </a:moveTo>
                  <a:lnTo>
                    <a:pt x="776425" y="1034716"/>
                  </a:lnTo>
                  <a:lnTo>
                    <a:pt x="791016" y="1027265"/>
                  </a:lnTo>
                  <a:lnTo>
                    <a:pt x="791016" y="1030370"/>
                  </a:lnTo>
                  <a:lnTo>
                    <a:pt x="791016" y="1034716"/>
                  </a:lnTo>
                  <a:lnTo>
                    <a:pt x="791016" y="1039993"/>
                  </a:lnTo>
                  <a:lnTo>
                    <a:pt x="788843" y="1045271"/>
                  </a:lnTo>
                  <a:lnTo>
                    <a:pt x="785738" y="1050549"/>
                  </a:lnTo>
                  <a:lnTo>
                    <a:pt x="785738" y="1057999"/>
                  </a:lnTo>
                  <a:lnTo>
                    <a:pt x="774252" y="1057999"/>
                  </a:lnTo>
                  <a:lnTo>
                    <a:pt x="765870" y="1057068"/>
                  </a:lnTo>
                  <a:lnTo>
                    <a:pt x="758729" y="1054895"/>
                  </a:lnTo>
                  <a:lnTo>
                    <a:pt x="758729" y="1039993"/>
                  </a:lnTo>
                  <a:close/>
                  <a:moveTo>
                    <a:pt x="644175" y="1152064"/>
                  </a:moveTo>
                  <a:lnTo>
                    <a:pt x="645106" y="1151133"/>
                  </a:lnTo>
                  <a:lnTo>
                    <a:pt x="645106" y="1148960"/>
                  </a:lnTo>
                  <a:lnTo>
                    <a:pt x="647279" y="1148960"/>
                  </a:lnTo>
                  <a:lnTo>
                    <a:pt x="649453" y="1146787"/>
                  </a:lnTo>
                  <a:lnTo>
                    <a:pt x="651626" y="1144614"/>
                  </a:lnTo>
                  <a:lnTo>
                    <a:pt x="666217" y="1144614"/>
                  </a:lnTo>
                  <a:lnTo>
                    <a:pt x="662181" y="1148960"/>
                  </a:lnTo>
                  <a:lnTo>
                    <a:pt x="659076" y="1151133"/>
                  </a:lnTo>
                  <a:lnTo>
                    <a:pt x="655041" y="1152064"/>
                  </a:lnTo>
                  <a:lnTo>
                    <a:pt x="651936" y="1154238"/>
                  </a:lnTo>
                  <a:lnTo>
                    <a:pt x="645727" y="1156411"/>
                  </a:lnTo>
                  <a:lnTo>
                    <a:pt x="642623" y="1156411"/>
                  </a:lnTo>
                  <a:lnTo>
                    <a:pt x="644175" y="1152064"/>
                  </a:lnTo>
                  <a:close/>
                  <a:moveTo>
                    <a:pt x="765870" y="1265377"/>
                  </a:moveTo>
                  <a:lnTo>
                    <a:pt x="759661" y="1282452"/>
                  </a:lnTo>
                  <a:lnTo>
                    <a:pt x="752520" y="1300457"/>
                  </a:lnTo>
                  <a:lnTo>
                    <a:pt x="751589" y="1315359"/>
                  </a:lnTo>
                  <a:lnTo>
                    <a:pt x="737930" y="1319705"/>
                  </a:lnTo>
                  <a:lnTo>
                    <a:pt x="725512" y="1320636"/>
                  </a:lnTo>
                  <a:lnTo>
                    <a:pt x="714957" y="1315359"/>
                  </a:lnTo>
                  <a:lnTo>
                    <a:pt x="701297" y="1312254"/>
                  </a:lnTo>
                  <a:lnTo>
                    <a:pt x="696019" y="1312254"/>
                  </a:lnTo>
                  <a:lnTo>
                    <a:pt x="692915" y="1312254"/>
                  </a:lnTo>
                  <a:lnTo>
                    <a:pt x="688879" y="1313186"/>
                  </a:lnTo>
                  <a:lnTo>
                    <a:pt x="685775" y="1317532"/>
                  </a:lnTo>
                  <a:lnTo>
                    <a:pt x="683602" y="1319705"/>
                  </a:lnTo>
                  <a:lnTo>
                    <a:pt x="681428" y="1322810"/>
                  </a:lnTo>
                  <a:lnTo>
                    <a:pt x="678324" y="1324983"/>
                  </a:lnTo>
                  <a:lnTo>
                    <a:pt x="673046" y="1322810"/>
                  </a:lnTo>
                  <a:lnTo>
                    <a:pt x="661560" y="1320636"/>
                  </a:lnTo>
                  <a:lnTo>
                    <a:pt x="646969" y="1319705"/>
                  </a:lnTo>
                  <a:lnTo>
                    <a:pt x="632378" y="1315359"/>
                  </a:lnTo>
                  <a:lnTo>
                    <a:pt x="617787" y="1313186"/>
                  </a:lnTo>
                  <a:lnTo>
                    <a:pt x="610647" y="1312254"/>
                  </a:lnTo>
                  <a:lnTo>
                    <a:pt x="596056" y="1306046"/>
                  </a:lnTo>
                  <a:lnTo>
                    <a:pt x="581465" y="1298595"/>
                  </a:lnTo>
                  <a:lnTo>
                    <a:pt x="566874" y="1295490"/>
                  </a:lnTo>
                  <a:lnTo>
                    <a:pt x="551352" y="1298595"/>
                  </a:lnTo>
                  <a:lnTo>
                    <a:pt x="539865" y="1306046"/>
                  </a:lnTo>
                  <a:lnTo>
                    <a:pt x="536761" y="1315669"/>
                  </a:lnTo>
                  <a:lnTo>
                    <a:pt x="532725" y="1325293"/>
                  </a:lnTo>
                  <a:lnTo>
                    <a:pt x="530552" y="1335848"/>
                  </a:lnTo>
                  <a:lnTo>
                    <a:pt x="523411" y="1334917"/>
                  </a:lnTo>
                  <a:lnTo>
                    <a:pt x="510994" y="1330571"/>
                  </a:lnTo>
                  <a:lnTo>
                    <a:pt x="496403" y="1327466"/>
                  </a:lnTo>
                  <a:lnTo>
                    <a:pt x="485848" y="1323120"/>
                  </a:lnTo>
                  <a:lnTo>
                    <a:pt x="478707" y="1320016"/>
                  </a:lnTo>
                  <a:lnTo>
                    <a:pt x="474671" y="1305114"/>
                  </a:lnTo>
                  <a:lnTo>
                    <a:pt x="460081" y="1297664"/>
                  </a:lnTo>
                  <a:lnTo>
                    <a:pt x="445490" y="1295490"/>
                  </a:lnTo>
                  <a:lnTo>
                    <a:pt x="430899" y="1295490"/>
                  </a:lnTo>
                  <a:lnTo>
                    <a:pt x="418481" y="1291144"/>
                  </a:lnTo>
                  <a:lnTo>
                    <a:pt x="415376" y="1288040"/>
                  </a:lnTo>
                  <a:lnTo>
                    <a:pt x="413203" y="1285867"/>
                  </a:lnTo>
                  <a:lnTo>
                    <a:pt x="409167" y="1282762"/>
                  </a:lnTo>
                  <a:lnTo>
                    <a:pt x="408236" y="1278416"/>
                  </a:lnTo>
                  <a:lnTo>
                    <a:pt x="402027" y="1275311"/>
                  </a:lnTo>
                  <a:lnTo>
                    <a:pt x="406063" y="1256374"/>
                  </a:lnTo>
                  <a:lnTo>
                    <a:pt x="409167" y="1238368"/>
                  </a:lnTo>
                  <a:lnTo>
                    <a:pt x="415376" y="1221294"/>
                  </a:lnTo>
                  <a:lnTo>
                    <a:pt x="410720" y="1221294"/>
                  </a:lnTo>
                  <a:lnTo>
                    <a:pt x="401406" y="1219121"/>
                  </a:lnTo>
                  <a:lnTo>
                    <a:pt x="381538" y="1218189"/>
                  </a:lnTo>
                  <a:lnTo>
                    <a:pt x="358565" y="1218189"/>
                  </a:lnTo>
                  <a:lnTo>
                    <a:pt x="330314" y="1218189"/>
                  </a:lnTo>
                  <a:lnTo>
                    <a:pt x="305168" y="1219121"/>
                  </a:lnTo>
                  <a:lnTo>
                    <a:pt x="281264" y="1223467"/>
                  </a:lnTo>
                  <a:lnTo>
                    <a:pt x="265742" y="1226571"/>
                  </a:lnTo>
                  <a:lnTo>
                    <a:pt x="254255" y="1234022"/>
                  </a:lnTo>
                  <a:lnTo>
                    <a:pt x="239664" y="1243646"/>
                  </a:lnTo>
                  <a:lnTo>
                    <a:pt x="225073" y="1251097"/>
                  </a:lnTo>
                  <a:lnTo>
                    <a:pt x="174160" y="1243646"/>
                  </a:lnTo>
                  <a:lnTo>
                    <a:pt x="174160" y="1234022"/>
                  </a:lnTo>
                  <a:lnTo>
                    <a:pt x="180369" y="1233091"/>
                  </a:lnTo>
                  <a:lnTo>
                    <a:pt x="183473" y="1230918"/>
                  </a:lnTo>
                  <a:lnTo>
                    <a:pt x="187509" y="1228744"/>
                  </a:lnTo>
                  <a:lnTo>
                    <a:pt x="190614" y="1226571"/>
                  </a:lnTo>
                  <a:lnTo>
                    <a:pt x="192787" y="1226571"/>
                  </a:lnTo>
                  <a:lnTo>
                    <a:pt x="195891" y="1228744"/>
                  </a:lnTo>
                  <a:lnTo>
                    <a:pt x="199927" y="1230918"/>
                  </a:lnTo>
                  <a:lnTo>
                    <a:pt x="205205" y="1233091"/>
                  </a:lnTo>
                  <a:lnTo>
                    <a:pt x="208309" y="1233091"/>
                  </a:lnTo>
                  <a:lnTo>
                    <a:pt x="214518" y="1230918"/>
                  </a:lnTo>
                  <a:lnTo>
                    <a:pt x="219796" y="1225640"/>
                  </a:lnTo>
                  <a:lnTo>
                    <a:pt x="222900" y="1219431"/>
                  </a:lnTo>
                  <a:lnTo>
                    <a:pt x="226936" y="1216327"/>
                  </a:lnTo>
                  <a:lnTo>
                    <a:pt x="232213" y="1211980"/>
                  </a:lnTo>
                  <a:lnTo>
                    <a:pt x="244631" y="1211049"/>
                  </a:lnTo>
                  <a:lnTo>
                    <a:pt x="244631" y="1204840"/>
                  </a:lnTo>
                  <a:lnTo>
                    <a:pt x="244631" y="1202978"/>
                  </a:lnTo>
                  <a:lnTo>
                    <a:pt x="244631" y="1200804"/>
                  </a:lnTo>
                  <a:lnTo>
                    <a:pt x="244631" y="1196458"/>
                  </a:lnTo>
                  <a:lnTo>
                    <a:pt x="248667" y="1195527"/>
                  </a:lnTo>
                  <a:lnTo>
                    <a:pt x="250840" y="1193354"/>
                  </a:lnTo>
                  <a:lnTo>
                    <a:pt x="251771" y="1191181"/>
                  </a:lnTo>
                  <a:lnTo>
                    <a:pt x="253945" y="1191181"/>
                  </a:lnTo>
                  <a:lnTo>
                    <a:pt x="256118" y="1189007"/>
                  </a:lnTo>
                  <a:lnTo>
                    <a:pt x="261395" y="1189007"/>
                  </a:lnTo>
                  <a:lnTo>
                    <a:pt x="259222" y="1185903"/>
                  </a:lnTo>
                  <a:lnTo>
                    <a:pt x="256118" y="1181557"/>
                  </a:lnTo>
                  <a:lnTo>
                    <a:pt x="253945" y="1180625"/>
                  </a:lnTo>
                  <a:lnTo>
                    <a:pt x="251771" y="1178452"/>
                  </a:lnTo>
                  <a:lnTo>
                    <a:pt x="251771" y="1174106"/>
                  </a:lnTo>
                  <a:lnTo>
                    <a:pt x="253945" y="1173175"/>
                  </a:lnTo>
                  <a:lnTo>
                    <a:pt x="257980" y="1159515"/>
                  </a:lnTo>
                  <a:lnTo>
                    <a:pt x="263258" y="1148960"/>
                  </a:lnTo>
                  <a:lnTo>
                    <a:pt x="270398" y="1139336"/>
                  </a:lnTo>
                  <a:lnTo>
                    <a:pt x="290267" y="1139336"/>
                  </a:lnTo>
                  <a:lnTo>
                    <a:pt x="295544" y="1130954"/>
                  </a:lnTo>
                  <a:lnTo>
                    <a:pt x="297717" y="1119468"/>
                  </a:lnTo>
                  <a:lnTo>
                    <a:pt x="300822" y="1108912"/>
                  </a:lnTo>
                  <a:lnTo>
                    <a:pt x="310135" y="1101462"/>
                  </a:lnTo>
                  <a:lnTo>
                    <a:pt x="314171" y="1099289"/>
                  </a:lnTo>
                  <a:lnTo>
                    <a:pt x="315102" y="1099289"/>
                  </a:lnTo>
                  <a:lnTo>
                    <a:pt x="319138" y="1099289"/>
                  </a:lnTo>
                  <a:lnTo>
                    <a:pt x="321311" y="1101462"/>
                  </a:lnTo>
                  <a:lnTo>
                    <a:pt x="322243" y="1104566"/>
                  </a:lnTo>
                  <a:lnTo>
                    <a:pt x="324416" y="1108912"/>
                  </a:lnTo>
                  <a:lnTo>
                    <a:pt x="344284" y="1104566"/>
                  </a:lnTo>
                  <a:lnTo>
                    <a:pt x="361048" y="1094942"/>
                  </a:lnTo>
                  <a:lnTo>
                    <a:pt x="373466" y="1084387"/>
                  </a:lnTo>
                  <a:lnTo>
                    <a:pt x="388057" y="1089665"/>
                  </a:lnTo>
                  <a:lnTo>
                    <a:pt x="399544" y="1101151"/>
                  </a:lnTo>
                  <a:lnTo>
                    <a:pt x="406684" y="1113880"/>
                  </a:lnTo>
                  <a:lnTo>
                    <a:pt x="415066" y="1124435"/>
                  </a:lnTo>
                  <a:lnTo>
                    <a:pt x="424379" y="1135921"/>
                  </a:lnTo>
                  <a:lnTo>
                    <a:pt x="453561" y="1156100"/>
                  </a:lnTo>
                  <a:lnTo>
                    <a:pt x="480570" y="1176279"/>
                  </a:lnTo>
                  <a:lnTo>
                    <a:pt x="480570" y="1180625"/>
                  </a:lnTo>
                  <a:lnTo>
                    <a:pt x="480570" y="1183730"/>
                  </a:lnTo>
                  <a:lnTo>
                    <a:pt x="479639" y="1185903"/>
                  </a:lnTo>
                  <a:lnTo>
                    <a:pt x="479639" y="1188076"/>
                  </a:lnTo>
                  <a:lnTo>
                    <a:pt x="477466" y="1189007"/>
                  </a:lnTo>
                  <a:lnTo>
                    <a:pt x="470325" y="1196458"/>
                  </a:lnTo>
                  <a:lnTo>
                    <a:pt x="458839" y="1200804"/>
                  </a:lnTo>
                  <a:lnTo>
                    <a:pt x="444248" y="1202978"/>
                  </a:lnTo>
                  <a:lnTo>
                    <a:pt x="429657" y="1200804"/>
                  </a:lnTo>
                  <a:lnTo>
                    <a:pt x="435866" y="1213533"/>
                  </a:lnTo>
                  <a:lnTo>
                    <a:pt x="444248" y="1218810"/>
                  </a:lnTo>
                  <a:lnTo>
                    <a:pt x="455734" y="1223157"/>
                  </a:lnTo>
                  <a:lnTo>
                    <a:pt x="465048" y="1230607"/>
                  </a:lnTo>
                  <a:lnTo>
                    <a:pt x="473430" y="1230607"/>
                  </a:lnTo>
                  <a:lnTo>
                    <a:pt x="473430" y="1206082"/>
                  </a:lnTo>
                  <a:lnTo>
                    <a:pt x="484916" y="1206082"/>
                  </a:lnTo>
                  <a:lnTo>
                    <a:pt x="488021" y="1198631"/>
                  </a:lnTo>
                  <a:lnTo>
                    <a:pt x="492057" y="1193354"/>
                  </a:lnTo>
                  <a:lnTo>
                    <a:pt x="495161" y="1189007"/>
                  </a:lnTo>
                  <a:lnTo>
                    <a:pt x="500439" y="1185903"/>
                  </a:lnTo>
                  <a:lnTo>
                    <a:pt x="499507" y="1180625"/>
                  </a:lnTo>
                  <a:lnTo>
                    <a:pt x="497334" y="1176279"/>
                  </a:lnTo>
                  <a:lnTo>
                    <a:pt x="497334" y="1174106"/>
                  </a:lnTo>
                  <a:lnTo>
                    <a:pt x="495161" y="1171002"/>
                  </a:lnTo>
                  <a:lnTo>
                    <a:pt x="494230" y="1166655"/>
                  </a:lnTo>
                  <a:lnTo>
                    <a:pt x="494230" y="1161378"/>
                  </a:lnTo>
                  <a:lnTo>
                    <a:pt x="499507" y="1161378"/>
                  </a:lnTo>
                  <a:lnTo>
                    <a:pt x="504785" y="1163551"/>
                  </a:lnTo>
                  <a:lnTo>
                    <a:pt x="507889" y="1165724"/>
                  </a:lnTo>
                  <a:lnTo>
                    <a:pt x="510062" y="1165724"/>
                  </a:lnTo>
                  <a:lnTo>
                    <a:pt x="514098" y="1165724"/>
                  </a:lnTo>
                  <a:lnTo>
                    <a:pt x="517203" y="1165724"/>
                  </a:lnTo>
                  <a:lnTo>
                    <a:pt x="521238" y="1165724"/>
                  </a:lnTo>
                  <a:lnTo>
                    <a:pt x="521238" y="1161378"/>
                  </a:lnTo>
                  <a:lnTo>
                    <a:pt x="509752" y="1151754"/>
                  </a:lnTo>
                  <a:lnTo>
                    <a:pt x="499197" y="1144303"/>
                  </a:lnTo>
                  <a:lnTo>
                    <a:pt x="484606" y="1139026"/>
                  </a:lnTo>
                  <a:lnTo>
                    <a:pt x="484606" y="1128471"/>
                  </a:lnTo>
                  <a:lnTo>
                    <a:pt x="470015" y="1128471"/>
                  </a:lnTo>
                  <a:lnTo>
                    <a:pt x="457597" y="1109533"/>
                  </a:lnTo>
                  <a:lnTo>
                    <a:pt x="443937" y="1093701"/>
                  </a:lnTo>
                  <a:lnTo>
                    <a:pt x="429346" y="1078799"/>
                  </a:lnTo>
                  <a:lnTo>
                    <a:pt x="429346" y="1072590"/>
                  </a:lnTo>
                  <a:lnTo>
                    <a:pt x="429346" y="1069486"/>
                  </a:lnTo>
                  <a:lnTo>
                    <a:pt x="429346" y="1065140"/>
                  </a:lnTo>
                  <a:lnTo>
                    <a:pt x="429346" y="1064208"/>
                  </a:lnTo>
                  <a:lnTo>
                    <a:pt x="433382" y="1062035"/>
                  </a:lnTo>
                  <a:lnTo>
                    <a:pt x="436487" y="1057689"/>
                  </a:lnTo>
                  <a:lnTo>
                    <a:pt x="438660" y="1057689"/>
                  </a:lnTo>
                  <a:lnTo>
                    <a:pt x="438660" y="1056758"/>
                  </a:lnTo>
                  <a:lnTo>
                    <a:pt x="440833" y="1056758"/>
                  </a:lnTo>
                  <a:lnTo>
                    <a:pt x="443006" y="1056758"/>
                  </a:lnTo>
                  <a:lnTo>
                    <a:pt x="443937" y="1054584"/>
                  </a:lnTo>
                  <a:lnTo>
                    <a:pt x="446111" y="1057689"/>
                  </a:lnTo>
                  <a:lnTo>
                    <a:pt x="448284" y="1062035"/>
                  </a:lnTo>
                  <a:lnTo>
                    <a:pt x="448284" y="1065140"/>
                  </a:lnTo>
                  <a:lnTo>
                    <a:pt x="450457" y="1071349"/>
                  </a:lnTo>
                  <a:lnTo>
                    <a:pt x="465048" y="1067002"/>
                  </a:lnTo>
                  <a:lnTo>
                    <a:pt x="472188" y="1087181"/>
                  </a:lnTo>
                  <a:lnTo>
                    <a:pt x="479328" y="1098668"/>
                  </a:lnTo>
                  <a:lnTo>
                    <a:pt x="487710" y="1103945"/>
                  </a:lnTo>
                  <a:lnTo>
                    <a:pt x="497024" y="1106118"/>
                  </a:lnTo>
                  <a:lnTo>
                    <a:pt x="507579" y="1111396"/>
                  </a:lnTo>
                  <a:lnTo>
                    <a:pt x="521238" y="1121020"/>
                  </a:lnTo>
                  <a:lnTo>
                    <a:pt x="526516" y="1126297"/>
                  </a:lnTo>
                  <a:lnTo>
                    <a:pt x="526516" y="1133748"/>
                  </a:lnTo>
                  <a:lnTo>
                    <a:pt x="524343" y="1141199"/>
                  </a:lnTo>
                  <a:lnTo>
                    <a:pt x="522170" y="1150823"/>
                  </a:lnTo>
                  <a:lnTo>
                    <a:pt x="524343" y="1161378"/>
                  </a:lnTo>
                  <a:lnTo>
                    <a:pt x="528379" y="1165724"/>
                  </a:lnTo>
                  <a:lnTo>
                    <a:pt x="531483" y="1166655"/>
                  </a:lnTo>
                  <a:lnTo>
                    <a:pt x="536761" y="1171002"/>
                  </a:lnTo>
                  <a:lnTo>
                    <a:pt x="540797" y="1174106"/>
                  </a:lnTo>
                  <a:lnTo>
                    <a:pt x="543901" y="1176279"/>
                  </a:lnTo>
                  <a:lnTo>
                    <a:pt x="560665" y="1225951"/>
                  </a:lnTo>
                  <a:lnTo>
                    <a:pt x="564701" y="1225951"/>
                  </a:lnTo>
                  <a:lnTo>
                    <a:pt x="565632" y="1228124"/>
                  </a:lnTo>
                  <a:lnTo>
                    <a:pt x="567805" y="1228124"/>
                  </a:lnTo>
                  <a:lnTo>
                    <a:pt x="569978" y="1230297"/>
                  </a:lnTo>
                  <a:lnTo>
                    <a:pt x="575256" y="1228124"/>
                  </a:lnTo>
                  <a:lnTo>
                    <a:pt x="580534" y="1225951"/>
                  </a:lnTo>
                  <a:lnTo>
                    <a:pt x="582707" y="1225019"/>
                  </a:lnTo>
                  <a:lnTo>
                    <a:pt x="584880" y="1220673"/>
                  </a:lnTo>
                  <a:lnTo>
                    <a:pt x="584880" y="1218500"/>
                  </a:lnTo>
                  <a:lnTo>
                    <a:pt x="587053" y="1215395"/>
                  </a:lnTo>
                  <a:lnTo>
                    <a:pt x="587984" y="1211049"/>
                  </a:lnTo>
                  <a:lnTo>
                    <a:pt x="592020" y="1210118"/>
                  </a:lnTo>
                  <a:lnTo>
                    <a:pt x="597298" y="1205772"/>
                  </a:lnTo>
                  <a:lnTo>
                    <a:pt x="594193" y="1188697"/>
                  </a:lnTo>
                  <a:lnTo>
                    <a:pt x="587053" y="1172864"/>
                  </a:lnTo>
                  <a:lnTo>
                    <a:pt x="577740" y="1161378"/>
                  </a:lnTo>
                  <a:lnTo>
                    <a:pt x="577740" y="1156411"/>
                  </a:lnTo>
                  <a:lnTo>
                    <a:pt x="580844" y="1158584"/>
                  </a:lnTo>
                  <a:lnTo>
                    <a:pt x="580844" y="1159515"/>
                  </a:lnTo>
                  <a:lnTo>
                    <a:pt x="583017" y="1161688"/>
                  </a:lnTo>
                  <a:lnTo>
                    <a:pt x="585190" y="1166035"/>
                  </a:lnTo>
                  <a:lnTo>
                    <a:pt x="592331" y="1163861"/>
                  </a:lnTo>
                  <a:lnTo>
                    <a:pt x="595435" y="1163861"/>
                  </a:lnTo>
                  <a:lnTo>
                    <a:pt x="597608" y="1163861"/>
                  </a:lnTo>
                  <a:lnTo>
                    <a:pt x="599781" y="1161688"/>
                  </a:lnTo>
                  <a:lnTo>
                    <a:pt x="599781" y="1159515"/>
                  </a:lnTo>
                  <a:lnTo>
                    <a:pt x="599781" y="1158584"/>
                  </a:lnTo>
                  <a:lnTo>
                    <a:pt x="597608" y="1154238"/>
                  </a:lnTo>
                  <a:lnTo>
                    <a:pt x="597608" y="1148960"/>
                  </a:lnTo>
                  <a:lnTo>
                    <a:pt x="600713" y="1148960"/>
                  </a:lnTo>
                  <a:lnTo>
                    <a:pt x="600713" y="1144614"/>
                  </a:lnTo>
                  <a:lnTo>
                    <a:pt x="604748" y="1144614"/>
                  </a:lnTo>
                  <a:lnTo>
                    <a:pt x="607853" y="1144614"/>
                  </a:lnTo>
                  <a:lnTo>
                    <a:pt x="610026" y="1146787"/>
                  </a:lnTo>
                  <a:lnTo>
                    <a:pt x="612199" y="1146787"/>
                  </a:lnTo>
                  <a:lnTo>
                    <a:pt x="614372" y="1148960"/>
                  </a:lnTo>
                  <a:lnTo>
                    <a:pt x="619650" y="1151133"/>
                  </a:lnTo>
                  <a:lnTo>
                    <a:pt x="622754" y="1152064"/>
                  </a:lnTo>
                  <a:lnTo>
                    <a:pt x="624927" y="1154238"/>
                  </a:lnTo>
                  <a:lnTo>
                    <a:pt x="627100" y="1156411"/>
                  </a:lnTo>
                  <a:lnTo>
                    <a:pt x="630205" y="1158584"/>
                  </a:lnTo>
                  <a:lnTo>
                    <a:pt x="634241" y="1161688"/>
                  </a:lnTo>
                  <a:lnTo>
                    <a:pt x="632068" y="1166966"/>
                  </a:lnTo>
                  <a:lnTo>
                    <a:pt x="629894" y="1171312"/>
                  </a:lnTo>
                  <a:lnTo>
                    <a:pt x="629894" y="1174416"/>
                  </a:lnTo>
                  <a:lnTo>
                    <a:pt x="629894" y="1178763"/>
                  </a:lnTo>
                  <a:lnTo>
                    <a:pt x="629894" y="1181867"/>
                  </a:lnTo>
                  <a:lnTo>
                    <a:pt x="629894" y="1186213"/>
                  </a:lnTo>
                  <a:lnTo>
                    <a:pt x="629894" y="1189318"/>
                  </a:lnTo>
                  <a:lnTo>
                    <a:pt x="636103" y="1206392"/>
                  </a:lnTo>
                  <a:lnTo>
                    <a:pt x="648521" y="1223467"/>
                  </a:lnTo>
                  <a:lnTo>
                    <a:pt x="665285" y="1234022"/>
                  </a:lnTo>
                  <a:lnTo>
                    <a:pt x="680808" y="1238368"/>
                  </a:lnTo>
                  <a:lnTo>
                    <a:pt x="684843" y="1236195"/>
                  </a:lnTo>
                  <a:lnTo>
                    <a:pt x="687948" y="1233091"/>
                  </a:lnTo>
                  <a:lnTo>
                    <a:pt x="690121" y="1228744"/>
                  </a:lnTo>
                  <a:lnTo>
                    <a:pt x="695399" y="1226571"/>
                  </a:lnTo>
                  <a:lnTo>
                    <a:pt x="699434" y="1225640"/>
                  </a:lnTo>
                  <a:lnTo>
                    <a:pt x="704712" y="1226571"/>
                  </a:lnTo>
                  <a:lnTo>
                    <a:pt x="714025" y="1230918"/>
                  </a:lnTo>
                  <a:lnTo>
                    <a:pt x="721165" y="1234022"/>
                  </a:lnTo>
                  <a:lnTo>
                    <a:pt x="728306" y="1236195"/>
                  </a:lnTo>
                  <a:lnTo>
                    <a:pt x="735446" y="1234022"/>
                  </a:lnTo>
                  <a:lnTo>
                    <a:pt x="743828" y="1226571"/>
                  </a:lnTo>
                  <a:lnTo>
                    <a:pt x="750968" y="1226571"/>
                  </a:lnTo>
                  <a:lnTo>
                    <a:pt x="755004" y="1226571"/>
                  </a:lnTo>
                  <a:lnTo>
                    <a:pt x="758109" y="1226571"/>
                  </a:lnTo>
                  <a:lnTo>
                    <a:pt x="760282" y="1228744"/>
                  </a:lnTo>
                  <a:lnTo>
                    <a:pt x="762455" y="1230918"/>
                  </a:lnTo>
                  <a:lnTo>
                    <a:pt x="762455" y="1234022"/>
                  </a:lnTo>
                  <a:lnTo>
                    <a:pt x="764628" y="1238368"/>
                  </a:lnTo>
                  <a:lnTo>
                    <a:pt x="767732" y="1251097"/>
                  </a:lnTo>
                  <a:lnTo>
                    <a:pt x="765870" y="1265377"/>
                  </a:lnTo>
                  <a:close/>
                  <a:moveTo>
                    <a:pt x="845033" y="1136232"/>
                  </a:moveTo>
                  <a:lnTo>
                    <a:pt x="825165" y="1141509"/>
                  </a:lnTo>
                  <a:lnTo>
                    <a:pt x="803434" y="1143682"/>
                  </a:lnTo>
                  <a:lnTo>
                    <a:pt x="781702" y="1139336"/>
                  </a:lnTo>
                  <a:lnTo>
                    <a:pt x="773320" y="1136232"/>
                  </a:lnTo>
                  <a:lnTo>
                    <a:pt x="766180" y="1130954"/>
                  </a:lnTo>
                  <a:lnTo>
                    <a:pt x="756867" y="1124745"/>
                  </a:lnTo>
                  <a:lnTo>
                    <a:pt x="742276" y="1124745"/>
                  </a:lnTo>
                  <a:lnTo>
                    <a:pt x="727685" y="1126918"/>
                  </a:lnTo>
                  <a:lnTo>
                    <a:pt x="713094" y="1134369"/>
                  </a:lnTo>
                  <a:lnTo>
                    <a:pt x="700676" y="1139647"/>
                  </a:lnTo>
                  <a:lnTo>
                    <a:pt x="686085" y="1141820"/>
                  </a:lnTo>
                  <a:lnTo>
                    <a:pt x="671494" y="1136542"/>
                  </a:lnTo>
                  <a:lnTo>
                    <a:pt x="666217" y="1134369"/>
                  </a:lnTo>
                  <a:lnTo>
                    <a:pt x="662181" y="1132196"/>
                  </a:lnTo>
                  <a:lnTo>
                    <a:pt x="659076" y="1131265"/>
                  </a:lnTo>
                  <a:lnTo>
                    <a:pt x="656903" y="1126918"/>
                  </a:lnTo>
                  <a:lnTo>
                    <a:pt x="656903" y="1123814"/>
                  </a:lnTo>
                  <a:lnTo>
                    <a:pt x="654730" y="1116363"/>
                  </a:lnTo>
                  <a:lnTo>
                    <a:pt x="654730" y="1110154"/>
                  </a:lnTo>
                  <a:lnTo>
                    <a:pt x="658766" y="1099599"/>
                  </a:lnTo>
                  <a:lnTo>
                    <a:pt x="665906" y="1086871"/>
                  </a:lnTo>
                  <a:lnTo>
                    <a:pt x="674288" y="1071969"/>
                  </a:lnTo>
                  <a:lnTo>
                    <a:pt x="683602" y="1057068"/>
                  </a:lnTo>
                  <a:lnTo>
                    <a:pt x="690742" y="1043408"/>
                  </a:lnTo>
                  <a:lnTo>
                    <a:pt x="694778" y="1035026"/>
                  </a:lnTo>
                  <a:lnTo>
                    <a:pt x="703160" y="1037199"/>
                  </a:lnTo>
                  <a:lnTo>
                    <a:pt x="710300" y="1040304"/>
                  </a:lnTo>
                  <a:lnTo>
                    <a:pt x="715578" y="1042477"/>
                  </a:lnTo>
                  <a:lnTo>
                    <a:pt x="721786" y="1047755"/>
                  </a:lnTo>
                  <a:lnTo>
                    <a:pt x="724891" y="1049928"/>
                  </a:lnTo>
                  <a:lnTo>
                    <a:pt x="727064" y="1049928"/>
                  </a:lnTo>
                  <a:lnTo>
                    <a:pt x="729237" y="1049928"/>
                  </a:lnTo>
                  <a:lnTo>
                    <a:pt x="730168" y="1050859"/>
                  </a:lnTo>
                  <a:lnTo>
                    <a:pt x="717751" y="1055205"/>
                  </a:lnTo>
                  <a:lnTo>
                    <a:pt x="721786" y="1064829"/>
                  </a:lnTo>
                  <a:lnTo>
                    <a:pt x="728927" y="1072280"/>
                  </a:lnTo>
                  <a:lnTo>
                    <a:pt x="734204" y="1079731"/>
                  </a:lnTo>
                  <a:lnTo>
                    <a:pt x="743518" y="1080662"/>
                  </a:lnTo>
                  <a:lnTo>
                    <a:pt x="755935" y="1075384"/>
                  </a:lnTo>
                  <a:lnTo>
                    <a:pt x="765249" y="1067934"/>
                  </a:lnTo>
                  <a:lnTo>
                    <a:pt x="780771" y="1073211"/>
                  </a:lnTo>
                  <a:lnTo>
                    <a:pt x="800640" y="1084698"/>
                  </a:lnTo>
                  <a:lnTo>
                    <a:pt x="821439" y="1097426"/>
                  </a:lnTo>
                  <a:lnTo>
                    <a:pt x="836030" y="1110154"/>
                  </a:lnTo>
                  <a:lnTo>
                    <a:pt x="844413" y="1125056"/>
                  </a:lnTo>
                  <a:lnTo>
                    <a:pt x="850621" y="1125056"/>
                  </a:lnTo>
                  <a:lnTo>
                    <a:pt x="845033" y="1136232"/>
                  </a:lnTo>
                  <a:close/>
                  <a:moveTo>
                    <a:pt x="1025402" y="1146787"/>
                  </a:moveTo>
                  <a:lnTo>
                    <a:pt x="1022298" y="1146787"/>
                  </a:lnTo>
                  <a:lnTo>
                    <a:pt x="1018262" y="1146787"/>
                  </a:lnTo>
                  <a:lnTo>
                    <a:pt x="1015157" y="1146787"/>
                  </a:lnTo>
                  <a:lnTo>
                    <a:pt x="1011122" y="1144614"/>
                  </a:lnTo>
                  <a:lnTo>
                    <a:pt x="1008949" y="1161688"/>
                  </a:lnTo>
                  <a:lnTo>
                    <a:pt x="1011122" y="1173175"/>
                  </a:lnTo>
                  <a:lnTo>
                    <a:pt x="1016399" y="1183730"/>
                  </a:lnTo>
                  <a:lnTo>
                    <a:pt x="1020435" y="1196458"/>
                  </a:lnTo>
                  <a:lnTo>
                    <a:pt x="1022608" y="1217569"/>
                  </a:lnTo>
                  <a:lnTo>
                    <a:pt x="995600" y="1218500"/>
                  </a:lnTo>
                  <a:lnTo>
                    <a:pt x="976973" y="1215395"/>
                  </a:lnTo>
                  <a:lnTo>
                    <a:pt x="966418" y="1205772"/>
                  </a:lnTo>
                  <a:lnTo>
                    <a:pt x="962382" y="1188697"/>
                  </a:lnTo>
                  <a:lnTo>
                    <a:pt x="962382" y="1165414"/>
                  </a:lnTo>
                  <a:lnTo>
                    <a:pt x="974800" y="1165414"/>
                  </a:lnTo>
                  <a:lnTo>
                    <a:pt x="967660" y="1151754"/>
                  </a:lnTo>
                  <a:lnTo>
                    <a:pt x="955242" y="1138094"/>
                  </a:lnTo>
                  <a:lnTo>
                    <a:pt x="944686" y="1121020"/>
                  </a:lnTo>
                  <a:lnTo>
                    <a:pt x="933200" y="1103945"/>
                  </a:lnTo>
                  <a:lnTo>
                    <a:pt x="927922" y="1086871"/>
                  </a:lnTo>
                  <a:lnTo>
                    <a:pt x="931027" y="1071038"/>
                  </a:lnTo>
                  <a:lnTo>
                    <a:pt x="938167" y="1059552"/>
                  </a:lnTo>
                  <a:lnTo>
                    <a:pt x="949653" y="1049928"/>
                  </a:lnTo>
                  <a:lnTo>
                    <a:pt x="962071" y="1044650"/>
                  </a:lnTo>
                  <a:lnTo>
                    <a:pt x="974489" y="1039373"/>
                  </a:lnTo>
                  <a:lnTo>
                    <a:pt x="985976" y="1029749"/>
                  </a:lnTo>
                  <a:lnTo>
                    <a:pt x="995289" y="1029749"/>
                  </a:lnTo>
                  <a:lnTo>
                    <a:pt x="1000567" y="1031922"/>
                  </a:lnTo>
                  <a:lnTo>
                    <a:pt x="1005844" y="1031922"/>
                  </a:lnTo>
                  <a:lnTo>
                    <a:pt x="1011122" y="1034095"/>
                  </a:lnTo>
                  <a:lnTo>
                    <a:pt x="1008017" y="1049928"/>
                  </a:lnTo>
                  <a:lnTo>
                    <a:pt x="1000877" y="1063587"/>
                  </a:lnTo>
                  <a:lnTo>
                    <a:pt x="986286" y="1068865"/>
                  </a:lnTo>
                  <a:lnTo>
                    <a:pt x="966418" y="1071038"/>
                  </a:lnTo>
                  <a:lnTo>
                    <a:pt x="973558" y="1086871"/>
                  </a:lnTo>
                  <a:lnTo>
                    <a:pt x="985976" y="1101772"/>
                  </a:lnTo>
                  <a:lnTo>
                    <a:pt x="1001498" y="1111396"/>
                  </a:lnTo>
                  <a:lnTo>
                    <a:pt x="1000567" y="1115742"/>
                  </a:lnTo>
                  <a:lnTo>
                    <a:pt x="998394" y="1116674"/>
                  </a:lnTo>
                  <a:lnTo>
                    <a:pt x="996220" y="1116674"/>
                  </a:lnTo>
                  <a:lnTo>
                    <a:pt x="995289" y="1121020"/>
                  </a:lnTo>
                  <a:lnTo>
                    <a:pt x="1000567" y="1130644"/>
                  </a:lnTo>
                  <a:lnTo>
                    <a:pt x="1005844" y="1139026"/>
                  </a:lnTo>
                  <a:lnTo>
                    <a:pt x="1008017" y="1143372"/>
                  </a:lnTo>
                  <a:lnTo>
                    <a:pt x="1008949" y="1144303"/>
                  </a:lnTo>
                  <a:lnTo>
                    <a:pt x="1011122" y="1143372"/>
                  </a:lnTo>
                  <a:lnTo>
                    <a:pt x="1011122" y="1141199"/>
                  </a:lnTo>
                  <a:lnTo>
                    <a:pt x="1013295" y="1138094"/>
                  </a:lnTo>
                  <a:lnTo>
                    <a:pt x="1013295" y="1133748"/>
                  </a:lnTo>
                  <a:lnTo>
                    <a:pt x="1015468" y="1131575"/>
                  </a:lnTo>
                  <a:lnTo>
                    <a:pt x="1018573" y="1133748"/>
                  </a:lnTo>
                  <a:lnTo>
                    <a:pt x="1022608" y="1138094"/>
                  </a:lnTo>
                  <a:lnTo>
                    <a:pt x="1023540" y="1139026"/>
                  </a:lnTo>
                  <a:lnTo>
                    <a:pt x="1027575" y="1141199"/>
                  </a:lnTo>
                  <a:lnTo>
                    <a:pt x="1030680" y="1144303"/>
                  </a:lnTo>
                  <a:lnTo>
                    <a:pt x="1025402" y="114678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CFE73E1F-F495-4074-BE49-CF79406CB60F}"/>
                </a:ext>
              </a:extLst>
            </p:cNvPr>
            <p:cNvSpPr/>
            <p:nvPr/>
          </p:nvSpPr>
          <p:spPr>
            <a:xfrm>
              <a:off x="2725967" y="4290519"/>
              <a:ext cx="1906137" cy="2468044"/>
            </a:xfrm>
            <a:custGeom>
              <a:avLst/>
              <a:gdLst>
                <a:gd name="connsiteX0" fmla="*/ 1901480 w 1906136"/>
                <a:gd name="connsiteY0" fmla="*/ 1594450 h 2468044"/>
                <a:gd name="connsiteX1" fmla="*/ 1898376 w 1906136"/>
                <a:gd name="connsiteY1" fmla="*/ 1588241 h 2468044"/>
                <a:gd name="connsiteX2" fmla="*/ 1892167 w 1906136"/>
                <a:gd name="connsiteY2" fmla="*/ 1582963 h 2468044"/>
                <a:gd name="connsiteX3" fmla="*/ 1886889 w 1906136"/>
                <a:gd name="connsiteY3" fmla="*/ 1575513 h 2468044"/>
                <a:gd name="connsiteX4" fmla="*/ 1879749 w 1906136"/>
                <a:gd name="connsiteY4" fmla="*/ 1577686 h 2468044"/>
                <a:gd name="connsiteX5" fmla="*/ 1870436 w 1906136"/>
                <a:gd name="connsiteY5" fmla="*/ 1577686 h 2468044"/>
                <a:gd name="connsiteX6" fmla="*/ 1862054 w 1906136"/>
                <a:gd name="connsiteY6" fmla="*/ 1575513 h 2468044"/>
                <a:gd name="connsiteX7" fmla="*/ 1855845 w 1906136"/>
                <a:gd name="connsiteY7" fmla="*/ 1568062 h 2468044"/>
                <a:gd name="connsiteX8" fmla="*/ 1854913 w 1906136"/>
                <a:gd name="connsiteY8" fmla="*/ 1558748 h 2468044"/>
                <a:gd name="connsiteX9" fmla="*/ 1850878 w 1906136"/>
                <a:gd name="connsiteY9" fmla="*/ 1548193 h 2468044"/>
                <a:gd name="connsiteX10" fmla="*/ 1845600 w 1906136"/>
                <a:gd name="connsiteY10" fmla="*/ 1542916 h 2468044"/>
                <a:gd name="connsiteX11" fmla="*/ 1789410 w 1906136"/>
                <a:gd name="connsiteY11" fmla="*/ 1538569 h 2468044"/>
                <a:gd name="connsiteX12" fmla="*/ 1785374 w 1906136"/>
                <a:gd name="connsiteY12" fmla="*/ 1537638 h 2468044"/>
                <a:gd name="connsiteX13" fmla="*/ 1782269 w 1906136"/>
                <a:gd name="connsiteY13" fmla="*/ 1535465 h 2468044"/>
                <a:gd name="connsiteX14" fmla="*/ 1778233 w 1906136"/>
                <a:gd name="connsiteY14" fmla="*/ 1533292 h 2468044"/>
                <a:gd name="connsiteX15" fmla="*/ 1777302 w 1906136"/>
                <a:gd name="connsiteY15" fmla="*/ 1533292 h 2468044"/>
                <a:gd name="connsiteX16" fmla="*/ 1771093 w 1906136"/>
                <a:gd name="connsiteY16" fmla="*/ 1531119 h 2468044"/>
                <a:gd name="connsiteX17" fmla="*/ 1767989 w 1906136"/>
                <a:gd name="connsiteY17" fmla="*/ 1533292 h 2468044"/>
                <a:gd name="connsiteX18" fmla="*/ 1762711 w 1906136"/>
                <a:gd name="connsiteY18" fmla="*/ 1535465 h 2468044"/>
                <a:gd name="connsiteX19" fmla="*/ 1758675 w 1906136"/>
                <a:gd name="connsiteY19" fmla="*/ 1522737 h 2468044"/>
                <a:gd name="connsiteX20" fmla="*/ 1736944 w 1906136"/>
                <a:gd name="connsiteY20" fmla="*/ 1515286 h 2468044"/>
                <a:gd name="connsiteX21" fmla="*/ 1713971 w 1906136"/>
                <a:gd name="connsiteY21" fmla="*/ 1515286 h 2468044"/>
                <a:gd name="connsiteX22" fmla="*/ 1717075 w 1906136"/>
                <a:gd name="connsiteY22" fmla="*/ 1509077 h 2468044"/>
                <a:gd name="connsiteX23" fmla="*/ 1721111 w 1906136"/>
                <a:gd name="connsiteY23" fmla="*/ 1505973 h 2468044"/>
                <a:gd name="connsiteX24" fmla="*/ 1724216 w 1906136"/>
                <a:gd name="connsiteY24" fmla="*/ 1500695 h 2468044"/>
                <a:gd name="connsiteX25" fmla="*/ 1728252 w 1906136"/>
                <a:gd name="connsiteY25" fmla="*/ 1496349 h 2468044"/>
                <a:gd name="connsiteX26" fmla="*/ 1729183 w 1906136"/>
                <a:gd name="connsiteY26" fmla="*/ 1488898 h 2468044"/>
                <a:gd name="connsiteX27" fmla="*/ 1704037 w 1906136"/>
                <a:gd name="connsiteY27" fmla="*/ 1476170 h 2468044"/>
                <a:gd name="connsiteX28" fmla="*/ 1682306 w 1906136"/>
                <a:gd name="connsiteY28" fmla="*/ 1459406 h 2468044"/>
                <a:gd name="connsiteX29" fmla="*/ 1662437 w 1906136"/>
                <a:gd name="connsiteY29" fmla="*/ 1439537 h 2468044"/>
                <a:gd name="connsiteX30" fmla="*/ 1645673 w 1906136"/>
                <a:gd name="connsiteY30" fmla="*/ 1417496 h 2468044"/>
                <a:gd name="connsiteX31" fmla="*/ 1621769 w 1906136"/>
                <a:gd name="connsiteY31" fmla="*/ 1415322 h 2468044"/>
                <a:gd name="connsiteX32" fmla="*/ 1604073 w 1906136"/>
                <a:gd name="connsiteY32" fmla="*/ 1414391 h 2468044"/>
                <a:gd name="connsiteX33" fmla="*/ 1582342 w 1906136"/>
                <a:gd name="connsiteY33" fmla="*/ 1412218 h 2468044"/>
                <a:gd name="connsiteX34" fmla="*/ 1578306 w 1906136"/>
                <a:gd name="connsiteY34" fmla="*/ 1400732 h 2468044"/>
                <a:gd name="connsiteX35" fmla="*/ 1571166 w 1906136"/>
                <a:gd name="connsiteY35" fmla="*/ 1393281 h 2468044"/>
                <a:gd name="connsiteX36" fmla="*/ 1562784 w 1906136"/>
                <a:gd name="connsiteY36" fmla="*/ 1392350 h 2468044"/>
                <a:gd name="connsiteX37" fmla="*/ 1549124 w 1906136"/>
                <a:gd name="connsiteY37" fmla="*/ 1388003 h 2468044"/>
                <a:gd name="connsiteX38" fmla="*/ 1549124 w 1906136"/>
                <a:gd name="connsiteY38" fmla="*/ 1377448 h 2468044"/>
                <a:gd name="connsiteX39" fmla="*/ 1536707 w 1906136"/>
                <a:gd name="connsiteY39" fmla="*/ 1371239 h 2468044"/>
                <a:gd name="connsiteX40" fmla="*/ 1529566 w 1906136"/>
                <a:gd name="connsiteY40" fmla="*/ 1365962 h 2468044"/>
                <a:gd name="connsiteX41" fmla="*/ 1522426 w 1906136"/>
                <a:gd name="connsiteY41" fmla="*/ 1360684 h 2468044"/>
                <a:gd name="connsiteX42" fmla="*/ 1510008 w 1906136"/>
                <a:gd name="connsiteY42" fmla="*/ 1356338 h 2468044"/>
                <a:gd name="connsiteX43" fmla="*/ 1512181 w 1906136"/>
                <a:gd name="connsiteY43" fmla="*/ 1353233 h 2468044"/>
                <a:gd name="connsiteX44" fmla="*/ 1512181 w 1906136"/>
                <a:gd name="connsiteY44" fmla="*/ 1351060 h 2468044"/>
                <a:gd name="connsiteX45" fmla="*/ 1514354 w 1906136"/>
                <a:gd name="connsiteY45" fmla="*/ 1350129 h 2468044"/>
                <a:gd name="connsiteX46" fmla="*/ 1514354 w 1906136"/>
                <a:gd name="connsiteY46" fmla="*/ 1347956 h 2468044"/>
                <a:gd name="connsiteX47" fmla="*/ 1514354 w 1906136"/>
                <a:gd name="connsiteY47" fmla="*/ 1343609 h 2468044"/>
                <a:gd name="connsiteX48" fmla="*/ 1488277 w 1906136"/>
                <a:gd name="connsiteY48" fmla="*/ 1345783 h 2468044"/>
                <a:gd name="connsiteX49" fmla="*/ 1463131 w 1906136"/>
                <a:gd name="connsiteY49" fmla="*/ 1347956 h 2468044"/>
                <a:gd name="connsiteX50" fmla="*/ 1441400 w 1906136"/>
                <a:gd name="connsiteY50" fmla="*/ 1345783 h 2468044"/>
                <a:gd name="connsiteX51" fmla="*/ 1419668 w 1906136"/>
                <a:gd name="connsiteY51" fmla="*/ 1338332 h 2468044"/>
                <a:gd name="connsiteX52" fmla="*/ 1402904 w 1906136"/>
                <a:gd name="connsiteY52" fmla="*/ 1323741 h 2468044"/>
                <a:gd name="connsiteX53" fmla="*/ 1399800 w 1906136"/>
                <a:gd name="connsiteY53" fmla="*/ 1325914 h 2468044"/>
                <a:gd name="connsiteX54" fmla="*/ 1395764 w 1906136"/>
                <a:gd name="connsiteY54" fmla="*/ 1328087 h 2468044"/>
                <a:gd name="connsiteX55" fmla="*/ 1393591 w 1906136"/>
                <a:gd name="connsiteY55" fmla="*/ 1329019 h 2468044"/>
                <a:gd name="connsiteX56" fmla="*/ 1392660 w 1906136"/>
                <a:gd name="connsiteY56" fmla="*/ 1331192 h 2468044"/>
                <a:gd name="connsiteX57" fmla="*/ 1390487 w 1906136"/>
                <a:gd name="connsiteY57" fmla="*/ 1333365 h 2468044"/>
                <a:gd name="connsiteX58" fmla="*/ 1386451 w 1906136"/>
                <a:gd name="connsiteY58" fmla="*/ 1336469 h 2468044"/>
                <a:gd name="connsiteX59" fmla="*/ 1386451 w 1906136"/>
                <a:gd name="connsiteY59" fmla="*/ 1340815 h 2468044"/>
                <a:gd name="connsiteX60" fmla="*/ 1383346 w 1906136"/>
                <a:gd name="connsiteY60" fmla="*/ 1338642 h 2468044"/>
                <a:gd name="connsiteX61" fmla="*/ 1381173 w 1906136"/>
                <a:gd name="connsiteY61" fmla="*/ 1336469 h 2468044"/>
                <a:gd name="connsiteX62" fmla="*/ 1379000 w 1906136"/>
                <a:gd name="connsiteY62" fmla="*/ 1336469 h 2468044"/>
                <a:gd name="connsiteX63" fmla="*/ 1379000 w 1906136"/>
                <a:gd name="connsiteY63" fmla="*/ 1335538 h 2468044"/>
                <a:gd name="connsiteX64" fmla="*/ 1381173 w 1906136"/>
                <a:gd name="connsiteY64" fmla="*/ 1335538 h 2468044"/>
                <a:gd name="connsiteX65" fmla="*/ 1381173 w 1906136"/>
                <a:gd name="connsiteY65" fmla="*/ 1331192 h 2468044"/>
                <a:gd name="connsiteX66" fmla="*/ 1383346 w 1906136"/>
                <a:gd name="connsiteY66" fmla="*/ 1328087 h 2468044"/>
                <a:gd name="connsiteX67" fmla="*/ 1378069 w 1906136"/>
                <a:gd name="connsiteY67" fmla="*/ 1328087 h 2468044"/>
                <a:gd name="connsiteX68" fmla="*/ 1374033 w 1906136"/>
                <a:gd name="connsiteY68" fmla="*/ 1325914 h 2468044"/>
                <a:gd name="connsiteX69" fmla="*/ 1371860 w 1906136"/>
                <a:gd name="connsiteY69" fmla="*/ 1325914 h 2468044"/>
                <a:gd name="connsiteX70" fmla="*/ 1368755 w 1906136"/>
                <a:gd name="connsiteY70" fmla="*/ 1325914 h 2468044"/>
                <a:gd name="connsiteX71" fmla="*/ 1366582 w 1906136"/>
                <a:gd name="connsiteY71" fmla="*/ 1325914 h 2468044"/>
                <a:gd name="connsiteX72" fmla="*/ 1363478 w 1906136"/>
                <a:gd name="connsiteY72" fmla="*/ 1328087 h 2468044"/>
                <a:gd name="connsiteX73" fmla="*/ 1343609 w 1906136"/>
                <a:gd name="connsiteY73" fmla="*/ 1331192 h 2468044"/>
                <a:gd name="connsiteX74" fmla="*/ 1329950 w 1906136"/>
                <a:gd name="connsiteY74" fmla="*/ 1338642 h 2468044"/>
                <a:gd name="connsiteX75" fmla="*/ 1319395 w 1906136"/>
                <a:gd name="connsiteY75" fmla="*/ 1347956 h 2468044"/>
                <a:gd name="connsiteX76" fmla="*/ 1310081 w 1906136"/>
                <a:gd name="connsiteY76" fmla="*/ 1358511 h 2468044"/>
                <a:gd name="connsiteX77" fmla="*/ 1302941 w 1906136"/>
                <a:gd name="connsiteY77" fmla="*/ 1373102 h 2468044"/>
                <a:gd name="connsiteX78" fmla="*/ 1296111 w 1906136"/>
                <a:gd name="connsiteY78" fmla="*/ 1371550 h 2468044"/>
                <a:gd name="connsiteX79" fmla="*/ 1290833 w 1906136"/>
                <a:gd name="connsiteY79" fmla="*/ 1370618 h 2468044"/>
                <a:gd name="connsiteX80" fmla="*/ 1288660 w 1906136"/>
                <a:gd name="connsiteY80" fmla="*/ 1370618 h 2468044"/>
                <a:gd name="connsiteX81" fmla="*/ 1286798 w 1906136"/>
                <a:gd name="connsiteY81" fmla="*/ 1368445 h 2468044"/>
                <a:gd name="connsiteX82" fmla="*/ 1283693 w 1906136"/>
                <a:gd name="connsiteY82" fmla="*/ 1364099 h 2468044"/>
                <a:gd name="connsiteX83" fmla="*/ 1281520 w 1906136"/>
                <a:gd name="connsiteY83" fmla="*/ 1360994 h 2468044"/>
                <a:gd name="connsiteX84" fmla="*/ 1264756 w 1906136"/>
                <a:gd name="connsiteY84" fmla="*/ 1360994 h 2468044"/>
                <a:gd name="connsiteX85" fmla="*/ 1255443 w 1906136"/>
                <a:gd name="connsiteY85" fmla="*/ 1364099 h 2468044"/>
                <a:gd name="connsiteX86" fmla="*/ 1248302 w 1906136"/>
                <a:gd name="connsiteY86" fmla="*/ 1373412 h 2468044"/>
                <a:gd name="connsiteX87" fmla="*/ 1234643 w 1906136"/>
                <a:gd name="connsiteY87" fmla="*/ 1370308 h 2468044"/>
                <a:gd name="connsiteX88" fmla="*/ 1223156 w 1906136"/>
                <a:gd name="connsiteY88" fmla="*/ 1364099 h 2468044"/>
                <a:gd name="connsiteX89" fmla="*/ 1216016 w 1906136"/>
                <a:gd name="connsiteY89" fmla="*/ 1356648 h 2468044"/>
                <a:gd name="connsiteX90" fmla="*/ 1210739 w 1906136"/>
                <a:gd name="connsiteY90" fmla="*/ 1350439 h 2468044"/>
                <a:gd name="connsiteX91" fmla="*/ 1201425 w 1906136"/>
                <a:gd name="connsiteY91" fmla="*/ 1341126 h 2468044"/>
                <a:gd name="connsiteX92" fmla="*/ 1201425 w 1906136"/>
                <a:gd name="connsiteY92" fmla="*/ 1326535 h 2468044"/>
                <a:gd name="connsiteX93" fmla="*/ 1205461 w 1906136"/>
                <a:gd name="connsiteY93" fmla="*/ 1311944 h 2468044"/>
                <a:gd name="connsiteX94" fmla="*/ 1208565 w 1906136"/>
                <a:gd name="connsiteY94" fmla="*/ 1300457 h 2468044"/>
                <a:gd name="connsiteX95" fmla="*/ 1206392 w 1906136"/>
                <a:gd name="connsiteY95" fmla="*/ 1284625 h 2468044"/>
                <a:gd name="connsiteX96" fmla="*/ 1199252 w 1906136"/>
                <a:gd name="connsiteY96" fmla="*/ 1273138 h 2468044"/>
                <a:gd name="connsiteX97" fmla="*/ 1190870 w 1906136"/>
                <a:gd name="connsiteY97" fmla="*/ 1267861 h 2468044"/>
                <a:gd name="connsiteX98" fmla="*/ 1177210 w 1906136"/>
                <a:gd name="connsiteY98" fmla="*/ 1265688 h 2468044"/>
                <a:gd name="connsiteX99" fmla="*/ 1162619 w 1906136"/>
                <a:gd name="connsiteY99" fmla="*/ 1265688 h 2468044"/>
                <a:gd name="connsiteX100" fmla="*/ 1147097 w 1906136"/>
                <a:gd name="connsiteY100" fmla="*/ 1267861 h 2468044"/>
                <a:gd name="connsiteX101" fmla="*/ 1128470 w 1906136"/>
                <a:gd name="connsiteY101" fmla="*/ 1267861 h 2468044"/>
                <a:gd name="connsiteX102" fmla="*/ 1134679 w 1906136"/>
                <a:gd name="connsiteY102" fmla="*/ 1255132 h 2468044"/>
                <a:gd name="connsiteX103" fmla="*/ 1139957 w 1906136"/>
                <a:gd name="connsiteY103" fmla="*/ 1238368 h 2468044"/>
                <a:gd name="connsiteX104" fmla="*/ 1145234 w 1906136"/>
                <a:gd name="connsiteY104" fmla="*/ 1220362 h 2468044"/>
                <a:gd name="connsiteX105" fmla="*/ 1150512 w 1906136"/>
                <a:gd name="connsiteY105" fmla="*/ 1206703 h 2468044"/>
                <a:gd name="connsiteX106" fmla="*/ 1157652 w 1906136"/>
                <a:gd name="connsiteY106" fmla="*/ 1199252 h 2468044"/>
                <a:gd name="connsiteX107" fmla="*/ 1157652 w 1906136"/>
                <a:gd name="connsiteY107" fmla="*/ 1183420 h 2468044"/>
                <a:gd name="connsiteX108" fmla="*/ 1152375 w 1906136"/>
                <a:gd name="connsiteY108" fmla="*/ 1184351 h 2468044"/>
                <a:gd name="connsiteX109" fmla="*/ 1148339 w 1906136"/>
                <a:gd name="connsiteY109" fmla="*/ 1184351 h 2468044"/>
                <a:gd name="connsiteX110" fmla="*/ 1147097 w 1906136"/>
                <a:gd name="connsiteY110" fmla="*/ 1184351 h 2468044"/>
                <a:gd name="connsiteX111" fmla="*/ 1147097 w 1906136"/>
                <a:gd name="connsiteY111" fmla="*/ 1186524 h 2468044"/>
                <a:gd name="connsiteX112" fmla="*/ 1144924 w 1906136"/>
                <a:gd name="connsiteY112" fmla="*/ 1186524 h 2468044"/>
                <a:gd name="connsiteX113" fmla="*/ 1144924 w 1906136"/>
                <a:gd name="connsiteY113" fmla="*/ 1184351 h 2468044"/>
                <a:gd name="connsiteX114" fmla="*/ 1142751 w 1906136"/>
                <a:gd name="connsiteY114" fmla="*/ 1183420 h 2468044"/>
                <a:gd name="connsiteX115" fmla="*/ 1141820 w 1906136"/>
                <a:gd name="connsiteY115" fmla="*/ 1179073 h 2468044"/>
                <a:gd name="connsiteX116" fmla="*/ 1125055 w 1906136"/>
                <a:gd name="connsiteY116" fmla="*/ 1181246 h 2468044"/>
                <a:gd name="connsiteX117" fmla="*/ 1113569 w 1906136"/>
                <a:gd name="connsiteY117" fmla="*/ 1186524 h 2468044"/>
                <a:gd name="connsiteX118" fmla="*/ 1105187 w 1906136"/>
                <a:gd name="connsiteY118" fmla="*/ 1195837 h 2468044"/>
                <a:gd name="connsiteX119" fmla="*/ 1103014 w 1906136"/>
                <a:gd name="connsiteY119" fmla="*/ 1198942 h 2468044"/>
                <a:gd name="connsiteX120" fmla="*/ 1100841 w 1906136"/>
                <a:gd name="connsiteY120" fmla="*/ 1205151 h 2468044"/>
                <a:gd name="connsiteX121" fmla="*/ 1098668 w 1906136"/>
                <a:gd name="connsiteY121" fmla="*/ 1210428 h 2468044"/>
                <a:gd name="connsiteX122" fmla="*/ 1097736 w 1906136"/>
                <a:gd name="connsiteY122" fmla="*/ 1215706 h 2468044"/>
                <a:gd name="connsiteX123" fmla="*/ 1093700 w 1906136"/>
                <a:gd name="connsiteY123" fmla="*/ 1220052 h 2468044"/>
                <a:gd name="connsiteX124" fmla="*/ 1093700 w 1906136"/>
                <a:gd name="connsiteY124" fmla="*/ 1220983 h 2468044"/>
                <a:gd name="connsiteX125" fmla="*/ 1091527 w 1906136"/>
                <a:gd name="connsiteY125" fmla="*/ 1220983 h 2468044"/>
                <a:gd name="connsiteX126" fmla="*/ 1090596 w 1906136"/>
                <a:gd name="connsiteY126" fmla="*/ 1220983 h 2468044"/>
                <a:gd name="connsiteX127" fmla="*/ 1086560 w 1906136"/>
                <a:gd name="connsiteY127" fmla="*/ 1220983 h 2468044"/>
                <a:gd name="connsiteX128" fmla="*/ 1084387 w 1906136"/>
                <a:gd name="connsiteY128" fmla="*/ 1220983 h 2468044"/>
                <a:gd name="connsiteX129" fmla="*/ 1081283 w 1906136"/>
                <a:gd name="connsiteY129" fmla="*/ 1223157 h 2468044"/>
                <a:gd name="connsiteX130" fmla="*/ 1066692 w 1906136"/>
                <a:gd name="connsiteY130" fmla="*/ 1230607 h 2468044"/>
                <a:gd name="connsiteX131" fmla="*/ 1057378 w 1906136"/>
                <a:gd name="connsiteY131" fmla="*/ 1234953 h 2468044"/>
                <a:gd name="connsiteX132" fmla="*/ 1052101 w 1906136"/>
                <a:gd name="connsiteY132" fmla="*/ 1232780 h 2468044"/>
                <a:gd name="connsiteX133" fmla="*/ 1048065 w 1906136"/>
                <a:gd name="connsiteY133" fmla="*/ 1230607 h 2468044"/>
                <a:gd name="connsiteX134" fmla="*/ 1044960 w 1906136"/>
                <a:gd name="connsiteY134" fmla="*/ 1227503 h 2468044"/>
                <a:gd name="connsiteX135" fmla="*/ 1037820 w 1906136"/>
                <a:gd name="connsiteY135" fmla="*/ 1225330 h 2468044"/>
                <a:gd name="connsiteX136" fmla="*/ 1025402 w 1906136"/>
                <a:gd name="connsiteY136" fmla="*/ 1223157 h 2468044"/>
                <a:gd name="connsiteX137" fmla="*/ 1013916 w 1906136"/>
                <a:gd name="connsiteY137" fmla="*/ 1201115 h 2468044"/>
                <a:gd name="connsiteX138" fmla="*/ 1006776 w 1906136"/>
                <a:gd name="connsiteY138" fmla="*/ 1183109 h 2468044"/>
                <a:gd name="connsiteX139" fmla="*/ 1005844 w 1906136"/>
                <a:gd name="connsiteY139" fmla="*/ 1164172 h 2468044"/>
                <a:gd name="connsiteX140" fmla="*/ 1005844 w 1906136"/>
                <a:gd name="connsiteY140" fmla="*/ 1146166 h 2468044"/>
                <a:gd name="connsiteX141" fmla="*/ 1012985 w 1906136"/>
                <a:gd name="connsiteY141" fmla="*/ 1121951 h 2468044"/>
                <a:gd name="connsiteX142" fmla="*/ 1016089 w 1906136"/>
                <a:gd name="connsiteY142" fmla="*/ 1111396 h 2468044"/>
                <a:gd name="connsiteX143" fmla="*/ 1016089 w 1906136"/>
                <a:gd name="connsiteY143" fmla="*/ 1102083 h 2468044"/>
                <a:gd name="connsiteX144" fmla="*/ 1013916 w 1906136"/>
                <a:gd name="connsiteY144" fmla="*/ 1094632 h 2468044"/>
                <a:gd name="connsiteX145" fmla="*/ 1017952 w 1906136"/>
                <a:gd name="connsiteY145" fmla="*/ 1085319 h 2468044"/>
                <a:gd name="connsiteX146" fmla="*/ 1025092 w 1906136"/>
                <a:gd name="connsiteY146" fmla="*/ 1074764 h 2468044"/>
                <a:gd name="connsiteX147" fmla="*/ 1035647 w 1906136"/>
                <a:gd name="connsiteY147" fmla="*/ 1067313 h 2468044"/>
                <a:gd name="connsiteX148" fmla="*/ 1048065 w 1906136"/>
                <a:gd name="connsiteY148" fmla="*/ 1061104 h 2468044"/>
                <a:gd name="connsiteX149" fmla="*/ 1059551 w 1906136"/>
                <a:gd name="connsiteY149" fmla="*/ 1057999 h 2468044"/>
                <a:gd name="connsiteX150" fmla="*/ 1076316 w 1906136"/>
                <a:gd name="connsiteY150" fmla="*/ 1055826 h 2468044"/>
                <a:gd name="connsiteX151" fmla="*/ 1091838 w 1906136"/>
                <a:gd name="connsiteY151" fmla="*/ 1055826 h 2468044"/>
                <a:gd name="connsiteX152" fmla="*/ 1108602 w 1906136"/>
                <a:gd name="connsiteY152" fmla="*/ 1060173 h 2468044"/>
                <a:gd name="connsiteX153" fmla="*/ 1121020 w 1906136"/>
                <a:gd name="connsiteY153" fmla="*/ 1065450 h 2468044"/>
                <a:gd name="connsiteX154" fmla="*/ 1137784 w 1906136"/>
                <a:gd name="connsiteY154" fmla="*/ 1065450 h 2468044"/>
                <a:gd name="connsiteX155" fmla="*/ 1134679 w 1906136"/>
                <a:gd name="connsiteY155" fmla="*/ 1060173 h 2468044"/>
                <a:gd name="connsiteX156" fmla="*/ 1132506 w 1906136"/>
                <a:gd name="connsiteY156" fmla="*/ 1055826 h 2468044"/>
                <a:gd name="connsiteX157" fmla="*/ 1130333 w 1906136"/>
                <a:gd name="connsiteY157" fmla="*/ 1052722 h 2468044"/>
                <a:gd name="connsiteX158" fmla="*/ 1127229 w 1906136"/>
                <a:gd name="connsiteY158" fmla="*/ 1047444 h 2468044"/>
                <a:gd name="connsiteX159" fmla="*/ 1125055 w 1906136"/>
                <a:gd name="connsiteY159" fmla="*/ 1041235 h 2468044"/>
                <a:gd name="connsiteX160" fmla="*/ 1128160 w 1906136"/>
                <a:gd name="connsiteY160" fmla="*/ 1041235 h 2468044"/>
                <a:gd name="connsiteX161" fmla="*/ 1128160 w 1906136"/>
                <a:gd name="connsiteY161" fmla="*/ 1038131 h 2468044"/>
                <a:gd name="connsiteX162" fmla="*/ 1149891 w 1906136"/>
                <a:gd name="connsiteY162" fmla="*/ 1041235 h 2468044"/>
                <a:gd name="connsiteX163" fmla="*/ 1168518 w 1906136"/>
                <a:gd name="connsiteY163" fmla="*/ 1048686 h 2468044"/>
                <a:gd name="connsiteX164" fmla="*/ 1184040 w 1906136"/>
                <a:gd name="connsiteY164" fmla="*/ 1056137 h 2468044"/>
                <a:gd name="connsiteX165" fmla="*/ 1197700 w 1906136"/>
                <a:gd name="connsiteY165" fmla="*/ 1058310 h 2468044"/>
                <a:gd name="connsiteX166" fmla="*/ 1208255 w 1906136"/>
                <a:gd name="connsiteY166" fmla="*/ 1067623 h 2468044"/>
                <a:gd name="connsiteX167" fmla="*/ 1219741 w 1906136"/>
                <a:gd name="connsiteY167" fmla="*/ 1083456 h 2468044"/>
                <a:gd name="connsiteX168" fmla="*/ 1230297 w 1906136"/>
                <a:gd name="connsiteY168" fmla="*/ 1105498 h 2468044"/>
                <a:gd name="connsiteX169" fmla="*/ 1239610 w 1906136"/>
                <a:gd name="connsiteY169" fmla="*/ 1126608 h 2468044"/>
                <a:gd name="connsiteX170" fmla="*/ 1244888 w 1906136"/>
                <a:gd name="connsiteY170" fmla="*/ 1142441 h 2468044"/>
                <a:gd name="connsiteX171" fmla="*/ 1257305 w 1906136"/>
                <a:gd name="connsiteY171" fmla="*/ 1146787 h 2468044"/>
                <a:gd name="connsiteX172" fmla="*/ 1257305 w 1906136"/>
                <a:gd name="connsiteY172" fmla="*/ 1142441 h 2468044"/>
                <a:gd name="connsiteX173" fmla="*/ 1261341 w 1906136"/>
                <a:gd name="connsiteY173" fmla="*/ 1142441 h 2468044"/>
                <a:gd name="connsiteX174" fmla="*/ 1257305 w 1906136"/>
                <a:gd name="connsiteY174" fmla="*/ 1124435 h 2468044"/>
                <a:gd name="connsiteX175" fmla="*/ 1250165 w 1906136"/>
                <a:gd name="connsiteY175" fmla="*/ 1104566 h 2468044"/>
                <a:gd name="connsiteX176" fmla="*/ 1243025 w 1906136"/>
                <a:gd name="connsiteY176" fmla="*/ 1083456 h 2468044"/>
                <a:gd name="connsiteX177" fmla="*/ 1237747 w 1906136"/>
                <a:gd name="connsiteY177" fmla="*/ 1063587 h 2468044"/>
                <a:gd name="connsiteX178" fmla="*/ 1235574 w 1906136"/>
                <a:gd name="connsiteY178" fmla="*/ 1045581 h 2468044"/>
                <a:gd name="connsiteX179" fmla="*/ 1241783 w 1906136"/>
                <a:gd name="connsiteY179" fmla="*/ 1030991 h 2468044"/>
                <a:gd name="connsiteX180" fmla="*/ 1247061 w 1906136"/>
                <a:gd name="connsiteY180" fmla="*/ 1012053 h 2468044"/>
                <a:gd name="connsiteX181" fmla="*/ 1257616 w 1906136"/>
                <a:gd name="connsiteY181" fmla="*/ 997462 h 2468044"/>
                <a:gd name="connsiteX182" fmla="*/ 1274380 w 1906136"/>
                <a:gd name="connsiteY182" fmla="*/ 986907 h 2468044"/>
                <a:gd name="connsiteX183" fmla="*/ 1291144 w 1906136"/>
                <a:gd name="connsiteY183" fmla="*/ 975421 h 2468044"/>
                <a:gd name="connsiteX184" fmla="*/ 1306666 w 1906136"/>
                <a:gd name="connsiteY184" fmla="*/ 967039 h 2468044"/>
                <a:gd name="connsiteX185" fmla="*/ 1321257 w 1906136"/>
                <a:gd name="connsiteY185" fmla="*/ 957725 h 2468044"/>
                <a:gd name="connsiteX186" fmla="*/ 1321257 w 1906136"/>
                <a:gd name="connsiteY186" fmla="*/ 952448 h 2468044"/>
                <a:gd name="connsiteX187" fmla="*/ 1318153 w 1906136"/>
                <a:gd name="connsiteY187" fmla="*/ 940961 h 2468044"/>
                <a:gd name="connsiteX188" fmla="*/ 1314117 w 1906136"/>
                <a:gd name="connsiteY188" fmla="*/ 928233 h 2468044"/>
                <a:gd name="connsiteX189" fmla="*/ 1311012 w 1906136"/>
                <a:gd name="connsiteY189" fmla="*/ 917678 h 2468044"/>
                <a:gd name="connsiteX190" fmla="*/ 1308839 w 1906136"/>
                <a:gd name="connsiteY190" fmla="*/ 913332 h 2468044"/>
                <a:gd name="connsiteX191" fmla="*/ 1308839 w 1906136"/>
                <a:gd name="connsiteY191" fmla="*/ 904018 h 2468044"/>
                <a:gd name="connsiteX192" fmla="*/ 1314117 w 1906136"/>
                <a:gd name="connsiteY192" fmla="*/ 908364 h 2468044"/>
                <a:gd name="connsiteX193" fmla="*/ 1316290 w 1906136"/>
                <a:gd name="connsiteY193" fmla="*/ 910538 h 2468044"/>
                <a:gd name="connsiteX194" fmla="*/ 1320326 w 1906136"/>
                <a:gd name="connsiteY194" fmla="*/ 911469 h 2468044"/>
                <a:gd name="connsiteX195" fmla="*/ 1321257 w 1906136"/>
                <a:gd name="connsiteY195" fmla="*/ 913642 h 2468044"/>
                <a:gd name="connsiteX196" fmla="*/ 1325293 w 1906136"/>
                <a:gd name="connsiteY196" fmla="*/ 917988 h 2468044"/>
                <a:gd name="connsiteX197" fmla="*/ 1337711 w 1906136"/>
                <a:gd name="connsiteY197" fmla="*/ 886633 h 2468044"/>
                <a:gd name="connsiteX198" fmla="*/ 1348266 w 1906136"/>
                <a:gd name="connsiteY198" fmla="*/ 857141 h 2468044"/>
                <a:gd name="connsiteX199" fmla="*/ 1362857 w 1906136"/>
                <a:gd name="connsiteY199" fmla="*/ 854968 h 2468044"/>
                <a:gd name="connsiteX200" fmla="*/ 1376517 w 1906136"/>
                <a:gd name="connsiteY200" fmla="*/ 852795 h 2468044"/>
                <a:gd name="connsiteX201" fmla="*/ 1391108 w 1906136"/>
                <a:gd name="connsiteY201" fmla="*/ 849690 h 2468044"/>
                <a:gd name="connsiteX202" fmla="*/ 1401663 w 1906136"/>
                <a:gd name="connsiteY202" fmla="*/ 840377 h 2468044"/>
                <a:gd name="connsiteX203" fmla="*/ 1408803 w 1906136"/>
                <a:gd name="connsiteY203" fmla="*/ 840377 h 2468044"/>
                <a:gd name="connsiteX204" fmla="*/ 1405698 w 1906136"/>
                <a:gd name="connsiteY204" fmla="*/ 837272 h 2468044"/>
                <a:gd name="connsiteX205" fmla="*/ 1398558 w 1906136"/>
                <a:gd name="connsiteY205" fmla="*/ 835099 h 2468044"/>
                <a:gd name="connsiteX206" fmla="*/ 1392349 w 1906136"/>
                <a:gd name="connsiteY206" fmla="*/ 832926 h 2468044"/>
                <a:gd name="connsiteX207" fmla="*/ 1398558 w 1906136"/>
                <a:gd name="connsiteY207" fmla="*/ 814920 h 2468044"/>
                <a:gd name="connsiteX208" fmla="*/ 1406940 w 1906136"/>
                <a:gd name="connsiteY208" fmla="*/ 802192 h 2468044"/>
                <a:gd name="connsiteX209" fmla="*/ 1420600 w 1906136"/>
                <a:gd name="connsiteY209" fmla="*/ 792879 h 2468044"/>
                <a:gd name="connsiteX210" fmla="*/ 1435191 w 1906136"/>
                <a:gd name="connsiteY210" fmla="*/ 785428 h 2468044"/>
                <a:gd name="connsiteX211" fmla="*/ 1448850 w 1906136"/>
                <a:gd name="connsiteY211" fmla="*/ 780150 h 2468044"/>
                <a:gd name="connsiteX212" fmla="*/ 1465615 w 1906136"/>
                <a:gd name="connsiteY212" fmla="*/ 772700 h 2468044"/>
                <a:gd name="connsiteX213" fmla="*/ 1478032 w 1906136"/>
                <a:gd name="connsiteY213" fmla="*/ 763386 h 2468044"/>
                <a:gd name="connsiteX214" fmla="*/ 1478032 w 1906136"/>
                <a:gd name="connsiteY214" fmla="*/ 761213 h 2468044"/>
                <a:gd name="connsiteX215" fmla="*/ 1478032 w 1906136"/>
                <a:gd name="connsiteY215" fmla="*/ 759040 h 2468044"/>
                <a:gd name="connsiteX216" fmla="*/ 1480205 w 1906136"/>
                <a:gd name="connsiteY216" fmla="*/ 759040 h 2468044"/>
                <a:gd name="connsiteX217" fmla="*/ 1482379 w 1906136"/>
                <a:gd name="connsiteY217" fmla="*/ 759040 h 2468044"/>
                <a:gd name="connsiteX218" fmla="*/ 1482379 w 1906136"/>
                <a:gd name="connsiteY218" fmla="*/ 763386 h 2468044"/>
                <a:gd name="connsiteX219" fmla="*/ 1489519 w 1906136"/>
                <a:gd name="connsiteY219" fmla="*/ 766491 h 2468044"/>
                <a:gd name="connsiteX220" fmla="*/ 1482379 w 1906136"/>
                <a:gd name="connsiteY220" fmla="*/ 775804 h 2468044"/>
                <a:gd name="connsiteX221" fmla="*/ 1475238 w 1906136"/>
                <a:gd name="connsiteY221" fmla="*/ 781082 h 2468044"/>
                <a:gd name="connsiteX222" fmla="*/ 1465925 w 1906136"/>
                <a:gd name="connsiteY222" fmla="*/ 787291 h 2468044"/>
                <a:gd name="connsiteX223" fmla="*/ 1465925 w 1906136"/>
                <a:gd name="connsiteY223" fmla="*/ 803123 h 2468044"/>
                <a:gd name="connsiteX224" fmla="*/ 1484552 w 1906136"/>
                <a:gd name="connsiteY224" fmla="*/ 795673 h 2468044"/>
                <a:gd name="connsiteX225" fmla="*/ 1499143 w 1906136"/>
                <a:gd name="connsiteY225" fmla="*/ 785117 h 2468044"/>
                <a:gd name="connsiteX226" fmla="*/ 1509698 w 1906136"/>
                <a:gd name="connsiteY226" fmla="*/ 772389 h 2468044"/>
                <a:gd name="connsiteX227" fmla="*/ 1511871 w 1906136"/>
                <a:gd name="connsiteY227" fmla="*/ 770216 h 2468044"/>
                <a:gd name="connsiteX228" fmla="*/ 1511871 w 1906136"/>
                <a:gd name="connsiteY228" fmla="*/ 768043 h 2468044"/>
                <a:gd name="connsiteX229" fmla="*/ 1514044 w 1906136"/>
                <a:gd name="connsiteY229" fmla="*/ 768043 h 2468044"/>
                <a:gd name="connsiteX230" fmla="*/ 1514044 w 1906136"/>
                <a:gd name="connsiteY230" fmla="*/ 765870 h 2468044"/>
                <a:gd name="connsiteX231" fmla="*/ 1514044 w 1906136"/>
                <a:gd name="connsiteY231" fmla="*/ 762765 h 2468044"/>
                <a:gd name="connsiteX232" fmla="*/ 1504731 w 1906136"/>
                <a:gd name="connsiteY232" fmla="*/ 751279 h 2468044"/>
                <a:gd name="connsiteX233" fmla="*/ 1497590 w 1906136"/>
                <a:gd name="connsiteY233" fmla="*/ 740724 h 2468044"/>
                <a:gd name="connsiteX234" fmla="*/ 1488277 w 1906136"/>
                <a:gd name="connsiteY234" fmla="*/ 730169 h 2468044"/>
                <a:gd name="connsiteX235" fmla="*/ 1473686 w 1906136"/>
                <a:gd name="connsiteY235" fmla="*/ 722718 h 2468044"/>
                <a:gd name="connsiteX236" fmla="*/ 1475859 w 1906136"/>
                <a:gd name="connsiteY236" fmla="*/ 711231 h 2468044"/>
                <a:gd name="connsiteX237" fmla="*/ 1478032 w 1906136"/>
                <a:gd name="connsiteY237" fmla="*/ 703781 h 2468044"/>
                <a:gd name="connsiteX238" fmla="*/ 1481137 w 1906136"/>
                <a:gd name="connsiteY238" fmla="*/ 696330 h 2468044"/>
                <a:gd name="connsiteX239" fmla="*/ 1486414 w 1906136"/>
                <a:gd name="connsiteY239" fmla="*/ 687017 h 2468044"/>
                <a:gd name="connsiteX240" fmla="*/ 1483310 w 1906136"/>
                <a:gd name="connsiteY240" fmla="*/ 683912 h 2468044"/>
                <a:gd name="connsiteX241" fmla="*/ 1479274 w 1906136"/>
                <a:gd name="connsiteY241" fmla="*/ 681739 h 2468044"/>
                <a:gd name="connsiteX242" fmla="*/ 1476170 w 1906136"/>
                <a:gd name="connsiteY242" fmla="*/ 679566 h 2468044"/>
                <a:gd name="connsiteX243" fmla="*/ 1473996 w 1906136"/>
                <a:gd name="connsiteY243" fmla="*/ 678635 h 2468044"/>
                <a:gd name="connsiteX244" fmla="*/ 1471823 w 1906136"/>
                <a:gd name="connsiteY244" fmla="*/ 674288 h 2468044"/>
                <a:gd name="connsiteX245" fmla="*/ 1470892 w 1906136"/>
                <a:gd name="connsiteY245" fmla="*/ 671184 h 2468044"/>
                <a:gd name="connsiteX246" fmla="*/ 1446988 w 1906136"/>
                <a:gd name="connsiteY246" fmla="*/ 676461 h 2468044"/>
                <a:gd name="connsiteX247" fmla="*/ 1425257 w 1906136"/>
                <a:gd name="connsiteY247" fmla="*/ 685775 h 2468044"/>
                <a:gd name="connsiteX248" fmla="*/ 1407561 w 1906136"/>
                <a:gd name="connsiteY248" fmla="*/ 698503 h 2468044"/>
                <a:gd name="connsiteX249" fmla="*/ 1403525 w 1906136"/>
                <a:gd name="connsiteY249" fmla="*/ 698503 h 2468044"/>
                <a:gd name="connsiteX250" fmla="*/ 1418116 w 1906136"/>
                <a:gd name="connsiteY250" fmla="*/ 681739 h 2468044"/>
                <a:gd name="connsiteX251" fmla="*/ 1437985 w 1906136"/>
                <a:gd name="connsiteY251" fmla="*/ 672426 h 2468044"/>
                <a:gd name="connsiteX252" fmla="*/ 1459716 w 1906136"/>
                <a:gd name="connsiteY252" fmla="*/ 664975 h 2468044"/>
                <a:gd name="connsiteX253" fmla="*/ 1485793 w 1906136"/>
                <a:gd name="connsiteY253" fmla="*/ 661870 h 2468044"/>
                <a:gd name="connsiteX254" fmla="*/ 1510940 w 1906136"/>
                <a:gd name="connsiteY254" fmla="*/ 657524 h 2468044"/>
                <a:gd name="connsiteX255" fmla="*/ 1537017 w 1906136"/>
                <a:gd name="connsiteY255" fmla="*/ 654420 h 2468044"/>
                <a:gd name="connsiteX256" fmla="*/ 1562163 w 1906136"/>
                <a:gd name="connsiteY256" fmla="*/ 649142 h 2468044"/>
                <a:gd name="connsiteX257" fmla="*/ 1583894 w 1906136"/>
                <a:gd name="connsiteY257" fmla="*/ 639829 h 2468044"/>
                <a:gd name="connsiteX258" fmla="*/ 1603763 w 1906136"/>
                <a:gd name="connsiteY258" fmla="*/ 625238 h 2468044"/>
                <a:gd name="connsiteX259" fmla="*/ 1603763 w 1906136"/>
                <a:gd name="connsiteY259" fmla="*/ 622133 h 2468044"/>
                <a:gd name="connsiteX260" fmla="*/ 1603763 w 1906136"/>
                <a:gd name="connsiteY260" fmla="*/ 619960 h 2468044"/>
                <a:gd name="connsiteX261" fmla="*/ 1603763 w 1906136"/>
                <a:gd name="connsiteY261" fmla="*/ 615614 h 2468044"/>
                <a:gd name="connsiteX262" fmla="*/ 1601590 w 1906136"/>
                <a:gd name="connsiteY262" fmla="*/ 614683 h 2468044"/>
                <a:gd name="connsiteX263" fmla="*/ 1601590 w 1906136"/>
                <a:gd name="connsiteY263" fmla="*/ 610336 h 2468044"/>
                <a:gd name="connsiteX264" fmla="*/ 1601590 w 1906136"/>
                <a:gd name="connsiteY264" fmla="*/ 607232 h 2468044"/>
                <a:gd name="connsiteX265" fmla="*/ 1603763 w 1906136"/>
                <a:gd name="connsiteY265" fmla="*/ 601023 h 2468044"/>
                <a:gd name="connsiteX266" fmla="*/ 1601590 w 1906136"/>
                <a:gd name="connsiteY266" fmla="*/ 595746 h 2468044"/>
                <a:gd name="connsiteX267" fmla="*/ 1601590 w 1906136"/>
                <a:gd name="connsiteY267" fmla="*/ 590468 h 2468044"/>
                <a:gd name="connsiteX268" fmla="*/ 1600658 w 1906136"/>
                <a:gd name="connsiteY268" fmla="*/ 586122 h 2468044"/>
                <a:gd name="connsiteX269" fmla="*/ 1600658 w 1906136"/>
                <a:gd name="connsiteY269" fmla="*/ 580844 h 2468044"/>
                <a:gd name="connsiteX270" fmla="*/ 1581721 w 1906136"/>
                <a:gd name="connsiteY270" fmla="*/ 580844 h 2468044"/>
                <a:gd name="connsiteX271" fmla="*/ 1579548 w 1906136"/>
                <a:gd name="connsiteY271" fmla="*/ 566253 h 2468044"/>
                <a:gd name="connsiteX272" fmla="*/ 1572408 w 1906136"/>
                <a:gd name="connsiteY272" fmla="*/ 556940 h 2468044"/>
                <a:gd name="connsiteX273" fmla="*/ 1565268 w 1906136"/>
                <a:gd name="connsiteY273" fmla="*/ 549489 h 2468044"/>
                <a:gd name="connsiteX274" fmla="*/ 1552850 w 1906136"/>
                <a:gd name="connsiteY274" fmla="*/ 546385 h 2468044"/>
                <a:gd name="connsiteX275" fmla="*/ 1543536 w 1906136"/>
                <a:gd name="connsiteY275" fmla="*/ 556940 h 2468044"/>
                <a:gd name="connsiteX276" fmla="*/ 1532981 w 1906136"/>
                <a:gd name="connsiteY276" fmla="*/ 566253 h 2468044"/>
                <a:gd name="connsiteX277" fmla="*/ 1521495 w 1906136"/>
                <a:gd name="connsiteY277" fmla="*/ 577740 h 2468044"/>
                <a:gd name="connsiteX278" fmla="*/ 1518390 w 1906136"/>
                <a:gd name="connsiteY278" fmla="*/ 577740 h 2468044"/>
                <a:gd name="connsiteX279" fmla="*/ 1530808 w 1906136"/>
                <a:gd name="connsiteY279" fmla="*/ 558803 h 2468044"/>
                <a:gd name="connsiteX280" fmla="*/ 1542295 w 1906136"/>
                <a:gd name="connsiteY280" fmla="*/ 536761 h 2468044"/>
                <a:gd name="connsiteX281" fmla="*/ 1528635 w 1906136"/>
                <a:gd name="connsiteY281" fmla="*/ 526206 h 2468044"/>
                <a:gd name="connsiteX282" fmla="*/ 1525531 w 1906136"/>
                <a:gd name="connsiteY282" fmla="*/ 516892 h 2468044"/>
                <a:gd name="connsiteX283" fmla="*/ 1527704 w 1906136"/>
                <a:gd name="connsiteY283" fmla="*/ 506337 h 2468044"/>
                <a:gd name="connsiteX284" fmla="*/ 1527704 w 1906136"/>
                <a:gd name="connsiteY284" fmla="*/ 494851 h 2468044"/>
                <a:gd name="connsiteX285" fmla="*/ 1521495 w 1906136"/>
                <a:gd name="connsiteY285" fmla="*/ 480260 h 2468044"/>
                <a:gd name="connsiteX286" fmla="*/ 1520563 w 1906136"/>
                <a:gd name="connsiteY286" fmla="*/ 478087 h 2468044"/>
                <a:gd name="connsiteX287" fmla="*/ 1516528 w 1906136"/>
                <a:gd name="connsiteY287" fmla="*/ 478087 h 2468044"/>
                <a:gd name="connsiteX288" fmla="*/ 1514354 w 1906136"/>
                <a:gd name="connsiteY288" fmla="*/ 478087 h 2468044"/>
                <a:gd name="connsiteX289" fmla="*/ 1511250 w 1906136"/>
                <a:gd name="connsiteY289" fmla="*/ 478087 h 2468044"/>
                <a:gd name="connsiteX290" fmla="*/ 1507214 w 1906136"/>
                <a:gd name="connsiteY290" fmla="*/ 478087 h 2468044"/>
                <a:gd name="connsiteX291" fmla="*/ 1506283 w 1906136"/>
                <a:gd name="connsiteY291" fmla="*/ 477155 h 2468044"/>
                <a:gd name="connsiteX292" fmla="*/ 1504110 w 1906136"/>
                <a:gd name="connsiteY292" fmla="*/ 472809 h 2468044"/>
                <a:gd name="connsiteX293" fmla="*/ 1501937 w 1906136"/>
                <a:gd name="connsiteY293" fmla="*/ 469705 h 2468044"/>
                <a:gd name="connsiteX294" fmla="*/ 1504110 w 1906136"/>
                <a:gd name="connsiteY294" fmla="*/ 465358 h 2468044"/>
                <a:gd name="connsiteX295" fmla="*/ 1504110 w 1906136"/>
                <a:gd name="connsiteY295" fmla="*/ 462254 h 2468044"/>
                <a:gd name="connsiteX296" fmla="*/ 1506283 w 1906136"/>
                <a:gd name="connsiteY296" fmla="*/ 460081 h 2468044"/>
                <a:gd name="connsiteX297" fmla="*/ 1506283 w 1906136"/>
                <a:gd name="connsiteY297" fmla="*/ 455734 h 2468044"/>
                <a:gd name="connsiteX298" fmla="*/ 1506283 w 1906136"/>
                <a:gd name="connsiteY298" fmla="*/ 452630 h 2468044"/>
                <a:gd name="connsiteX299" fmla="*/ 1500074 w 1906136"/>
                <a:gd name="connsiteY299" fmla="*/ 443317 h 2468044"/>
                <a:gd name="connsiteX300" fmla="*/ 1492934 w 1906136"/>
                <a:gd name="connsiteY300" fmla="*/ 435866 h 2468044"/>
                <a:gd name="connsiteX301" fmla="*/ 1485793 w 1906136"/>
                <a:gd name="connsiteY301" fmla="*/ 428415 h 2468044"/>
                <a:gd name="connsiteX302" fmla="*/ 1480516 w 1906136"/>
                <a:gd name="connsiteY302" fmla="*/ 420964 h 2468044"/>
                <a:gd name="connsiteX303" fmla="*/ 1478343 w 1906136"/>
                <a:gd name="connsiteY303" fmla="*/ 408236 h 2468044"/>
                <a:gd name="connsiteX304" fmla="*/ 1463752 w 1906136"/>
                <a:gd name="connsiteY304" fmla="*/ 419723 h 2468044"/>
                <a:gd name="connsiteX305" fmla="*/ 1455370 w 1906136"/>
                <a:gd name="connsiteY305" fmla="*/ 434314 h 2468044"/>
                <a:gd name="connsiteX306" fmla="*/ 1443883 w 1906136"/>
                <a:gd name="connsiteY306" fmla="*/ 447973 h 2468044"/>
                <a:gd name="connsiteX307" fmla="*/ 1429292 w 1906136"/>
                <a:gd name="connsiteY307" fmla="*/ 459460 h 2468044"/>
                <a:gd name="connsiteX308" fmla="*/ 1428361 w 1906136"/>
                <a:gd name="connsiteY308" fmla="*/ 455114 h 2468044"/>
                <a:gd name="connsiteX309" fmla="*/ 1422152 w 1906136"/>
                <a:gd name="connsiteY309" fmla="*/ 454182 h 2468044"/>
                <a:gd name="connsiteX310" fmla="*/ 1419048 w 1906136"/>
                <a:gd name="connsiteY310" fmla="*/ 449836 h 2468044"/>
                <a:gd name="connsiteX311" fmla="*/ 1415012 w 1906136"/>
                <a:gd name="connsiteY311" fmla="*/ 447663 h 2468044"/>
                <a:gd name="connsiteX312" fmla="*/ 1411907 w 1906136"/>
                <a:gd name="connsiteY312" fmla="*/ 444558 h 2468044"/>
                <a:gd name="connsiteX313" fmla="*/ 1409734 w 1906136"/>
                <a:gd name="connsiteY313" fmla="*/ 442385 h 2468044"/>
                <a:gd name="connsiteX314" fmla="*/ 1406630 w 1906136"/>
                <a:gd name="connsiteY314" fmla="*/ 431830 h 2468044"/>
                <a:gd name="connsiteX315" fmla="*/ 1404457 w 1906136"/>
                <a:gd name="connsiteY315" fmla="*/ 417239 h 2468044"/>
                <a:gd name="connsiteX316" fmla="*/ 1400421 w 1906136"/>
                <a:gd name="connsiteY316" fmla="*/ 400475 h 2468044"/>
                <a:gd name="connsiteX317" fmla="*/ 1399490 w 1906136"/>
                <a:gd name="connsiteY317" fmla="*/ 391162 h 2468044"/>
                <a:gd name="connsiteX318" fmla="*/ 1395454 w 1906136"/>
                <a:gd name="connsiteY318" fmla="*/ 388057 h 2468044"/>
                <a:gd name="connsiteX319" fmla="*/ 1390176 w 1906136"/>
                <a:gd name="connsiteY319" fmla="*/ 385884 h 2468044"/>
                <a:gd name="connsiteX320" fmla="*/ 1384899 w 1906136"/>
                <a:gd name="connsiteY320" fmla="*/ 383711 h 2468044"/>
                <a:gd name="connsiteX321" fmla="*/ 1378690 w 1906136"/>
                <a:gd name="connsiteY321" fmla="*/ 383711 h 2468044"/>
                <a:gd name="connsiteX322" fmla="*/ 1375585 w 1906136"/>
                <a:gd name="connsiteY322" fmla="*/ 382780 h 2468044"/>
                <a:gd name="connsiteX323" fmla="*/ 1370308 w 1906136"/>
                <a:gd name="connsiteY323" fmla="*/ 378433 h 2468044"/>
                <a:gd name="connsiteX324" fmla="*/ 1364099 w 1906136"/>
                <a:gd name="connsiteY324" fmla="*/ 369120 h 2468044"/>
                <a:gd name="connsiteX325" fmla="*/ 1358821 w 1906136"/>
                <a:gd name="connsiteY325" fmla="*/ 356392 h 2468044"/>
                <a:gd name="connsiteX326" fmla="*/ 1353544 w 1906136"/>
                <a:gd name="connsiteY326" fmla="*/ 347078 h 2468044"/>
                <a:gd name="connsiteX327" fmla="*/ 1329639 w 1906136"/>
                <a:gd name="connsiteY327" fmla="*/ 351425 h 2468044"/>
                <a:gd name="connsiteX328" fmla="*/ 1307908 w 1906136"/>
                <a:gd name="connsiteY328" fmla="*/ 351425 h 2468044"/>
                <a:gd name="connsiteX329" fmla="*/ 1282762 w 1906136"/>
                <a:gd name="connsiteY329" fmla="*/ 347078 h 2468044"/>
                <a:gd name="connsiteX330" fmla="*/ 1282762 w 1906136"/>
                <a:gd name="connsiteY330" fmla="*/ 351425 h 2468044"/>
                <a:gd name="connsiteX331" fmla="*/ 1278726 w 1906136"/>
                <a:gd name="connsiteY331" fmla="*/ 351425 h 2468044"/>
                <a:gd name="connsiteX332" fmla="*/ 1280899 w 1906136"/>
                <a:gd name="connsiteY332" fmla="*/ 369431 h 2468044"/>
                <a:gd name="connsiteX333" fmla="*/ 1286177 w 1906136"/>
                <a:gd name="connsiteY333" fmla="*/ 388368 h 2468044"/>
                <a:gd name="connsiteX334" fmla="*/ 1290213 w 1906136"/>
                <a:gd name="connsiteY334" fmla="*/ 405132 h 2468044"/>
                <a:gd name="connsiteX335" fmla="*/ 1293317 w 1906136"/>
                <a:gd name="connsiteY335" fmla="*/ 420964 h 2468044"/>
                <a:gd name="connsiteX336" fmla="*/ 1290213 w 1906136"/>
                <a:gd name="connsiteY336" fmla="*/ 435555 h 2468044"/>
                <a:gd name="connsiteX337" fmla="*/ 1283072 w 1906136"/>
                <a:gd name="connsiteY337" fmla="*/ 448284 h 2468044"/>
                <a:gd name="connsiteX338" fmla="*/ 1285246 w 1906136"/>
                <a:gd name="connsiteY338" fmla="*/ 454493 h 2468044"/>
                <a:gd name="connsiteX339" fmla="*/ 1288350 w 1906136"/>
                <a:gd name="connsiteY339" fmla="*/ 457597 h 2468044"/>
                <a:gd name="connsiteX340" fmla="*/ 1292386 w 1906136"/>
                <a:gd name="connsiteY340" fmla="*/ 459770 h 2468044"/>
                <a:gd name="connsiteX341" fmla="*/ 1295490 w 1906136"/>
                <a:gd name="connsiteY341" fmla="*/ 461943 h 2468044"/>
                <a:gd name="connsiteX342" fmla="*/ 1302630 w 1906136"/>
                <a:gd name="connsiteY342" fmla="*/ 465048 h 2468044"/>
                <a:gd name="connsiteX343" fmla="*/ 1302630 w 1906136"/>
                <a:gd name="connsiteY343" fmla="*/ 481812 h 2468044"/>
                <a:gd name="connsiteX344" fmla="*/ 1304804 w 1906136"/>
                <a:gd name="connsiteY344" fmla="*/ 498576 h 2468044"/>
                <a:gd name="connsiteX345" fmla="*/ 1302630 w 1906136"/>
                <a:gd name="connsiteY345" fmla="*/ 509131 h 2468044"/>
                <a:gd name="connsiteX346" fmla="*/ 1297353 w 1906136"/>
                <a:gd name="connsiteY346" fmla="*/ 528068 h 2468044"/>
                <a:gd name="connsiteX347" fmla="*/ 1288040 w 1906136"/>
                <a:gd name="connsiteY347" fmla="*/ 542659 h 2468044"/>
                <a:gd name="connsiteX348" fmla="*/ 1273449 w 1906136"/>
                <a:gd name="connsiteY348" fmla="*/ 553214 h 2468044"/>
                <a:gd name="connsiteX349" fmla="*/ 1258858 w 1906136"/>
                <a:gd name="connsiteY349" fmla="*/ 560665 h 2468044"/>
                <a:gd name="connsiteX350" fmla="*/ 1264135 w 1906136"/>
                <a:gd name="connsiteY350" fmla="*/ 577429 h 2468044"/>
                <a:gd name="connsiteX351" fmla="*/ 1268171 w 1906136"/>
                <a:gd name="connsiteY351" fmla="*/ 595435 h 2468044"/>
                <a:gd name="connsiteX352" fmla="*/ 1270344 w 1906136"/>
                <a:gd name="connsiteY352" fmla="*/ 610026 h 2468044"/>
                <a:gd name="connsiteX353" fmla="*/ 1270344 w 1906136"/>
                <a:gd name="connsiteY353" fmla="*/ 621513 h 2468044"/>
                <a:gd name="connsiteX354" fmla="*/ 1268171 w 1906136"/>
                <a:gd name="connsiteY354" fmla="*/ 624617 h 2468044"/>
                <a:gd name="connsiteX355" fmla="*/ 1268171 w 1906136"/>
                <a:gd name="connsiteY355" fmla="*/ 626790 h 2468044"/>
                <a:gd name="connsiteX356" fmla="*/ 1268171 w 1906136"/>
                <a:gd name="connsiteY356" fmla="*/ 628963 h 2468044"/>
                <a:gd name="connsiteX357" fmla="*/ 1265998 w 1906136"/>
                <a:gd name="connsiteY357" fmla="*/ 628963 h 2468044"/>
                <a:gd name="connsiteX358" fmla="*/ 1262893 w 1906136"/>
                <a:gd name="connsiteY358" fmla="*/ 629895 h 2468044"/>
                <a:gd name="connsiteX359" fmla="*/ 1260720 w 1906136"/>
                <a:gd name="connsiteY359" fmla="*/ 629895 h 2468044"/>
                <a:gd name="connsiteX360" fmla="*/ 1258547 w 1906136"/>
                <a:gd name="connsiteY360" fmla="*/ 632068 h 2468044"/>
                <a:gd name="connsiteX361" fmla="*/ 1256374 w 1906136"/>
                <a:gd name="connsiteY361" fmla="*/ 632068 h 2468044"/>
                <a:gd name="connsiteX362" fmla="*/ 1253270 w 1906136"/>
                <a:gd name="connsiteY362" fmla="*/ 634241 h 2468044"/>
                <a:gd name="connsiteX363" fmla="*/ 1242714 w 1906136"/>
                <a:gd name="connsiteY363" fmla="*/ 617477 h 2468044"/>
                <a:gd name="connsiteX364" fmla="*/ 1233401 w 1906136"/>
                <a:gd name="connsiteY364" fmla="*/ 604748 h 2468044"/>
                <a:gd name="connsiteX365" fmla="*/ 1229365 w 1906136"/>
                <a:gd name="connsiteY365" fmla="*/ 593262 h 2468044"/>
                <a:gd name="connsiteX366" fmla="*/ 1228434 w 1906136"/>
                <a:gd name="connsiteY366" fmla="*/ 582707 h 2468044"/>
                <a:gd name="connsiteX367" fmla="*/ 1226261 w 1906136"/>
                <a:gd name="connsiteY367" fmla="*/ 571220 h 2468044"/>
                <a:gd name="connsiteX368" fmla="*/ 1222225 w 1906136"/>
                <a:gd name="connsiteY368" fmla="*/ 556629 h 2468044"/>
                <a:gd name="connsiteX369" fmla="*/ 1219121 w 1906136"/>
                <a:gd name="connsiteY369" fmla="*/ 536761 h 2468044"/>
                <a:gd name="connsiteX370" fmla="*/ 1189939 w 1906136"/>
                <a:gd name="connsiteY370" fmla="*/ 529310 h 2468044"/>
                <a:gd name="connsiteX371" fmla="*/ 1185903 w 1906136"/>
                <a:gd name="connsiteY371" fmla="*/ 529310 h 2468044"/>
                <a:gd name="connsiteX372" fmla="*/ 1184972 w 1906136"/>
                <a:gd name="connsiteY372" fmla="*/ 531483 h 2468044"/>
                <a:gd name="connsiteX373" fmla="*/ 1180936 w 1906136"/>
                <a:gd name="connsiteY373" fmla="*/ 533656 h 2468044"/>
                <a:gd name="connsiteX374" fmla="*/ 1178763 w 1906136"/>
                <a:gd name="connsiteY374" fmla="*/ 535829 h 2468044"/>
                <a:gd name="connsiteX375" fmla="*/ 1175658 w 1906136"/>
                <a:gd name="connsiteY375" fmla="*/ 535829 h 2468044"/>
                <a:gd name="connsiteX376" fmla="*/ 1171622 w 1906136"/>
                <a:gd name="connsiteY376" fmla="*/ 536761 h 2468044"/>
                <a:gd name="connsiteX377" fmla="*/ 1168518 w 1906136"/>
                <a:gd name="connsiteY377" fmla="*/ 535829 h 2468044"/>
                <a:gd name="connsiteX378" fmla="*/ 1163240 w 1906136"/>
                <a:gd name="connsiteY378" fmla="*/ 533656 h 2468044"/>
                <a:gd name="connsiteX379" fmla="*/ 1150202 w 1906136"/>
                <a:gd name="connsiteY379" fmla="*/ 527137 h 2468044"/>
                <a:gd name="connsiteX380" fmla="*/ 1139646 w 1906136"/>
                <a:gd name="connsiteY380" fmla="*/ 515650 h 2468044"/>
                <a:gd name="connsiteX381" fmla="*/ 1127229 w 1906136"/>
                <a:gd name="connsiteY381" fmla="*/ 502922 h 2468044"/>
                <a:gd name="connsiteX382" fmla="*/ 1113569 w 1906136"/>
                <a:gd name="connsiteY382" fmla="*/ 493609 h 2468044"/>
                <a:gd name="connsiteX383" fmla="*/ 1101151 w 1906136"/>
                <a:gd name="connsiteY383" fmla="*/ 488331 h 2468044"/>
                <a:gd name="connsiteX384" fmla="*/ 1088733 w 1906136"/>
                <a:gd name="connsiteY384" fmla="*/ 490504 h 2468044"/>
                <a:gd name="connsiteX385" fmla="*/ 1083456 w 1906136"/>
                <a:gd name="connsiteY385" fmla="*/ 488331 h 2468044"/>
                <a:gd name="connsiteX386" fmla="*/ 1077247 w 1906136"/>
                <a:gd name="connsiteY386" fmla="*/ 488331 h 2468044"/>
                <a:gd name="connsiteX387" fmla="*/ 1076316 w 1906136"/>
                <a:gd name="connsiteY387" fmla="*/ 486158 h 2468044"/>
                <a:gd name="connsiteX388" fmla="*/ 1076316 w 1906136"/>
                <a:gd name="connsiteY388" fmla="*/ 485227 h 2468044"/>
                <a:gd name="connsiteX389" fmla="*/ 1076316 w 1906136"/>
                <a:gd name="connsiteY389" fmla="*/ 483054 h 2468044"/>
                <a:gd name="connsiteX390" fmla="*/ 1076316 w 1906136"/>
                <a:gd name="connsiteY390" fmla="*/ 480881 h 2468044"/>
                <a:gd name="connsiteX391" fmla="*/ 1076316 w 1906136"/>
                <a:gd name="connsiteY391" fmla="*/ 477776 h 2468044"/>
                <a:gd name="connsiteX392" fmla="*/ 1076316 w 1906136"/>
                <a:gd name="connsiteY392" fmla="*/ 473430 h 2468044"/>
                <a:gd name="connsiteX393" fmla="*/ 1072280 w 1906136"/>
                <a:gd name="connsiteY393" fmla="*/ 470325 h 2468044"/>
                <a:gd name="connsiteX394" fmla="*/ 1072280 w 1906136"/>
                <a:gd name="connsiteY394" fmla="*/ 461012 h 2468044"/>
                <a:gd name="connsiteX395" fmla="*/ 1052411 w 1906136"/>
                <a:gd name="connsiteY395" fmla="*/ 461012 h 2468044"/>
                <a:gd name="connsiteX396" fmla="*/ 1052411 w 1906136"/>
                <a:gd name="connsiteY396" fmla="*/ 441143 h 2468044"/>
                <a:gd name="connsiteX397" fmla="*/ 1048375 w 1906136"/>
                <a:gd name="connsiteY397" fmla="*/ 421275 h 2468044"/>
                <a:gd name="connsiteX398" fmla="*/ 1042166 w 1906136"/>
                <a:gd name="connsiteY398" fmla="*/ 406684 h 2468044"/>
                <a:gd name="connsiteX399" fmla="*/ 1042166 w 1906136"/>
                <a:gd name="connsiteY399" fmla="*/ 382469 h 2468044"/>
                <a:gd name="connsiteX400" fmla="*/ 1048375 w 1906136"/>
                <a:gd name="connsiteY400" fmla="*/ 365705 h 2468044"/>
                <a:gd name="connsiteX401" fmla="*/ 1057689 w 1906136"/>
                <a:gd name="connsiteY401" fmla="*/ 355150 h 2468044"/>
                <a:gd name="connsiteX402" fmla="*/ 1072280 w 1906136"/>
                <a:gd name="connsiteY402" fmla="*/ 345837 h 2468044"/>
                <a:gd name="connsiteX403" fmla="*/ 1089044 w 1906136"/>
                <a:gd name="connsiteY403" fmla="*/ 340559 h 2468044"/>
                <a:gd name="connsiteX404" fmla="*/ 1089044 w 1906136"/>
                <a:gd name="connsiteY404" fmla="*/ 335282 h 2468044"/>
                <a:gd name="connsiteX405" fmla="*/ 1086871 w 1906136"/>
                <a:gd name="connsiteY405" fmla="*/ 329073 h 2468044"/>
                <a:gd name="connsiteX406" fmla="*/ 1086871 w 1906136"/>
                <a:gd name="connsiteY406" fmla="*/ 325968 h 2468044"/>
                <a:gd name="connsiteX407" fmla="*/ 1084698 w 1906136"/>
                <a:gd name="connsiteY407" fmla="*/ 323795 h 2468044"/>
                <a:gd name="connsiteX408" fmla="*/ 1083766 w 1906136"/>
                <a:gd name="connsiteY408" fmla="*/ 320691 h 2468044"/>
                <a:gd name="connsiteX409" fmla="*/ 1081593 w 1906136"/>
                <a:gd name="connsiteY409" fmla="*/ 316344 h 2468044"/>
                <a:gd name="connsiteX410" fmla="*/ 1072280 w 1906136"/>
                <a:gd name="connsiteY410" fmla="*/ 316344 h 2468044"/>
                <a:gd name="connsiteX411" fmla="*/ 1072280 w 1906136"/>
                <a:gd name="connsiteY411" fmla="*/ 313240 h 2468044"/>
                <a:gd name="connsiteX412" fmla="*/ 1079420 w 1906136"/>
                <a:gd name="connsiteY412" fmla="*/ 314171 h 2468044"/>
                <a:gd name="connsiteX413" fmla="*/ 1083456 w 1906136"/>
                <a:gd name="connsiteY413" fmla="*/ 316344 h 2468044"/>
                <a:gd name="connsiteX414" fmla="*/ 1088733 w 1906136"/>
                <a:gd name="connsiteY414" fmla="*/ 318517 h 2468044"/>
                <a:gd name="connsiteX415" fmla="*/ 1094011 w 1906136"/>
                <a:gd name="connsiteY415" fmla="*/ 320691 h 2468044"/>
                <a:gd name="connsiteX416" fmla="*/ 1101151 w 1906136"/>
                <a:gd name="connsiteY416" fmla="*/ 320691 h 2468044"/>
                <a:gd name="connsiteX417" fmla="*/ 1105187 w 1906136"/>
                <a:gd name="connsiteY417" fmla="*/ 307031 h 2468044"/>
                <a:gd name="connsiteX418" fmla="*/ 1108291 w 1906136"/>
                <a:gd name="connsiteY418" fmla="*/ 298649 h 2468044"/>
                <a:gd name="connsiteX419" fmla="*/ 1115432 w 1906136"/>
                <a:gd name="connsiteY419" fmla="*/ 291198 h 2468044"/>
                <a:gd name="connsiteX420" fmla="*/ 1124745 w 1906136"/>
                <a:gd name="connsiteY420" fmla="*/ 283748 h 2468044"/>
                <a:gd name="connsiteX421" fmla="*/ 1126918 w 1906136"/>
                <a:gd name="connsiteY421" fmla="*/ 279401 h 2468044"/>
                <a:gd name="connsiteX422" fmla="*/ 1130023 w 1906136"/>
                <a:gd name="connsiteY422" fmla="*/ 276297 h 2468044"/>
                <a:gd name="connsiteX423" fmla="*/ 1132196 w 1906136"/>
                <a:gd name="connsiteY423" fmla="*/ 271951 h 2468044"/>
                <a:gd name="connsiteX424" fmla="*/ 1132196 w 1906136"/>
                <a:gd name="connsiteY424" fmla="*/ 266673 h 2468044"/>
                <a:gd name="connsiteX425" fmla="*/ 1130023 w 1906136"/>
                <a:gd name="connsiteY425" fmla="*/ 261395 h 2468044"/>
                <a:gd name="connsiteX426" fmla="*/ 1127849 w 1906136"/>
                <a:gd name="connsiteY426" fmla="*/ 259222 h 2468044"/>
                <a:gd name="connsiteX427" fmla="*/ 1126918 w 1906136"/>
                <a:gd name="connsiteY427" fmla="*/ 257049 h 2468044"/>
                <a:gd name="connsiteX428" fmla="*/ 1124745 w 1906136"/>
                <a:gd name="connsiteY428" fmla="*/ 254876 h 2468044"/>
                <a:gd name="connsiteX429" fmla="*/ 1120709 w 1906136"/>
                <a:gd name="connsiteY429" fmla="*/ 251772 h 2468044"/>
                <a:gd name="connsiteX430" fmla="*/ 1117605 w 1906136"/>
                <a:gd name="connsiteY430" fmla="*/ 251772 h 2468044"/>
                <a:gd name="connsiteX431" fmla="*/ 1117605 w 1906136"/>
                <a:gd name="connsiteY431" fmla="*/ 247736 h 2468044"/>
                <a:gd name="connsiteX432" fmla="*/ 1135300 w 1906136"/>
                <a:gd name="connsiteY432" fmla="*/ 252082 h 2468044"/>
                <a:gd name="connsiteX433" fmla="*/ 1147718 w 1906136"/>
                <a:gd name="connsiteY433" fmla="*/ 259533 h 2468044"/>
                <a:gd name="connsiteX434" fmla="*/ 1157031 w 1906136"/>
                <a:gd name="connsiteY434" fmla="*/ 259533 h 2468044"/>
                <a:gd name="connsiteX435" fmla="*/ 1159205 w 1906136"/>
                <a:gd name="connsiteY435" fmla="*/ 241527 h 2468044"/>
                <a:gd name="connsiteX436" fmla="*/ 1161378 w 1906136"/>
                <a:gd name="connsiteY436" fmla="*/ 230040 h 2468044"/>
                <a:gd name="connsiteX437" fmla="*/ 1157342 w 1906136"/>
                <a:gd name="connsiteY437" fmla="*/ 219485 h 2468044"/>
                <a:gd name="connsiteX438" fmla="*/ 1157342 w 1906136"/>
                <a:gd name="connsiteY438" fmla="*/ 215139 h 2468044"/>
                <a:gd name="connsiteX439" fmla="*/ 1208255 w 1906136"/>
                <a:gd name="connsiteY439" fmla="*/ 212034 h 2468044"/>
                <a:gd name="connsiteX440" fmla="*/ 1208255 w 1906136"/>
                <a:gd name="connsiteY440" fmla="*/ 205826 h 2468044"/>
                <a:gd name="connsiteX441" fmla="*/ 1206082 w 1906136"/>
                <a:gd name="connsiteY441" fmla="*/ 202721 h 2468044"/>
                <a:gd name="connsiteX442" fmla="*/ 1206082 w 1906136"/>
                <a:gd name="connsiteY442" fmla="*/ 200548 h 2468044"/>
                <a:gd name="connsiteX443" fmla="*/ 1205151 w 1906136"/>
                <a:gd name="connsiteY443" fmla="*/ 198375 h 2468044"/>
                <a:gd name="connsiteX444" fmla="*/ 1202977 w 1906136"/>
                <a:gd name="connsiteY444" fmla="*/ 197444 h 2468044"/>
                <a:gd name="connsiteX445" fmla="*/ 1200804 w 1906136"/>
                <a:gd name="connsiteY445" fmla="*/ 195270 h 2468044"/>
                <a:gd name="connsiteX446" fmla="*/ 1200804 w 1906136"/>
                <a:gd name="connsiteY446" fmla="*/ 190924 h 2468044"/>
                <a:gd name="connsiteX447" fmla="*/ 1206082 w 1906136"/>
                <a:gd name="connsiteY447" fmla="*/ 193097 h 2468044"/>
                <a:gd name="connsiteX448" fmla="*/ 1210118 w 1906136"/>
                <a:gd name="connsiteY448" fmla="*/ 195270 h 2468044"/>
                <a:gd name="connsiteX449" fmla="*/ 1213222 w 1906136"/>
                <a:gd name="connsiteY449" fmla="*/ 197444 h 2468044"/>
                <a:gd name="connsiteX450" fmla="*/ 1217258 w 1906136"/>
                <a:gd name="connsiteY450" fmla="*/ 198375 h 2468044"/>
                <a:gd name="connsiteX451" fmla="*/ 1224398 w 1906136"/>
                <a:gd name="connsiteY451" fmla="*/ 198375 h 2468044"/>
                <a:gd name="connsiteX452" fmla="*/ 1226571 w 1906136"/>
                <a:gd name="connsiteY452" fmla="*/ 187820 h 2468044"/>
                <a:gd name="connsiteX453" fmla="*/ 1229676 w 1906136"/>
                <a:gd name="connsiteY453" fmla="*/ 173229 h 2468044"/>
                <a:gd name="connsiteX454" fmla="*/ 1233711 w 1906136"/>
                <a:gd name="connsiteY454" fmla="*/ 154292 h 2468044"/>
                <a:gd name="connsiteX455" fmla="*/ 1234643 w 1906136"/>
                <a:gd name="connsiteY455" fmla="*/ 138459 h 2468044"/>
                <a:gd name="connsiteX456" fmla="*/ 1236816 w 1906136"/>
                <a:gd name="connsiteY456" fmla="*/ 125731 h 2468044"/>
                <a:gd name="connsiteX457" fmla="*/ 1236816 w 1906136"/>
                <a:gd name="connsiteY457" fmla="*/ 118280 h 2468044"/>
                <a:gd name="connsiteX458" fmla="*/ 1236816 w 1906136"/>
                <a:gd name="connsiteY458" fmla="*/ 103689 h 2468044"/>
                <a:gd name="connsiteX459" fmla="*/ 1229676 w 1906136"/>
                <a:gd name="connsiteY459" fmla="*/ 97480 h 2468044"/>
                <a:gd name="connsiteX460" fmla="*/ 1220362 w 1906136"/>
                <a:gd name="connsiteY460" fmla="*/ 99653 h 2468044"/>
                <a:gd name="connsiteX461" fmla="*/ 1211980 w 1906136"/>
                <a:gd name="connsiteY461" fmla="*/ 103999 h 2468044"/>
                <a:gd name="connsiteX462" fmla="*/ 1204840 w 1906136"/>
                <a:gd name="connsiteY462" fmla="*/ 103999 h 2468044"/>
                <a:gd name="connsiteX463" fmla="*/ 1202667 w 1906136"/>
                <a:gd name="connsiteY463" fmla="*/ 99653 h 2468044"/>
                <a:gd name="connsiteX464" fmla="*/ 1198631 w 1906136"/>
                <a:gd name="connsiteY464" fmla="*/ 97480 h 2468044"/>
                <a:gd name="connsiteX465" fmla="*/ 1197700 w 1906136"/>
                <a:gd name="connsiteY465" fmla="*/ 94376 h 2468044"/>
                <a:gd name="connsiteX466" fmla="*/ 1193664 w 1906136"/>
                <a:gd name="connsiteY466" fmla="*/ 90029 h 2468044"/>
                <a:gd name="connsiteX467" fmla="*/ 1191491 w 1906136"/>
                <a:gd name="connsiteY467" fmla="*/ 86925 h 2468044"/>
                <a:gd name="connsiteX468" fmla="*/ 1188386 w 1906136"/>
                <a:gd name="connsiteY468" fmla="*/ 84752 h 2468044"/>
                <a:gd name="connsiteX469" fmla="*/ 1184351 w 1906136"/>
                <a:gd name="connsiteY469" fmla="*/ 82579 h 2468044"/>
                <a:gd name="connsiteX470" fmla="*/ 1181246 w 1906136"/>
                <a:gd name="connsiteY470" fmla="*/ 82579 h 2468044"/>
                <a:gd name="connsiteX471" fmla="*/ 1177210 w 1906136"/>
                <a:gd name="connsiteY471" fmla="*/ 86925 h 2468044"/>
                <a:gd name="connsiteX472" fmla="*/ 1166655 w 1906136"/>
                <a:gd name="connsiteY472" fmla="*/ 96238 h 2468044"/>
                <a:gd name="connsiteX473" fmla="*/ 1162619 w 1906136"/>
                <a:gd name="connsiteY473" fmla="*/ 108966 h 2468044"/>
                <a:gd name="connsiteX474" fmla="*/ 1162619 w 1906136"/>
                <a:gd name="connsiteY474" fmla="*/ 121695 h 2468044"/>
                <a:gd name="connsiteX475" fmla="*/ 1164793 w 1906136"/>
                <a:gd name="connsiteY475" fmla="*/ 134423 h 2468044"/>
                <a:gd name="connsiteX476" fmla="*/ 1164793 w 1906136"/>
                <a:gd name="connsiteY476" fmla="*/ 147151 h 2468044"/>
                <a:gd name="connsiteX477" fmla="*/ 1157652 w 1906136"/>
                <a:gd name="connsiteY477" fmla="*/ 163915 h 2468044"/>
                <a:gd name="connsiteX478" fmla="*/ 1148339 w 1906136"/>
                <a:gd name="connsiteY478" fmla="*/ 178506 h 2468044"/>
                <a:gd name="connsiteX479" fmla="*/ 1143061 w 1906136"/>
                <a:gd name="connsiteY479" fmla="*/ 176333 h 2468044"/>
                <a:gd name="connsiteX480" fmla="*/ 1139957 w 1906136"/>
                <a:gd name="connsiteY480" fmla="*/ 175402 h 2468044"/>
                <a:gd name="connsiteX481" fmla="*/ 1137784 w 1906136"/>
                <a:gd name="connsiteY481" fmla="*/ 173229 h 2468044"/>
                <a:gd name="connsiteX482" fmla="*/ 1135611 w 1906136"/>
                <a:gd name="connsiteY482" fmla="*/ 171056 h 2468044"/>
                <a:gd name="connsiteX483" fmla="*/ 1132506 w 1906136"/>
                <a:gd name="connsiteY483" fmla="*/ 167951 h 2468044"/>
                <a:gd name="connsiteX484" fmla="*/ 1134679 w 1906136"/>
                <a:gd name="connsiteY484" fmla="*/ 161742 h 2468044"/>
                <a:gd name="connsiteX485" fmla="*/ 1134679 w 1906136"/>
                <a:gd name="connsiteY485" fmla="*/ 153360 h 2468044"/>
                <a:gd name="connsiteX486" fmla="*/ 1135611 w 1906136"/>
                <a:gd name="connsiteY486" fmla="*/ 140632 h 2468044"/>
                <a:gd name="connsiteX487" fmla="*/ 1137784 w 1906136"/>
                <a:gd name="connsiteY487" fmla="*/ 126041 h 2468044"/>
                <a:gd name="connsiteX488" fmla="*/ 1137784 w 1906136"/>
                <a:gd name="connsiteY488" fmla="*/ 114244 h 2468044"/>
                <a:gd name="connsiteX489" fmla="*/ 1128470 w 1906136"/>
                <a:gd name="connsiteY489" fmla="*/ 118590 h 2468044"/>
                <a:gd name="connsiteX490" fmla="*/ 1123193 w 1906136"/>
                <a:gd name="connsiteY490" fmla="*/ 123868 h 2468044"/>
                <a:gd name="connsiteX491" fmla="*/ 1117915 w 1906136"/>
                <a:gd name="connsiteY491" fmla="*/ 129145 h 2468044"/>
                <a:gd name="connsiteX492" fmla="*/ 1112638 w 1906136"/>
                <a:gd name="connsiteY492" fmla="*/ 134423 h 2468044"/>
                <a:gd name="connsiteX493" fmla="*/ 1101151 w 1906136"/>
                <a:gd name="connsiteY493" fmla="*/ 134423 h 2468044"/>
                <a:gd name="connsiteX494" fmla="*/ 1098047 w 1906136"/>
                <a:gd name="connsiteY494" fmla="*/ 119832 h 2468044"/>
                <a:gd name="connsiteX495" fmla="*/ 1098047 w 1906136"/>
                <a:gd name="connsiteY495" fmla="*/ 103999 h 2468044"/>
                <a:gd name="connsiteX496" fmla="*/ 1071969 w 1906136"/>
                <a:gd name="connsiteY496" fmla="*/ 103999 h 2468044"/>
                <a:gd name="connsiteX497" fmla="*/ 1076005 w 1906136"/>
                <a:gd name="connsiteY497" fmla="*/ 96549 h 2468044"/>
                <a:gd name="connsiteX498" fmla="*/ 1076936 w 1906136"/>
                <a:gd name="connsiteY498" fmla="*/ 90340 h 2468044"/>
                <a:gd name="connsiteX499" fmla="*/ 1079110 w 1906136"/>
                <a:gd name="connsiteY499" fmla="*/ 85062 h 2468044"/>
                <a:gd name="connsiteX500" fmla="*/ 1083145 w 1906136"/>
                <a:gd name="connsiteY500" fmla="*/ 81958 h 2468044"/>
                <a:gd name="connsiteX501" fmla="*/ 1088423 w 1906136"/>
                <a:gd name="connsiteY501" fmla="*/ 77611 h 2468044"/>
                <a:gd name="connsiteX502" fmla="*/ 1088423 w 1906136"/>
                <a:gd name="connsiteY502" fmla="*/ 70161 h 2468044"/>
                <a:gd name="connsiteX503" fmla="*/ 1088423 w 1906136"/>
                <a:gd name="connsiteY503" fmla="*/ 62710 h 2468044"/>
                <a:gd name="connsiteX504" fmla="*/ 1086250 w 1906136"/>
                <a:gd name="connsiteY504" fmla="*/ 59606 h 2468044"/>
                <a:gd name="connsiteX505" fmla="*/ 1083145 w 1906136"/>
                <a:gd name="connsiteY505" fmla="*/ 55259 h 2468044"/>
                <a:gd name="connsiteX506" fmla="*/ 1079110 w 1906136"/>
                <a:gd name="connsiteY506" fmla="*/ 52155 h 2468044"/>
                <a:gd name="connsiteX507" fmla="*/ 1071969 w 1906136"/>
                <a:gd name="connsiteY507" fmla="*/ 49982 h 2468044"/>
                <a:gd name="connsiteX508" fmla="*/ 1074142 w 1906136"/>
                <a:gd name="connsiteY508" fmla="*/ 42531 h 2468044"/>
                <a:gd name="connsiteX509" fmla="*/ 1076316 w 1906136"/>
                <a:gd name="connsiteY509" fmla="*/ 39427 h 2468044"/>
                <a:gd name="connsiteX510" fmla="*/ 1077247 w 1906136"/>
                <a:gd name="connsiteY510" fmla="*/ 35080 h 2468044"/>
                <a:gd name="connsiteX511" fmla="*/ 1079420 w 1906136"/>
                <a:gd name="connsiteY511" fmla="*/ 29803 h 2468044"/>
                <a:gd name="connsiteX512" fmla="*/ 1081593 w 1906136"/>
                <a:gd name="connsiteY512" fmla="*/ 25457 h 2468044"/>
                <a:gd name="connsiteX513" fmla="*/ 1079420 w 1906136"/>
                <a:gd name="connsiteY513" fmla="*/ 22352 h 2468044"/>
                <a:gd name="connsiteX514" fmla="*/ 1076316 w 1906136"/>
                <a:gd name="connsiteY514" fmla="*/ 18006 h 2468044"/>
                <a:gd name="connsiteX515" fmla="*/ 1074142 w 1906136"/>
                <a:gd name="connsiteY515" fmla="*/ 17075 h 2468044"/>
                <a:gd name="connsiteX516" fmla="*/ 1071969 w 1906136"/>
                <a:gd name="connsiteY516" fmla="*/ 14901 h 2468044"/>
                <a:gd name="connsiteX517" fmla="*/ 1069796 w 1906136"/>
                <a:gd name="connsiteY517" fmla="*/ 12728 h 2468044"/>
                <a:gd name="connsiteX518" fmla="*/ 1069796 w 1906136"/>
                <a:gd name="connsiteY518" fmla="*/ 7451 h 2468044"/>
                <a:gd name="connsiteX519" fmla="*/ 1068865 w 1906136"/>
                <a:gd name="connsiteY519" fmla="*/ 0 h 2468044"/>
                <a:gd name="connsiteX520" fmla="*/ 1057378 w 1906136"/>
                <a:gd name="connsiteY520" fmla="*/ 2173 h 2468044"/>
                <a:gd name="connsiteX521" fmla="*/ 1046823 w 1906136"/>
                <a:gd name="connsiteY521" fmla="*/ 5278 h 2468044"/>
                <a:gd name="connsiteX522" fmla="*/ 1037510 w 1906136"/>
                <a:gd name="connsiteY522" fmla="*/ 9624 h 2468044"/>
                <a:gd name="connsiteX523" fmla="*/ 1025092 w 1906136"/>
                <a:gd name="connsiteY523" fmla="*/ 29492 h 2468044"/>
                <a:gd name="connsiteX524" fmla="*/ 1021056 w 1906136"/>
                <a:gd name="connsiteY524" fmla="*/ 47498 h 2468044"/>
                <a:gd name="connsiteX525" fmla="*/ 1023229 w 1906136"/>
                <a:gd name="connsiteY525" fmla="*/ 66435 h 2468044"/>
                <a:gd name="connsiteX526" fmla="*/ 1032543 w 1906136"/>
                <a:gd name="connsiteY526" fmla="*/ 82268 h 2468044"/>
                <a:gd name="connsiteX527" fmla="*/ 1044960 w 1906136"/>
                <a:gd name="connsiteY527" fmla="*/ 96859 h 2468044"/>
                <a:gd name="connsiteX528" fmla="*/ 1047134 w 1906136"/>
                <a:gd name="connsiteY528" fmla="*/ 104310 h 2468044"/>
                <a:gd name="connsiteX529" fmla="*/ 1044960 w 1906136"/>
                <a:gd name="connsiteY529" fmla="*/ 118901 h 2468044"/>
                <a:gd name="connsiteX530" fmla="*/ 1044960 w 1906136"/>
                <a:gd name="connsiteY530" fmla="*/ 135665 h 2468044"/>
                <a:gd name="connsiteX531" fmla="*/ 1044960 w 1906136"/>
                <a:gd name="connsiteY531" fmla="*/ 150256 h 2468044"/>
                <a:gd name="connsiteX532" fmla="*/ 1032543 w 1906136"/>
                <a:gd name="connsiteY532" fmla="*/ 150256 h 2468044"/>
                <a:gd name="connsiteX533" fmla="*/ 1032543 w 1906136"/>
                <a:gd name="connsiteY533" fmla="*/ 153360 h 2468044"/>
                <a:gd name="connsiteX534" fmla="*/ 1030369 w 1906136"/>
                <a:gd name="connsiteY534" fmla="*/ 159569 h 2468044"/>
                <a:gd name="connsiteX535" fmla="*/ 1030369 w 1906136"/>
                <a:gd name="connsiteY535" fmla="*/ 162674 h 2468044"/>
                <a:gd name="connsiteX536" fmla="*/ 1028196 w 1906136"/>
                <a:gd name="connsiteY536" fmla="*/ 170124 h 2468044"/>
                <a:gd name="connsiteX537" fmla="*/ 1019814 w 1906136"/>
                <a:gd name="connsiteY537" fmla="*/ 153360 h 2468044"/>
                <a:gd name="connsiteX538" fmla="*/ 1012674 w 1906136"/>
                <a:gd name="connsiteY538" fmla="*/ 137528 h 2468044"/>
                <a:gd name="connsiteX539" fmla="*/ 988770 w 1906136"/>
                <a:gd name="connsiteY539" fmla="*/ 137528 h 2468044"/>
                <a:gd name="connsiteX540" fmla="*/ 988770 w 1906136"/>
                <a:gd name="connsiteY540" fmla="*/ 150256 h 2468044"/>
                <a:gd name="connsiteX541" fmla="*/ 986597 w 1906136"/>
                <a:gd name="connsiteY541" fmla="*/ 152429 h 2468044"/>
                <a:gd name="connsiteX542" fmla="*/ 984424 w 1906136"/>
                <a:gd name="connsiteY542" fmla="*/ 153360 h 2468044"/>
                <a:gd name="connsiteX543" fmla="*/ 983492 w 1906136"/>
                <a:gd name="connsiteY543" fmla="*/ 155533 h 2468044"/>
                <a:gd name="connsiteX544" fmla="*/ 981319 w 1906136"/>
                <a:gd name="connsiteY544" fmla="*/ 157706 h 2468044"/>
                <a:gd name="connsiteX545" fmla="*/ 962692 w 1906136"/>
                <a:gd name="connsiteY545" fmla="*/ 157706 h 2468044"/>
                <a:gd name="connsiteX546" fmla="*/ 950275 w 1906136"/>
                <a:gd name="connsiteY546" fmla="*/ 155533 h 2468044"/>
                <a:gd name="connsiteX547" fmla="*/ 937857 w 1906136"/>
                <a:gd name="connsiteY547" fmla="*/ 153360 h 2468044"/>
                <a:gd name="connsiteX548" fmla="*/ 925439 w 1906136"/>
                <a:gd name="connsiteY548" fmla="*/ 150256 h 2468044"/>
                <a:gd name="connsiteX549" fmla="*/ 905570 w 1906136"/>
                <a:gd name="connsiteY549" fmla="*/ 150256 h 2468044"/>
                <a:gd name="connsiteX550" fmla="*/ 901535 w 1906136"/>
                <a:gd name="connsiteY550" fmla="*/ 142805 h 2468044"/>
                <a:gd name="connsiteX551" fmla="*/ 898430 w 1906136"/>
                <a:gd name="connsiteY551" fmla="*/ 139701 h 2468044"/>
                <a:gd name="connsiteX552" fmla="*/ 894394 w 1906136"/>
                <a:gd name="connsiteY552" fmla="*/ 133492 h 2468044"/>
                <a:gd name="connsiteX553" fmla="*/ 889117 w 1906136"/>
                <a:gd name="connsiteY553" fmla="*/ 130387 h 2468044"/>
                <a:gd name="connsiteX554" fmla="*/ 889117 w 1906136"/>
                <a:gd name="connsiteY554" fmla="*/ 117659 h 2468044"/>
                <a:gd name="connsiteX555" fmla="*/ 842239 w 1906136"/>
                <a:gd name="connsiteY555" fmla="*/ 122937 h 2468044"/>
                <a:gd name="connsiteX556" fmla="*/ 842239 w 1906136"/>
                <a:gd name="connsiteY556" fmla="*/ 126041 h 2468044"/>
                <a:gd name="connsiteX557" fmla="*/ 838204 w 1906136"/>
                <a:gd name="connsiteY557" fmla="*/ 126041 h 2468044"/>
                <a:gd name="connsiteX558" fmla="*/ 838204 w 1906136"/>
                <a:gd name="connsiteY558" fmla="*/ 132250 h 2468044"/>
                <a:gd name="connsiteX559" fmla="*/ 840377 w 1906136"/>
                <a:gd name="connsiteY559" fmla="*/ 135354 h 2468044"/>
                <a:gd name="connsiteX560" fmla="*/ 842550 w 1906136"/>
                <a:gd name="connsiteY560" fmla="*/ 139701 h 2468044"/>
                <a:gd name="connsiteX561" fmla="*/ 843481 w 1906136"/>
                <a:gd name="connsiteY561" fmla="*/ 140632 h 2468044"/>
                <a:gd name="connsiteX562" fmla="*/ 845654 w 1906136"/>
                <a:gd name="connsiteY562" fmla="*/ 145910 h 2468044"/>
                <a:gd name="connsiteX563" fmla="*/ 877941 w 1906136"/>
                <a:gd name="connsiteY563" fmla="*/ 145910 h 2468044"/>
                <a:gd name="connsiteX564" fmla="*/ 877941 w 1906136"/>
                <a:gd name="connsiteY564" fmla="*/ 150256 h 2468044"/>
                <a:gd name="connsiteX565" fmla="*/ 870800 w 1906136"/>
                <a:gd name="connsiteY565" fmla="*/ 152429 h 2468044"/>
                <a:gd name="connsiteX566" fmla="*/ 865523 w 1906136"/>
                <a:gd name="connsiteY566" fmla="*/ 153360 h 2468044"/>
                <a:gd name="connsiteX567" fmla="*/ 858383 w 1906136"/>
                <a:gd name="connsiteY567" fmla="*/ 153360 h 2468044"/>
                <a:gd name="connsiteX568" fmla="*/ 849069 w 1906136"/>
                <a:gd name="connsiteY568" fmla="*/ 153360 h 2468044"/>
                <a:gd name="connsiteX569" fmla="*/ 849069 w 1906136"/>
                <a:gd name="connsiteY569" fmla="*/ 189993 h 2468044"/>
                <a:gd name="connsiteX570" fmla="*/ 840687 w 1906136"/>
                <a:gd name="connsiteY570" fmla="*/ 179438 h 2468044"/>
                <a:gd name="connsiteX571" fmla="*/ 831374 w 1906136"/>
                <a:gd name="connsiteY571" fmla="*/ 167951 h 2468044"/>
                <a:gd name="connsiteX572" fmla="*/ 822060 w 1906136"/>
                <a:gd name="connsiteY572" fmla="*/ 157396 h 2468044"/>
                <a:gd name="connsiteX573" fmla="*/ 813678 w 1906136"/>
                <a:gd name="connsiteY573" fmla="*/ 155223 h 2468044"/>
                <a:gd name="connsiteX574" fmla="*/ 799087 w 1906136"/>
                <a:gd name="connsiteY574" fmla="*/ 155223 h 2468044"/>
                <a:gd name="connsiteX575" fmla="*/ 782323 w 1906136"/>
                <a:gd name="connsiteY575" fmla="*/ 155223 h 2468044"/>
                <a:gd name="connsiteX576" fmla="*/ 765559 w 1906136"/>
                <a:gd name="connsiteY576" fmla="*/ 153050 h 2468044"/>
                <a:gd name="connsiteX577" fmla="*/ 753141 w 1906136"/>
                <a:gd name="connsiteY577" fmla="*/ 153050 h 2468044"/>
                <a:gd name="connsiteX578" fmla="*/ 755315 w 1906136"/>
                <a:gd name="connsiteY578" fmla="*/ 149945 h 2468044"/>
                <a:gd name="connsiteX579" fmla="*/ 756246 w 1906136"/>
                <a:gd name="connsiteY579" fmla="*/ 147772 h 2468044"/>
                <a:gd name="connsiteX580" fmla="*/ 756246 w 1906136"/>
                <a:gd name="connsiteY580" fmla="*/ 145599 h 2468044"/>
                <a:gd name="connsiteX581" fmla="*/ 758419 w 1906136"/>
                <a:gd name="connsiteY581" fmla="*/ 144668 h 2468044"/>
                <a:gd name="connsiteX582" fmla="*/ 762455 w 1906136"/>
                <a:gd name="connsiteY582" fmla="*/ 142495 h 2468044"/>
                <a:gd name="connsiteX583" fmla="*/ 765559 w 1906136"/>
                <a:gd name="connsiteY583" fmla="*/ 140321 h 2468044"/>
                <a:gd name="connsiteX584" fmla="*/ 763386 w 1906136"/>
                <a:gd name="connsiteY584" fmla="*/ 137217 h 2468044"/>
                <a:gd name="connsiteX585" fmla="*/ 760282 w 1906136"/>
                <a:gd name="connsiteY585" fmla="*/ 129766 h 2468044"/>
                <a:gd name="connsiteX586" fmla="*/ 756246 w 1906136"/>
                <a:gd name="connsiteY586" fmla="*/ 124489 h 2468044"/>
                <a:gd name="connsiteX587" fmla="*/ 753141 w 1906136"/>
                <a:gd name="connsiteY587" fmla="*/ 120143 h 2468044"/>
                <a:gd name="connsiteX588" fmla="*/ 749106 w 1906136"/>
                <a:gd name="connsiteY588" fmla="*/ 117038 h 2468044"/>
                <a:gd name="connsiteX589" fmla="*/ 746001 w 1906136"/>
                <a:gd name="connsiteY589" fmla="*/ 117038 h 2468044"/>
                <a:gd name="connsiteX590" fmla="*/ 742897 w 1906136"/>
                <a:gd name="connsiteY590" fmla="*/ 117969 h 2468044"/>
                <a:gd name="connsiteX591" fmla="*/ 736688 w 1906136"/>
                <a:gd name="connsiteY591" fmla="*/ 120143 h 2468044"/>
                <a:gd name="connsiteX592" fmla="*/ 733583 w 1906136"/>
                <a:gd name="connsiteY592" fmla="*/ 122316 h 2468044"/>
                <a:gd name="connsiteX593" fmla="*/ 728306 w 1906136"/>
                <a:gd name="connsiteY593" fmla="*/ 122316 h 2468044"/>
                <a:gd name="connsiteX594" fmla="*/ 722097 w 1906136"/>
                <a:gd name="connsiteY594" fmla="*/ 122316 h 2468044"/>
                <a:gd name="connsiteX595" fmla="*/ 706575 w 1906136"/>
                <a:gd name="connsiteY595" fmla="*/ 110829 h 2468044"/>
                <a:gd name="connsiteX596" fmla="*/ 689811 w 1906136"/>
                <a:gd name="connsiteY596" fmla="*/ 98101 h 2468044"/>
                <a:gd name="connsiteX597" fmla="*/ 673046 w 1906136"/>
                <a:gd name="connsiteY597" fmla="*/ 85373 h 2468044"/>
                <a:gd name="connsiteX598" fmla="*/ 653178 w 1906136"/>
                <a:gd name="connsiteY598" fmla="*/ 80095 h 2468044"/>
                <a:gd name="connsiteX599" fmla="*/ 649142 w 1906136"/>
                <a:gd name="connsiteY599" fmla="*/ 81026 h 2468044"/>
                <a:gd name="connsiteX600" fmla="*/ 643865 w 1906136"/>
                <a:gd name="connsiteY600" fmla="*/ 83199 h 2468044"/>
                <a:gd name="connsiteX601" fmla="*/ 640760 w 1906136"/>
                <a:gd name="connsiteY601" fmla="*/ 87546 h 2468044"/>
                <a:gd name="connsiteX602" fmla="*/ 635482 w 1906136"/>
                <a:gd name="connsiteY602" fmla="*/ 90650 h 2468044"/>
                <a:gd name="connsiteX603" fmla="*/ 629274 w 1906136"/>
                <a:gd name="connsiteY603" fmla="*/ 92823 h 2468044"/>
                <a:gd name="connsiteX604" fmla="*/ 628342 w 1906136"/>
                <a:gd name="connsiteY604" fmla="*/ 88477 h 2468044"/>
                <a:gd name="connsiteX605" fmla="*/ 626169 w 1906136"/>
                <a:gd name="connsiteY605" fmla="*/ 85373 h 2468044"/>
                <a:gd name="connsiteX606" fmla="*/ 622133 w 1906136"/>
                <a:gd name="connsiteY606" fmla="*/ 80095 h 2468044"/>
                <a:gd name="connsiteX607" fmla="*/ 621202 w 1906136"/>
                <a:gd name="connsiteY607" fmla="*/ 80095 h 2468044"/>
                <a:gd name="connsiteX608" fmla="*/ 617166 w 1906136"/>
                <a:gd name="connsiteY608" fmla="*/ 80095 h 2468044"/>
                <a:gd name="connsiteX609" fmla="*/ 614993 w 1906136"/>
                <a:gd name="connsiteY609" fmla="*/ 81026 h 2468044"/>
                <a:gd name="connsiteX610" fmla="*/ 611889 w 1906136"/>
                <a:gd name="connsiteY610" fmla="*/ 83199 h 2468044"/>
                <a:gd name="connsiteX611" fmla="*/ 609715 w 1906136"/>
                <a:gd name="connsiteY611" fmla="*/ 85373 h 2468044"/>
                <a:gd name="connsiteX612" fmla="*/ 606611 w 1906136"/>
                <a:gd name="connsiteY612" fmla="*/ 88477 h 2468044"/>
                <a:gd name="connsiteX613" fmla="*/ 592951 w 1906136"/>
                <a:gd name="connsiteY613" fmla="*/ 85373 h 2468044"/>
                <a:gd name="connsiteX614" fmla="*/ 584569 w 1906136"/>
                <a:gd name="connsiteY614" fmla="*/ 77922 h 2468044"/>
                <a:gd name="connsiteX615" fmla="*/ 578360 w 1906136"/>
                <a:gd name="connsiteY615" fmla="*/ 68609 h 2468044"/>
                <a:gd name="connsiteX616" fmla="*/ 573083 w 1906136"/>
                <a:gd name="connsiteY616" fmla="*/ 55880 h 2468044"/>
                <a:gd name="connsiteX617" fmla="*/ 569978 w 1906136"/>
                <a:gd name="connsiteY617" fmla="*/ 58985 h 2468044"/>
                <a:gd name="connsiteX618" fmla="*/ 565943 w 1906136"/>
                <a:gd name="connsiteY618" fmla="*/ 65194 h 2468044"/>
                <a:gd name="connsiteX619" fmla="*/ 563770 w 1906136"/>
                <a:gd name="connsiteY619" fmla="*/ 70471 h 2468044"/>
                <a:gd name="connsiteX620" fmla="*/ 562838 w 1906136"/>
                <a:gd name="connsiteY620" fmla="*/ 75749 h 2468044"/>
                <a:gd name="connsiteX621" fmla="*/ 546074 w 1906136"/>
                <a:gd name="connsiteY621" fmla="*/ 77922 h 2468044"/>
                <a:gd name="connsiteX622" fmla="*/ 533656 w 1906136"/>
                <a:gd name="connsiteY622" fmla="*/ 77922 h 2468044"/>
                <a:gd name="connsiteX623" fmla="*/ 521238 w 1906136"/>
                <a:gd name="connsiteY623" fmla="*/ 80095 h 2468044"/>
                <a:gd name="connsiteX624" fmla="*/ 511925 w 1906136"/>
                <a:gd name="connsiteY624" fmla="*/ 85373 h 2468044"/>
                <a:gd name="connsiteX625" fmla="*/ 502612 w 1906136"/>
                <a:gd name="connsiteY625" fmla="*/ 95928 h 2468044"/>
                <a:gd name="connsiteX626" fmla="*/ 482743 w 1906136"/>
                <a:gd name="connsiteY626" fmla="*/ 92823 h 2468044"/>
                <a:gd name="connsiteX627" fmla="*/ 482743 w 1906136"/>
                <a:gd name="connsiteY627" fmla="*/ 85373 h 2468044"/>
                <a:gd name="connsiteX628" fmla="*/ 504474 w 1906136"/>
                <a:gd name="connsiteY628" fmla="*/ 76059 h 2468044"/>
                <a:gd name="connsiteX629" fmla="*/ 524343 w 1906136"/>
                <a:gd name="connsiteY629" fmla="*/ 63331 h 2468044"/>
                <a:gd name="connsiteX630" fmla="*/ 542970 w 1906136"/>
                <a:gd name="connsiteY630" fmla="*/ 48740 h 2468044"/>
                <a:gd name="connsiteX631" fmla="*/ 549179 w 1906136"/>
                <a:gd name="connsiteY631" fmla="*/ 48740 h 2468044"/>
                <a:gd name="connsiteX632" fmla="*/ 546074 w 1906136"/>
                <a:gd name="connsiteY632" fmla="*/ 46567 h 2468044"/>
                <a:gd name="connsiteX633" fmla="*/ 542970 w 1906136"/>
                <a:gd name="connsiteY633" fmla="*/ 44394 h 2468044"/>
                <a:gd name="connsiteX634" fmla="*/ 536761 w 1906136"/>
                <a:gd name="connsiteY634" fmla="*/ 43462 h 2468044"/>
                <a:gd name="connsiteX635" fmla="*/ 533656 w 1906136"/>
                <a:gd name="connsiteY635" fmla="*/ 41289 h 2468044"/>
                <a:gd name="connsiteX636" fmla="*/ 516892 w 1906136"/>
                <a:gd name="connsiteY636" fmla="*/ 44394 h 2468044"/>
                <a:gd name="connsiteX637" fmla="*/ 504474 w 1906136"/>
                <a:gd name="connsiteY637" fmla="*/ 50603 h 2468044"/>
                <a:gd name="connsiteX638" fmla="*/ 492988 w 1906136"/>
                <a:gd name="connsiteY638" fmla="*/ 58985 h 2468044"/>
                <a:gd name="connsiteX639" fmla="*/ 482433 w 1906136"/>
                <a:gd name="connsiteY639" fmla="*/ 66435 h 2468044"/>
                <a:gd name="connsiteX640" fmla="*/ 470015 w 1906136"/>
                <a:gd name="connsiteY640" fmla="*/ 73886 h 2468044"/>
                <a:gd name="connsiteX641" fmla="*/ 455424 w 1906136"/>
                <a:gd name="connsiteY641" fmla="*/ 78232 h 2468044"/>
                <a:gd name="connsiteX642" fmla="*/ 433693 w 1906136"/>
                <a:gd name="connsiteY642" fmla="*/ 80405 h 2468044"/>
                <a:gd name="connsiteX643" fmla="*/ 436797 w 1906136"/>
                <a:gd name="connsiteY643" fmla="*/ 88788 h 2468044"/>
                <a:gd name="connsiteX644" fmla="*/ 443006 w 1906136"/>
                <a:gd name="connsiteY644" fmla="*/ 96238 h 2468044"/>
                <a:gd name="connsiteX645" fmla="*/ 448284 w 1906136"/>
                <a:gd name="connsiteY645" fmla="*/ 103689 h 2468044"/>
                <a:gd name="connsiteX646" fmla="*/ 453561 w 1906136"/>
                <a:gd name="connsiteY646" fmla="*/ 109898 h 2468044"/>
                <a:gd name="connsiteX647" fmla="*/ 453561 w 1906136"/>
                <a:gd name="connsiteY647" fmla="*/ 117349 h 2468044"/>
                <a:gd name="connsiteX648" fmla="*/ 429657 w 1906136"/>
                <a:gd name="connsiteY648" fmla="*/ 113002 h 2468044"/>
                <a:gd name="connsiteX649" fmla="*/ 409788 w 1906136"/>
                <a:gd name="connsiteY649" fmla="*/ 102447 h 2468044"/>
                <a:gd name="connsiteX650" fmla="*/ 392093 w 1906136"/>
                <a:gd name="connsiteY650" fmla="*/ 90961 h 2468044"/>
                <a:gd name="connsiteX651" fmla="*/ 373466 w 1906136"/>
                <a:gd name="connsiteY651" fmla="*/ 78232 h 2468044"/>
                <a:gd name="connsiteX652" fmla="*/ 353598 w 1906136"/>
                <a:gd name="connsiteY652" fmla="*/ 68919 h 2468044"/>
                <a:gd name="connsiteX653" fmla="*/ 322243 w 1906136"/>
                <a:gd name="connsiteY653" fmla="*/ 73265 h 2468044"/>
                <a:gd name="connsiteX654" fmla="*/ 307652 w 1906136"/>
                <a:gd name="connsiteY654" fmla="*/ 68919 h 2468044"/>
                <a:gd name="connsiteX655" fmla="*/ 293061 w 1906136"/>
                <a:gd name="connsiteY655" fmla="*/ 61468 h 2468044"/>
                <a:gd name="connsiteX656" fmla="*/ 277539 w 1906136"/>
                <a:gd name="connsiteY656" fmla="*/ 56191 h 2468044"/>
                <a:gd name="connsiteX657" fmla="*/ 266052 w 1906136"/>
                <a:gd name="connsiteY657" fmla="*/ 51844 h 2468044"/>
                <a:gd name="connsiteX658" fmla="*/ 262948 w 1906136"/>
                <a:gd name="connsiteY658" fmla="*/ 51844 h 2468044"/>
                <a:gd name="connsiteX659" fmla="*/ 256739 w 1906136"/>
                <a:gd name="connsiteY659" fmla="*/ 54018 h 2468044"/>
                <a:gd name="connsiteX660" fmla="*/ 253634 w 1906136"/>
                <a:gd name="connsiteY660" fmla="*/ 56191 h 2468044"/>
                <a:gd name="connsiteX661" fmla="*/ 249598 w 1906136"/>
                <a:gd name="connsiteY661" fmla="*/ 56191 h 2468044"/>
                <a:gd name="connsiteX662" fmla="*/ 244321 w 1906136"/>
                <a:gd name="connsiteY662" fmla="*/ 58364 h 2468044"/>
                <a:gd name="connsiteX663" fmla="*/ 239043 w 1906136"/>
                <a:gd name="connsiteY663" fmla="*/ 56191 h 2468044"/>
                <a:gd name="connsiteX664" fmla="*/ 233766 w 1906136"/>
                <a:gd name="connsiteY664" fmla="*/ 54018 h 2468044"/>
                <a:gd name="connsiteX665" fmla="*/ 229730 w 1906136"/>
                <a:gd name="connsiteY665" fmla="*/ 50913 h 2468044"/>
                <a:gd name="connsiteX666" fmla="*/ 226625 w 1906136"/>
                <a:gd name="connsiteY666" fmla="*/ 46567 h 2468044"/>
                <a:gd name="connsiteX667" fmla="*/ 221348 w 1906136"/>
                <a:gd name="connsiteY667" fmla="*/ 41289 h 2468044"/>
                <a:gd name="connsiteX668" fmla="*/ 217312 w 1906136"/>
                <a:gd name="connsiteY668" fmla="*/ 38185 h 2468044"/>
                <a:gd name="connsiteX669" fmla="*/ 214208 w 1906136"/>
                <a:gd name="connsiteY669" fmla="*/ 36012 h 2468044"/>
                <a:gd name="connsiteX670" fmla="*/ 210172 w 1906136"/>
                <a:gd name="connsiteY670" fmla="*/ 36012 h 2468044"/>
                <a:gd name="connsiteX671" fmla="*/ 207067 w 1906136"/>
                <a:gd name="connsiteY671" fmla="*/ 36012 h 2468044"/>
                <a:gd name="connsiteX672" fmla="*/ 203032 w 1906136"/>
                <a:gd name="connsiteY672" fmla="*/ 38185 h 2468044"/>
                <a:gd name="connsiteX673" fmla="*/ 199927 w 1906136"/>
                <a:gd name="connsiteY673" fmla="*/ 39116 h 2468044"/>
                <a:gd name="connsiteX674" fmla="*/ 195891 w 1906136"/>
                <a:gd name="connsiteY674" fmla="*/ 39116 h 2468044"/>
                <a:gd name="connsiteX675" fmla="*/ 190614 w 1906136"/>
                <a:gd name="connsiteY675" fmla="*/ 39116 h 2468044"/>
                <a:gd name="connsiteX676" fmla="*/ 186578 w 1906136"/>
                <a:gd name="connsiteY676" fmla="*/ 36012 h 2468044"/>
                <a:gd name="connsiteX677" fmla="*/ 183473 w 1906136"/>
                <a:gd name="connsiteY677" fmla="*/ 31665 h 2468044"/>
                <a:gd name="connsiteX678" fmla="*/ 181300 w 1906136"/>
                <a:gd name="connsiteY678" fmla="*/ 30734 h 2468044"/>
                <a:gd name="connsiteX679" fmla="*/ 181300 w 1906136"/>
                <a:gd name="connsiteY679" fmla="*/ 26388 h 2468044"/>
                <a:gd name="connsiteX680" fmla="*/ 179127 w 1906136"/>
                <a:gd name="connsiteY680" fmla="*/ 24215 h 2468044"/>
                <a:gd name="connsiteX681" fmla="*/ 179127 w 1906136"/>
                <a:gd name="connsiteY681" fmla="*/ 21110 h 2468044"/>
                <a:gd name="connsiteX682" fmla="*/ 176023 w 1906136"/>
                <a:gd name="connsiteY682" fmla="*/ 18937 h 2468044"/>
                <a:gd name="connsiteX683" fmla="*/ 170745 w 1906136"/>
                <a:gd name="connsiteY683" fmla="*/ 15833 h 2468044"/>
                <a:gd name="connsiteX684" fmla="*/ 153981 w 1906136"/>
                <a:gd name="connsiteY684" fmla="*/ 26388 h 2468044"/>
                <a:gd name="connsiteX685" fmla="*/ 137217 w 1906136"/>
                <a:gd name="connsiteY685" fmla="*/ 33839 h 2468044"/>
                <a:gd name="connsiteX686" fmla="*/ 117348 w 1906136"/>
                <a:gd name="connsiteY686" fmla="*/ 39116 h 2468044"/>
                <a:gd name="connsiteX687" fmla="*/ 99653 w 1906136"/>
                <a:gd name="connsiteY687" fmla="*/ 48430 h 2468044"/>
                <a:gd name="connsiteX688" fmla="*/ 85993 w 1906136"/>
                <a:gd name="connsiteY688" fmla="*/ 58985 h 2468044"/>
                <a:gd name="connsiteX689" fmla="*/ 82889 w 1906136"/>
                <a:gd name="connsiteY689" fmla="*/ 70471 h 2468044"/>
                <a:gd name="connsiteX690" fmla="*/ 78853 w 1906136"/>
                <a:gd name="connsiteY690" fmla="*/ 83199 h 2468044"/>
                <a:gd name="connsiteX691" fmla="*/ 73576 w 1906136"/>
                <a:gd name="connsiteY691" fmla="*/ 95928 h 2468044"/>
                <a:gd name="connsiteX692" fmla="*/ 56812 w 1906136"/>
                <a:gd name="connsiteY692" fmla="*/ 105241 h 2468044"/>
                <a:gd name="connsiteX693" fmla="*/ 36012 w 1906136"/>
                <a:gd name="connsiteY693" fmla="*/ 107414 h 2468044"/>
                <a:gd name="connsiteX694" fmla="*/ 14281 w 1906136"/>
                <a:gd name="connsiteY694" fmla="*/ 105241 h 2468044"/>
                <a:gd name="connsiteX695" fmla="*/ 12107 w 1906136"/>
                <a:gd name="connsiteY695" fmla="*/ 110519 h 2468044"/>
                <a:gd name="connsiteX696" fmla="*/ 9934 w 1906136"/>
                <a:gd name="connsiteY696" fmla="*/ 116728 h 2468044"/>
                <a:gd name="connsiteX697" fmla="*/ 6830 w 1906136"/>
                <a:gd name="connsiteY697" fmla="*/ 122005 h 2468044"/>
                <a:gd name="connsiteX698" fmla="*/ 15212 w 1906136"/>
                <a:gd name="connsiteY698" fmla="*/ 138769 h 2468044"/>
                <a:gd name="connsiteX699" fmla="*/ 29803 w 1906136"/>
                <a:gd name="connsiteY699" fmla="*/ 149324 h 2468044"/>
                <a:gd name="connsiteX700" fmla="*/ 46567 w 1906136"/>
                <a:gd name="connsiteY700" fmla="*/ 159880 h 2468044"/>
                <a:gd name="connsiteX701" fmla="*/ 61158 w 1906136"/>
                <a:gd name="connsiteY701" fmla="*/ 171366 h 2468044"/>
                <a:gd name="connsiteX702" fmla="*/ 73576 w 1906136"/>
                <a:gd name="connsiteY702" fmla="*/ 185957 h 2468044"/>
                <a:gd name="connsiteX703" fmla="*/ 77611 w 1906136"/>
                <a:gd name="connsiteY703" fmla="*/ 191235 h 2468044"/>
                <a:gd name="connsiteX704" fmla="*/ 78543 w 1906136"/>
                <a:gd name="connsiteY704" fmla="*/ 196512 h 2468044"/>
                <a:gd name="connsiteX705" fmla="*/ 80716 w 1906136"/>
                <a:gd name="connsiteY705" fmla="*/ 202721 h 2468044"/>
                <a:gd name="connsiteX706" fmla="*/ 82889 w 1906136"/>
                <a:gd name="connsiteY706" fmla="*/ 207999 h 2468044"/>
                <a:gd name="connsiteX707" fmla="*/ 85993 w 1906136"/>
                <a:gd name="connsiteY707" fmla="*/ 213276 h 2468044"/>
                <a:gd name="connsiteX708" fmla="*/ 85993 w 1906136"/>
                <a:gd name="connsiteY708" fmla="*/ 220727 h 2468044"/>
                <a:gd name="connsiteX709" fmla="*/ 73576 w 1906136"/>
                <a:gd name="connsiteY709" fmla="*/ 226005 h 2468044"/>
                <a:gd name="connsiteX710" fmla="*/ 70471 w 1906136"/>
                <a:gd name="connsiteY710" fmla="*/ 220727 h 2468044"/>
                <a:gd name="connsiteX711" fmla="*/ 64262 w 1906136"/>
                <a:gd name="connsiteY711" fmla="*/ 215449 h 2468044"/>
                <a:gd name="connsiteX712" fmla="*/ 58985 w 1906136"/>
                <a:gd name="connsiteY712" fmla="*/ 211103 h 2468044"/>
                <a:gd name="connsiteX713" fmla="*/ 53707 w 1906136"/>
                <a:gd name="connsiteY713" fmla="*/ 205826 h 2468044"/>
                <a:gd name="connsiteX714" fmla="*/ 49671 w 1906136"/>
                <a:gd name="connsiteY714" fmla="*/ 205826 h 2468044"/>
                <a:gd name="connsiteX715" fmla="*/ 48740 w 1906136"/>
                <a:gd name="connsiteY715" fmla="*/ 205826 h 2468044"/>
                <a:gd name="connsiteX716" fmla="*/ 46567 w 1906136"/>
                <a:gd name="connsiteY716" fmla="*/ 207999 h 2468044"/>
                <a:gd name="connsiteX717" fmla="*/ 44394 w 1906136"/>
                <a:gd name="connsiteY717" fmla="*/ 207999 h 2468044"/>
                <a:gd name="connsiteX718" fmla="*/ 43462 w 1906136"/>
                <a:gd name="connsiteY718" fmla="*/ 210172 h 2468044"/>
                <a:gd name="connsiteX719" fmla="*/ 26698 w 1906136"/>
                <a:gd name="connsiteY719" fmla="*/ 210172 h 2468044"/>
                <a:gd name="connsiteX720" fmla="*/ 28871 w 1906136"/>
                <a:gd name="connsiteY720" fmla="*/ 213276 h 2468044"/>
                <a:gd name="connsiteX721" fmla="*/ 28871 w 1906136"/>
                <a:gd name="connsiteY721" fmla="*/ 215449 h 2468044"/>
                <a:gd name="connsiteX722" fmla="*/ 29803 w 1906136"/>
                <a:gd name="connsiteY722" fmla="*/ 217623 h 2468044"/>
                <a:gd name="connsiteX723" fmla="*/ 26698 w 1906136"/>
                <a:gd name="connsiteY723" fmla="*/ 220727 h 2468044"/>
                <a:gd name="connsiteX724" fmla="*/ 22663 w 1906136"/>
                <a:gd name="connsiteY724" fmla="*/ 225073 h 2468044"/>
                <a:gd name="connsiteX725" fmla="*/ 19558 w 1906136"/>
                <a:gd name="connsiteY725" fmla="*/ 225073 h 2468044"/>
                <a:gd name="connsiteX726" fmla="*/ 15522 w 1906136"/>
                <a:gd name="connsiteY726" fmla="*/ 226005 h 2468044"/>
                <a:gd name="connsiteX727" fmla="*/ 10245 w 1906136"/>
                <a:gd name="connsiteY727" fmla="*/ 228178 h 2468044"/>
                <a:gd name="connsiteX728" fmla="*/ 7140 w 1906136"/>
                <a:gd name="connsiteY728" fmla="*/ 230351 h 2468044"/>
                <a:gd name="connsiteX729" fmla="*/ 0 w 1906136"/>
                <a:gd name="connsiteY729" fmla="*/ 230351 h 2468044"/>
                <a:gd name="connsiteX730" fmla="*/ 3104 w 1906136"/>
                <a:gd name="connsiteY730" fmla="*/ 257670 h 2468044"/>
                <a:gd name="connsiteX731" fmla="*/ 17695 w 1906136"/>
                <a:gd name="connsiteY731" fmla="*/ 265121 h 2468044"/>
                <a:gd name="connsiteX732" fmla="*/ 36322 w 1906136"/>
                <a:gd name="connsiteY732" fmla="*/ 268225 h 2468044"/>
                <a:gd name="connsiteX733" fmla="*/ 51844 w 1906136"/>
                <a:gd name="connsiteY733" fmla="*/ 274434 h 2468044"/>
                <a:gd name="connsiteX734" fmla="*/ 63331 w 1906136"/>
                <a:gd name="connsiteY734" fmla="*/ 277539 h 2468044"/>
                <a:gd name="connsiteX735" fmla="*/ 68609 w 1906136"/>
                <a:gd name="connsiteY735" fmla="*/ 277539 h 2468044"/>
                <a:gd name="connsiteX736" fmla="*/ 71713 w 1906136"/>
                <a:gd name="connsiteY736" fmla="*/ 275365 h 2468044"/>
                <a:gd name="connsiteX737" fmla="*/ 75749 w 1906136"/>
                <a:gd name="connsiteY737" fmla="*/ 274434 h 2468044"/>
                <a:gd name="connsiteX738" fmla="*/ 77922 w 1906136"/>
                <a:gd name="connsiteY738" fmla="*/ 272261 h 2468044"/>
                <a:gd name="connsiteX739" fmla="*/ 78853 w 1906136"/>
                <a:gd name="connsiteY739" fmla="*/ 270088 h 2468044"/>
                <a:gd name="connsiteX740" fmla="*/ 82889 w 1906136"/>
                <a:gd name="connsiteY740" fmla="*/ 266983 h 2468044"/>
                <a:gd name="connsiteX741" fmla="*/ 97790 w 1906136"/>
                <a:gd name="connsiteY741" fmla="*/ 266983 h 2468044"/>
                <a:gd name="connsiteX742" fmla="*/ 95617 w 1906136"/>
                <a:gd name="connsiteY742" fmla="*/ 267915 h 2468044"/>
                <a:gd name="connsiteX743" fmla="*/ 95617 w 1906136"/>
                <a:gd name="connsiteY743" fmla="*/ 270088 h 2468044"/>
                <a:gd name="connsiteX744" fmla="*/ 95617 w 1906136"/>
                <a:gd name="connsiteY744" fmla="*/ 272261 h 2468044"/>
                <a:gd name="connsiteX745" fmla="*/ 93444 w 1906136"/>
                <a:gd name="connsiteY745" fmla="*/ 272261 h 2468044"/>
                <a:gd name="connsiteX746" fmla="*/ 91271 w 1906136"/>
                <a:gd name="connsiteY746" fmla="*/ 274434 h 2468044"/>
                <a:gd name="connsiteX747" fmla="*/ 91271 w 1906136"/>
                <a:gd name="connsiteY747" fmla="*/ 292440 h 2468044"/>
                <a:gd name="connsiteX748" fmla="*/ 85993 w 1906136"/>
                <a:gd name="connsiteY748" fmla="*/ 303926 h 2468044"/>
                <a:gd name="connsiteX749" fmla="*/ 78853 w 1906136"/>
                <a:gd name="connsiteY749" fmla="*/ 311377 h 2468044"/>
                <a:gd name="connsiteX750" fmla="*/ 68298 w 1906136"/>
                <a:gd name="connsiteY750" fmla="*/ 316655 h 2468044"/>
                <a:gd name="connsiteX751" fmla="*/ 56812 w 1906136"/>
                <a:gd name="connsiteY751" fmla="*/ 319759 h 2468044"/>
                <a:gd name="connsiteX752" fmla="*/ 44394 w 1906136"/>
                <a:gd name="connsiteY752" fmla="*/ 327210 h 2468044"/>
                <a:gd name="connsiteX753" fmla="*/ 37253 w 1906136"/>
                <a:gd name="connsiteY753" fmla="*/ 336523 h 2468044"/>
                <a:gd name="connsiteX754" fmla="*/ 31976 w 1906136"/>
                <a:gd name="connsiteY754" fmla="*/ 347078 h 2468044"/>
                <a:gd name="connsiteX755" fmla="*/ 26698 w 1906136"/>
                <a:gd name="connsiteY755" fmla="*/ 360738 h 2468044"/>
                <a:gd name="connsiteX756" fmla="*/ 20489 w 1906136"/>
                <a:gd name="connsiteY756" fmla="*/ 371293 h 2468044"/>
                <a:gd name="connsiteX757" fmla="*/ 31976 w 1906136"/>
                <a:gd name="connsiteY757" fmla="*/ 391162 h 2468044"/>
                <a:gd name="connsiteX758" fmla="*/ 46567 w 1906136"/>
                <a:gd name="connsiteY758" fmla="*/ 410099 h 2468044"/>
                <a:gd name="connsiteX759" fmla="*/ 64262 w 1906136"/>
                <a:gd name="connsiteY759" fmla="*/ 422827 h 2468044"/>
                <a:gd name="connsiteX760" fmla="*/ 66435 w 1906136"/>
                <a:gd name="connsiteY760" fmla="*/ 425000 h 2468044"/>
                <a:gd name="connsiteX761" fmla="*/ 69540 w 1906136"/>
                <a:gd name="connsiteY761" fmla="*/ 425000 h 2468044"/>
                <a:gd name="connsiteX762" fmla="*/ 71713 w 1906136"/>
                <a:gd name="connsiteY762" fmla="*/ 425000 h 2468044"/>
                <a:gd name="connsiteX763" fmla="*/ 73886 w 1906136"/>
                <a:gd name="connsiteY763" fmla="*/ 422827 h 2468044"/>
                <a:gd name="connsiteX764" fmla="*/ 76991 w 1906136"/>
                <a:gd name="connsiteY764" fmla="*/ 419723 h 2468044"/>
                <a:gd name="connsiteX765" fmla="*/ 81026 w 1906136"/>
                <a:gd name="connsiteY765" fmla="*/ 430278 h 2468044"/>
                <a:gd name="connsiteX766" fmla="*/ 86304 w 1906136"/>
                <a:gd name="connsiteY766" fmla="*/ 444869 h 2468044"/>
                <a:gd name="connsiteX767" fmla="*/ 88477 w 1906136"/>
                <a:gd name="connsiteY767" fmla="*/ 455424 h 2468044"/>
                <a:gd name="connsiteX768" fmla="*/ 93755 w 1906136"/>
                <a:gd name="connsiteY768" fmla="*/ 455424 h 2468044"/>
                <a:gd name="connsiteX769" fmla="*/ 97790 w 1906136"/>
                <a:gd name="connsiteY769" fmla="*/ 455734 h 2468044"/>
                <a:gd name="connsiteX770" fmla="*/ 98722 w 1906136"/>
                <a:gd name="connsiteY770" fmla="*/ 455734 h 2468044"/>
                <a:gd name="connsiteX771" fmla="*/ 100895 w 1906136"/>
                <a:gd name="connsiteY771" fmla="*/ 453561 h 2468044"/>
                <a:gd name="connsiteX772" fmla="*/ 103068 w 1906136"/>
                <a:gd name="connsiteY772" fmla="*/ 451388 h 2468044"/>
                <a:gd name="connsiteX773" fmla="*/ 105241 w 1906136"/>
                <a:gd name="connsiteY773" fmla="*/ 449215 h 2468044"/>
                <a:gd name="connsiteX774" fmla="*/ 108346 w 1906136"/>
                <a:gd name="connsiteY774" fmla="*/ 451388 h 2468044"/>
                <a:gd name="connsiteX775" fmla="*/ 110208 w 1906136"/>
                <a:gd name="connsiteY775" fmla="*/ 451388 h 2468044"/>
                <a:gd name="connsiteX776" fmla="*/ 112381 w 1906136"/>
                <a:gd name="connsiteY776" fmla="*/ 453561 h 2468044"/>
                <a:gd name="connsiteX777" fmla="*/ 112381 w 1906136"/>
                <a:gd name="connsiteY777" fmla="*/ 456666 h 2468044"/>
                <a:gd name="connsiteX778" fmla="*/ 112381 w 1906136"/>
                <a:gd name="connsiteY778" fmla="*/ 461012 h 2468044"/>
                <a:gd name="connsiteX779" fmla="*/ 124799 w 1906136"/>
                <a:gd name="connsiteY779" fmla="*/ 456666 h 2468044"/>
                <a:gd name="connsiteX780" fmla="*/ 134113 w 1906136"/>
                <a:gd name="connsiteY780" fmla="*/ 453561 h 2468044"/>
                <a:gd name="connsiteX781" fmla="*/ 147772 w 1906136"/>
                <a:gd name="connsiteY781" fmla="*/ 449215 h 2468044"/>
                <a:gd name="connsiteX782" fmla="*/ 144668 w 1906136"/>
                <a:gd name="connsiteY782" fmla="*/ 471257 h 2468044"/>
                <a:gd name="connsiteX783" fmla="*/ 135354 w 1906136"/>
                <a:gd name="connsiteY783" fmla="*/ 488021 h 2468044"/>
                <a:gd name="connsiteX784" fmla="*/ 122937 w 1906136"/>
                <a:gd name="connsiteY784" fmla="*/ 502612 h 2468044"/>
                <a:gd name="connsiteX785" fmla="*/ 106172 w 1906136"/>
                <a:gd name="connsiteY785" fmla="*/ 515340 h 2468044"/>
                <a:gd name="connsiteX786" fmla="*/ 88477 w 1906136"/>
                <a:gd name="connsiteY786" fmla="*/ 527137 h 2468044"/>
                <a:gd name="connsiteX787" fmla="*/ 69850 w 1906136"/>
                <a:gd name="connsiteY787" fmla="*/ 537692 h 2468044"/>
                <a:gd name="connsiteX788" fmla="*/ 54328 w 1906136"/>
                <a:gd name="connsiteY788" fmla="*/ 549179 h 2468044"/>
                <a:gd name="connsiteX789" fmla="*/ 41910 w 1906136"/>
                <a:gd name="connsiteY789" fmla="*/ 561907 h 2468044"/>
                <a:gd name="connsiteX790" fmla="*/ 37874 w 1906136"/>
                <a:gd name="connsiteY790" fmla="*/ 561907 h 2468044"/>
                <a:gd name="connsiteX791" fmla="*/ 37874 w 1906136"/>
                <a:gd name="connsiteY791" fmla="*/ 565011 h 2468044"/>
                <a:gd name="connsiteX792" fmla="*/ 48430 w 1906136"/>
                <a:gd name="connsiteY792" fmla="*/ 561907 h 2468044"/>
                <a:gd name="connsiteX793" fmla="*/ 65194 w 1906136"/>
                <a:gd name="connsiteY793" fmla="*/ 554456 h 2468044"/>
                <a:gd name="connsiteX794" fmla="*/ 86925 w 1906136"/>
                <a:gd name="connsiteY794" fmla="*/ 543901 h 2468044"/>
                <a:gd name="connsiteX795" fmla="*/ 108656 w 1906136"/>
                <a:gd name="connsiteY795" fmla="*/ 530241 h 2468044"/>
                <a:gd name="connsiteX796" fmla="*/ 130387 w 1906136"/>
                <a:gd name="connsiteY796" fmla="*/ 515650 h 2468044"/>
                <a:gd name="connsiteX797" fmla="*/ 152118 w 1906136"/>
                <a:gd name="connsiteY797" fmla="*/ 502922 h 2468044"/>
                <a:gd name="connsiteX798" fmla="*/ 169814 w 1906136"/>
                <a:gd name="connsiteY798" fmla="*/ 492367 h 2468044"/>
                <a:gd name="connsiteX799" fmla="*/ 184405 w 1906136"/>
                <a:gd name="connsiteY799" fmla="*/ 480881 h 2468044"/>
                <a:gd name="connsiteX800" fmla="*/ 191545 w 1906136"/>
                <a:gd name="connsiteY800" fmla="*/ 473430 h 2468044"/>
                <a:gd name="connsiteX801" fmla="*/ 203032 w 1906136"/>
                <a:gd name="connsiteY801" fmla="*/ 456666 h 2468044"/>
                <a:gd name="connsiteX802" fmla="*/ 210172 w 1906136"/>
                <a:gd name="connsiteY802" fmla="*/ 438660 h 2468044"/>
                <a:gd name="connsiteX803" fmla="*/ 215449 w 1906136"/>
                <a:gd name="connsiteY803" fmla="*/ 421896 h 2468044"/>
                <a:gd name="connsiteX804" fmla="*/ 222590 w 1906136"/>
                <a:gd name="connsiteY804" fmla="*/ 406063 h 2468044"/>
                <a:gd name="connsiteX805" fmla="*/ 234076 w 1906136"/>
                <a:gd name="connsiteY805" fmla="*/ 391472 h 2468044"/>
                <a:gd name="connsiteX806" fmla="*/ 247736 w 1906136"/>
                <a:gd name="connsiteY806" fmla="*/ 379986 h 2468044"/>
                <a:gd name="connsiteX807" fmla="*/ 247736 w 1906136"/>
                <a:gd name="connsiteY807" fmla="*/ 376881 h 2468044"/>
                <a:gd name="connsiteX808" fmla="*/ 257049 w 1906136"/>
                <a:gd name="connsiteY808" fmla="*/ 376881 h 2468044"/>
                <a:gd name="connsiteX809" fmla="*/ 247736 w 1906136"/>
                <a:gd name="connsiteY809" fmla="*/ 392714 h 2468044"/>
                <a:gd name="connsiteX810" fmla="*/ 237181 w 1906136"/>
                <a:gd name="connsiteY810" fmla="*/ 407305 h 2468044"/>
                <a:gd name="connsiteX811" fmla="*/ 230040 w 1906136"/>
                <a:gd name="connsiteY811" fmla="*/ 424069 h 2468044"/>
                <a:gd name="connsiteX812" fmla="*/ 224763 w 1906136"/>
                <a:gd name="connsiteY812" fmla="*/ 440833 h 2468044"/>
                <a:gd name="connsiteX813" fmla="*/ 246494 w 1906136"/>
                <a:gd name="connsiteY813" fmla="*/ 435555 h 2468044"/>
                <a:gd name="connsiteX814" fmla="*/ 262016 w 1906136"/>
                <a:gd name="connsiteY814" fmla="*/ 426242 h 2468044"/>
                <a:gd name="connsiteX815" fmla="*/ 280643 w 1906136"/>
                <a:gd name="connsiteY815" fmla="*/ 416929 h 2468044"/>
                <a:gd name="connsiteX816" fmla="*/ 280643 w 1906136"/>
                <a:gd name="connsiteY816" fmla="*/ 392714 h 2468044"/>
                <a:gd name="connsiteX817" fmla="*/ 297407 w 1906136"/>
                <a:gd name="connsiteY817" fmla="*/ 394887 h 2468044"/>
                <a:gd name="connsiteX818" fmla="*/ 307962 w 1906136"/>
                <a:gd name="connsiteY818" fmla="*/ 400165 h 2468044"/>
                <a:gd name="connsiteX819" fmla="*/ 317276 w 1906136"/>
                <a:gd name="connsiteY819" fmla="*/ 407615 h 2468044"/>
                <a:gd name="connsiteX820" fmla="*/ 327831 w 1906136"/>
                <a:gd name="connsiteY820" fmla="*/ 413824 h 2468044"/>
                <a:gd name="connsiteX821" fmla="*/ 361048 w 1906136"/>
                <a:gd name="connsiteY821" fmla="*/ 413824 h 2468044"/>
                <a:gd name="connsiteX822" fmla="*/ 376571 w 1906136"/>
                <a:gd name="connsiteY822" fmla="*/ 422206 h 2468044"/>
                <a:gd name="connsiteX823" fmla="*/ 393335 w 1906136"/>
                <a:gd name="connsiteY823" fmla="*/ 436797 h 2468044"/>
                <a:gd name="connsiteX824" fmla="*/ 407926 w 1906136"/>
                <a:gd name="connsiteY824" fmla="*/ 449526 h 2468044"/>
                <a:gd name="connsiteX825" fmla="*/ 427794 w 1906136"/>
                <a:gd name="connsiteY825" fmla="*/ 458839 h 2468044"/>
                <a:gd name="connsiteX826" fmla="*/ 451699 w 1906136"/>
                <a:gd name="connsiteY826" fmla="*/ 464117 h 2468044"/>
                <a:gd name="connsiteX827" fmla="*/ 471567 w 1906136"/>
                <a:gd name="connsiteY827" fmla="*/ 473430 h 2468044"/>
                <a:gd name="connsiteX828" fmla="*/ 486158 w 1906136"/>
                <a:gd name="connsiteY828" fmla="*/ 486158 h 2468044"/>
                <a:gd name="connsiteX829" fmla="*/ 498576 w 1906136"/>
                <a:gd name="connsiteY829" fmla="*/ 502922 h 2468044"/>
                <a:gd name="connsiteX830" fmla="*/ 507889 w 1906136"/>
                <a:gd name="connsiteY830" fmla="*/ 519686 h 2468044"/>
                <a:gd name="connsiteX831" fmla="*/ 519376 w 1906136"/>
                <a:gd name="connsiteY831" fmla="*/ 536450 h 2468044"/>
                <a:gd name="connsiteX832" fmla="*/ 531794 w 1906136"/>
                <a:gd name="connsiteY832" fmla="*/ 550110 h 2468044"/>
                <a:gd name="connsiteX833" fmla="*/ 527758 w 1906136"/>
                <a:gd name="connsiteY833" fmla="*/ 574325 h 2468044"/>
                <a:gd name="connsiteX834" fmla="*/ 539244 w 1906136"/>
                <a:gd name="connsiteY834" fmla="*/ 579602 h 2468044"/>
                <a:gd name="connsiteX835" fmla="*/ 546385 w 1906136"/>
                <a:gd name="connsiteY835" fmla="*/ 588916 h 2468044"/>
                <a:gd name="connsiteX836" fmla="*/ 551662 w 1906136"/>
                <a:gd name="connsiteY836" fmla="*/ 600402 h 2468044"/>
                <a:gd name="connsiteX837" fmla="*/ 554767 w 1906136"/>
                <a:gd name="connsiteY837" fmla="*/ 613131 h 2468044"/>
                <a:gd name="connsiteX838" fmla="*/ 560976 w 1906136"/>
                <a:gd name="connsiteY838" fmla="*/ 625859 h 2468044"/>
                <a:gd name="connsiteX839" fmla="*/ 568116 w 1906136"/>
                <a:gd name="connsiteY839" fmla="*/ 637345 h 2468044"/>
                <a:gd name="connsiteX840" fmla="*/ 576498 w 1906136"/>
                <a:gd name="connsiteY840" fmla="*/ 645727 h 2468044"/>
                <a:gd name="connsiteX841" fmla="*/ 591089 w 1906136"/>
                <a:gd name="connsiteY841" fmla="*/ 651005 h 2468044"/>
                <a:gd name="connsiteX842" fmla="*/ 587984 w 1906136"/>
                <a:gd name="connsiteY842" fmla="*/ 653178 h 2468044"/>
                <a:gd name="connsiteX843" fmla="*/ 583949 w 1906136"/>
                <a:gd name="connsiteY843" fmla="*/ 653178 h 2468044"/>
                <a:gd name="connsiteX844" fmla="*/ 580844 w 1906136"/>
                <a:gd name="connsiteY844" fmla="*/ 653178 h 2468044"/>
                <a:gd name="connsiteX845" fmla="*/ 576808 w 1906136"/>
                <a:gd name="connsiteY845" fmla="*/ 651005 h 2468044"/>
                <a:gd name="connsiteX846" fmla="*/ 568426 w 1906136"/>
                <a:gd name="connsiteY846" fmla="*/ 651005 h 2468044"/>
                <a:gd name="connsiteX847" fmla="*/ 576808 w 1906136"/>
                <a:gd name="connsiteY847" fmla="*/ 669942 h 2468044"/>
                <a:gd name="connsiteX848" fmla="*/ 588295 w 1906136"/>
                <a:gd name="connsiteY848" fmla="*/ 686706 h 2468044"/>
                <a:gd name="connsiteX849" fmla="*/ 600713 w 1906136"/>
                <a:gd name="connsiteY849" fmla="*/ 702539 h 2468044"/>
                <a:gd name="connsiteX850" fmla="*/ 604748 w 1906136"/>
                <a:gd name="connsiteY850" fmla="*/ 704712 h 2468044"/>
                <a:gd name="connsiteX851" fmla="*/ 605680 w 1906136"/>
                <a:gd name="connsiteY851" fmla="*/ 704712 h 2468044"/>
                <a:gd name="connsiteX852" fmla="*/ 605680 w 1906136"/>
                <a:gd name="connsiteY852" fmla="*/ 706885 h 2468044"/>
                <a:gd name="connsiteX853" fmla="*/ 607853 w 1906136"/>
                <a:gd name="connsiteY853" fmla="*/ 706885 h 2468044"/>
                <a:gd name="connsiteX854" fmla="*/ 613130 w 1906136"/>
                <a:gd name="connsiteY854" fmla="*/ 706885 h 2468044"/>
                <a:gd name="connsiteX855" fmla="*/ 619339 w 1906136"/>
                <a:gd name="connsiteY855" fmla="*/ 706885 h 2468044"/>
                <a:gd name="connsiteX856" fmla="*/ 620271 w 1906136"/>
                <a:gd name="connsiteY856" fmla="*/ 704712 h 2468044"/>
                <a:gd name="connsiteX857" fmla="*/ 624306 w 1906136"/>
                <a:gd name="connsiteY857" fmla="*/ 702539 h 2468044"/>
                <a:gd name="connsiteX858" fmla="*/ 626480 w 1906136"/>
                <a:gd name="connsiteY858" fmla="*/ 701608 h 2468044"/>
                <a:gd name="connsiteX859" fmla="*/ 626480 w 1906136"/>
                <a:gd name="connsiteY859" fmla="*/ 699434 h 2468044"/>
                <a:gd name="connsiteX860" fmla="*/ 627411 w 1906136"/>
                <a:gd name="connsiteY860" fmla="*/ 699434 h 2468044"/>
                <a:gd name="connsiteX861" fmla="*/ 627411 w 1906136"/>
                <a:gd name="connsiteY861" fmla="*/ 695088 h 2468044"/>
                <a:gd name="connsiteX862" fmla="*/ 622133 w 1906136"/>
                <a:gd name="connsiteY862" fmla="*/ 687638 h 2468044"/>
                <a:gd name="connsiteX863" fmla="*/ 614993 w 1906136"/>
                <a:gd name="connsiteY863" fmla="*/ 682360 h 2468044"/>
                <a:gd name="connsiteX864" fmla="*/ 607853 w 1906136"/>
                <a:gd name="connsiteY864" fmla="*/ 677082 h 2468044"/>
                <a:gd name="connsiteX865" fmla="*/ 600713 w 1906136"/>
                <a:gd name="connsiteY865" fmla="*/ 671805 h 2468044"/>
                <a:gd name="connsiteX866" fmla="*/ 600713 w 1906136"/>
                <a:gd name="connsiteY866" fmla="*/ 662491 h 2468044"/>
                <a:gd name="connsiteX867" fmla="*/ 617477 w 1906136"/>
                <a:gd name="connsiteY867" fmla="*/ 673047 h 2468044"/>
                <a:gd name="connsiteX868" fmla="*/ 632068 w 1906136"/>
                <a:gd name="connsiteY868" fmla="*/ 687638 h 2468044"/>
                <a:gd name="connsiteX869" fmla="*/ 644485 w 1906136"/>
                <a:gd name="connsiteY869" fmla="*/ 702228 h 2468044"/>
                <a:gd name="connsiteX870" fmla="*/ 644485 w 1906136"/>
                <a:gd name="connsiteY870" fmla="*/ 723339 h 2468044"/>
                <a:gd name="connsiteX871" fmla="*/ 642312 w 1906136"/>
                <a:gd name="connsiteY871" fmla="*/ 718992 h 2468044"/>
                <a:gd name="connsiteX872" fmla="*/ 639208 w 1906136"/>
                <a:gd name="connsiteY872" fmla="*/ 715888 h 2468044"/>
                <a:gd name="connsiteX873" fmla="*/ 637035 w 1906136"/>
                <a:gd name="connsiteY873" fmla="*/ 711542 h 2468044"/>
                <a:gd name="connsiteX874" fmla="*/ 633930 w 1906136"/>
                <a:gd name="connsiteY874" fmla="*/ 709369 h 2468044"/>
                <a:gd name="connsiteX875" fmla="*/ 629894 w 1906136"/>
                <a:gd name="connsiteY875" fmla="*/ 709369 h 2468044"/>
                <a:gd name="connsiteX876" fmla="*/ 626790 w 1906136"/>
                <a:gd name="connsiteY876" fmla="*/ 709369 h 2468044"/>
                <a:gd name="connsiteX877" fmla="*/ 622754 w 1906136"/>
                <a:gd name="connsiteY877" fmla="*/ 709369 h 2468044"/>
                <a:gd name="connsiteX878" fmla="*/ 617477 w 1906136"/>
                <a:gd name="connsiteY878" fmla="*/ 711542 h 2468044"/>
                <a:gd name="connsiteX879" fmla="*/ 615304 w 1906136"/>
                <a:gd name="connsiteY879" fmla="*/ 723028 h 2468044"/>
                <a:gd name="connsiteX880" fmla="*/ 613130 w 1906136"/>
                <a:gd name="connsiteY880" fmla="*/ 741034 h 2468044"/>
                <a:gd name="connsiteX881" fmla="*/ 613130 w 1906136"/>
                <a:gd name="connsiteY881" fmla="*/ 763076 h 2468044"/>
                <a:gd name="connsiteX882" fmla="*/ 613130 w 1906136"/>
                <a:gd name="connsiteY882" fmla="*/ 787291 h 2468044"/>
                <a:gd name="connsiteX883" fmla="*/ 613130 w 1906136"/>
                <a:gd name="connsiteY883" fmla="*/ 807159 h 2468044"/>
                <a:gd name="connsiteX884" fmla="*/ 612199 w 1906136"/>
                <a:gd name="connsiteY884" fmla="*/ 821750 h 2468044"/>
                <a:gd name="connsiteX885" fmla="*/ 612199 w 1906136"/>
                <a:gd name="connsiteY885" fmla="*/ 829201 h 2468044"/>
                <a:gd name="connsiteX886" fmla="*/ 613130 w 1906136"/>
                <a:gd name="connsiteY886" fmla="*/ 859624 h 2468044"/>
                <a:gd name="connsiteX887" fmla="*/ 617166 w 1906136"/>
                <a:gd name="connsiteY887" fmla="*/ 881666 h 2468044"/>
                <a:gd name="connsiteX888" fmla="*/ 622444 w 1906136"/>
                <a:gd name="connsiteY888" fmla="*/ 898430 h 2468044"/>
                <a:gd name="connsiteX889" fmla="*/ 629584 w 1906136"/>
                <a:gd name="connsiteY889" fmla="*/ 911158 h 2468044"/>
                <a:gd name="connsiteX890" fmla="*/ 641071 w 1906136"/>
                <a:gd name="connsiteY890" fmla="*/ 922645 h 2468044"/>
                <a:gd name="connsiteX891" fmla="*/ 651626 w 1906136"/>
                <a:gd name="connsiteY891" fmla="*/ 935373 h 2468044"/>
                <a:gd name="connsiteX892" fmla="*/ 664043 w 1906136"/>
                <a:gd name="connsiteY892" fmla="*/ 953379 h 2468044"/>
                <a:gd name="connsiteX893" fmla="*/ 669321 w 1906136"/>
                <a:gd name="connsiteY893" fmla="*/ 964866 h 2468044"/>
                <a:gd name="connsiteX894" fmla="*/ 673357 w 1906136"/>
                <a:gd name="connsiteY894" fmla="*/ 975421 h 2468044"/>
                <a:gd name="connsiteX895" fmla="*/ 680497 w 1906136"/>
                <a:gd name="connsiteY895" fmla="*/ 984734 h 2468044"/>
                <a:gd name="connsiteX896" fmla="*/ 691052 w 1906136"/>
                <a:gd name="connsiteY896" fmla="*/ 992185 h 2468044"/>
                <a:gd name="connsiteX897" fmla="*/ 704712 w 1906136"/>
                <a:gd name="connsiteY897" fmla="*/ 997462 h 2468044"/>
                <a:gd name="connsiteX898" fmla="*/ 715267 w 1906136"/>
                <a:gd name="connsiteY898" fmla="*/ 1003671 h 2468044"/>
                <a:gd name="connsiteX899" fmla="*/ 724580 w 1906136"/>
                <a:gd name="connsiteY899" fmla="*/ 1014226 h 2468044"/>
                <a:gd name="connsiteX900" fmla="*/ 731721 w 1906136"/>
                <a:gd name="connsiteY900" fmla="*/ 1026955 h 2468044"/>
                <a:gd name="connsiteX901" fmla="*/ 734825 w 1906136"/>
                <a:gd name="connsiteY901" fmla="*/ 1041546 h 2468044"/>
                <a:gd name="connsiteX902" fmla="*/ 741034 w 1906136"/>
                <a:gd name="connsiteY902" fmla="*/ 1054274 h 2468044"/>
                <a:gd name="connsiteX903" fmla="*/ 747243 w 1906136"/>
                <a:gd name="connsiteY903" fmla="*/ 1065761 h 2468044"/>
                <a:gd name="connsiteX904" fmla="*/ 760903 w 1906136"/>
                <a:gd name="connsiteY904" fmla="*/ 1075074 h 2468044"/>
                <a:gd name="connsiteX905" fmla="*/ 758729 w 1906136"/>
                <a:gd name="connsiteY905" fmla="*/ 1076005 h 2468044"/>
                <a:gd name="connsiteX906" fmla="*/ 758729 w 1906136"/>
                <a:gd name="connsiteY906" fmla="*/ 1078178 h 2468044"/>
                <a:gd name="connsiteX907" fmla="*/ 758729 w 1906136"/>
                <a:gd name="connsiteY907" fmla="*/ 1080351 h 2468044"/>
                <a:gd name="connsiteX908" fmla="*/ 756556 w 1906136"/>
                <a:gd name="connsiteY908" fmla="*/ 1080351 h 2468044"/>
                <a:gd name="connsiteX909" fmla="*/ 754383 w 1906136"/>
                <a:gd name="connsiteY909" fmla="*/ 1080351 h 2468044"/>
                <a:gd name="connsiteX910" fmla="*/ 751279 w 1906136"/>
                <a:gd name="connsiteY910" fmla="*/ 1082525 h 2468044"/>
                <a:gd name="connsiteX911" fmla="*/ 760592 w 1906136"/>
                <a:gd name="connsiteY911" fmla="*/ 1095253 h 2468044"/>
                <a:gd name="connsiteX912" fmla="*/ 771147 w 1906136"/>
                <a:gd name="connsiteY912" fmla="*/ 1102704 h 2468044"/>
                <a:gd name="connsiteX913" fmla="*/ 782634 w 1906136"/>
                <a:gd name="connsiteY913" fmla="*/ 1110154 h 2468044"/>
                <a:gd name="connsiteX914" fmla="*/ 791016 w 1906136"/>
                <a:gd name="connsiteY914" fmla="*/ 1119468 h 2468044"/>
                <a:gd name="connsiteX915" fmla="*/ 797225 w 1906136"/>
                <a:gd name="connsiteY915" fmla="*/ 1130023 h 2468044"/>
                <a:gd name="connsiteX916" fmla="*/ 800329 w 1906136"/>
                <a:gd name="connsiteY916" fmla="*/ 1142751 h 2468044"/>
                <a:gd name="connsiteX917" fmla="*/ 804365 w 1906136"/>
                <a:gd name="connsiteY917" fmla="*/ 1155479 h 2468044"/>
                <a:gd name="connsiteX918" fmla="*/ 809643 w 1906136"/>
                <a:gd name="connsiteY918" fmla="*/ 1155479 h 2468044"/>
                <a:gd name="connsiteX919" fmla="*/ 811816 w 1906136"/>
                <a:gd name="connsiteY919" fmla="*/ 1155479 h 2468044"/>
                <a:gd name="connsiteX920" fmla="*/ 812747 w 1906136"/>
                <a:gd name="connsiteY920" fmla="*/ 1155479 h 2468044"/>
                <a:gd name="connsiteX921" fmla="*/ 814920 w 1906136"/>
                <a:gd name="connsiteY921" fmla="*/ 1155479 h 2468044"/>
                <a:gd name="connsiteX922" fmla="*/ 817093 w 1906136"/>
                <a:gd name="connsiteY922" fmla="*/ 1155479 h 2468044"/>
                <a:gd name="connsiteX923" fmla="*/ 820198 w 1906136"/>
                <a:gd name="connsiteY923" fmla="*/ 1155479 h 2468044"/>
                <a:gd name="connsiteX924" fmla="*/ 822371 w 1906136"/>
                <a:gd name="connsiteY924" fmla="*/ 1159826 h 2468044"/>
                <a:gd name="connsiteX925" fmla="*/ 822371 w 1906136"/>
                <a:gd name="connsiteY925" fmla="*/ 1162930 h 2468044"/>
                <a:gd name="connsiteX926" fmla="*/ 824544 w 1906136"/>
                <a:gd name="connsiteY926" fmla="*/ 1169139 h 2468044"/>
                <a:gd name="connsiteX927" fmla="*/ 824544 w 1906136"/>
                <a:gd name="connsiteY927" fmla="*/ 1176590 h 2468044"/>
                <a:gd name="connsiteX928" fmla="*/ 827648 w 1906136"/>
                <a:gd name="connsiteY928" fmla="*/ 1174417 h 2468044"/>
                <a:gd name="connsiteX929" fmla="*/ 827648 w 1906136"/>
                <a:gd name="connsiteY929" fmla="*/ 1172243 h 2468044"/>
                <a:gd name="connsiteX930" fmla="*/ 829822 w 1906136"/>
                <a:gd name="connsiteY930" fmla="*/ 1170070 h 2468044"/>
                <a:gd name="connsiteX931" fmla="*/ 831995 w 1906136"/>
                <a:gd name="connsiteY931" fmla="*/ 1166966 h 2468044"/>
                <a:gd name="connsiteX932" fmla="*/ 831995 w 1906136"/>
                <a:gd name="connsiteY932" fmla="*/ 1159515 h 2468044"/>
                <a:gd name="connsiteX933" fmla="*/ 827959 w 1906136"/>
                <a:gd name="connsiteY933" fmla="*/ 1148960 h 2468044"/>
                <a:gd name="connsiteX934" fmla="*/ 819577 w 1906136"/>
                <a:gd name="connsiteY934" fmla="*/ 1132196 h 2468044"/>
                <a:gd name="connsiteX935" fmla="*/ 808090 w 1906136"/>
                <a:gd name="connsiteY935" fmla="*/ 1113259 h 2468044"/>
                <a:gd name="connsiteX936" fmla="*/ 797535 w 1906136"/>
                <a:gd name="connsiteY936" fmla="*/ 1095253 h 2468044"/>
                <a:gd name="connsiteX937" fmla="*/ 783876 w 1906136"/>
                <a:gd name="connsiteY937" fmla="*/ 1076316 h 2468044"/>
                <a:gd name="connsiteX938" fmla="*/ 773320 w 1906136"/>
                <a:gd name="connsiteY938" fmla="*/ 1061725 h 2468044"/>
                <a:gd name="connsiteX939" fmla="*/ 761834 w 1906136"/>
                <a:gd name="connsiteY939" fmla="*/ 1048996 h 2468044"/>
                <a:gd name="connsiteX940" fmla="*/ 756556 w 1906136"/>
                <a:gd name="connsiteY940" fmla="*/ 1041546 h 2468044"/>
                <a:gd name="connsiteX941" fmla="*/ 756556 w 1906136"/>
                <a:gd name="connsiteY941" fmla="*/ 1021677 h 2468044"/>
                <a:gd name="connsiteX942" fmla="*/ 760592 w 1906136"/>
                <a:gd name="connsiteY942" fmla="*/ 1023850 h 2468044"/>
                <a:gd name="connsiteX943" fmla="*/ 763697 w 1906136"/>
                <a:gd name="connsiteY943" fmla="*/ 1026955 h 2468044"/>
                <a:gd name="connsiteX944" fmla="*/ 767732 w 1906136"/>
                <a:gd name="connsiteY944" fmla="*/ 1031301 h 2468044"/>
                <a:gd name="connsiteX945" fmla="*/ 776114 w 1906136"/>
                <a:gd name="connsiteY945" fmla="*/ 1036578 h 2468044"/>
                <a:gd name="connsiteX946" fmla="*/ 782323 w 1906136"/>
                <a:gd name="connsiteY946" fmla="*/ 1048065 h 2468044"/>
                <a:gd name="connsiteX947" fmla="*/ 785428 w 1906136"/>
                <a:gd name="connsiteY947" fmla="*/ 1058620 h 2468044"/>
                <a:gd name="connsiteX948" fmla="*/ 789464 w 1906136"/>
                <a:gd name="connsiteY948" fmla="*/ 1069175 h 2468044"/>
                <a:gd name="connsiteX949" fmla="*/ 796604 w 1906136"/>
                <a:gd name="connsiteY949" fmla="*/ 1078489 h 2468044"/>
                <a:gd name="connsiteX950" fmla="*/ 797535 w 1906136"/>
                <a:gd name="connsiteY950" fmla="*/ 1080662 h 2468044"/>
                <a:gd name="connsiteX951" fmla="*/ 803744 w 1906136"/>
                <a:gd name="connsiteY951" fmla="*/ 1082835 h 2468044"/>
                <a:gd name="connsiteX952" fmla="*/ 806849 w 1906136"/>
                <a:gd name="connsiteY952" fmla="*/ 1082835 h 2468044"/>
                <a:gd name="connsiteX953" fmla="*/ 812126 w 1906136"/>
                <a:gd name="connsiteY953" fmla="*/ 1083766 h 2468044"/>
                <a:gd name="connsiteX954" fmla="*/ 816162 w 1906136"/>
                <a:gd name="connsiteY954" fmla="*/ 1085939 h 2468044"/>
                <a:gd name="connsiteX955" fmla="*/ 833857 w 1906136"/>
                <a:gd name="connsiteY955" fmla="*/ 1112327 h 2468044"/>
                <a:gd name="connsiteX956" fmla="*/ 852484 w 1906136"/>
                <a:gd name="connsiteY956" fmla="*/ 1137473 h 2468044"/>
                <a:gd name="connsiteX957" fmla="*/ 870179 w 1906136"/>
                <a:gd name="connsiteY957" fmla="*/ 1161688 h 2468044"/>
                <a:gd name="connsiteX958" fmla="*/ 890048 w 1906136"/>
                <a:gd name="connsiteY958" fmla="*/ 1183730 h 2468044"/>
                <a:gd name="connsiteX959" fmla="*/ 882908 w 1906136"/>
                <a:gd name="connsiteY959" fmla="*/ 1206703 h 2468044"/>
                <a:gd name="connsiteX960" fmla="*/ 886944 w 1906136"/>
                <a:gd name="connsiteY960" fmla="*/ 1211049 h 2468044"/>
                <a:gd name="connsiteX961" fmla="*/ 894084 w 1906136"/>
                <a:gd name="connsiteY961" fmla="*/ 1218500 h 2468044"/>
                <a:gd name="connsiteX962" fmla="*/ 901224 w 1906136"/>
                <a:gd name="connsiteY962" fmla="*/ 1227813 h 2468044"/>
                <a:gd name="connsiteX963" fmla="*/ 910537 w 1906136"/>
                <a:gd name="connsiteY963" fmla="*/ 1235264 h 2468044"/>
                <a:gd name="connsiteX964" fmla="*/ 915815 w 1906136"/>
                <a:gd name="connsiteY964" fmla="*/ 1242715 h 2468044"/>
                <a:gd name="connsiteX965" fmla="*/ 918919 w 1906136"/>
                <a:gd name="connsiteY965" fmla="*/ 1243646 h 2468044"/>
                <a:gd name="connsiteX966" fmla="*/ 939719 w 1906136"/>
                <a:gd name="connsiteY966" fmla="*/ 1240541 h 2468044"/>
                <a:gd name="connsiteX967" fmla="*/ 940651 w 1906136"/>
                <a:gd name="connsiteY967" fmla="*/ 1242715 h 2468044"/>
                <a:gd name="connsiteX968" fmla="*/ 944686 w 1906136"/>
                <a:gd name="connsiteY968" fmla="*/ 1245819 h 2468044"/>
                <a:gd name="connsiteX969" fmla="*/ 947791 w 1906136"/>
                <a:gd name="connsiteY969" fmla="*/ 1250165 h 2468044"/>
                <a:gd name="connsiteX970" fmla="*/ 951827 w 1906136"/>
                <a:gd name="connsiteY970" fmla="*/ 1253270 h 2468044"/>
                <a:gd name="connsiteX971" fmla="*/ 954931 w 1906136"/>
                <a:gd name="connsiteY971" fmla="*/ 1256374 h 2468044"/>
                <a:gd name="connsiteX972" fmla="*/ 978835 w 1906136"/>
                <a:gd name="connsiteY972" fmla="*/ 1260720 h 2468044"/>
                <a:gd name="connsiteX973" fmla="*/ 981940 w 1906136"/>
                <a:gd name="connsiteY973" fmla="*/ 1262894 h 2468044"/>
                <a:gd name="connsiteX974" fmla="*/ 985976 w 1906136"/>
                <a:gd name="connsiteY974" fmla="*/ 1265998 h 2468044"/>
                <a:gd name="connsiteX975" fmla="*/ 991253 w 1906136"/>
                <a:gd name="connsiteY975" fmla="*/ 1271276 h 2468044"/>
                <a:gd name="connsiteX976" fmla="*/ 995289 w 1906136"/>
                <a:gd name="connsiteY976" fmla="*/ 1275622 h 2468044"/>
                <a:gd name="connsiteX977" fmla="*/ 998394 w 1906136"/>
                <a:gd name="connsiteY977" fmla="*/ 1278726 h 2468044"/>
                <a:gd name="connsiteX978" fmla="*/ 1002429 w 1906136"/>
                <a:gd name="connsiteY978" fmla="*/ 1280899 h 2468044"/>
                <a:gd name="connsiteX979" fmla="*/ 1010811 w 1906136"/>
                <a:gd name="connsiteY979" fmla="*/ 1283073 h 2468044"/>
                <a:gd name="connsiteX980" fmla="*/ 1017952 w 1906136"/>
                <a:gd name="connsiteY980" fmla="*/ 1278726 h 2468044"/>
                <a:gd name="connsiteX981" fmla="*/ 1024161 w 1906136"/>
                <a:gd name="connsiteY981" fmla="*/ 1275622 h 2468044"/>
                <a:gd name="connsiteX982" fmla="*/ 1031301 w 1906136"/>
                <a:gd name="connsiteY982" fmla="*/ 1271276 h 2468044"/>
                <a:gd name="connsiteX983" fmla="*/ 1041856 w 1906136"/>
                <a:gd name="connsiteY983" fmla="*/ 1271276 h 2468044"/>
                <a:gd name="connsiteX984" fmla="*/ 1058620 w 1906136"/>
                <a:gd name="connsiteY984" fmla="*/ 1278726 h 2468044"/>
                <a:gd name="connsiteX985" fmla="*/ 1069175 w 1906136"/>
                <a:gd name="connsiteY985" fmla="*/ 1288040 h 2468044"/>
                <a:gd name="connsiteX986" fmla="*/ 1081593 w 1906136"/>
                <a:gd name="connsiteY986" fmla="*/ 1297353 h 2468044"/>
                <a:gd name="connsiteX987" fmla="*/ 1102393 w 1906136"/>
                <a:gd name="connsiteY987" fmla="*/ 1304804 h 2468044"/>
                <a:gd name="connsiteX988" fmla="*/ 1117915 w 1906136"/>
                <a:gd name="connsiteY988" fmla="*/ 1310081 h 2468044"/>
                <a:gd name="connsiteX989" fmla="*/ 1132506 w 1906136"/>
                <a:gd name="connsiteY989" fmla="*/ 1314428 h 2468044"/>
                <a:gd name="connsiteX990" fmla="*/ 1141820 w 1906136"/>
                <a:gd name="connsiteY990" fmla="*/ 1317532 h 2468044"/>
                <a:gd name="connsiteX991" fmla="*/ 1151133 w 1906136"/>
                <a:gd name="connsiteY991" fmla="*/ 1326845 h 2468044"/>
                <a:gd name="connsiteX992" fmla="*/ 1159515 w 1906136"/>
                <a:gd name="connsiteY992" fmla="*/ 1339574 h 2468044"/>
                <a:gd name="connsiteX993" fmla="*/ 1168828 w 1906136"/>
                <a:gd name="connsiteY993" fmla="*/ 1361615 h 2468044"/>
                <a:gd name="connsiteX994" fmla="*/ 1180315 w 1906136"/>
                <a:gd name="connsiteY994" fmla="*/ 1364720 h 2468044"/>
                <a:gd name="connsiteX995" fmla="*/ 1195837 w 1906136"/>
                <a:gd name="connsiteY995" fmla="*/ 1372171 h 2468044"/>
                <a:gd name="connsiteX996" fmla="*/ 1212601 w 1906136"/>
                <a:gd name="connsiteY996" fmla="*/ 1381484 h 2468044"/>
                <a:gd name="connsiteX997" fmla="*/ 1229365 w 1906136"/>
                <a:gd name="connsiteY997" fmla="*/ 1390797 h 2468044"/>
                <a:gd name="connsiteX998" fmla="*/ 1238679 w 1906136"/>
                <a:gd name="connsiteY998" fmla="*/ 1398248 h 2468044"/>
                <a:gd name="connsiteX999" fmla="*/ 1241783 w 1906136"/>
                <a:gd name="connsiteY999" fmla="*/ 1396075 h 2468044"/>
                <a:gd name="connsiteX1000" fmla="*/ 1243956 w 1906136"/>
                <a:gd name="connsiteY1000" fmla="*/ 1396075 h 2468044"/>
                <a:gd name="connsiteX1001" fmla="*/ 1244888 w 1906136"/>
                <a:gd name="connsiteY1001" fmla="*/ 1396075 h 2468044"/>
                <a:gd name="connsiteX1002" fmla="*/ 1247061 w 1906136"/>
                <a:gd name="connsiteY1002" fmla="*/ 1393902 h 2468044"/>
                <a:gd name="connsiteX1003" fmla="*/ 1249234 w 1906136"/>
                <a:gd name="connsiteY1003" fmla="*/ 1393902 h 2468044"/>
                <a:gd name="connsiteX1004" fmla="*/ 1251407 w 1906136"/>
                <a:gd name="connsiteY1004" fmla="*/ 1390797 h 2468044"/>
                <a:gd name="connsiteX1005" fmla="*/ 1251407 w 1906136"/>
                <a:gd name="connsiteY1005" fmla="*/ 1388624 h 2468044"/>
                <a:gd name="connsiteX1006" fmla="*/ 1251407 w 1906136"/>
                <a:gd name="connsiteY1006" fmla="*/ 1385520 h 2468044"/>
                <a:gd name="connsiteX1007" fmla="*/ 1249234 w 1906136"/>
                <a:gd name="connsiteY1007" fmla="*/ 1381173 h 2468044"/>
                <a:gd name="connsiteX1008" fmla="*/ 1252338 w 1906136"/>
                <a:gd name="connsiteY1008" fmla="*/ 1379000 h 2468044"/>
                <a:gd name="connsiteX1009" fmla="*/ 1254511 w 1906136"/>
                <a:gd name="connsiteY1009" fmla="*/ 1378069 h 2468044"/>
                <a:gd name="connsiteX1010" fmla="*/ 1256684 w 1906136"/>
                <a:gd name="connsiteY1010" fmla="*/ 1375896 h 2468044"/>
                <a:gd name="connsiteX1011" fmla="*/ 1258858 w 1906136"/>
                <a:gd name="connsiteY1011" fmla="*/ 1373723 h 2468044"/>
                <a:gd name="connsiteX1012" fmla="*/ 1265998 w 1906136"/>
                <a:gd name="connsiteY1012" fmla="*/ 1373723 h 2468044"/>
                <a:gd name="connsiteX1013" fmla="*/ 1273138 w 1906136"/>
                <a:gd name="connsiteY1013" fmla="*/ 1385209 h 2468044"/>
                <a:gd name="connsiteX1014" fmla="*/ 1280278 w 1906136"/>
                <a:gd name="connsiteY1014" fmla="*/ 1395764 h 2468044"/>
                <a:gd name="connsiteX1015" fmla="*/ 1285556 w 1906136"/>
                <a:gd name="connsiteY1015" fmla="*/ 1405078 h 2468044"/>
                <a:gd name="connsiteX1016" fmla="*/ 1287729 w 1906136"/>
                <a:gd name="connsiteY1016" fmla="*/ 1419669 h 2468044"/>
                <a:gd name="connsiteX1017" fmla="*/ 1287729 w 1906136"/>
                <a:gd name="connsiteY1017" fmla="*/ 1434260 h 2468044"/>
                <a:gd name="connsiteX1018" fmla="*/ 1288660 w 1906136"/>
                <a:gd name="connsiteY1018" fmla="*/ 1444815 h 2468044"/>
                <a:gd name="connsiteX1019" fmla="*/ 1276243 w 1906136"/>
                <a:gd name="connsiteY1019" fmla="*/ 1459406 h 2468044"/>
                <a:gd name="connsiteX1020" fmla="*/ 1261652 w 1906136"/>
                <a:gd name="connsiteY1020" fmla="*/ 1472134 h 2468044"/>
                <a:gd name="connsiteX1021" fmla="*/ 1249234 w 1906136"/>
                <a:gd name="connsiteY1021" fmla="*/ 1485794 h 2468044"/>
                <a:gd name="connsiteX1022" fmla="*/ 1242094 w 1906136"/>
                <a:gd name="connsiteY1022" fmla="*/ 1501626 h 2468044"/>
                <a:gd name="connsiteX1023" fmla="*/ 1236816 w 1906136"/>
                <a:gd name="connsiteY1023" fmla="*/ 1518390 h 2468044"/>
                <a:gd name="connsiteX1024" fmla="*/ 1229676 w 1906136"/>
                <a:gd name="connsiteY1024" fmla="*/ 1535155 h 2468044"/>
                <a:gd name="connsiteX1025" fmla="*/ 1234953 w 1906136"/>
                <a:gd name="connsiteY1025" fmla="*/ 1537328 h 2468044"/>
                <a:gd name="connsiteX1026" fmla="*/ 1240231 w 1906136"/>
                <a:gd name="connsiteY1026" fmla="*/ 1537328 h 2468044"/>
                <a:gd name="connsiteX1027" fmla="*/ 1245508 w 1906136"/>
                <a:gd name="connsiteY1027" fmla="*/ 1538259 h 2468044"/>
                <a:gd name="connsiteX1028" fmla="*/ 1254822 w 1906136"/>
                <a:gd name="connsiteY1028" fmla="*/ 1538259 h 2468044"/>
                <a:gd name="connsiteX1029" fmla="*/ 1254822 w 1906136"/>
                <a:gd name="connsiteY1029" fmla="*/ 1542605 h 2468044"/>
                <a:gd name="connsiteX1030" fmla="*/ 1245508 w 1906136"/>
                <a:gd name="connsiteY1030" fmla="*/ 1547883 h 2468044"/>
                <a:gd name="connsiteX1031" fmla="*/ 1239300 w 1906136"/>
                <a:gd name="connsiteY1031" fmla="*/ 1553160 h 2468044"/>
                <a:gd name="connsiteX1032" fmla="*/ 1229986 w 1906136"/>
                <a:gd name="connsiteY1032" fmla="*/ 1558438 h 2468044"/>
                <a:gd name="connsiteX1033" fmla="*/ 1229986 w 1906136"/>
                <a:gd name="connsiteY1033" fmla="*/ 1565889 h 2468044"/>
                <a:gd name="connsiteX1034" fmla="*/ 1229986 w 1906136"/>
                <a:gd name="connsiteY1034" fmla="*/ 1573339 h 2468044"/>
                <a:gd name="connsiteX1035" fmla="*/ 1229986 w 1906136"/>
                <a:gd name="connsiteY1035" fmla="*/ 1579548 h 2468044"/>
                <a:gd name="connsiteX1036" fmla="*/ 1225950 w 1906136"/>
                <a:gd name="connsiteY1036" fmla="*/ 1586999 h 2468044"/>
                <a:gd name="connsiteX1037" fmla="*/ 1229986 w 1906136"/>
                <a:gd name="connsiteY1037" fmla="*/ 1590104 h 2468044"/>
                <a:gd name="connsiteX1038" fmla="*/ 1233091 w 1906136"/>
                <a:gd name="connsiteY1038" fmla="*/ 1594450 h 2468044"/>
                <a:gd name="connsiteX1039" fmla="*/ 1237126 w 1906136"/>
                <a:gd name="connsiteY1039" fmla="*/ 1595381 h 2468044"/>
                <a:gd name="connsiteX1040" fmla="*/ 1242404 w 1906136"/>
                <a:gd name="connsiteY1040" fmla="*/ 1595381 h 2468044"/>
                <a:gd name="connsiteX1041" fmla="*/ 1245508 w 1906136"/>
                <a:gd name="connsiteY1041" fmla="*/ 1599727 h 2468044"/>
                <a:gd name="connsiteX1042" fmla="*/ 1256995 w 1906136"/>
                <a:gd name="connsiteY1042" fmla="*/ 1610283 h 2468044"/>
                <a:gd name="connsiteX1043" fmla="*/ 1264135 w 1906136"/>
                <a:gd name="connsiteY1043" fmla="*/ 1624873 h 2468044"/>
                <a:gd name="connsiteX1044" fmla="*/ 1269413 w 1906136"/>
                <a:gd name="connsiteY1044" fmla="*/ 1643811 h 2468044"/>
                <a:gd name="connsiteX1045" fmla="*/ 1274690 w 1906136"/>
                <a:gd name="connsiteY1045" fmla="*/ 1659643 h 2468044"/>
                <a:gd name="connsiteX1046" fmla="*/ 1281831 w 1906136"/>
                <a:gd name="connsiteY1046" fmla="*/ 1676407 h 2468044"/>
                <a:gd name="connsiteX1047" fmla="*/ 1302630 w 1906136"/>
                <a:gd name="connsiteY1047" fmla="*/ 1705900 h 2468044"/>
                <a:gd name="connsiteX1048" fmla="*/ 1327777 w 1906136"/>
                <a:gd name="connsiteY1048" fmla="*/ 1733219 h 2468044"/>
                <a:gd name="connsiteX1049" fmla="*/ 1359132 w 1906136"/>
                <a:gd name="connsiteY1049" fmla="*/ 1754329 h 2468044"/>
                <a:gd name="connsiteX1050" fmla="*/ 1395454 w 1906136"/>
                <a:gd name="connsiteY1050" fmla="*/ 1767989 h 2468044"/>
                <a:gd name="connsiteX1051" fmla="*/ 1391418 w 1906136"/>
                <a:gd name="connsiteY1051" fmla="*/ 1797481 h 2468044"/>
                <a:gd name="connsiteX1052" fmla="*/ 1389245 w 1906136"/>
                <a:gd name="connsiteY1052" fmla="*/ 1829147 h 2468044"/>
                <a:gd name="connsiteX1053" fmla="*/ 1388314 w 1906136"/>
                <a:gd name="connsiteY1053" fmla="*/ 1861744 h 2468044"/>
                <a:gd name="connsiteX1054" fmla="*/ 1382105 w 1906136"/>
                <a:gd name="connsiteY1054" fmla="*/ 1893409 h 2468044"/>
                <a:gd name="connsiteX1055" fmla="*/ 1371549 w 1906136"/>
                <a:gd name="connsiteY1055" fmla="*/ 1941839 h 2468044"/>
                <a:gd name="connsiteX1056" fmla="*/ 1362236 w 1906136"/>
                <a:gd name="connsiteY1056" fmla="*/ 1991199 h 2468044"/>
                <a:gd name="connsiteX1057" fmla="*/ 1351681 w 1906136"/>
                <a:gd name="connsiteY1057" fmla="*/ 2036214 h 2468044"/>
                <a:gd name="connsiteX1058" fmla="*/ 1339263 w 1906136"/>
                <a:gd name="connsiteY1058" fmla="*/ 2080297 h 2468044"/>
                <a:gd name="connsiteX1059" fmla="*/ 1337090 w 1906136"/>
                <a:gd name="connsiteY1059" fmla="*/ 2091784 h 2468044"/>
                <a:gd name="connsiteX1060" fmla="*/ 1340194 w 1906136"/>
                <a:gd name="connsiteY1060" fmla="*/ 2104512 h 2468044"/>
                <a:gd name="connsiteX1061" fmla="*/ 1342368 w 1906136"/>
                <a:gd name="connsiteY1061" fmla="*/ 2111963 h 2468044"/>
                <a:gd name="connsiteX1062" fmla="*/ 1329950 w 1906136"/>
                <a:gd name="connsiteY1062" fmla="*/ 2188643 h 2468044"/>
                <a:gd name="connsiteX1063" fmla="*/ 1329950 w 1906136"/>
                <a:gd name="connsiteY1063" fmla="*/ 2192989 h 2468044"/>
                <a:gd name="connsiteX1064" fmla="*/ 1337090 w 1906136"/>
                <a:gd name="connsiteY1064" fmla="*/ 2190816 h 2468044"/>
                <a:gd name="connsiteX1065" fmla="*/ 1340194 w 1906136"/>
                <a:gd name="connsiteY1065" fmla="*/ 2186470 h 2468044"/>
                <a:gd name="connsiteX1066" fmla="*/ 1342368 w 1906136"/>
                <a:gd name="connsiteY1066" fmla="*/ 2183365 h 2468044"/>
                <a:gd name="connsiteX1067" fmla="*/ 1345472 w 1906136"/>
                <a:gd name="connsiteY1067" fmla="*/ 2179019 h 2468044"/>
                <a:gd name="connsiteX1068" fmla="*/ 1349508 w 1906136"/>
                <a:gd name="connsiteY1068" fmla="*/ 2175915 h 2468044"/>
                <a:gd name="connsiteX1069" fmla="*/ 1349508 w 1906136"/>
                <a:gd name="connsiteY1069" fmla="*/ 2179019 h 2468044"/>
                <a:gd name="connsiteX1070" fmla="*/ 1354785 w 1906136"/>
                <a:gd name="connsiteY1070" fmla="*/ 2179019 h 2468044"/>
                <a:gd name="connsiteX1071" fmla="*/ 1345472 w 1906136"/>
                <a:gd name="connsiteY1071" fmla="*/ 2215652 h 2468044"/>
                <a:gd name="connsiteX1072" fmla="*/ 1334917 w 1906136"/>
                <a:gd name="connsiteY1072" fmla="*/ 2215652 h 2468044"/>
                <a:gd name="connsiteX1073" fmla="*/ 1327777 w 1906136"/>
                <a:gd name="connsiteY1073" fmla="*/ 2234589 h 2468044"/>
                <a:gd name="connsiteX1074" fmla="*/ 1320636 w 1906136"/>
                <a:gd name="connsiteY1074" fmla="*/ 2256631 h 2468044"/>
                <a:gd name="connsiteX1075" fmla="*/ 1315359 w 1906136"/>
                <a:gd name="connsiteY1075" fmla="*/ 2279604 h 2468044"/>
                <a:gd name="connsiteX1076" fmla="*/ 1313186 w 1906136"/>
                <a:gd name="connsiteY1076" fmla="*/ 2305992 h 2468044"/>
                <a:gd name="connsiteX1077" fmla="*/ 1311012 w 1906136"/>
                <a:gd name="connsiteY1077" fmla="*/ 2333311 h 2468044"/>
                <a:gd name="connsiteX1078" fmla="*/ 1315048 w 1906136"/>
                <a:gd name="connsiteY1078" fmla="*/ 2357525 h 2468044"/>
                <a:gd name="connsiteX1079" fmla="*/ 1322189 w 1906136"/>
                <a:gd name="connsiteY1079" fmla="*/ 2380499 h 2468044"/>
                <a:gd name="connsiteX1080" fmla="*/ 1332744 w 1906136"/>
                <a:gd name="connsiteY1080" fmla="*/ 2401609 h 2468044"/>
                <a:gd name="connsiteX1081" fmla="*/ 1349508 w 1906136"/>
                <a:gd name="connsiteY1081" fmla="*/ 2416200 h 2468044"/>
                <a:gd name="connsiteX1082" fmla="*/ 1369376 w 1906136"/>
                <a:gd name="connsiteY1082" fmla="*/ 2426755 h 2468044"/>
                <a:gd name="connsiteX1083" fmla="*/ 1369376 w 1906136"/>
                <a:gd name="connsiteY1083" fmla="*/ 2434206 h 2468044"/>
                <a:gd name="connsiteX1084" fmla="*/ 1354785 w 1906136"/>
                <a:gd name="connsiteY1084" fmla="*/ 2424892 h 2468044"/>
                <a:gd name="connsiteX1085" fmla="*/ 1342368 w 1906136"/>
                <a:gd name="connsiteY1085" fmla="*/ 2414337 h 2468044"/>
                <a:gd name="connsiteX1086" fmla="*/ 1329950 w 1906136"/>
                <a:gd name="connsiteY1086" fmla="*/ 2401609 h 2468044"/>
                <a:gd name="connsiteX1087" fmla="*/ 1325914 w 1906136"/>
                <a:gd name="connsiteY1087" fmla="*/ 2401609 h 2468044"/>
                <a:gd name="connsiteX1088" fmla="*/ 1332123 w 1906136"/>
                <a:gd name="connsiteY1088" fmla="*/ 2416200 h 2468044"/>
                <a:gd name="connsiteX1089" fmla="*/ 1342678 w 1906136"/>
                <a:gd name="connsiteY1089" fmla="*/ 2430791 h 2468044"/>
                <a:gd name="connsiteX1090" fmla="*/ 1357269 w 1906136"/>
                <a:gd name="connsiteY1090" fmla="*/ 2445382 h 2468044"/>
                <a:gd name="connsiteX1091" fmla="*/ 1374033 w 1906136"/>
                <a:gd name="connsiteY1091" fmla="*/ 2458110 h 2468044"/>
                <a:gd name="connsiteX1092" fmla="*/ 1389555 w 1906136"/>
                <a:gd name="connsiteY1092" fmla="*/ 2466492 h 2468044"/>
                <a:gd name="connsiteX1093" fmla="*/ 1406319 w 1906136"/>
                <a:gd name="connsiteY1093" fmla="*/ 2470838 h 2468044"/>
                <a:gd name="connsiteX1094" fmla="*/ 1423083 w 1906136"/>
                <a:gd name="connsiteY1094" fmla="*/ 2466492 h 2468044"/>
                <a:gd name="connsiteX1095" fmla="*/ 1426188 w 1906136"/>
                <a:gd name="connsiteY1095" fmla="*/ 2465561 h 2468044"/>
                <a:gd name="connsiteX1096" fmla="*/ 1428361 w 1906136"/>
                <a:gd name="connsiteY1096" fmla="*/ 2463388 h 2468044"/>
                <a:gd name="connsiteX1097" fmla="*/ 1430534 w 1906136"/>
                <a:gd name="connsiteY1097" fmla="*/ 2463388 h 2468044"/>
                <a:gd name="connsiteX1098" fmla="*/ 1430534 w 1906136"/>
                <a:gd name="connsiteY1098" fmla="*/ 2461214 h 2468044"/>
                <a:gd name="connsiteX1099" fmla="*/ 1432707 w 1906136"/>
                <a:gd name="connsiteY1099" fmla="*/ 2460283 h 2468044"/>
                <a:gd name="connsiteX1100" fmla="*/ 1435812 w 1906136"/>
                <a:gd name="connsiteY1100" fmla="*/ 2458110 h 2468044"/>
                <a:gd name="connsiteX1101" fmla="*/ 1432707 w 1906136"/>
                <a:gd name="connsiteY1101" fmla="*/ 2453764 h 2468044"/>
                <a:gd name="connsiteX1102" fmla="*/ 1432707 w 1906136"/>
                <a:gd name="connsiteY1102" fmla="*/ 2452832 h 2468044"/>
                <a:gd name="connsiteX1103" fmla="*/ 1432707 w 1906136"/>
                <a:gd name="connsiteY1103" fmla="*/ 2452832 h 2468044"/>
                <a:gd name="connsiteX1104" fmla="*/ 1432707 w 1906136"/>
                <a:gd name="connsiteY1104" fmla="*/ 2450659 h 2468044"/>
                <a:gd name="connsiteX1105" fmla="*/ 1428671 w 1906136"/>
                <a:gd name="connsiteY1105" fmla="*/ 2450659 h 2468044"/>
                <a:gd name="connsiteX1106" fmla="*/ 1427740 w 1906136"/>
                <a:gd name="connsiteY1106" fmla="*/ 2450659 h 2468044"/>
                <a:gd name="connsiteX1107" fmla="*/ 1421531 w 1906136"/>
                <a:gd name="connsiteY1107" fmla="*/ 2450659 h 2468044"/>
                <a:gd name="connsiteX1108" fmla="*/ 1420600 w 1906136"/>
                <a:gd name="connsiteY1108" fmla="*/ 2439173 h 2468044"/>
                <a:gd name="connsiteX1109" fmla="*/ 1418427 w 1906136"/>
                <a:gd name="connsiteY1109" fmla="*/ 2426444 h 2468044"/>
                <a:gd name="connsiteX1110" fmla="*/ 1416254 w 1906136"/>
                <a:gd name="connsiteY1110" fmla="*/ 2415889 h 2468044"/>
                <a:gd name="connsiteX1111" fmla="*/ 1413149 w 1906136"/>
                <a:gd name="connsiteY1111" fmla="*/ 2406576 h 2468044"/>
                <a:gd name="connsiteX1112" fmla="*/ 1410976 w 1906136"/>
                <a:gd name="connsiteY1112" fmla="*/ 2404403 h 2468044"/>
                <a:gd name="connsiteX1113" fmla="*/ 1410976 w 1906136"/>
                <a:gd name="connsiteY1113" fmla="*/ 2402230 h 2468044"/>
                <a:gd name="connsiteX1114" fmla="*/ 1408803 w 1906136"/>
                <a:gd name="connsiteY1114" fmla="*/ 2402230 h 2468044"/>
                <a:gd name="connsiteX1115" fmla="*/ 1405698 w 1906136"/>
                <a:gd name="connsiteY1115" fmla="*/ 2401298 h 2468044"/>
                <a:gd name="connsiteX1116" fmla="*/ 1396385 w 1906136"/>
                <a:gd name="connsiteY1116" fmla="*/ 2414027 h 2468044"/>
                <a:gd name="connsiteX1117" fmla="*/ 1384899 w 1906136"/>
                <a:gd name="connsiteY1117" fmla="*/ 2426755 h 2468044"/>
                <a:gd name="connsiteX1118" fmla="*/ 1384899 w 1906136"/>
                <a:gd name="connsiteY1118" fmla="*/ 2431101 h 2468044"/>
                <a:gd name="connsiteX1119" fmla="*/ 1381794 w 1906136"/>
                <a:gd name="connsiteY1119" fmla="*/ 2431101 h 2468044"/>
                <a:gd name="connsiteX1120" fmla="*/ 1381794 w 1906136"/>
                <a:gd name="connsiteY1120" fmla="*/ 2424892 h 2468044"/>
                <a:gd name="connsiteX1121" fmla="*/ 1381794 w 1906136"/>
                <a:gd name="connsiteY1121" fmla="*/ 2421788 h 2468044"/>
                <a:gd name="connsiteX1122" fmla="*/ 1383967 w 1906136"/>
                <a:gd name="connsiteY1122" fmla="*/ 2417442 h 2468044"/>
                <a:gd name="connsiteX1123" fmla="*/ 1384899 w 1906136"/>
                <a:gd name="connsiteY1123" fmla="*/ 2414337 h 2468044"/>
                <a:gd name="connsiteX1124" fmla="*/ 1394212 w 1906136"/>
                <a:gd name="connsiteY1124" fmla="*/ 2402851 h 2468044"/>
                <a:gd name="connsiteX1125" fmla="*/ 1406630 w 1906136"/>
                <a:gd name="connsiteY1125" fmla="*/ 2392295 h 2468044"/>
                <a:gd name="connsiteX1126" fmla="*/ 1420289 w 1906136"/>
                <a:gd name="connsiteY1126" fmla="*/ 2384845 h 2468044"/>
                <a:gd name="connsiteX1127" fmla="*/ 1428671 w 1906136"/>
                <a:gd name="connsiteY1127" fmla="*/ 2382672 h 2468044"/>
                <a:gd name="connsiteX1128" fmla="*/ 1427740 w 1906136"/>
                <a:gd name="connsiteY1128" fmla="*/ 2373358 h 2468044"/>
                <a:gd name="connsiteX1129" fmla="*/ 1423704 w 1906136"/>
                <a:gd name="connsiteY1129" fmla="*/ 2368081 h 2468044"/>
                <a:gd name="connsiteX1130" fmla="*/ 1418427 w 1906136"/>
                <a:gd name="connsiteY1130" fmla="*/ 2362803 h 2468044"/>
                <a:gd name="connsiteX1131" fmla="*/ 1413149 w 1906136"/>
                <a:gd name="connsiteY1131" fmla="*/ 2357525 h 2468044"/>
                <a:gd name="connsiteX1132" fmla="*/ 1418427 w 1906136"/>
                <a:gd name="connsiteY1132" fmla="*/ 2340761 h 2468044"/>
                <a:gd name="connsiteX1133" fmla="*/ 1427740 w 1906136"/>
                <a:gd name="connsiteY1133" fmla="*/ 2322756 h 2468044"/>
                <a:gd name="connsiteX1134" fmla="*/ 1440158 w 1906136"/>
                <a:gd name="connsiteY1134" fmla="*/ 2303818 h 2468044"/>
                <a:gd name="connsiteX1135" fmla="*/ 1454749 w 1906136"/>
                <a:gd name="connsiteY1135" fmla="*/ 2289227 h 2468044"/>
                <a:gd name="connsiteX1136" fmla="*/ 1469340 w 1906136"/>
                <a:gd name="connsiteY1136" fmla="*/ 2281777 h 2468044"/>
                <a:gd name="connsiteX1137" fmla="*/ 1472444 w 1906136"/>
                <a:gd name="connsiteY1137" fmla="*/ 2269048 h 2468044"/>
                <a:gd name="connsiteX1138" fmla="*/ 1467167 w 1906136"/>
                <a:gd name="connsiteY1138" fmla="*/ 2264702 h 2468044"/>
                <a:gd name="connsiteX1139" fmla="*/ 1461889 w 1906136"/>
                <a:gd name="connsiteY1139" fmla="*/ 2261598 h 2468044"/>
                <a:gd name="connsiteX1140" fmla="*/ 1455680 w 1906136"/>
                <a:gd name="connsiteY1140" fmla="*/ 2258493 h 2468044"/>
                <a:gd name="connsiteX1141" fmla="*/ 1452576 w 1906136"/>
                <a:gd name="connsiteY1141" fmla="*/ 2252284 h 2468044"/>
                <a:gd name="connsiteX1142" fmla="*/ 1448540 w 1906136"/>
                <a:gd name="connsiteY1142" fmla="*/ 2244834 h 2468044"/>
                <a:gd name="connsiteX1143" fmla="*/ 1448540 w 1906136"/>
                <a:gd name="connsiteY1143" fmla="*/ 2243902 h 2468044"/>
                <a:gd name="connsiteX1144" fmla="*/ 1447609 w 1906136"/>
                <a:gd name="connsiteY1144" fmla="*/ 2241729 h 2468044"/>
                <a:gd name="connsiteX1145" fmla="*/ 1448540 w 1906136"/>
                <a:gd name="connsiteY1145" fmla="*/ 2239556 h 2468044"/>
                <a:gd name="connsiteX1146" fmla="*/ 1448540 w 1906136"/>
                <a:gd name="connsiteY1146" fmla="*/ 2237383 h 2468044"/>
                <a:gd name="connsiteX1147" fmla="*/ 1448540 w 1906136"/>
                <a:gd name="connsiteY1147" fmla="*/ 2234279 h 2468044"/>
                <a:gd name="connsiteX1148" fmla="*/ 1448540 w 1906136"/>
                <a:gd name="connsiteY1148" fmla="*/ 2229001 h 2468044"/>
                <a:gd name="connsiteX1149" fmla="*/ 1454749 w 1906136"/>
                <a:gd name="connsiteY1149" fmla="*/ 2229001 h 2468044"/>
                <a:gd name="connsiteX1150" fmla="*/ 1460026 w 1906136"/>
                <a:gd name="connsiteY1150" fmla="*/ 2226828 h 2468044"/>
                <a:gd name="connsiteX1151" fmla="*/ 1462200 w 1906136"/>
                <a:gd name="connsiteY1151" fmla="*/ 2226828 h 2468044"/>
                <a:gd name="connsiteX1152" fmla="*/ 1465304 w 1906136"/>
                <a:gd name="connsiteY1152" fmla="*/ 2224655 h 2468044"/>
                <a:gd name="connsiteX1153" fmla="*/ 1469340 w 1906136"/>
                <a:gd name="connsiteY1153" fmla="*/ 2214100 h 2468044"/>
                <a:gd name="connsiteX1154" fmla="*/ 1472444 w 1906136"/>
                <a:gd name="connsiteY1154" fmla="*/ 2202613 h 2468044"/>
                <a:gd name="connsiteX1155" fmla="*/ 1477722 w 1906136"/>
                <a:gd name="connsiteY1155" fmla="*/ 2192058 h 2468044"/>
                <a:gd name="connsiteX1156" fmla="*/ 1479895 w 1906136"/>
                <a:gd name="connsiteY1156" fmla="*/ 2185849 h 2468044"/>
                <a:gd name="connsiteX1157" fmla="*/ 1483931 w 1906136"/>
                <a:gd name="connsiteY1157" fmla="*/ 2184918 h 2468044"/>
                <a:gd name="connsiteX1158" fmla="*/ 1489208 w 1906136"/>
                <a:gd name="connsiteY1158" fmla="*/ 2182745 h 2468044"/>
                <a:gd name="connsiteX1159" fmla="*/ 1494486 w 1906136"/>
                <a:gd name="connsiteY1159" fmla="*/ 2180571 h 2468044"/>
                <a:gd name="connsiteX1160" fmla="*/ 1501626 w 1906136"/>
                <a:gd name="connsiteY1160" fmla="*/ 2178398 h 2468044"/>
                <a:gd name="connsiteX1161" fmla="*/ 1498522 w 1906136"/>
                <a:gd name="connsiteY1161" fmla="*/ 2173121 h 2468044"/>
                <a:gd name="connsiteX1162" fmla="*/ 1496349 w 1906136"/>
                <a:gd name="connsiteY1162" fmla="*/ 2170016 h 2468044"/>
                <a:gd name="connsiteX1163" fmla="*/ 1492313 w 1906136"/>
                <a:gd name="connsiteY1163" fmla="*/ 2165670 h 2468044"/>
                <a:gd name="connsiteX1164" fmla="*/ 1489208 w 1906136"/>
                <a:gd name="connsiteY1164" fmla="*/ 2163497 h 2468044"/>
                <a:gd name="connsiteX1165" fmla="*/ 1485173 w 1906136"/>
                <a:gd name="connsiteY1165" fmla="*/ 2162566 h 2468044"/>
                <a:gd name="connsiteX1166" fmla="*/ 1479895 w 1906136"/>
                <a:gd name="connsiteY1166" fmla="*/ 2158219 h 2468044"/>
                <a:gd name="connsiteX1167" fmla="*/ 1472755 w 1906136"/>
                <a:gd name="connsiteY1167" fmla="*/ 2155115 h 2468044"/>
                <a:gd name="connsiteX1168" fmla="*/ 1472755 w 1906136"/>
                <a:gd name="connsiteY1168" fmla="*/ 2147664 h 2468044"/>
                <a:gd name="connsiteX1169" fmla="*/ 1487346 w 1906136"/>
                <a:gd name="connsiteY1169" fmla="*/ 2145491 h 2468044"/>
                <a:gd name="connsiteX1170" fmla="*/ 1501937 w 1906136"/>
                <a:gd name="connsiteY1170" fmla="*/ 2145491 h 2468044"/>
                <a:gd name="connsiteX1171" fmla="*/ 1513423 w 1906136"/>
                <a:gd name="connsiteY1171" fmla="*/ 2143318 h 2468044"/>
                <a:gd name="connsiteX1172" fmla="*/ 1521805 w 1906136"/>
                <a:gd name="connsiteY1172" fmla="*/ 2143318 h 2468044"/>
                <a:gd name="connsiteX1173" fmla="*/ 1520874 w 1906136"/>
                <a:gd name="connsiteY1173" fmla="*/ 2135867 h 2468044"/>
                <a:gd name="connsiteX1174" fmla="*/ 1520874 w 1906136"/>
                <a:gd name="connsiteY1174" fmla="*/ 2132763 h 2468044"/>
                <a:gd name="connsiteX1175" fmla="*/ 1520874 w 1906136"/>
                <a:gd name="connsiteY1175" fmla="*/ 2129037 h 2468044"/>
                <a:gd name="connsiteX1176" fmla="*/ 1520874 w 1906136"/>
                <a:gd name="connsiteY1176" fmla="*/ 2128106 h 2468044"/>
                <a:gd name="connsiteX1177" fmla="*/ 1521805 w 1906136"/>
                <a:gd name="connsiteY1177" fmla="*/ 2123760 h 2468044"/>
                <a:gd name="connsiteX1178" fmla="*/ 1521805 w 1906136"/>
                <a:gd name="connsiteY1178" fmla="*/ 2116309 h 2468044"/>
                <a:gd name="connsiteX1179" fmla="*/ 1521805 w 1906136"/>
                <a:gd name="connsiteY1179" fmla="*/ 2108858 h 2468044"/>
                <a:gd name="connsiteX1180" fmla="*/ 1523978 w 1906136"/>
                <a:gd name="connsiteY1180" fmla="*/ 2103581 h 2468044"/>
                <a:gd name="connsiteX1181" fmla="*/ 1526151 w 1906136"/>
                <a:gd name="connsiteY1181" fmla="*/ 2099235 h 2468044"/>
                <a:gd name="connsiteX1182" fmla="*/ 1553160 w 1906136"/>
                <a:gd name="connsiteY1182" fmla="*/ 2091784 h 2468044"/>
                <a:gd name="connsiteX1183" fmla="*/ 1585447 w 1906136"/>
                <a:gd name="connsiteY1183" fmla="*/ 2090853 h 2468044"/>
                <a:gd name="connsiteX1184" fmla="*/ 1587620 w 1906136"/>
                <a:gd name="connsiteY1184" fmla="*/ 2076262 h 2468044"/>
                <a:gd name="connsiteX1185" fmla="*/ 1589793 w 1906136"/>
                <a:gd name="connsiteY1185" fmla="*/ 2062602 h 2468044"/>
                <a:gd name="connsiteX1186" fmla="*/ 1587620 w 1906136"/>
                <a:gd name="connsiteY1186" fmla="*/ 2052047 h 2468044"/>
                <a:gd name="connsiteX1187" fmla="*/ 1582342 w 1906136"/>
                <a:gd name="connsiteY1187" fmla="*/ 2041492 h 2468044"/>
                <a:gd name="connsiteX1188" fmla="*/ 1569924 w 1906136"/>
                <a:gd name="connsiteY1188" fmla="*/ 2034041 h 2468044"/>
                <a:gd name="connsiteX1189" fmla="*/ 1569924 w 1906136"/>
                <a:gd name="connsiteY1189" fmla="*/ 2026590 h 2468044"/>
                <a:gd name="connsiteX1190" fmla="*/ 1592897 w 1906136"/>
                <a:gd name="connsiteY1190" fmla="*/ 2031868 h 2468044"/>
                <a:gd name="connsiteX1191" fmla="*/ 1618975 w 1906136"/>
                <a:gd name="connsiteY1191" fmla="*/ 2037145 h 2468044"/>
                <a:gd name="connsiteX1192" fmla="*/ 1631393 w 1906136"/>
                <a:gd name="connsiteY1192" fmla="*/ 2022554 h 2468044"/>
                <a:gd name="connsiteX1193" fmla="*/ 1642879 w 1906136"/>
                <a:gd name="connsiteY1193" fmla="*/ 2009826 h 2468044"/>
                <a:gd name="connsiteX1194" fmla="*/ 1653434 w 1906136"/>
                <a:gd name="connsiteY1194" fmla="*/ 1995235 h 2468044"/>
                <a:gd name="connsiteX1195" fmla="*/ 1662747 w 1906136"/>
                <a:gd name="connsiteY1195" fmla="*/ 1973194 h 2468044"/>
                <a:gd name="connsiteX1196" fmla="*/ 1663679 w 1906136"/>
                <a:gd name="connsiteY1196" fmla="*/ 1973194 h 2468044"/>
                <a:gd name="connsiteX1197" fmla="*/ 1665852 w 1906136"/>
                <a:gd name="connsiteY1197" fmla="*/ 1971020 h 2468044"/>
                <a:gd name="connsiteX1198" fmla="*/ 1668025 w 1906136"/>
                <a:gd name="connsiteY1198" fmla="*/ 1971020 h 2468044"/>
                <a:gd name="connsiteX1199" fmla="*/ 1670198 w 1906136"/>
                <a:gd name="connsiteY1199" fmla="*/ 1968847 h 2468044"/>
                <a:gd name="connsiteX1200" fmla="*/ 1671130 w 1906136"/>
                <a:gd name="connsiteY1200" fmla="*/ 1973194 h 2468044"/>
                <a:gd name="connsiteX1201" fmla="*/ 1673303 w 1906136"/>
                <a:gd name="connsiteY1201" fmla="*/ 1978471 h 2468044"/>
                <a:gd name="connsiteX1202" fmla="*/ 1673303 w 1906136"/>
                <a:gd name="connsiteY1202" fmla="*/ 1982817 h 2468044"/>
                <a:gd name="connsiteX1203" fmla="*/ 1673303 w 1906136"/>
                <a:gd name="connsiteY1203" fmla="*/ 1990268 h 2468044"/>
                <a:gd name="connsiteX1204" fmla="*/ 1678580 w 1906136"/>
                <a:gd name="connsiteY1204" fmla="*/ 1990268 h 2468044"/>
                <a:gd name="connsiteX1205" fmla="*/ 1685721 w 1906136"/>
                <a:gd name="connsiteY1205" fmla="*/ 1969158 h 2468044"/>
                <a:gd name="connsiteX1206" fmla="*/ 1692861 w 1906136"/>
                <a:gd name="connsiteY1206" fmla="*/ 1953325 h 2468044"/>
                <a:gd name="connsiteX1207" fmla="*/ 1700001 w 1906136"/>
                <a:gd name="connsiteY1207" fmla="*/ 1936561 h 2468044"/>
                <a:gd name="connsiteX1208" fmla="*/ 1704037 w 1906136"/>
                <a:gd name="connsiteY1208" fmla="*/ 1916692 h 2468044"/>
                <a:gd name="connsiteX1209" fmla="*/ 1706210 w 1906136"/>
                <a:gd name="connsiteY1209" fmla="*/ 1892478 h 2468044"/>
                <a:gd name="connsiteX1210" fmla="*/ 1718628 w 1906136"/>
                <a:gd name="connsiteY1210" fmla="*/ 1892478 h 2468044"/>
                <a:gd name="connsiteX1211" fmla="*/ 1716455 w 1906136"/>
                <a:gd name="connsiteY1211" fmla="*/ 1887200 h 2468044"/>
                <a:gd name="connsiteX1212" fmla="*/ 1714282 w 1906136"/>
                <a:gd name="connsiteY1212" fmla="*/ 1881923 h 2468044"/>
                <a:gd name="connsiteX1213" fmla="*/ 1714282 w 1906136"/>
                <a:gd name="connsiteY1213" fmla="*/ 1877576 h 2468044"/>
                <a:gd name="connsiteX1214" fmla="*/ 1714282 w 1906136"/>
                <a:gd name="connsiteY1214" fmla="*/ 1874472 h 2468044"/>
                <a:gd name="connsiteX1215" fmla="*/ 1718317 w 1906136"/>
                <a:gd name="connsiteY1215" fmla="*/ 1868263 h 2468044"/>
                <a:gd name="connsiteX1216" fmla="*/ 1727631 w 1906136"/>
                <a:gd name="connsiteY1216" fmla="*/ 1857708 h 2468044"/>
                <a:gd name="connsiteX1217" fmla="*/ 1742222 w 1906136"/>
                <a:gd name="connsiteY1217" fmla="*/ 1852430 h 2468044"/>
                <a:gd name="connsiteX1218" fmla="*/ 1757744 w 1906136"/>
                <a:gd name="connsiteY1218" fmla="*/ 1848084 h 2468044"/>
                <a:gd name="connsiteX1219" fmla="*/ 1774508 w 1906136"/>
                <a:gd name="connsiteY1219" fmla="*/ 1847153 h 2468044"/>
                <a:gd name="connsiteX1220" fmla="*/ 1791272 w 1906136"/>
                <a:gd name="connsiteY1220" fmla="*/ 1844979 h 2468044"/>
                <a:gd name="connsiteX1221" fmla="*/ 1801827 w 1906136"/>
                <a:gd name="connsiteY1221" fmla="*/ 1840633 h 2468044"/>
                <a:gd name="connsiteX1222" fmla="*/ 1807105 w 1906136"/>
                <a:gd name="connsiteY1222" fmla="*/ 1833183 h 2468044"/>
                <a:gd name="connsiteX1223" fmla="*/ 1816418 w 1906136"/>
                <a:gd name="connsiteY1223" fmla="*/ 1820454 h 2468044"/>
                <a:gd name="connsiteX1224" fmla="*/ 1825732 w 1906136"/>
                <a:gd name="connsiteY1224" fmla="*/ 1803690 h 2468044"/>
                <a:gd name="connsiteX1225" fmla="*/ 1835045 w 1906136"/>
                <a:gd name="connsiteY1225" fmla="*/ 1787857 h 2468044"/>
                <a:gd name="connsiteX1226" fmla="*/ 1842185 w 1906136"/>
                <a:gd name="connsiteY1226" fmla="*/ 1773267 h 2468044"/>
                <a:gd name="connsiteX1227" fmla="*/ 1845290 w 1906136"/>
                <a:gd name="connsiteY1227" fmla="*/ 1763953 h 2468044"/>
                <a:gd name="connsiteX1228" fmla="*/ 1847463 w 1906136"/>
                <a:gd name="connsiteY1228" fmla="*/ 1749362 h 2468044"/>
                <a:gd name="connsiteX1229" fmla="*/ 1843427 w 1906136"/>
                <a:gd name="connsiteY1229" fmla="*/ 1732598 h 2468044"/>
                <a:gd name="connsiteX1230" fmla="*/ 1842496 w 1906136"/>
                <a:gd name="connsiteY1230" fmla="*/ 1718007 h 2468044"/>
                <a:gd name="connsiteX1231" fmla="*/ 1842496 w 1906136"/>
                <a:gd name="connsiteY1231" fmla="*/ 1707452 h 2468044"/>
                <a:gd name="connsiteX1232" fmla="*/ 1850878 w 1906136"/>
                <a:gd name="connsiteY1232" fmla="*/ 1690688 h 2468044"/>
                <a:gd name="connsiteX1233" fmla="*/ 1863296 w 1906136"/>
                <a:gd name="connsiteY1233" fmla="*/ 1668646 h 2468044"/>
                <a:gd name="connsiteX1234" fmla="*/ 1877887 w 1906136"/>
                <a:gd name="connsiteY1234" fmla="*/ 1646605 h 2468044"/>
                <a:gd name="connsiteX1235" fmla="*/ 1892477 w 1906136"/>
                <a:gd name="connsiteY1235" fmla="*/ 1626736 h 2468044"/>
                <a:gd name="connsiteX1236" fmla="*/ 1906137 w 1906136"/>
                <a:gd name="connsiteY1236" fmla="*/ 1609972 h 2468044"/>
                <a:gd name="connsiteX1237" fmla="*/ 1903964 w 1906136"/>
                <a:gd name="connsiteY1237" fmla="*/ 1601590 h 2468044"/>
                <a:gd name="connsiteX1238" fmla="*/ 1901480 w 1906136"/>
                <a:gd name="connsiteY1238" fmla="*/ 1594450 h 2468044"/>
                <a:gd name="connsiteX1239" fmla="*/ 1340815 w 1906136"/>
                <a:gd name="connsiteY1239" fmla="*/ 768043 h 2468044"/>
                <a:gd name="connsiteX1240" fmla="*/ 1342988 w 1906136"/>
                <a:gd name="connsiteY1240" fmla="*/ 765870 h 2468044"/>
                <a:gd name="connsiteX1241" fmla="*/ 1345162 w 1906136"/>
                <a:gd name="connsiteY1241" fmla="*/ 763697 h 2468044"/>
                <a:gd name="connsiteX1242" fmla="*/ 1348266 w 1906136"/>
                <a:gd name="connsiteY1242" fmla="*/ 760592 h 2468044"/>
                <a:gd name="connsiteX1243" fmla="*/ 1350439 w 1906136"/>
                <a:gd name="connsiteY1243" fmla="*/ 756246 h 2468044"/>
                <a:gd name="connsiteX1244" fmla="*/ 1353544 w 1906136"/>
                <a:gd name="connsiteY1244" fmla="*/ 756246 h 2468044"/>
                <a:gd name="connsiteX1245" fmla="*/ 1352612 w 1906136"/>
                <a:gd name="connsiteY1245" fmla="*/ 760592 h 2468044"/>
                <a:gd name="connsiteX1246" fmla="*/ 1350439 w 1906136"/>
                <a:gd name="connsiteY1246" fmla="*/ 762765 h 2468044"/>
                <a:gd name="connsiteX1247" fmla="*/ 1348266 w 1906136"/>
                <a:gd name="connsiteY1247" fmla="*/ 765870 h 2468044"/>
                <a:gd name="connsiteX1248" fmla="*/ 1348266 w 1906136"/>
                <a:gd name="connsiteY1248" fmla="*/ 768043 h 2468044"/>
                <a:gd name="connsiteX1249" fmla="*/ 1347335 w 1906136"/>
                <a:gd name="connsiteY1249" fmla="*/ 773320 h 2468044"/>
                <a:gd name="connsiteX1250" fmla="*/ 1343299 w 1906136"/>
                <a:gd name="connsiteY1250" fmla="*/ 771147 h 2468044"/>
                <a:gd name="connsiteX1251" fmla="*/ 1341126 w 1906136"/>
                <a:gd name="connsiteY1251" fmla="*/ 770216 h 2468044"/>
                <a:gd name="connsiteX1252" fmla="*/ 1341126 w 1906136"/>
                <a:gd name="connsiteY1252" fmla="*/ 768043 h 2468044"/>
                <a:gd name="connsiteX1253" fmla="*/ 1108602 w 1906136"/>
                <a:gd name="connsiteY1253" fmla="*/ 713094 h 2468044"/>
                <a:gd name="connsiteX1254" fmla="*/ 1117915 w 1906136"/>
                <a:gd name="connsiteY1254" fmla="*/ 701608 h 2468044"/>
                <a:gd name="connsiteX1255" fmla="*/ 1126297 w 1906136"/>
                <a:gd name="connsiteY1255" fmla="*/ 688879 h 2468044"/>
                <a:gd name="connsiteX1256" fmla="*/ 1144924 w 1906136"/>
                <a:gd name="connsiteY1256" fmla="*/ 691052 h 2468044"/>
                <a:gd name="connsiteX1257" fmla="*/ 1159515 w 1906136"/>
                <a:gd name="connsiteY1257" fmla="*/ 698503 h 2468044"/>
                <a:gd name="connsiteX1258" fmla="*/ 1167897 w 1906136"/>
                <a:gd name="connsiteY1258" fmla="*/ 705954 h 2468044"/>
                <a:gd name="connsiteX1259" fmla="*/ 1175037 w 1906136"/>
                <a:gd name="connsiteY1259" fmla="*/ 716509 h 2468044"/>
                <a:gd name="connsiteX1260" fmla="*/ 1181246 w 1906136"/>
                <a:gd name="connsiteY1260" fmla="*/ 727995 h 2468044"/>
                <a:gd name="connsiteX1261" fmla="*/ 1189628 w 1906136"/>
                <a:gd name="connsiteY1261" fmla="*/ 736377 h 2468044"/>
                <a:gd name="connsiteX1262" fmla="*/ 1203288 w 1906136"/>
                <a:gd name="connsiteY1262" fmla="*/ 746001 h 2468044"/>
                <a:gd name="connsiteX1263" fmla="*/ 1211670 w 1906136"/>
                <a:gd name="connsiteY1263" fmla="*/ 749106 h 2468044"/>
                <a:gd name="connsiteX1264" fmla="*/ 1218810 w 1906136"/>
                <a:gd name="connsiteY1264" fmla="*/ 749106 h 2468044"/>
                <a:gd name="connsiteX1265" fmla="*/ 1228124 w 1906136"/>
                <a:gd name="connsiteY1265" fmla="*/ 751279 h 2468044"/>
                <a:gd name="connsiteX1266" fmla="*/ 1237437 w 1906136"/>
                <a:gd name="connsiteY1266" fmla="*/ 756556 h 2468044"/>
                <a:gd name="connsiteX1267" fmla="*/ 1237437 w 1906136"/>
                <a:gd name="connsiteY1267" fmla="*/ 766180 h 2468044"/>
                <a:gd name="connsiteX1268" fmla="*/ 1235264 w 1906136"/>
                <a:gd name="connsiteY1268" fmla="*/ 771458 h 2468044"/>
                <a:gd name="connsiteX1269" fmla="*/ 1235264 w 1906136"/>
                <a:gd name="connsiteY1269" fmla="*/ 775804 h 2468044"/>
                <a:gd name="connsiteX1270" fmla="*/ 1233091 w 1906136"/>
                <a:gd name="connsiteY1270" fmla="*/ 777977 h 2468044"/>
                <a:gd name="connsiteX1271" fmla="*/ 1232159 w 1906136"/>
                <a:gd name="connsiteY1271" fmla="*/ 778909 h 2468044"/>
                <a:gd name="connsiteX1272" fmla="*/ 1229986 w 1906136"/>
                <a:gd name="connsiteY1272" fmla="*/ 778909 h 2468044"/>
                <a:gd name="connsiteX1273" fmla="*/ 1227813 w 1906136"/>
                <a:gd name="connsiteY1273" fmla="*/ 778909 h 2468044"/>
                <a:gd name="connsiteX1274" fmla="*/ 1225640 w 1906136"/>
                <a:gd name="connsiteY1274" fmla="*/ 781082 h 2468044"/>
                <a:gd name="connsiteX1275" fmla="*/ 1224709 w 1906136"/>
                <a:gd name="connsiteY1275" fmla="*/ 783255 h 2468044"/>
                <a:gd name="connsiteX1276" fmla="*/ 1222535 w 1906136"/>
                <a:gd name="connsiteY1276" fmla="*/ 785428 h 2468044"/>
                <a:gd name="connsiteX1277" fmla="*/ 1218500 w 1906136"/>
                <a:gd name="connsiteY1277" fmla="*/ 795983 h 2468044"/>
                <a:gd name="connsiteX1278" fmla="*/ 1220673 w 1906136"/>
                <a:gd name="connsiteY1278" fmla="*/ 805607 h 2468044"/>
                <a:gd name="connsiteX1279" fmla="*/ 1222846 w 1906136"/>
                <a:gd name="connsiteY1279" fmla="*/ 810884 h 2468044"/>
                <a:gd name="connsiteX1280" fmla="*/ 1222846 w 1906136"/>
                <a:gd name="connsiteY1280" fmla="*/ 818335 h 2468044"/>
                <a:gd name="connsiteX1281" fmla="*/ 1217568 w 1906136"/>
                <a:gd name="connsiteY1281" fmla="*/ 827959 h 2468044"/>
                <a:gd name="connsiteX1282" fmla="*/ 1218500 w 1906136"/>
                <a:gd name="connsiteY1282" fmla="*/ 831063 h 2468044"/>
                <a:gd name="connsiteX1283" fmla="*/ 1218500 w 1906136"/>
                <a:gd name="connsiteY1283" fmla="*/ 833237 h 2468044"/>
                <a:gd name="connsiteX1284" fmla="*/ 1218500 w 1906136"/>
                <a:gd name="connsiteY1284" fmla="*/ 835410 h 2468044"/>
                <a:gd name="connsiteX1285" fmla="*/ 1220673 w 1906136"/>
                <a:gd name="connsiteY1285" fmla="*/ 837583 h 2468044"/>
                <a:gd name="connsiteX1286" fmla="*/ 1222846 w 1906136"/>
                <a:gd name="connsiteY1286" fmla="*/ 838514 h 2468044"/>
                <a:gd name="connsiteX1287" fmla="*/ 1225950 w 1906136"/>
                <a:gd name="connsiteY1287" fmla="*/ 837583 h 2468044"/>
                <a:gd name="connsiteX1288" fmla="*/ 1237437 w 1906136"/>
                <a:gd name="connsiteY1288" fmla="*/ 833237 h 2468044"/>
                <a:gd name="connsiteX1289" fmla="*/ 1252959 w 1906136"/>
                <a:gd name="connsiteY1289" fmla="*/ 825786 h 2468044"/>
                <a:gd name="connsiteX1290" fmla="*/ 1269723 w 1906136"/>
                <a:gd name="connsiteY1290" fmla="*/ 815231 h 2468044"/>
                <a:gd name="connsiteX1291" fmla="*/ 1288350 w 1906136"/>
                <a:gd name="connsiteY1291" fmla="*/ 805607 h 2468044"/>
                <a:gd name="connsiteX1292" fmla="*/ 1302941 w 1906136"/>
                <a:gd name="connsiteY1292" fmla="*/ 794120 h 2468044"/>
                <a:gd name="connsiteX1293" fmla="*/ 1315359 w 1906136"/>
                <a:gd name="connsiteY1293" fmla="*/ 786670 h 2468044"/>
                <a:gd name="connsiteX1294" fmla="*/ 1322499 w 1906136"/>
                <a:gd name="connsiteY1294" fmla="*/ 781392 h 2468044"/>
                <a:gd name="connsiteX1295" fmla="*/ 1325603 w 1906136"/>
                <a:gd name="connsiteY1295" fmla="*/ 783565 h 2468044"/>
                <a:gd name="connsiteX1296" fmla="*/ 1327777 w 1906136"/>
                <a:gd name="connsiteY1296" fmla="*/ 783565 h 2468044"/>
                <a:gd name="connsiteX1297" fmla="*/ 1329950 w 1906136"/>
                <a:gd name="connsiteY1297" fmla="*/ 783565 h 2468044"/>
                <a:gd name="connsiteX1298" fmla="*/ 1332123 w 1906136"/>
                <a:gd name="connsiteY1298" fmla="*/ 785738 h 2468044"/>
                <a:gd name="connsiteX1299" fmla="*/ 1332123 w 1906136"/>
                <a:gd name="connsiteY1299" fmla="*/ 786670 h 2468044"/>
                <a:gd name="connsiteX1300" fmla="*/ 1333054 w 1906136"/>
                <a:gd name="connsiteY1300" fmla="*/ 791016 h 2468044"/>
                <a:gd name="connsiteX1301" fmla="*/ 1337090 w 1906136"/>
                <a:gd name="connsiteY1301" fmla="*/ 791016 h 2468044"/>
                <a:gd name="connsiteX1302" fmla="*/ 1329950 w 1906136"/>
                <a:gd name="connsiteY1302" fmla="*/ 801571 h 2468044"/>
                <a:gd name="connsiteX1303" fmla="*/ 1313186 w 1906136"/>
                <a:gd name="connsiteY1303" fmla="*/ 811195 h 2468044"/>
                <a:gd name="connsiteX1304" fmla="*/ 1295490 w 1906136"/>
                <a:gd name="connsiteY1304" fmla="*/ 818646 h 2468044"/>
                <a:gd name="connsiteX1305" fmla="*/ 1276863 w 1906136"/>
                <a:gd name="connsiteY1305" fmla="*/ 826096 h 2468044"/>
                <a:gd name="connsiteX1306" fmla="*/ 1259168 w 1906136"/>
                <a:gd name="connsiteY1306" fmla="*/ 835720 h 2468044"/>
                <a:gd name="connsiteX1307" fmla="*/ 1242404 w 1906136"/>
                <a:gd name="connsiteY1307" fmla="*/ 845344 h 2468044"/>
                <a:gd name="connsiteX1308" fmla="*/ 1233091 w 1906136"/>
                <a:gd name="connsiteY1308" fmla="*/ 859004 h 2468044"/>
                <a:gd name="connsiteX1309" fmla="*/ 1210118 w 1906136"/>
                <a:gd name="connsiteY1309" fmla="*/ 855899 h 2468044"/>
                <a:gd name="connsiteX1310" fmla="*/ 1207945 w 1906136"/>
                <a:gd name="connsiteY1310" fmla="*/ 831684 h 2468044"/>
                <a:gd name="connsiteX1311" fmla="*/ 1207945 w 1906136"/>
                <a:gd name="connsiteY1311" fmla="*/ 809332 h 2468044"/>
                <a:gd name="connsiteX1312" fmla="*/ 1207945 w 1906136"/>
                <a:gd name="connsiteY1312" fmla="*/ 791326 h 2468044"/>
                <a:gd name="connsiteX1313" fmla="*/ 1205771 w 1906136"/>
                <a:gd name="connsiteY1313" fmla="*/ 771147 h 2468044"/>
                <a:gd name="connsiteX1314" fmla="*/ 1193354 w 1906136"/>
                <a:gd name="connsiteY1314" fmla="*/ 771147 h 2468044"/>
                <a:gd name="connsiteX1315" fmla="*/ 1191180 w 1906136"/>
                <a:gd name="connsiteY1315" fmla="*/ 778598 h 2468044"/>
                <a:gd name="connsiteX1316" fmla="*/ 1185903 w 1906136"/>
                <a:gd name="connsiteY1316" fmla="*/ 789153 h 2468044"/>
                <a:gd name="connsiteX1317" fmla="*/ 1180625 w 1906136"/>
                <a:gd name="connsiteY1317" fmla="*/ 801882 h 2468044"/>
                <a:gd name="connsiteX1318" fmla="*/ 1174416 w 1906136"/>
                <a:gd name="connsiteY1318" fmla="*/ 816783 h 2468044"/>
                <a:gd name="connsiteX1319" fmla="*/ 1169139 w 1906136"/>
                <a:gd name="connsiteY1319" fmla="*/ 828269 h 2468044"/>
                <a:gd name="connsiteX1320" fmla="*/ 1166034 w 1906136"/>
                <a:gd name="connsiteY1320" fmla="*/ 835720 h 2468044"/>
                <a:gd name="connsiteX1321" fmla="*/ 1166034 w 1906136"/>
                <a:gd name="connsiteY1321" fmla="*/ 838825 h 2468044"/>
                <a:gd name="connsiteX1322" fmla="*/ 1159825 w 1906136"/>
                <a:gd name="connsiteY1322" fmla="*/ 837893 h 2468044"/>
                <a:gd name="connsiteX1323" fmla="*/ 1158894 w 1906136"/>
                <a:gd name="connsiteY1323" fmla="*/ 835720 h 2468044"/>
                <a:gd name="connsiteX1324" fmla="*/ 1156721 w 1906136"/>
                <a:gd name="connsiteY1324" fmla="*/ 833547 h 2468044"/>
                <a:gd name="connsiteX1325" fmla="*/ 1154548 w 1906136"/>
                <a:gd name="connsiteY1325" fmla="*/ 831374 h 2468044"/>
                <a:gd name="connsiteX1326" fmla="*/ 1154548 w 1906136"/>
                <a:gd name="connsiteY1326" fmla="*/ 828269 h 2468044"/>
                <a:gd name="connsiteX1327" fmla="*/ 1153306 w 1906136"/>
                <a:gd name="connsiteY1327" fmla="*/ 822061 h 2468044"/>
                <a:gd name="connsiteX1328" fmla="*/ 1153306 w 1906136"/>
                <a:gd name="connsiteY1328" fmla="*/ 812747 h 2468044"/>
                <a:gd name="connsiteX1329" fmla="*/ 1159515 w 1906136"/>
                <a:gd name="connsiteY1329" fmla="*/ 797846 h 2468044"/>
                <a:gd name="connsiteX1330" fmla="*/ 1166655 w 1906136"/>
                <a:gd name="connsiteY1330" fmla="*/ 780771 h 2468044"/>
                <a:gd name="connsiteX1331" fmla="*/ 1175037 w 1906136"/>
                <a:gd name="connsiteY1331" fmla="*/ 768043 h 2468044"/>
                <a:gd name="connsiteX1332" fmla="*/ 1182177 w 1906136"/>
                <a:gd name="connsiteY1332" fmla="*/ 756556 h 2468044"/>
                <a:gd name="connsiteX1333" fmla="*/ 1175037 w 1906136"/>
                <a:gd name="connsiteY1333" fmla="*/ 748174 h 2468044"/>
                <a:gd name="connsiteX1334" fmla="*/ 1167897 w 1906136"/>
                <a:gd name="connsiteY1334" fmla="*/ 743828 h 2468044"/>
                <a:gd name="connsiteX1335" fmla="*/ 1160757 w 1906136"/>
                <a:gd name="connsiteY1335" fmla="*/ 740724 h 2468044"/>
                <a:gd name="connsiteX1336" fmla="*/ 1152375 w 1906136"/>
                <a:gd name="connsiteY1336" fmla="*/ 736377 h 2468044"/>
                <a:gd name="connsiteX1337" fmla="*/ 1147097 w 1906136"/>
                <a:gd name="connsiteY1337" fmla="*/ 723649 h 2468044"/>
                <a:gd name="connsiteX1338" fmla="*/ 1137784 w 1906136"/>
                <a:gd name="connsiteY1338" fmla="*/ 723649 h 2468044"/>
                <a:gd name="connsiteX1339" fmla="*/ 1137784 w 1906136"/>
                <a:gd name="connsiteY1339" fmla="*/ 728927 h 2468044"/>
                <a:gd name="connsiteX1340" fmla="*/ 1135611 w 1906136"/>
                <a:gd name="connsiteY1340" fmla="*/ 733273 h 2468044"/>
                <a:gd name="connsiteX1341" fmla="*/ 1135611 w 1906136"/>
                <a:gd name="connsiteY1341" fmla="*/ 738551 h 2468044"/>
                <a:gd name="connsiteX1342" fmla="*/ 1133438 w 1906136"/>
                <a:gd name="connsiteY1342" fmla="*/ 746001 h 2468044"/>
                <a:gd name="connsiteX1343" fmla="*/ 1126297 w 1906136"/>
                <a:gd name="connsiteY1343" fmla="*/ 736377 h 2468044"/>
                <a:gd name="connsiteX1344" fmla="*/ 1121020 w 1906136"/>
                <a:gd name="connsiteY1344" fmla="*/ 731100 h 2468044"/>
                <a:gd name="connsiteX1345" fmla="*/ 1113879 w 1906136"/>
                <a:gd name="connsiteY1345" fmla="*/ 727995 h 2468044"/>
                <a:gd name="connsiteX1346" fmla="*/ 1103324 w 1906136"/>
                <a:gd name="connsiteY1346" fmla="*/ 728927 h 2468044"/>
                <a:gd name="connsiteX1347" fmla="*/ 1108602 w 1906136"/>
                <a:gd name="connsiteY1347" fmla="*/ 713094 h 2468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</a:cxnLst>
              <a:rect l="l" t="t" r="r" b="b"/>
              <a:pathLst>
                <a:path w="1906136" h="2468044">
                  <a:moveTo>
                    <a:pt x="1901480" y="1594450"/>
                  </a:moveTo>
                  <a:lnTo>
                    <a:pt x="1898376" y="1588241"/>
                  </a:lnTo>
                  <a:lnTo>
                    <a:pt x="1892167" y="1582963"/>
                  </a:lnTo>
                  <a:lnTo>
                    <a:pt x="1886889" y="1575513"/>
                  </a:lnTo>
                  <a:lnTo>
                    <a:pt x="1879749" y="1577686"/>
                  </a:lnTo>
                  <a:lnTo>
                    <a:pt x="1870436" y="1577686"/>
                  </a:lnTo>
                  <a:lnTo>
                    <a:pt x="1862054" y="1575513"/>
                  </a:lnTo>
                  <a:lnTo>
                    <a:pt x="1855845" y="1568062"/>
                  </a:lnTo>
                  <a:lnTo>
                    <a:pt x="1854913" y="1558748"/>
                  </a:lnTo>
                  <a:lnTo>
                    <a:pt x="1850878" y="1548193"/>
                  </a:lnTo>
                  <a:lnTo>
                    <a:pt x="1845600" y="1542916"/>
                  </a:lnTo>
                  <a:lnTo>
                    <a:pt x="1789410" y="1538569"/>
                  </a:lnTo>
                  <a:lnTo>
                    <a:pt x="1785374" y="1537638"/>
                  </a:lnTo>
                  <a:lnTo>
                    <a:pt x="1782269" y="1535465"/>
                  </a:lnTo>
                  <a:lnTo>
                    <a:pt x="1778233" y="1533292"/>
                  </a:lnTo>
                  <a:lnTo>
                    <a:pt x="1777302" y="1533292"/>
                  </a:lnTo>
                  <a:lnTo>
                    <a:pt x="1771093" y="1531119"/>
                  </a:lnTo>
                  <a:lnTo>
                    <a:pt x="1767989" y="1533292"/>
                  </a:lnTo>
                  <a:lnTo>
                    <a:pt x="1762711" y="1535465"/>
                  </a:lnTo>
                  <a:lnTo>
                    <a:pt x="1758675" y="1522737"/>
                  </a:lnTo>
                  <a:lnTo>
                    <a:pt x="1736944" y="1515286"/>
                  </a:lnTo>
                  <a:lnTo>
                    <a:pt x="1713971" y="1515286"/>
                  </a:lnTo>
                  <a:lnTo>
                    <a:pt x="1717075" y="1509077"/>
                  </a:lnTo>
                  <a:lnTo>
                    <a:pt x="1721111" y="1505973"/>
                  </a:lnTo>
                  <a:lnTo>
                    <a:pt x="1724216" y="1500695"/>
                  </a:lnTo>
                  <a:lnTo>
                    <a:pt x="1728252" y="1496349"/>
                  </a:lnTo>
                  <a:lnTo>
                    <a:pt x="1729183" y="1488898"/>
                  </a:lnTo>
                  <a:lnTo>
                    <a:pt x="1704037" y="1476170"/>
                  </a:lnTo>
                  <a:lnTo>
                    <a:pt x="1682306" y="1459406"/>
                  </a:lnTo>
                  <a:lnTo>
                    <a:pt x="1662437" y="1439537"/>
                  </a:lnTo>
                  <a:lnTo>
                    <a:pt x="1645673" y="1417496"/>
                  </a:lnTo>
                  <a:lnTo>
                    <a:pt x="1621769" y="1415322"/>
                  </a:lnTo>
                  <a:lnTo>
                    <a:pt x="1604073" y="1414391"/>
                  </a:lnTo>
                  <a:lnTo>
                    <a:pt x="1582342" y="1412218"/>
                  </a:lnTo>
                  <a:lnTo>
                    <a:pt x="1578306" y="1400732"/>
                  </a:lnTo>
                  <a:lnTo>
                    <a:pt x="1571166" y="1393281"/>
                  </a:lnTo>
                  <a:lnTo>
                    <a:pt x="1562784" y="1392350"/>
                  </a:lnTo>
                  <a:lnTo>
                    <a:pt x="1549124" y="1388003"/>
                  </a:lnTo>
                  <a:lnTo>
                    <a:pt x="1549124" y="1377448"/>
                  </a:lnTo>
                  <a:lnTo>
                    <a:pt x="1536707" y="1371239"/>
                  </a:lnTo>
                  <a:lnTo>
                    <a:pt x="1529566" y="1365962"/>
                  </a:lnTo>
                  <a:lnTo>
                    <a:pt x="1522426" y="1360684"/>
                  </a:lnTo>
                  <a:lnTo>
                    <a:pt x="1510008" y="1356338"/>
                  </a:lnTo>
                  <a:lnTo>
                    <a:pt x="1512181" y="1353233"/>
                  </a:lnTo>
                  <a:lnTo>
                    <a:pt x="1512181" y="1351060"/>
                  </a:lnTo>
                  <a:lnTo>
                    <a:pt x="1514354" y="1350129"/>
                  </a:lnTo>
                  <a:lnTo>
                    <a:pt x="1514354" y="1347956"/>
                  </a:lnTo>
                  <a:lnTo>
                    <a:pt x="1514354" y="1343609"/>
                  </a:lnTo>
                  <a:lnTo>
                    <a:pt x="1488277" y="1345783"/>
                  </a:lnTo>
                  <a:lnTo>
                    <a:pt x="1463131" y="1347956"/>
                  </a:lnTo>
                  <a:lnTo>
                    <a:pt x="1441400" y="1345783"/>
                  </a:lnTo>
                  <a:lnTo>
                    <a:pt x="1419668" y="1338332"/>
                  </a:lnTo>
                  <a:lnTo>
                    <a:pt x="1402904" y="1323741"/>
                  </a:lnTo>
                  <a:lnTo>
                    <a:pt x="1399800" y="1325914"/>
                  </a:lnTo>
                  <a:lnTo>
                    <a:pt x="1395764" y="1328087"/>
                  </a:lnTo>
                  <a:lnTo>
                    <a:pt x="1393591" y="1329019"/>
                  </a:lnTo>
                  <a:lnTo>
                    <a:pt x="1392660" y="1331192"/>
                  </a:lnTo>
                  <a:lnTo>
                    <a:pt x="1390487" y="1333365"/>
                  </a:lnTo>
                  <a:lnTo>
                    <a:pt x="1386451" y="1336469"/>
                  </a:lnTo>
                  <a:lnTo>
                    <a:pt x="1386451" y="1340815"/>
                  </a:lnTo>
                  <a:lnTo>
                    <a:pt x="1383346" y="1338642"/>
                  </a:lnTo>
                  <a:lnTo>
                    <a:pt x="1381173" y="1336469"/>
                  </a:lnTo>
                  <a:lnTo>
                    <a:pt x="1379000" y="1336469"/>
                  </a:lnTo>
                  <a:lnTo>
                    <a:pt x="1379000" y="1335538"/>
                  </a:lnTo>
                  <a:lnTo>
                    <a:pt x="1381173" y="1335538"/>
                  </a:lnTo>
                  <a:lnTo>
                    <a:pt x="1381173" y="1331192"/>
                  </a:lnTo>
                  <a:lnTo>
                    <a:pt x="1383346" y="1328087"/>
                  </a:lnTo>
                  <a:lnTo>
                    <a:pt x="1378069" y="1328087"/>
                  </a:lnTo>
                  <a:lnTo>
                    <a:pt x="1374033" y="1325914"/>
                  </a:lnTo>
                  <a:lnTo>
                    <a:pt x="1371860" y="1325914"/>
                  </a:lnTo>
                  <a:lnTo>
                    <a:pt x="1368755" y="1325914"/>
                  </a:lnTo>
                  <a:lnTo>
                    <a:pt x="1366582" y="1325914"/>
                  </a:lnTo>
                  <a:lnTo>
                    <a:pt x="1363478" y="1328087"/>
                  </a:lnTo>
                  <a:lnTo>
                    <a:pt x="1343609" y="1331192"/>
                  </a:lnTo>
                  <a:lnTo>
                    <a:pt x="1329950" y="1338642"/>
                  </a:lnTo>
                  <a:lnTo>
                    <a:pt x="1319395" y="1347956"/>
                  </a:lnTo>
                  <a:lnTo>
                    <a:pt x="1310081" y="1358511"/>
                  </a:lnTo>
                  <a:lnTo>
                    <a:pt x="1302941" y="1373102"/>
                  </a:lnTo>
                  <a:lnTo>
                    <a:pt x="1296111" y="1371550"/>
                  </a:lnTo>
                  <a:lnTo>
                    <a:pt x="1290833" y="1370618"/>
                  </a:lnTo>
                  <a:lnTo>
                    <a:pt x="1288660" y="1370618"/>
                  </a:lnTo>
                  <a:lnTo>
                    <a:pt x="1286798" y="1368445"/>
                  </a:lnTo>
                  <a:lnTo>
                    <a:pt x="1283693" y="1364099"/>
                  </a:lnTo>
                  <a:lnTo>
                    <a:pt x="1281520" y="1360994"/>
                  </a:lnTo>
                  <a:lnTo>
                    <a:pt x="1264756" y="1360994"/>
                  </a:lnTo>
                  <a:lnTo>
                    <a:pt x="1255443" y="1364099"/>
                  </a:lnTo>
                  <a:lnTo>
                    <a:pt x="1248302" y="1373412"/>
                  </a:lnTo>
                  <a:lnTo>
                    <a:pt x="1234643" y="1370308"/>
                  </a:lnTo>
                  <a:lnTo>
                    <a:pt x="1223156" y="1364099"/>
                  </a:lnTo>
                  <a:lnTo>
                    <a:pt x="1216016" y="1356648"/>
                  </a:lnTo>
                  <a:lnTo>
                    <a:pt x="1210739" y="1350439"/>
                  </a:lnTo>
                  <a:lnTo>
                    <a:pt x="1201425" y="1341126"/>
                  </a:lnTo>
                  <a:lnTo>
                    <a:pt x="1201425" y="1326535"/>
                  </a:lnTo>
                  <a:lnTo>
                    <a:pt x="1205461" y="1311944"/>
                  </a:lnTo>
                  <a:lnTo>
                    <a:pt x="1208565" y="1300457"/>
                  </a:lnTo>
                  <a:lnTo>
                    <a:pt x="1206392" y="1284625"/>
                  </a:lnTo>
                  <a:lnTo>
                    <a:pt x="1199252" y="1273138"/>
                  </a:lnTo>
                  <a:lnTo>
                    <a:pt x="1190870" y="1267861"/>
                  </a:lnTo>
                  <a:lnTo>
                    <a:pt x="1177210" y="1265688"/>
                  </a:lnTo>
                  <a:lnTo>
                    <a:pt x="1162619" y="1265688"/>
                  </a:lnTo>
                  <a:lnTo>
                    <a:pt x="1147097" y="1267861"/>
                  </a:lnTo>
                  <a:lnTo>
                    <a:pt x="1128470" y="1267861"/>
                  </a:lnTo>
                  <a:lnTo>
                    <a:pt x="1134679" y="1255132"/>
                  </a:lnTo>
                  <a:lnTo>
                    <a:pt x="1139957" y="1238368"/>
                  </a:lnTo>
                  <a:lnTo>
                    <a:pt x="1145234" y="1220362"/>
                  </a:lnTo>
                  <a:lnTo>
                    <a:pt x="1150512" y="1206703"/>
                  </a:lnTo>
                  <a:lnTo>
                    <a:pt x="1157652" y="1199252"/>
                  </a:lnTo>
                  <a:lnTo>
                    <a:pt x="1157652" y="1183420"/>
                  </a:lnTo>
                  <a:lnTo>
                    <a:pt x="1152375" y="1184351"/>
                  </a:lnTo>
                  <a:lnTo>
                    <a:pt x="1148339" y="1184351"/>
                  </a:lnTo>
                  <a:lnTo>
                    <a:pt x="1147097" y="1184351"/>
                  </a:lnTo>
                  <a:lnTo>
                    <a:pt x="1147097" y="1186524"/>
                  </a:lnTo>
                  <a:lnTo>
                    <a:pt x="1144924" y="1186524"/>
                  </a:lnTo>
                  <a:lnTo>
                    <a:pt x="1144924" y="1184351"/>
                  </a:lnTo>
                  <a:lnTo>
                    <a:pt x="1142751" y="1183420"/>
                  </a:lnTo>
                  <a:lnTo>
                    <a:pt x="1141820" y="1179073"/>
                  </a:lnTo>
                  <a:lnTo>
                    <a:pt x="1125055" y="1181246"/>
                  </a:lnTo>
                  <a:lnTo>
                    <a:pt x="1113569" y="1186524"/>
                  </a:lnTo>
                  <a:lnTo>
                    <a:pt x="1105187" y="1195837"/>
                  </a:lnTo>
                  <a:lnTo>
                    <a:pt x="1103014" y="1198942"/>
                  </a:lnTo>
                  <a:lnTo>
                    <a:pt x="1100841" y="1205151"/>
                  </a:lnTo>
                  <a:lnTo>
                    <a:pt x="1098668" y="1210428"/>
                  </a:lnTo>
                  <a:lnTo>
                    <a:pt x="1097736" y="1215706"/>
                  </a:lnTo>
                  <a:lnTo>
                    <a:pt x="1093700" y="1220052"/>
                  </a:lnTo>
                  <a:lnTo>
                    <a:pt x="1093700" y="1220983"/>
                  </a:lnTo>
                  <a:lnTo>
                    <a:pt x="1091527" y="1220983"/>
                  </a:lnTo>
                  <a:lnTo>
                    <a:pt x="1090596" y="1220983"/>
                  </a:lnTo>
                  <a:lnTo>
                    <a:pt x="1086560" y="1220983"/>
                  </a:lnTo>
                  <a:lnTo>
                    <a:pt x="1084387" y="1220983"/>
                  </a:lnTo>
                  <a:lnTo>
                    <a:pt x="1081283" y="1223157"/>
                  </a:lnTo>
                  <a:lnTo>
                    <a:pt x="1066692" y="1230607"/>
                  </a:lnTo>
                  <a:lnTo>
                    <a:pt x="1057378" y="1234953"/>
                  </a:lnTo>
                  <a:lnTo>
                    <a:pt x="1052101" y="1232780"/>
                  </a:lnTo>
                  <a:lnTo>
                    <a:pt x="1048065" y="1230607"/>
                  </a:lnTo>
                  <a:lnTo>
                    <a:pt x="1044960" y="1227503"/>
                  </a:lnTo>
                  <a:lnTo>
                    <a:pt x="1037820" y="1225330"/>
                  </a:lnTo>
                  <a:lnTo>
                    <a:pt x="1025402" y="1223157"/>
                  </a:lnTo>
                  <a:lnTo>
                    <a:pt x="1013916" y="1201115"/>
                  </a:lnTo>
                  <a:lnTo>
                    <a:pt x="1006776" y="1183109"/>
                  </a:lnTo>
                  <a:lnTo>
                    <a:pt x="1005844" y="1164172"/>
                  </a:lnTo>
                  <a:lnTo>
                    <a:pt x="1005844" y="1146166"/>
                  </a:lnTo>
                  <a:lnTo>
                    <a:pt x="1012985" y="1121951"/>
                  </a:lnTo>
                  <a:lnTo>
                    <a:pt x="1016089" y="1111396"/>
                  </a:lnTo>
                  <a:lnTo>
                    <a:pt x="1016089" y="1102083"/>
                  </a:lnTo>
                  <a:lnTo>
                    <a:pt x="1013916" y="1094632"/>
                  </a:lnTo>
                  <a:lnTo>
                    <a:pt x="1017952" y="1085319"/>
                  </a:lnTo>
                  <a:lnTo>
                    <a:pt x="1025092" y="1074764"/>
                  </a:lnTo>
                  <a:lnTo>
                    <a:pt x="1035647" y="1067313"/>
                  </a:lnTo>
                  <a:lnTo>
                    <a:pt x="1048065" y="1061104"/>
                  </a:lnTo>
                  <a:lnTo>
                    <a:pt x="1059551" y="1057999"/>
                  </a:lnTo>
                  <a:lnTo>
                    <a:pt x="1076316" y="1055826"/>
                  </a:lnTo>
                  <a:lnTo>
                    <a:pt x="1091838" y="1055826"/>
                  </a:lnTo>
                  <a:lnTo>
                    <a:pt x="1108602" y="1060173"/>
                  </a:lnTo>
                  <a:lnTo>
                    <a:pt x="1121020" y="1065450"/>
                  </a:lnTo>
                  <a:lnTo>
                    <a:pt x="1137784" y="1065450"/>
                  </a:lnTo>
                  <a:lnTo>
                    <a:pt x="1134679" y="1060173"/>
                  </a:lnTo>
                  <a:lnTo>
                    <a:pt x="1132506" y="1055826"/>
                  </a:lnTo>
                  <a:lnTo>
                    <a:pt x="1130333" y="1052722"/>
                  </a:lnTo>
                  <a:lnTo>
                    <a:pt x="1127229" y="1047444"/>
                  </a:lnTo>
                  <a:lnTo>
                    <a:pt x="1125055" y="1041235"/>
                  </a:lnTo>
                  <a:lnTo>
                    <a:pt x="1128160" y="1041235"/>
                  </a:lnTo>
                  <a:lnTo>
                    <a:pt x="1128160" y="1038131"/>
                  </a:lnTo>
                  <a:lnTo>
                    <a:pt x="1149891" y="1041235"/>
                  </a:lnTo>
                  <a:lnTo>
                    <a:pt x="1168518" y="1048686"/>
                  </a:lnTo>
                  <a:lnTo>
                    <a:pt x="1184040" y="1056137"/>
                  </a:lnTo>
                  <a:lnTo>
                    <a:pt x="1197700" y="1058310"/>
                  </a:lnTo>
                  <a:lnTo>
                    <a:pt x="1208255" y="1067623"/>
                  </a:lnTo>
                  <a:lnTo>
                    <a:pt x="1219741" y="1083456"/>
                  </a:lnTo>
                  <a:lnTo>
                    <a:pt x="1230297" y="1105498"/>
                  </a:lnTo>
                  <a:lnTo>
                    <a:pt x="1239610" y="1126608"/>
                  </a:lnTo>
                  <a:lnTo>
                    <a:pt x="1244888" y="1142441"/>
                  </a:lnTo>
                  <a:lnTo>
                    <a:pt x="1257305" y="1146787"/>
                  </a:lnTo>
                  <a:lnTo>
                    <a:pt x="1257305" y="1142441"/>
                  </a:lnTo>
                  <a:lnTo>
                    <a:pt x="1261341" y="1142441"/>
                  </a:lnTo>
                  <a:lnTo>
                    <a:pt x="1257305" y="1124435"/>
                  </a:lnTo>
                  <a:lnTo>
                    <a:pt x="1250165" y="1104566"/>
                  </a:lnTo>
                  <a:lnTo>
                    <a:pt x="1243025" y="1083456"/>
                  </a:lnTo>
                  <a:lnTo>
                    <a:pt x="1237747" y="1063587"/>
                  </a:lnTo>
                  <a:lnTo>
                    <a:pt x="1235574" y="1045581"/>
                  </a:lnTo>
                  <a:lnTo>
                    <a:pt x="1241783" y="1030991"/>
                  </a:lnTo>
                  <a:lnTo>
                    <a:pt x="1247061" y="1012053"/>
                  </a:lnTo>
                  <a:lnTo>
                    <a:pt x="1257616" y="997462"/>
                  </a:lnTo>
                  <a:lnTo>
                    <a:pt x="1274380" y="986907"/>
                  </a:lnTo>
                  <a:lnTo>
                    <a:pt x="1291144" y="975421"/>
                  </a:lnTo>
                  <a:lnTo>
                    <a:pt x="1306666" y="967039"/>
                  </a:lnTo>
                  <a:lnTo>
                    <a:pt x="1321257" y="957725"/>
                  </a:lnTo>
                  <a:lnTo>
                    <a:pt x="1321257" y="952448"/>
                  </a:lnTo>
                  <a:lnTo>
                    <a:pt x="1318153" y="940961"/>
                  </a:lnTo>
                  <a:lnTo>
                    <a:pt x="1314117" y="928233"/>
                  </a:lnTo>
                  <a:lnTo>
                    <a:pt x="1311012" y="917678"/>
                  </a:lnTo>
                  <a:lnTo>
                    <a:pt x="1308839" y="913332"/>
                  </a:lnTo>
                  <a:lnTo>
                    <a:pt x="1308839" y="904018"/>
                  </a:lnTo>
                  <a:lnTo>
                    <a:pt x="1314117" y="908364"/>
                  </a:lnTo>
                  <a:lnTo>
                    <a:pt x="1316290" y="910538"/>
                  </a:lnTo>
                  <a:lnTo>
                    <a:pt x="1320326" y="911469"/>
                  </a:lnTo>
                  <a:lnTo>
                    <a:pt x="1321257" y="913642"/>
                  </a:lnTo>
                  <a:lnTo>
                    <a:pt x="1325293" y="917988"/>
                  </a:lnTo>
                  <a:lnTo>
                    <a:pt x="1337711" y="886633"/>
                  </a:lnTo>
                  <a:lnTo>
                    <a:pt x="1348266" y="857141"/>
                  </a:lnTo>
                  <a:lnTo>
                    <a:pt x="1362857" y="854968"/>
                  </a:lnTo>
                  <a:lnTo>
                    <a:pt x="1376517" y="852795"/>
                  </a:lnTo>
                  <a:lnTo>
                    <a:pt x="1391108" y="849690"/>
                  </a:lnTo>
                  <a:lnTo>
                    <a:pt x="1401663" y="840377"/>
                  </a:lnTo>
                  <a:lnTo>
                    <a:pt x="1408803" y="840377"/>
                  </a:lnTo>
                  <a:lnTo>
                    <a:pt x="1405698" y="837272"/>
                  </a:lnTo>
                  <a:lnTo>
                    <a:pt x="1398558" y="835099"/>
                  </a:lnTo>
                  <a:lnTo>
                    <a:pt x="1392349" y="832926"/>
                  </a:lnTo>
                  <a:lnTo>
                    <a:pt x="1398558" y="814920"/>
                  </a:lnTo>
                  <a:lnTo>
                    <a:pt x="1406940" y="802192"/>
                  </a:lnTo>
                  <a:lnTo>
                    <a:pt x="1420600" y="792879"/>
                  </a:lnTo>
                  <a:lnTo>
                    <a:pt x="1435191" y="785428"/>
                  </a:lnTo>
                  <a:lnTo>
                    <a:pt x="1448850" y="780150"/>
                  </a:lnTo>
                  <a:lnTo>
                    <a:pt x="1465615" y="772700"/>
                  </a:lnTo>
                  <a:lnTo>
                    <a:pt x="1478032" y="763386"/>
                  </a:lnTo>
                  <a:lnTo>
                    <a:pt x="1478032" y="761213"/>
                  </a:lnTo>
                  <a:lnTo>
                    <a:pt x="1478032" y="759040"/>
                  </a:lnTo>
                  <a:lnTo>
                    <a:pt x="1480205" y="759040"/>
                  </a:lnTo>
                  <a:lnTo>
                    <a:pt x="1482379" y="759040"/>
                  </a:lnTo>
                  <a:lnTo>
                    <a:pt x="1482379" y="763386"/>
                  </a:lnTo>
                  <a:lnTo>
                    <a:pt x="1489519" y="766491"/>
                  </a:lnTo>
                  <a:lnTo>
                    <a:pt x="1482379" y="775804"/>
                  </a:lnTo>
                  <a:lnTo>
                    <a:pt x="1475238" y="781082"/>
                  </a:lnTo>
                  <a:lnTo>
                    <a:pt x="1465925" y="787291"/>
                  </a:lnTo>
                  <a:lnTo>
                    <a:pt x="1465925" y="803123"/>
                  </a:lnTo>
                  <a:lnTo>
                    <a:pt x="1484552" y="795673"/>
                  </a:lnTo>
                  <a:lnTo>
                    <a:pt x="1499143" y="785117"/>
                  </a:lnTo>
                  <a:lnTo>
                    <a:pt x="1509698" y="772389"/>
                  </a:lnTo>
                  <a:lnTo>
                    <a:pt x="1511871" y="770216"/>
                  </a:lnTo>
                  <a:lnTo>
                    <a:pt x="1511871" y="768043"/>
                  </a:lnTo>
                  <a:lnTo>
                    <a:pt x="1514044" y="768043"/>
                  </a:lnTo>
                  <a:lnTo>
                    <a:pt x="1514044" y="765870"/>
                  </a:lnTo>
                  <a:lnTo>
                    <a:pt x="1514044" y="762765"/>
                  </a:lnTo>
                  <a:lnTo>
                    <a:pt x="1504731" y="751279"/>
                  </a:lnTo>
                  <a:lnTo>
                    <a:pt x="1497590" y="740724"/>
                  </a:lnTo>
                  <a:lnTo>
                    <a:pt x="1488277" y="730169"/>
                  </a:lnTo>
                  <a:lnTo>
                    <a:pt x="1473686" y="722718"/>
                  </a:lnTo>
                  <a:lnTo>
                    <a:pt x="1475859" y="711231"/>
                  </a:lnTo>
                  <a:lnTo>
                    <a:pt x="1478032" y="703781"/>
                  </a:lnTo>
                  <a:lnTo>
                    <a:pt x="1481137" y="696330"/>
                  </a:lnTo>
                  <a:lnTo>
                    <a:pt x="1486414" y="687017"/>
                  </a:lnTo>
                  <a:lnTo>
                    <a:pt x="1483310" y="683912"/>
                  </a:lnTo>
                  <a:lnTo>
                    <a:pt x="1479274" y="681739"/>
                  </a:lnTo>
                  <a:lnTo>
                    <a:pt x="1476170" y="679566"/>
                  </a:lnTo>
                  <a:lnTo>
                    <a:pt x="1473996" y="678635"/>
                  </a:lnTo>
                  <a:lnTo>
                    <a:pt x="1471823" y="674288"/>
                  </a:lnTo>
                  <a:lnTo>
                    <a:pt x="1470892" y="671184"/>
                  </a:lnTo>
                  <a:lnTo>
                    <a:pt x="1446988" y="676461"/>
                  </a:lnTo>
                  <a:lnTo>
                    <a:pt x="1425257" y="685775"/>
                  </a:lnTo>
                  <a:lnTo>
                    <a:pt x="1407561" y="698503"/>
                  </a:lnTo>
                  <a:lnTo>
                    <a:pt x="1403525" y="698503"/>
                  </a:lnTo>
                  <a:lnTo>
                    <a:pt x="1418116" y="681739"/>
                  </a:lnTo>
                  <a:lnTo>
                    <a:pt x="1437985" y="672426"/>
                  </a:lnTo>
                  <a:lnTo>
                    <a:pt x="1459716" y="664975"/>
                  </a:lnTo>
                  <a:lnTo>
                    <a:pt x="1485793" y="661870"/>
                  </a:lnTo>
                  <a:lnTo>
                    <a:pt x="1510940" y="657524"/>
                  </a:lnTo>
                  <a:lnTo>
                    <a:pt x="1537017" y="654420"/>
                  </a:lnTo>
                  <a:lnTo>
                    <a:pt x="1562163" y="649142"/>
                  </a:lnTo>
                  <a:lnTo>
                    <a:pt x="1583894" y="639829"/>
                  </a:lnTo>
                  <a:lnTo>
                    <a:pt x="1603763" y="625238"/>
                  </a:lnTo>
                  <a:lnTo>
                    <a:pt x="1603763" y="622133"/>
                  </a:lnTo>
                  <a:lnTo>
                    <a:pt x="1603763" y="619960"/>
                  </a:lnTo>
                  <a:lnTo>
                    <a:pt x="1603763" y="615614"/>
                  </a:lnTo>
                  <a:lnTo>
                    <a:pt x="1601590" y="614683"/>
                  </a:lnTo>
                  <a:lnTo>
                    <a:pt x="1601590" y="610336"/>
                  </a:lnTo>
                  <a:lnTo>
                    <a:pt x="1601590" y="607232"/>
                  </a:lnTo>
                  <a:lnTo>
                    <a:pt x="1603763" y="601023"/>
                  </a:lnTo>
                  <a:lnTo>
                    <a:pt x="1601590" y="595746"/>
                  </a:lnTo>
                  <a:lnTo>
                    <a:pt x="1601590" y="590468"/>
                  </a:lnTo>
                  <a:lnTo>
                    <a:pt x="1600658" y="586122"/>
                  </a:lnTo>
                  <a:lnTo>
                    <a:pt x="1600658" y="580844"/>
                  </a:lnTo>
                  <a:lnTo>
                    <a:pt x="1581721" y="580844"/>
                  </a:lnTo>
                  <a:lnTo>
                    <a:pt x="1579548" y="566253"/>
                  </a:lnTo>
                  <a:lnTo>
                    <a:pt x="1572408" y="556940"/>
                  </a:lnTo>
                  <a:lnTo>
                    <a:pt x="1565268" y="549489"/>
                  </a:lnTo>
                  <a:lnTo>
                    <a:pt x="1552850" y="546385"/>
                  </a:lnTo>
                  <a:lnTo>
                    <a:pt x="1543536" y="556940"/>
                  </a:lnTo>
                  <a:lnTo>
                    <a:pt x="1532981" y="566253"/>
                  </a:lnTo>
                  <a:lnTo>
                    <a:pt x="1521495" y="577740"/>
                  </a:lnTo>
                  <a:lnTo>
                    <a:pt x="1518390" y="577740"/>
                  </a:lnTo>
                  <a:lnTo>
                    <a:pt x="1530808" y="558803"/>
                  </a:lnTo>
                  <a:lnTo>
                    <a:pt x="1542295" y="536761"/>
                  </a:lnTo>
                  <a:lnTo>
                    <a:pt x="1528635" y="526206"/>
                  </a:lnTo>
                  <a:lnTo>
                    <a:pt x="1525531" y="516892"/>
                  </a:lnTo>
                  <a:lnTo>
                    <a:pt x="1527704" y="506337"/>
                  </a:lnTo>
                  <a:lnTo>
                    <a:pt x="1527704" y="494851"/>
                  </a:lnTo>
                  <a:lnTo>
                    <a:pt x="1521495" y="480260"/>
                  </a:lnTo>
                  <a:lnTo>
                    <a:pt x="1520563" y="478087"/>
                  </a:lnTo>
                  <a:lnTo>
                    <a:pt x="1516528" y="478087"/>
                  </a:lnTo>
                  <a:lnTo>
                    <a:pt x="1514354" y="478087"/>
                  </a:lnTo>
                  <a:lnTo>
                    <a:pt x="1511250" y="478087"/>
                  </a:lnTo>
                  <a:lnTo>
                    <a:pt x="1507214" y="478087"/>
                  </a:lnTo>
                  <a:lnTo>
                    <a:pt x="1506283" y="477155"/>
                  </a:lnTo>
                  <a:lnTo>
                    <a:pt x="1504110" y="472809"/>
                  </a:lnTo>
                  <a:lnTo>
                    <a:pt x="1501937" y="469705"/>
                  </a:lnTo>
                  <a:lnTo>
                    <a:pt x="1504110" y="465358"/>
                  </a:lnTo>
                  <a:lnTo>
                    <a:pt x="1504110" y="462254"/>
                  </a:lnTo>
                  <a:lnTo>
                    <a:pt x="1506283" y="460081"/>
                  </a:lnTo>
                  <a:lnTo>
                    <a:pt x="1506283" y="455734"/>
                  </a:lnTo>
                  <a:lnTo>
                    <a:pt x="1506283" y="452630"/>
                  </a:lnTo>
                  <a:lnTo>
                    <a:pt x="1500074" y="443317"/>
                  </a:lnTo>
                  <a:lnTo>
                    <a:pt x="1492934" y="435866"/>
                  </a:lnTo>
                  <a:lnTo>
                    <a:pt x="1485793" y="428415"/>
                  </a:lnTo>
                  <a:lnTo>
                    <a:pt x="1480516" y="420964"/>
                  </a:lnTo>
                  <a:lnTo>
                    <a:pt x="1478343" y="408236"/>
                  </a:lnTo>
                  <a:lnTo>
                    <a:pt x="1463752" y="419723"/>
                  </a:lnTo>
                  <a:lnTo>
                    <a:pt x="1455370" y="434314"/>
                  </a:lnTo>
                  <a:lnTo>
                    <a:pt x="1443883" y="447973"/>
                  </a:lnTo>
                  <a:lnTo>
                    <a:pt x="1429292" y="459460"/>
                  </a:lnTo>
                  <a:lnTo>
                    <a:pt x="1428361" y="455114"/>
                  </a:lnTo>
                  <a:lnTo>
                    <a:pt x="1422152" y="454182"/>
                  </a:lnTo>
                  <a:lnTo>
                    <a:pt x="1419048" y="449836"/>
                  </a:lnTo>
                  <a:lnTo>
                    <a:pt x="1415012" y="447663"/>
                  </a:lnTo>
                  <a:lnTo>
                    <a:pt x="1411907" y="444558"/>
                  </a:lnTo>
                  <a:lnTo>
                    <a:pt x="1409734" y="442385"/>
                  </a:lnTo>
                  <a:lnTo>
                    <a:pt x="1406630" y="431830"/>
                  </a:lnTo>
                  <a:lnTo>
                    <a:pt x="1404457" y="417239"/>
                  </a:lnTo>
                  <a:lnTo>
                    <a:pt x="1400421" y="400475"/>
                  </a:lnTo>
                  <a:lnTo>
                    <a:pt x="1399490" y="391162"/>
                  </a:lnTo>
                  <a:lnTo>
                    <a:pt x="1395454" y="388057"/>
                  </a:lnTo>
                  <a:lnTo>
                    <a:pt x="1390176" y="385884"/>
                  </a:lnTo>
                  <a:lnTo>
                    <a:pt x="1384899" y="383711"/>
                  </a:lnTo>
                  <a:lnTo>
                    <a:pt x="1378690" y="383711"/>
                  </a:lnTo>
                  <a:lnTo>
                    <a:pt x="1375585" y="382780"/>
                  </a:lnTo>
                  <a:lnTo>
                    <a:pt x="1370308" y="378433"/>
                  </a:lnTo>
                  <a:lnTo>
                    <a:pt x="1364099" y="369120"/>
                  </a:lnTo>
                  <a:lnTo>
                    <a:pt x="1358821" y="356392"/>
                  </a:lnTo>
                  <a:lnTo>
                    <a:pt x="1353544" y="347078"/>
                  </a:lnTo>
                  <a:lnTo>
                    <a:pt x="1329639" y="351425"/>
                  </a:lnTo>
                  <a:lnTo>
                    <a:pt x="1307908" y="351425"/>
                  </a:lnTo>
                  <a:lnTo>
                    <a:pt x="1282762" y="347078"/>
                  </a:lnTo>
                  <a:lnTo>
                    <a:pt x="1282762" y="351425"/>
                  </a:lnTo>
                  <a:lnTo>
                    <a:pt x="1278726" y="351425"/>
                  </a:lnTo>
                  <a:lnTo>
                    <a:pt x="1280899" y="369431"/>
                  </a:lnTo>
                  <a:lnTo>
                    <a:pt x="1286177" y="388368"/>
                  </a:lnTo>
                  <a:lnTo>
                    <a:pt x="1290213" y="405132"/>
                  </a:lnTo>
                  <a:lnTo>
                    <a:pt x="1293317" y="420964"/>
                  </a:lnTo>
                  <a:lnTo>
                    <a:pt x="1290213" y="435555"/>
                  </a:lnTo>
                  <a:lnTo>
                    <a:pt x="1283072" y="448284"/>
                  </a:lnTo>
                  <a:lnTo>
                    <a:pt x="1285246" y="454493"/>
                  </a:lnTo>
                  <a:lnTo>
                    <a:pt x="1288350" y="457597"/>
                  </a:lnTo>
                  <a:lnTo>
                    <a:pt x="1292386" y="459770"/>
                  </a:lnTo>
                  <a:lnTo>
                    <a:pt x="1295490" y="461943"/>
                  </a:lnTo>
                  <a:lnTo>
                    <a:pt x="1302630" y="465048"/>
                  </a:lnTo>
                  <a:lnTo>
                    <a:pt x="1302630" y="481812"/>
                  </a:lnTo>
                  <a:lnTo>
                    <a:pt x="1304804" y="498576"/>
                  </a:lnTo>
                  <a:lnTo>
                    <a:pt x="1302630" y="509131"/>
                  </a:lnTo>
                  <a:lnTo>
                    <a:pt x="1297353" y="528068"/>
                  </a:lnTo>
                  <a:lnTo>
                    <a:pt x="1288040" y="542659"/>
                  </a:lnTo>
                  <a:lnTo>
                    <a:pt x="1273449" y="553214"/>
                  </a:lnTo>
                  <a:lnTo>
                    <a:pt x="1258858" y="560665"/>
                  </a:lnTo>
                  <a:lnTo>
                    <a:pt x="1264135" y="577429"/>
                  </a:lnTo>
                  <a:lnTo>
                    <a:pt x="1268171" y="595435"/>
                  </a:lnTo>
                  <a:lnTo>
                    <a:pt x="1270344" y="610026"/>
                  </a:lnTo>
                  <a:lnTo>
                    <a:pt x="1270344" y="621513"/>
                  </a:lnTo>
                  <a:lnTo>
                    <a:pt x="1268171" y="624617"/>
                  </a:lnTo>
                  <a:lnTo>
                    <a:pt x="1268171" y="626790"/>
                  </a:lnTo>
                  <a:lnTo>
                    <a:pt x="1268171" y="628963"/>
                  </a:lnTo>
                  <a:lnTo>
                    <a:pt x="1265998" y="628963"/>
                  </a:lnTo>
                  <a:lnTo>
                    <a:pt x="1262893" y="629895"/>
                  </a:lnTo>
                  <a:lnTo>
                    <a:pt x="1260720" y="629895"/>
                  </a:lnTo>
                  <a:lnTo>
                    <a:pt x="1258547" y="632068"/>
                  </a:lnTo>
                  <a:lnTo>
                    <a:pt x="1256374" y="632068"/>
                  </a:lnTo>
                  <a:lnTo>
                    <a:pt x="1253270" y="634241"/>
                  </a:lnTo>
                  <a:lnTo>
                    <a:pt x="1242714" y="617477"/>
                  </a:lnTo>
                  <a:lnTo>
                    <a:pt x="1233401" y="604748"/>
                  </a:lnTo>
                  <a:lnTo>
                    <a:pt x="1229365" y="593262"/>
                  </a:lnTo>
                  <a:lnTo>
                    <a:pt x="1228434" y="582707"/>
                  </a:lnTo>
                  <a:lnTo>
                    <a:pt x="1226261" y="571220"/>
                  </a:lnTo>
                  <a:lnTo>
                    <a:pt x="1222225" y="556629"/>
                  </a:lnTo>
                  <a:lnTo>
                    <a:pt x="1219121" y="536761"/>
                  </a:lnTo>
                  <a:lnTo>
                    <a:pt x="1189939" y="529310"/>
                  </a:lnTo>
                  <a:lnTo>
                    <a:pt x="1185903" y="529310"/>
                  </a:lnTo>
                  <a:lnTo>
                    <a:pt x="1184972" y="531483"/>
                  </a:lnTo>
                  <a:lnTo>
                    <a:pt x="1180936" y="533656"/>
                  </a:lnTo>
                  <a:lnTo>
                    <a:pt x="1178763" y="535829"/>
                  </a:lnTo>
                  <a:lnTo>
                    <a:pt x="1175658" y="535829"/>
                  </a:lnTo>
                  <a:lnTo>
                    <a:pt x="1171622" y="536761"/>
                  </a:lnTo>
                  <a:lnTo>
                    <a:pt x="1168518" y="535829"/>
                  </a:lnTo>
                  <a:lnTo>
                    <a:pt x="1163240" y="533656"/>
                  </a:lnTo>
                  <a:lnTo>
                    <a:pt x="1150202" y="527137"/>
                  </a:lnTo>
                  <a:lnTo>
                    <a:pt x="1139646" y="515650"/>
                  </a:lnTo>
                  <a:lnTo>
                    <a:pt x="1127229" y="502922"/>
                  </a:lnTo>
                  <a:lnTo>
                    <a:pt x="1113569" y="493609"/>
                  </a:lnTo>
                  <a:lnTo>
                    <a:pt x="1101151" y="488331"/>
                  </a:lnTo>
                  <a:lnTo>
                    <a:pt x="1088733" y="490504"/>
                  </a:lnTo>
                  <a:lnTo>
                    <a:pt x="1083456" y="488331"/>
                  </a:lnTo>
                  <a:lnTo>
                    <a:pt x="1077247" y="488331"/>
                  </a:lnTo>
                  <a:lnTo>
                    <a:pt x="1076316" y="486158"/>
                  </a:lnTo>
                  <a:lnTo>
                    <a:pt x="1076316" y="485227"/>
                  </a:lnTo>
                  <a:lnTo>
                    <a:pt x="1076316" y="483054"/>
                  </a:lnTo>
                  <a:lnTo>
                    <a:pt x="1076316" y="480881"/>
                  </a:lnTo>
                  <a:lnTo>
                    <a:pt x="1076316" y="477776"/>
                  </a:lnTo>
                  <a:lnTo>
                    <a:pt x="1076316" y="473430"/>
                  </a:lnTo>
                  <a:lnTo>
                    <a:pt x="1072280" y="470325"/>
                  </a:lnTo>
                  <a:lnTo>
                    <a:pt x="1072280" y="461012"/>
                  </a:lnTo>
                  <a:lnTo>
                    <a:pt x="1052411" y="461012"/>
                  </a:lnTo>
                  <a:lnTo>
                    <a:pt x="1052411" y="441143"/>
                  </a:lnTo>
                  <a:lnTo>
                    <a:pt x="1048375" y="421275"/>
                  </a:lnTo>
                  <a:lnTo>
                    <a:pt x="1042166" y="406684"/>
                  </a:lnTo>
                  <a:lnTo>
                    <a:pt x="1042166" y="382469"/>
                  </a:lnTo>
                  <a:lnTo>
                    <a:pt x="1048375" y="365705"/>
                  </a:lnTo>
                  <a:lnTo>
                    <a:pt x="1057689" y="355150"/>
                  </a:lnTo>
                  <a:lnTo>
                    <a:pt x="1072280" y="345837"/>
                  </a:lnTo>
                  <a:lnTo>
                    <a:pt x="1089044" y="340559"/>
                  </a:lnTo>
                  <a:lnTo>
                    <a:pt x="1089044" y="335282"/>
                  </a:lnTo>
                  <a:lnTo>
                    <a:pt x="1086871" y="329073"/>
                  </a:lnTo>
                  <a:lnTo>
                    <a:pt x="1086871" y="325968"/>
                  </a:lnTo>
                  <a:lnTo>
                    <a:pt x="1084698" y="323795"/>
                  </a:lnTo>
                  <a:lnTo>
                    <a:pt x="1083766" y="320691"/>
                  </a:lnTo>
                  <a:lnTo>
                    <a:pt x="1081593" y="316344"/>
                  </a:lnTo>
                  <a:lnTo>
                    <a:pt x="1072280" y="316344"/>
                  </a:lnTo>
                  <a:lnTo>
                    <a:pt x="1072280" y="313240"/>
                  </a:lnTo>
                  <a:lnTo>
                    <a:pt x="1079420" y="314171"/>
                  </a:lnTo>
                  <a:lnTo>
                    <a:pt x="1083456" y="316344"/>
                  </a:lnTo>
                  <a:lnTo>
                    <a:pt x="1088733" y="318517"/>
                  </a:lnTo>
                  <a:lnTo>
                    <a:pt x="1094011" y="320691"/>
                  </a:lnTo>
                  <a:lnTo>
                    <a:pt x="1101151" y="320691"/>
                  </a:lnTo>
                  <a:lnTo>
                    <a:pt x="1105187" y="307031"/>
                  </a:lnTo>
                  <a:lnTo>
                    <a:pt x="1108291" y="298649"/>
                  </a:lnTo>
                  <a:lnTo>
                    <a:pt x="1115432" y="291198"/>
                  </a:lnTo>
                  <a:lnTo>
                    <a:pt x="1124745" y="283748"/>
                  </a:lnTo>
                  <a:lnTo>
                    <a:pt x="1126918" y="279401"/>
                  </a:lnTo>
                  <a:lnTo>
                    <a:pt x="1130023" y="276297"/>
                  </a:lnTo>
                  <a:lnTo>
                    <a:pt x="1132196" y="271951"/>
                  </a:lnTo>
                  <a:lnTo>
                    <a:pt x="1132196" y="266673"/>
                  </a:lnTo>
                  <a:lnTo>
                    <a:pt x="1130023" y="261395"/>
                  </a:lnTo>
                  <a:lnTo>
                    <a:pt x="1127849" y="259222"/>
                  </a:lnTo>
                  <a:lnTo>
                    <a:pt x="1126918" y="257049"/>
                  </a:lnTo>
                  <a:lnTo>
                    <a:pt x="1124745" y="254876"/>
                  </a:lnTo>
                  <a:lnTo>
                    <a:pt x="1120709" y="251772"/>
                  </a:lnTo>
                  <a:lnTo>
                    <a:pt x="1117605" y="251772"/>
                  </a:lnTo>
                  <a:lnTo>
                    <a:pt x="1117605" y="247736"/>
                  </a:lnTo>
                  <a:lnTo>
                    <a:pt x="1135300" y="252082"/>
                  </a:lnTo>
                  <a:lnTo>
                    <a:pt x="1147718" y="259533"/>
                  </a:lnTo>
                  <a:lnTo>
                    <a:pt x="1157031" y="259533"/>
                  </a:lnTo>
                  <a:lnTo>
                    <a:pt x="1159205" y="241527"/>
                  </a:lnTo>
                  <a:lnTo>
                    <a:pt x="1161378" y="230040"/>
                  </a:lnTo>
                  <a:lnTo>
                    <a:pt x="1157342" y="219485"/>
                  </a:lnTo>
                  <a:lnTo>
                    <a:pt x="1157342" y="215139"/>
                  </a:lnTo>
                  <a:lnTo>
                    <a:pt x="1208255" y="212034"/>
                  </a:lnTo>
                  <a:lnTo>
                    <a:pt x="1208255" y="205826"/>
                  </a:lnTo>
                  <a:lnTo>
                    <a:pt x="1206082" y="202721"/>
                  </a:lnTo>
                  <a:lnTo>
                    <a:pt x="1206082" y="200548"/>
                  </a:lnTo>
                  <a:lnTo>
                    <a:pt x="1205151" y="198375"/>
                  </a:lnTo>
                  <a:lnTo>
                    <a:pt x="1202977" y="197444"/>
                  </a:lnTo>
                  <a:lnTo>
                    <a:pt x="1200804" y="195270"/>
                  </a:lnTo>
                  <a:lnTo>
                    <a:pt x="1200804" y="190924"/>
                  </a:lnTo>
                  <a:lnTo>
                    <a:pt x="1206082" y="193097"/>
                  </a:lnTo>
                  <a:lnTo>
                    <a:pt x="1210118" y="195270"/>
                  </a:lnTo>
                  <a:lnTo>
                    <a:pt x="1213222" y="197444"/>
                  </a:lnTo>
                  <a:lnTo>
                    <a:pt x="1217258" y="198375"/>
                  </a:lnTo>
                  <a:lnTo>
                    <a:pt x="1224398" y="198375"/>
                  </a:lnTo>
                  <a:lnTo>
                    <a:pt x="1226571" y="187820"/>
                  </a:lnTo>
                  <a:lnTo>
                    <a:pt x="1229676" y="173229"/>
                  </a:lnTo>
                  <a:lnTo>
                    <a:pt x="1233711" y="154292"/>
                  </a:lnTo>
                  <a:lnTo>
                    <a:pt x="1234643" y="138459"/>
                  </a:lnTo>
                  <a:lnTo>
                    <a:pt x="1236816" y="125731"/>
                  </a:lnTo>
                  <a:lnTo>
                    <a:pt x="1236816" y="118280"/>
                  </a:lnTo>
                  <a:lnTo>
                    <a:pt x="1236816" y="103689"/>
                  </a:lnTo>
                  <a:lnTo>
                    <a:pt x="1229676" y="97480"/>
                  </a:lnTo>
                  <a:lnTo>
                    <a:pt x="1220362" y="99653"/>
                  </a:lnTo>
                  <a:lnTo>
                    <a:pt x="1211980" y="103999"/>
                  </a:lnTo>
                  <a:lnTo>
                    <a:pt x="1204840" y="103999"/>
                  </a:lnTo>
                  <a:lnTo>
                    <a:pt x="1202667" y="99653"/>
                  </a:lnTo>
                  <a:lnTo>
                    <a:pt x="1198631" y="97480"/>
                  </a:lnTo>
                  <a:lnTo>
                    <a:pt x="1197700" y="94376"/>
                  </a:lnTo>
                  <a:lnTo>
                    <a:pt x="1193664" y="90029"/>
                  </a:lnTo>
                  <a:lnTo>
                    <a:pt x="1191491" y="86925"/>
                  </a:lnTo>
                  <a:lnTo>
                    <a:pt x="1188386" y="84752"/>
                  </a:lnTo>
                  <a:lnTo>
                    <a:pt x="1184351" y="82579"/>
                  </a:lnTo>
                  <a:lnTo>
                    <a:pt x="1181246" y="82579"/>
                  </a:lnTo>
                  <a:lnTo>
                    <a:pt x="1177210" y="86925"/>
                  </a:lnTo>
                  <a:lnTo>
                    <a:pt x="1166655" y="96238"/>
                  </a:lnTo>
                  <a:lnTo>
                    <a:pt x="1162619" y="108966"/>
                  </a:lnTo>
                  <a:lnTo>
                    <a:pt x="1162619" y="121695"/>
                  </a:lnTo>
                  <a:lnTo>
                    <a:pt x="1164793" y="134423"/>
                  </a:lnTo>
                  <a:lnTo>
                    <a:pt x="1164793" y="147151"/>
                  </a:lnTo>
                  <a:lnTo>
                    <a:pt x="1157652" y="163915"/>
                  </a:lnTo>
                  <a:lnTo>
                    <a:pt x="1148339" y="178506"/>
                  </a:lnTo>
                  <a:lnTo>
                    <a:pt x="1143061" y="176333"/>
                  </a:lnTo>
                  <a:lnTo>
                    <a:pt x="1139957" y="175402"/>
                  </a:lnTo>
                  <a:lnTo>
                    <a:pt x="1137784" y="173229"/>
                  </a:lnTo>
                  <a:lnTo>
                    <a:pt x="1135611" y="171056"/>
                  </a:lnTo>
                  <a:lnTo>
                    <a:pt x="1132506" y="167951"/>
                  </a:lnTo>
                  <a:lnTo>
                    <a:pt x="1134679" y="161742"/>
                  </a:lnTo>
                  <a:lnTo>
                    <a:pt x="1134679" y="153360"/>
                  </a:lnTo>
                  <a:lnTo>
                    <a:pt x="1135611" y="140632"/>
                  </a:lnTo>
                  <a:lnTo>
                    <a:pt x="1137784" y="126041"/>
                  </a:lnTo>
                  <a:lnTo>
                    <a:pt x="1137784" y="114244"/>
                  </a:lnTo>
                  <a:lnTo>
                    <a:pt x="1128470" y="118590"/>
                  </a:lnTo>
                  <a:lnTo>
                    <a:pt x="1123193" y="123868"/>
                  </a:lnTo>
                  <a:lnTo>
                    <a:pt x="1117915" y="129145"/>
                  </a:lnTo>
                  <a:lnTo>
                    <a:pt x="1112638" y="134423"/>
                  </a:lnTo>
                  <a:lnTo>
                    <a:pt x="1101151" y="134423"/>
                  </a:lnTo>
                  <a:lnTo>
                    <a:pt x="1098047" y="119832"/>
                  </a:lnTo>
                  <a:lnTo>
                    <a:pt x="1098047" y="103999"/>
                  </a:lnTo>
                  <a:lnTo>
                    <a:pt x="1071969" y="103999"/>
                  </a:lnTo>
                  <a:lnTo>
                    <a:pt x="1076005" y="96549"/>
                  </a:lnTo>
                  <a:lnTo>
                    <a:pt x="1076936" y="90340"/>
                  </a:lnTo>
                  <a:lnTo>
                    <a:pt x="1079110" y="85062"/>
                  </a:lnTo>
                  <a:lnTo>
                    <a:pt x="1083145" y="81958"/>
                  </a:lnTo>
                  <a:lnTo>
                    <a:pt x="1088423" y="77611"/>
                  </a:lnTo>
                  <a:lnTo>
                    <a:pt x="1088423" y="70161"/>
                  </a:lnTo>
                  <a:lnTo>
                    <a:pt x="1088423" y="62710"/>
                  </a:lnTo>
                  <a:lnTo>
                    <a:pt x="1086250" y="59606"/>
                  </a:lnTo>
                  <a:lnTo>
                    <a:pt x="1083145" y="55259"/>
                  </a:lnTo>
                  <a:lnTo>
                    <a:pt x="1079110" y="52155"/>
                  </a:lnTo>
                  <a:lnTo>
                    <a:pt x="1071969" y="49982"/>
                  </a:lnTo>
                  <a:lnTo>
                    <a:pt x="1074142" y="42531"/>
                  </a:lnTo>
                  <a:lnTo>
                    <a:pt x="1076316" y="39427"/>
                  </a:lnTo>
                  <a:lnTo>
                    <a:pt x="1077247" y="35080"/>
                  </a:lnTo>
                  <a:lnTo>
                    <a:pt x="1079420" y="29803"/>
                  </a:lnTo>
                  <a:lnTo>
                    <a:pt x="1081593" y="25457"/>
                  </a:lnTo>
                  <a:lnTo>
                    <a:pt x="1079420" y="22352"/>
                  </a:lnTo>
                  <a:lnTo>
                    <a:pt x="1076316" y="18006"/>
                  </a:lnTo>
                  <a:lnTo>
                    <a:pt x="1074142" y="17075"/>
                  </a:lnTo>
                  <a:lnTo>
                    <a:pt x="1071969" y="14901"/>
                  </a:lnTo>
                  <a:lnTo>
                    <a:pt x="1069796" y="12728"/>
                  </a:lnTo>
                  <a:lnTo>
                    <a:pt x="1069796" y="7451"/>
                  </a:lnTo>
                  <a:lnTo>
                    <a:pt x="1068865" y="0"/>
                  </a:lnTo>
                  <a:lnTo>
                    <a:pt x="1057378" y="2173"/>
                  </a:lnTo>
                  <a:lnTo>
                    <a:pt x="1046823" y="5278"/>
                  </a:lnTo>
                  <a:lnTo>
                    <a:pt x="1037510" y="9624"/>
                  </a:lnTo>
                  <a:lnTo>
                    <a:pt x="1025092" y="29492"/>
                  </a:lnTo>
                  <a:lnTo>
                    <a:pt x="1021056" y="47498"/>
                  </a:lnTo>
                  <a:lnTo>
                    <a:pt x="1023229" y="66435"/>
                  </a:lnTo>
                  <a:lnTo>
                    <a:pt x="1032543" y="82268"/>
                  </a:lnTo>
                  <a:lnTo>
                    <a:pt x="1044960" y="96859"/>
                  </a:lnTo>
                  <a:lnTo>
                    <a:pt x="1047134" y="104310"/>
                  </a:lnTo>
                  <a:lnTo>
                    <a:pt x="1044960" y="118901"/>
                  </a:lnTo>
                  <a:lnTo>
                    <a:pt x="1044960" y="135665"/>
                  </a:lnTo>
                  <a:lnTo>
                    <a:pt x="1044960" y="150256"/>
                  </a:lnTo>
                  <a:lnTo>
                    <a:pt x="1032543" y="150256"/>
                  </a:lnTo>
                  <a:lnTo>
                    <a:pt x="1032543" y="153360"/>
                  </a:lnTo>
                  <a:lnTo>
                    <a:pt x="1030369" y="159569"/>
                  </a:lnTo>
                  <a:lnTo>
                    <a:pt x="1030369" y="162674"/>
                  </a:lnTo>
                  <a:lnTo>
                    <a:pt x="1028196" y="170124"/>
                  </a:lnTo>
                  <a:lnTo>
                    <a:pt x="1019814" y="153360"/>
                  </a:lnTo>
                  <a:lnTo>
                    <a:pt x="1012674" y="137528"/>
                  </a:lnTo>
                  <a:lnTo>
                    <a:pt x="988770" y="137528"/>
                  </a:lnTo>
                  <a:lnTo>
                    <a:pt x="988770" y="150256"/>
                  </a:lnTo>
                  <a:lnTo>
                    <a:pt x="986597" y="152429"/>
                  </a:lnTo>
                  <a:lnTo>
                    <a:pt x="984424" y="153360"/>
                  </a:lnTo>
                  <a:lnTo>
                    <a:pt x="983492" y="155533"/>
                  </a:lnTo>
                  <a:lnTo>
                    <a:pt x="981319" y="157706"/>
                  </a:lnTo>
                  <a:lnTo>
                    <a:pt x="962692" y="157706"/>
                  </a:lnTo>
                  <a:lnTo>
                    <a:pt x="950275" y="155533"/>
                  </a:lnTo>
                  <a:lnTo>
                    <a:pt x="937857" y="153360"/>
                  </a:lnTo>
                  <a:lnTo>
                    <a:pt x="925439" y="150256"/>
                  </a:lnTo>
                  <a:lnTo>
                    <a:pt x="905570" y="150256"/>
                  </a:lnTo>
                  <a:lnTo>
                    <a:pt x="901535" y="142805"/>
                  </a:lnTo>
                  <a:lnTo>
                    <a:pt x="898430" y="139701"/>
                  </a:lnTo>
                  <a:lnTo>
                    <a:pt x="894394" y="133492"/>
                  </a:lnTo>
                  <a:lnTo>
                    <a:pt x="889117" y="130387"/>
                  </a:lnTo>
                  <a:lnTo>
                    <a:pt x="889117" y="117659"/>
                  </a:lnTo>
                  <a:lnTo>
                    <a:pt x="842239" y="122937"/>
                  </a:lnTo>
                  <a:lnTo>
                    <a:pt x="842239" y="126041"/>
                  </a:lnTo>
                  <a:lnTo>
                    <a:pt x="838204" y="126041"/>
                  </a:lnTo>
                  <a:lnTo>
                    <a:pt x="838204" y="132250"/>
                  </a:lnTo>
                  <a:lnTo>
                    <a:pt x="840377" y="135354"/>
                  </a:lnTo>
                  <a:lnTo>
                    <a:pt x="842550" y="139701"/>
                  </a:lnTo>
                  <a:lnTo>
                    <a:pt x="843481" y="140632"/>
                  </a:lnTo>
                  <a:lnTo>
                    <a:pt x="845654" y="145910"/>
                  </a:lnTo>
                  <a:lnTo>
                    <a:pt x="877941" y="145910"/>
                  </a:lnTo>
                  <a:lnTo>
                    <a:pt x="877941" y="150256"/>
                  </a:lnTo>
                  <a:lnTo>
                    <a:pt x="870800" y="152429"/>
                  </a:lnTo>
                  <a:lnTo>
                    <a:pt x="865523" y="153360"/>
                  </a:lnTo>
                  <a:lnTo>
                    <a:pt x="858383" y="153360"/>
                  </a:lnTo>
                  <a:lnTo>
                    <a:pt x="849069" y="153360"/>
                  </a:lnTo>
                  <a:lnTo>
                    <a:pt x="849069" y="189993"/>
                  </a:lnTo>
                  <a:lnTo>
                    <a:pt x="840687" y="179438"/>
                  </a:lnTo>
                  <a:lnTo>
                    <a:pt x="831374" y="167951"/>
                  </a:lnTo>
                  <a:lnTo>
                    <a:pt x="822060" y="157396"/>
                  </a:lnTo>
                  <a:lnTo>
                    <a:pt x="813678" y="155223"/>
                  </a:lnTo>
                  <a:lnTo>
                    <a:pt x="799087" y="155223"/>
                  </a:lnTo>
                  <a:lnTo>
                    <a:pt x="782323" y="155223"/>
                  </a:lnTo>
                  <a:lnTo>
                    <a:pt x="765559" y="153050"/>
                  </a:lnTo>
                  <a:lnTo>
                    <a:pt x="753141" y="153050"/>
                  </a:lnTo>
                  <a:lnTo>
                    <a:pt x="755315" y="149945"/>
                  </a:lnTo>
                  <a:lnTo>
                    <a:pt x="756246" y="147772"/>
                  </a:lnTo>
                  <a:lnTo>
                    <a:pt x="756246" y="145599"/>
                  </a:lnTo>
                  <a:lnTo>
                    <a:pt x="758419" y="144668"/>
                  </a:lnTo>
                  <a:lnTo>
                    <a:pt x="762455" y="142495"/>
                  </a:lnTo>
                  <a:lnTo>
                    <a:pt x="765559" y="140321"/>
                  </a:lnTo>
                  <a:lnTo>
                    <a:pt x="763386" y="137217"/>
                  </a:lnTo>
                  <a:lnTo>
                    <a:pt x="760282" y="129766"/>
                  </a:lnTo>
                  <a:lnTo>
                    <a:pt x="756246" y="124489"/>
                  </a:lnTo>
                  <a:lnTo>
                    <a:pt x="753141" y="120143"/>
                  </a:lnTo>
                  <a:lnTo>
                    <a:pt x="749106" y="117038"/>
                  </a:lnTo>
                  <a:lnTo>
                    <a:pt x="746001" y="117038"/>
                  </a:lnTo>
                  <a:lnTo>
                    <a:pt x="742897" y="117969"/>
                  </a:lnTo>
                  <a:lnTo>
                    <a:pt x="736688" y="120143"/>
                  </a:lnTo>
                  <a:lnTo>
                    <a:pt x="733583" y="122316"/>
                  </a:lnTo>
                  <a:lnTo>
                    <a:pt x="728306" y="122316"/>
                  </a:lnTo>
                  <a:lnTo>
                    <a:pt x="722097" y="122316"/>
                  </a:lnTo>
                  <a:lnTo>
                    <a:pt x="706575" y="110829"/>
                  </a:lnTo>
                  <a:lnTo>
                    <a:pt x="689811" y="98101"/>
                  </a:lnTo>
                  <a:lnTo>
                    <a:pt x="673046" y="85373"/>
                  </a:lnTo>
                  <a:lnTo>
                    <a:pt x="653178" y="80095"/>
                  </a:lnTo>
                  <a:lnTo>
                    <a:pt x="649142" y="81026"/>
                  </a:lnTo>
                  <a:lnTo>
                    <a:pt x="643865" y="83199"/>
                  </a:lnTo>
                  <a:lnTo>
                    <a:pt x="640760" y="87546"/>
                  </a:lnTo>
                  <a:lnTo>
                    <a:pt x="635482" y="90650"/>
                  </a:lnTo>
                  <a:lnTo>
                    <a:pt x="629274" y="92823"/>
                  </a:lnTo>
                  <a:lnTo>
                    <a:pt x="628342" y="88477"/>
                  </a:lnTo>
                  <a:lnTo>
                    <a:pt x="626169" y="85373"/>
                  </a:lnTo>
                  <a:lnTo>
                    <a:pt x="622133" y="80095"/>
                  </a:lnTo>
                  <a:lnTo>
                    <a:pt x="621202" y="80095"/>
                  </a:lnTo>
                  <a:lnTo>
                    <a:pt x="617166" y="80095"/>
                  </a:lnTo>
                  <a:lnTo>
                    <a:pt x="614993" y="81026"/>
                  </a:lnTo>
                  <a:lnTo>
                    <a:pt x="611889" y="83199"/>
                  </a:lnTo>
                  <a:lnTo>
                    <a:pt x="609715" y="85373"/>
                  </a:lnTo>
                  <a:lnTo>
                    <a:pt x="606611" y="88477"/>
                  </a:lnTo>
                  <a:lnTo>
                    <a:pt x="592951" y="85373"/>
                  </a:lnTo>
                  <a:lnTo>
                    <a:pt x="584569" y="77922"/>
                  </a:lnTo>
                  <a:lnTo>
                    <a:pt x="578360" y="68609"/>
                  </a:lnTo>
                  <a:lnTo>
                    <a:pt x="573083" y="55880"/>
                  </a:lnTo>
                  <a:lnTo>
                    <a:pt x="569978" y="58985"/>
                  </a:lnTo>
                  <a:lnTo>
                    <a:pt x="565943" y="65194"/>
                  </a:lnTo>
                  <a:lnTo>
                    <a:pt x="563770" y="70471"/>
                  </a:lnTo>
                  <a:lnTo>
                    <a:pt x="562838" y="75749"/>
                  </a:lnTo>
                  <a:lnTo>
                    <a:pt x="546074" y="77922"/>
                  </a:lnTo>
                  <a:lnTo>
                    <a:pt x="533656" y="77922"/>
                  </a:lnTo>
                  <a:lnTo>
                    <a:pt x="521238" y="80095"/>
                  </a:lnTo>
                  <a:lnTo>
                    <a:pt x="511925" y="85373"/>
                  </a:lnTo>
                  <a:lnTo>
                    <a:pt x="502612" y="95928"/>
                  </a:lnTo>
                  <a:lnTo>
                    <a:pt x="482743" y="92823"/>
                  </a:lnTo>
                  <a:lnTo>
                    <a:pt x="482743" y="85373"/>
                  </a:lnTo>
                  <a:lnTo>
                    <a:pt x="504474" y="76059"/>
                  </a:lnTo>
                  <a:lnTo>
                    <a:pt x="524343" y="63331"/>
                  </a:lnTo>
                  <a:lnTo>
                    <a:pt x="542970" y="48740"/>
                  </a:lnTo>
                  <a:lnTo>
                    <a:pt x="549179" y="48740"/>
                  </a:lnTo>
                  <a:lnTo>
                    <a:pt x="546074" y="46567"/>
                  </a:lnTo>
                  <a:lnTo>
                    <a:pt x="542970" y="44394"/>
                  </a:lnTo>
                  <a:lnTo>
                    <a:pt x="536761" y="43462"/>
                  </a:lnTo>
                  <a:lnTo>
                    <a:pt x="533656" y="41289"/>
                  </a:lnTo>
                  <a:lnTo>
                    <a:pt x="516892" y="44394"/>
                  </a:lnTo>
                  <a:lnTo>
                    <a:pt x="504474" y="50603"/>
                  </a:lnTo>
                  <a:lnTo>
                    <a:pt x="492988" y="58985"/>
                  </a:lnTo>
                  <a:lnTo>
                    <a:pt x="482433" y="66435"/>
                  </a:lnTo>
                  <a:lnTo>
                    <a:pt x="470015" y="73886"/>
                  </a:lnTo>
                  <a:lnTo>
                    <a:pt x="455424" y="78232"/>
                  </a:lnTo>
                  <a:lnTo>
                    <a:pt x="433693" y="80405"/>
                  </a:lnTo>
                  <a:lnTo>
                    <a:pt x="436797" y="88788"/>
                  </a:lnTo>
                  <a:lnTo>
                    <a:pt x="443006" y="96238"/>
                  </a:lnTo>
                  <a:lnTo>
                    <a:pt x="448284" y="103689"/>
                  </a:lnTo>
                  <a:lnTo>
                    <a:pt x="453561" y="109898"/>
                  </a:lnTo>
                  <a:lnTo>
                    <a:pt x="453561" y="117349"/>
                  </a:lnTo>
                  <a:lnTo>
                    <a:pt x="429657" y="113002"/>
                  </a:lnTo>
                  <a:lnTo>
                    <a:pt x="409788" y="102447"/>
                  </a:lnTo>
                  <a:lnTo>
                    <a:pt x="392093" y="90961"/>
                  </a:lnTo>
                  <a:lnTo>
                    <a:pt x="373466" y="78232"/>
                  </a:lnTo>
                  <a:lnTo>
                    <a:pt x="353598" y="68919"/>
                  </a:lnTo>
                  <a:lnTo>
                    <a:pt x="322243" y="73265"/>
                  </a:lnTo>
                  <a:lnTo>
                    <a:pt x="307652" y="68919"/>
                  </a:lnTo>
                  <a:lnTo>
                    <a:pt x="293061" y="61468"/>
                  </a:lnTo>
                  <a:lnTo>
                    <a:pt x="277539" y="56191"/>
                  </a:lnTo>
                  <a:lnTo>
                    <a:pt x="266052" y="51844"/>
                  </a:lnTo>
                  <a:lnTo>
                    <a:pt x="262948" y="51844"/>
                  </a:lnTo>
                  <a:lnTo>
                    <a:pt x="256739" y="54018"/>
                  </a:lnTo>
                  <a:lnTo>
                    <a:pt x="253634" y="56191"/>
                  </a:lnTo>
                  <a:lnTo>
                    <a:pt x="249598" y="56191"/>
                  </a:lnTo>
                  <a:lnTo>
                    <a:pt x="244321" y="58364"/>
                  </a:lnTo>
                  <a:lnTo>
                    <a:pt x="239043" y="56191"/>
                  </a:lnTo>
                  <a:lnTo>
                    <a:pt x="233766" y="54018"/>
                  </a:lnTo>
                  <a:lnTo>
                    <a:pt x="229730" y="50913"/>
                  </a:lnTo>
                  <a:lnTo>
                    <a:pt x="226625" y="46567"/>
                  </a:lnTo>
                  <a:lnTo>
                    <a:pt x="221348" y="41289"/>
                  </a:lnTo>
                  <a:lnTo>
                    <a:pt x="217312" y="38185"/>
                  </a:lnTo>
                  <a:lnTo>
                    <a:pt x="214208" y="36012"/>
                  </a:lnTo>
                  <a:lnTo>
                    <a:pt x="210172" y="36012"/>
                  </a:lnTo>
                  <a:lnTo>
                    <a:pt x="207067" y="36012"/>
                  </a:lnTo>
                  <a:lnTo>
                    <a:pt x="203032" y="38185"/>
                  </a:lnTo>
                  <a:lnTo>
                    <a:pt x="199927" y="39116"/>
                  </a:lnTo>
                  <a:lnTo>
                    <a:pt x="195891" y="39116"/>
                  </a:lnTo>
                  <a:lnTo>
                    <a:pt x="190614" y="39116"/>
                  </a:lnTo>
                  <a:lnTo>
                    <a:pt x="186578" y="36012"/>
                  </a:lnTo>
                  <a:lnTo>
                    <a:pt x="183473" y="31665"/>
                  </a:lnTo>
                  <a:lnTo>
                    <a:pt x="181300" y="30734"/>
                  </a:lnTo>
                  <a:lnTo>
                    <a:pt x="181300" y="26388"/>
                  </a:lnTo>
                  <a:lnTo>
                    <a:pt x="179127" y="24215"/>
                  </a:lnTo>
                  <a:lnTo>
                    <a:pt x="179127" y="21110"/>
                  </a:lnTo>
                  <a:lnTo>
                    <a:pt x="176023" y="18937"/>
                  </a:lnTo>
                  <a:lnTo>
                    <a:pt x="170745" y="15833"/>
                  </a:lnTo>
                  <a:lnTo>
                    <a:pt x="153981" y="26388"/>
                  </a:lnTo>
                  <a:lnTo>
                    <a:pt x="137217" y="33839"/>
                  </a:lnTo>
                  <a:lnTo>
                    <a:pt x="117348" y="39116"/>
                  </a:lnTo>
                  <a:lnTo>
                    <a:pt x="99653" y="48430"/>
                  </a:lnTo>
                  <a:lnTo>
                    <a:pt x="85993" y="58985"/>
                  </a:lnTo>
                  <a:lnTo>
                    <a:pt x="82889" y="70471"/>
                  </a:lnTo>
                  <a:lnTo>
                    <a:pt x="78853" y="83199"/>
                  </a:lnTo>
                  <a:lnTo>
                    <a:pt x="73576" y="95928"/>
                  </a:lnTo>
                  <a:lnTo>
                    <a:pt x="56812" y="105241"/>
                  </a:lnTo>
                  <a:lnTo>
                    <a:pt x="36012" y="107414"/>
                  </a:lnTo>
                  <a:lnTo>
                    <a:pt x="14281" y="105241"/>
                  </a:lnTo>
                  <a:lnTo>
                    <a:pt x="12107" y="110519"/>
                  </a:lnTo>
                  <a:lnTo>
                    <a:pt x="9934" y="116728"/>
                  </a:lnTo>
                  <a:lnTo>
                    <a:pt x="6830" y="122005"/>
                  </a:lnTo>
                  <a:lnTo>
                    <a:pt x="15212" y="138769"/>
                  </a:lnTo>
                  <a:lnTo>
                    <a:pt x="29803" y="149324"/>
                  </a:lnTo>
                  <a:lnTo>
                    <a:pt x="46567" y="159880"/>
                  </a:lnTo>
                  <a:lnTo>
                    <a:pt x="61158" y="171366"/>
                  </a:lnTo>
                  <a:lnTo>
                    <a:pt x="73576" y="185957"/>
                  </a:lnTo>
                  <a:lnTo>
                    <a:pt x="77611" y="191235"/>
                  </a:lnTo>
                  <a:lnTo>
                    <a:pt x="78543" y="196512"/>
                  </a:lnTo>
                  <a:lnTo>
                    <a:pt x="80716" y="202721"/>
                  </a:lnTo>
                  <a:lnTo>
                    <a:pt x="82889" y="207999"/>
                  </a:lnTo>
                  <a:lnTo>
                    <a:pt x="85993" y="213276"/>
                  </a:lnTo>
                  <a:lnTo>
                    <a:pt x="85993" y="220727"/>
                  </a:lnTo>
                  <a:lnTo>
                    <a:pt x="73576" y="226005"/>
                  </a:lnTo>
                  <a:lnTo>
                    <a:pt x="70471" y="220727"/>
                  </a:lnTo>
                  <a:lnTo>
                    <a:pt x="64262" y="215449"/>
                  </a:lnTo>
                  <a:lnTo>
                    <a:pt x="58985" y="211103"/>
                  </a:lnTo>
                  <a:lnTo>
                    <a:pt x="53707" y="205826"/>
                  </a:lnTo>
                  <a:lnTo>
                    <a:pt x="49671" y="205826"/>
                  </a:lnTo>
                  <a:lnTo>
                    <a:pt x="48740" y="205826"/>
                  </a:lnTo>
                  <a:lnTo>
                    <a:pt x="46567" y="207999"/>
                  </a:lnTo>
                  <a:lnTo>
                    <a:pt x="44394" y="207999"/>
                  </a:lnTo>
                  <a:lnTo>
                    <a:pt x="43462" y="210172"/>
                  </a:lnTo>
                  <a:lnTo>
                    <a:pt x="26698" y="210172"/>
                  </a:lnTo>
                  <a:lnTo>
                    <a:pt x="28871" y="213276"/>
                  </a:lnTo>
                  <a:lnTo>
                    <a:pt x="28871" y="215449"/>
                  </a:lnTo>
                  <a:lnTo>
                    <a:pt x="29803" y="217623"/>
                  </a:lnTo>
                  <a:lnTo>
                    <a:pt x="26698" y="220727"/>
                  </a:lnTo>
                  <a:lnTo>
                    <a:pt x="22663" y="225073"/>
                  </a:lnTo>
                  <a:lnTo>
                    <a:pt x="19558" y="225073"/>
                  </a:lnTo>
                  <a:lnTo>
                    <a:pt x="15522" y="226005"/>
                  </a:lnTo>
                  <a:lnTo>
                    <a:pt x="10245" y="228178"/>
                  </a:lnTo>
                  <a:lnTo>
                    <a:pt x="7140" y="230351"/>
                  </a:lnTo>
                  <a:lnTo>
                    <a:pt x="0" y="230351"/>
                  </a:lnTo>
                  <a:lnTo>
                    <a:pt x="3104" y="257670"/>
                  </a:lnTo>
                  <a:lnTo>
                    <a:pt x="17695" y="265121"/>
                  </a:lnTo>
                  <a:lnTo>
                    <a:pt x="36322" y="268225"/>
                  </a:lnTo>
                  <a:lnTo>
                    <a:pt x="51844" y="274434"/>
                  </a:lnTo>
                  <a:lnTo>
                    <a:pt x="63331" y="277539"/>
                  </a:lnTo>
                  <a:lnTo>
                    <a:pt x="68609" y="277539"/>
                  </a:lnTo>
                  <a:lnTo>
                    <a:pt x="71713" y="275365"/>
                  </a:lnTo>
                  <a:lnTo>
                    <a:pt x="75749" y="274434"/>
                  </a:lnTo>
                  <a:lnTo>
                    <a:pt x="77922" y="272261"/>
                  </a:lnTo>
                  <a:lnTo>
                    <a:pt x="78853" y="270088"/>
                  </a:lnTo>
                  <a:lnTo>
                    <a:pt x="82889" y="266983"/>
                  </a:lnTo>
                  <a:lnTo>
                    <a:pt x="97790" y="266983"/>
                  </a:lnTo>
                  <a:lnTo>
                    <a:pt x="95617" y="267915"/>
                  </a:lnTo>
                  <a:lnTo>
                    <a:pt x="95617" y="270088"/>
                  </a:lnTo>
                  <a:lnTo>
                    <a:pt x="95617" y="272261"/>
                  </a:lnTo>
                  <a:lnTo>
                    <a:pt x="93444" y="272261"/>
                  </a:lnTo>
                  <a:lnTo>
                    <a:pt x="91271" y="274434"/>
                  </a:lnTo>
                  <a:lnTo>
                    <a:pt x="91271" y="292440"/>
                  </a:lnTo>
                  <a:lnTo>
                    <a:pt x="85993" y="303926"/>
                  </a:lnTo>
                  <a:lnTo>
                    <a:pt x="78853" y="311377"/>
                  </a:lnTo>
                  <a:lnTo>
                    <a:pt x="68298" y="316655"/>
                  </a:lnTo>
                  <a:lnTo>
                    <a:pt x="56812" y="319759"/>
                  </a:lnTo>
                  <a:lnTo>
                    <a:pt x="44394" y="327210"/>
                  </a:lnTo>
                  <a:lnTo>
                    <a:pt x="37253" y="336523"/>
                  </a:lnTo>
                  <a:lnTo>
                    <a:pt x="31976" y="347078"/>
                  </a:lnTo>
                  <a:lnTo>
                    <a:pt x="26698" y="360738"/>
                  </a:lnTo>
                  <a:lnTo>
                    <a:pt x="20489" y="371293"/>
                  </a:lnTo>
                  <a:lnTo>
                    <a:pt x="31976" y="391162"/>
                  </a:lnTo>
                  <a:lnTo>
                    <a:pt x="46567" y="410099"/>
                  </a:lnTo>
                  <a:lnTo>
                    <a:pt x="64262" y="422827"/>
                  </a:lnTo>
                  <a:lnTo>
                    <a:pt x="66435" y="425000"/>
                  </a:lnTo>
                  <a:lnTo>
                    <a:pt x="69540" y="425000"/>
                  </a:lnTo>
                  <a:lnTo>
                    <a:pt x="71713" y="425000"/>
                  </a:lnTo>
                  <a:lnTo>
                    <a:pt x="73886" y="422827"/>
                  </a:lnTo>
                  <a:lnTo>
                    <a:pt x="76991" y="419723"/>
                  </a:lnTo>
                  <a:lnTo>
                    <a:pt x="81026" y="430278"/>
                  </a:lnTo>
                  <a:lnTo>
                    <a:pt x="86304" y="444869"/>
                  </a:lnTo>
                  <a:lnTo>
                    <a:pt x="88477" y="455424"/>
                  </a:lnTo>
                  <a:lnTo>
                    <a:pt x="93755" y="455424"/>
                  </a:lnTo>
                  <a:lnTo>
                    <a:pt x="97790" y="455734"/>
                  </a:lnTo>
                  <a:lnTo>
                    <a:pt x="98722" y="455734"/>
                  </a:lnTo>
                  <a:lnTo>
                    <a:pt x="100895" y="453561"/>
                  </a:lnTo>
                  <a:lnTo>
                    <a:pt x="103068" y="451388"/>
                  </a:lnTo>
                  <a:lnTo>
                    <a:pt x="105241" y="449215"/>
                  </a:lnTo>
                  <a:lnTo>
                    <a:pt x="108346" y="451388"/>
                  </a:lnTo>
                  <a:lnTo>
                    <a:pt x="110208" y="451388"/>
                  </a:lnTo>
                  <a:lnTo>
                    <a:pt x="112381" y="453561"/>
                  </a:lnTo>
                  <a:lnTo>
                    <a:pt x="112381" y="456666"/>
                  </a:lnTo>
                  <a:lnTo>
                    <a:pt x="112381" y="461012"/>
                  </a:lnTo>
                  <a:lnTo>
                    <a:pt x="124799" y="456666"/>
                  </a:lnTo>
                  <a:lnTo>
                    <a:pt x="134113" y="453561"/>
                  </a:lnTo>
                  <a:lnTo>
                    <a:pt x="147772" y="449215"/>
                  </a:lnTo>
                  <a:lnTo>
                    <a:pt x="144668" y="471257"/>
                  </a:lnTo>
                  <a:lnTo>
                    <a:pt x="135354" y="488021"/>
                  </a:lnTo>
                  <a:lnTo>
                    <a:pt x="122937" y="502612"/>
                  </a:lnTo>
                  <a:lnTo>
                    <a:pt x="106172" y="515340"/>
                  </a:lnTo>
                  <a:lnTo>
                    <a:pt x="88477" y="527137"/>
                  </a:lnTo>
                  <a:lnTo>
                    <a:pt x="69850" y="537692"/>
                  </a:lnTo>
                  <a:lnTo>
                    <a:pt x="54328" y="549179"/>
                  </a:lnTo>
                  <a:lnTo>
                    <a:pt x="41910" y="561907"/>
                  </a:lnTo>
                  <a:lnTo>
                    <a:pt x="37874" y="561907"/>
                  </a:lnTo>
                  <a:lnTo>
                    <a:pt x="37874" y="565011"/>
                  </a:lnTo>
                  <a:lnTo>
                    <a:pt x="48430" y="561907"/>
                  </a:lnTo>
                  <a:lnTo>
                    <a:pt x="65194" y="554456"/>
                  </a:lnTo>
                  <a:lnTo>
                    <a:pt x="86925" y="543901"/>
                  </a:lnTo>
                  <a:lnTo>
                    <a:pt x="108656" y="530241"/>
                  </a:lnTo>
                  <a:lnTo>
                    <a:pt x="130387" y="515650"/>
                  </a:lnTo>
                  <a:lnTo>
                    <a:pt x="152118" y="502922"/>
                  </a:lnTo>
                  <a:lnTo>
                    <a:pt x="169814" y="492367"/>
                  </a:lnTo>
                  <a:lnTo>
                    <a:pt x="184405" y="480881"/>
                  </a:lnTo>
                  <a:lnTo>
                    <a:pt x="191545" y="473430"/>
                  </a:lnTo>
                  <a:lnTo>
                    <a:pt x="203032" y="456666"/>
                  </a:lnTo>
                  <a:lnTo>
                    <a:pt x="210172" y="438660"/>
                  </a:lnTo>
                  <a:lnTo>
                    <a:pt x="215449" y="421896"/>
                  </a:lnTo>
                  <a:lnTo>
                    <a:pt x="222590" y="406063"/>
                  </a:lnTo>
                  <a:lnTo>
                    <a:pt x="234076" y="391472"/>
                  </a:lnTo>
                  <a:lnTo>
                    <a:pt x="247736" y="379986"/>
                  </a:lnTo>
                  <a:lnTo>
                    <a:pt x="247736" y="376881"/>
                  </a:lnTo>
                  <a:lnTo>
                    <a:pt x="257049" y="376881"/>
                  </a:lnTo>
                  <a:lnTo>
                    <a:pt x="247736" y="392714"/>
                  </a:lnTo>
                  <a:lnTo>
                    <a:pt x="237181" y="407305"/>
                  </a:lnTo>
                  <a:lnTo>
                    <a:pt x="230040" y="424069"/>
                  </a:lnTo>
                  <a:lnTo>
                    <a:pt x="224763" y="440833"/>
                  </a:lnTo>
                  <a:lnTo>
                    <a:pt x="246494" y="435555"/>
                  </a:lnTo>
                  <a:lnTo>
                    <a:pt x="262016" y="426242"/>
                  </a:lnTo>
                  <a:lnTo>
                    <a:pt x="280643" y="416929"/>
                  </a:lnTo>
                  <a:lnTo>
                    <a:pt x="280643" y="392714"/>
                  </a:lnTo>
                  <a:lnTo>
                    <a:pt x="297407" y="394887"/>
                  </a:lnTo>
                  <a:lnTo>
                    <a:pt x="307962" y="400165"/>
                  </a:lnTo>
                  <a:lnTo>
                    <a:pt x="317276" y="407615"/>
                  </a:lnTo>
                  <a:lnTo>
                    <a:pt x="327831" y="413824"/>
                  </a:lnTo>
                  <a:lnTo>
                    <a:pt x="361048" y="413824"/>
                  </a:lnTo>
                  <a:lnTo>
                    <a:pt x="376571" y="422206"/>
                  </a:lnTo>
                  <a:lnTo>
                    <a:pt x="393335" y="436797"/>
                  </a:lnTo>
                  <a:lnTo>
                    <a:pt x="407926" y="449526"/>
                  </a:lnTo>
                  <a:lnTo>
                    <a:pt x="427794" y="458839"/>
                  </a:lnTo>
                  <a:lnTo>
                    <a:pt x="451699" y="464117"/>
                  </a:lnTo>
                  <a:lnTo>
                    <a:pt x="471567" y="473430"/>
                  </a:lnTo>
                  <a:lnTo>
                    <a:pt x="486158" y="486158"/>
                  </a:lnTo>
                  <a:lnTo>
                    <a:pt x="498576" y="502922"/>
                  </a:lnTo>
                  <a:lnTo>
                    <a:pt x="507889" y="519686"/>
                  </a:lnTo>
                  <a:lnTo>
                    <a:pt x="519376" y="536450"/>
                  </a:lnTo>
                  <a:lnTo>
                    <a:pt x="531794" y="550110"/>
                  </a:lnTo>
                  <a:lnTo>
                    <a:pt x="527758" y="574325"/>
                  </a:lnTo>
                  <a:lnTo>
                    <a:pt x="539244" y="579602"/>
                  </a:lnTo>
                  <a:lnTo>
                    <a:pt x="546385" y="588916"/>
                  </a:lnTo>
                  <a:lnTo>
                    <a:pt x="551662" y="600402"/>
                  </a:lnTo>
                  <a:lnTo>
                    <a:pt x="554767" y="613131"/>
                  </a:lnTo>
                  <a:lnTo>
                    <a:pt x="560976" y="625859"/>
                  </a:lnTo>
                  <a:lnTo>
                    <a:pt x="568116" y="637345"/>
                  </a:lnTo>
                  <a:lnTo>
                    <a:pt x="576498" y="645727"/>
                  </a:lnTo>
                  <a:lnTo>
                    <a:pt x="591089" y="651005"/>
                  </a:lnTo>
                  <a:lnTo>
                    <a:pt x="587984" y="653178"/>
                  </a:lnTo>
                  <a:lnTo>
                    <a:pt x="583949" y="653178"/>
                  </a:lnTo>
                  <a:lnTo>
                    <a:pt x="580844" y="653178"/>
                  </a:lnTo>
                  <a:lnTo>
                    <a:pt x="576808" y="651005"/>
                  </a:lnTo>
                  <a:lnTo>
                    <a:pt x="568426" y="651005"/>
                  </a:lnTo>
                  <a:lnTo>
                    <a:pt x="576808" y="669942"/>
                  </a:lnTo>
                  <a:lnTo>
                    <a:pt x="588295" y="686706"/>
                  </a:lnTo>
                  <a:lnTo>
                    <a:pt x="600713" y="702539"/>
                  </a:lnTo>
                  <a:lnTo>
                    <a:pt x="604748" y="704712"/>
                  </a:lnTo>
                  <a:lnTo>
                    <a:pt x="605680" y="704712"/>
                  </a:lnTo>
                  <a:lnTo>
                    <a:pt x="605680" y="706885"/>
                  </a:lnTo>
                  <a:lnTo>
                    <a:pt x="607853" y="706885"/>
                  </a:lnTo>
                  <a:lnTo>
                    <a:pt x="613130" y="706885"/>
                  </a:lnTo>
                  <a:lnTo>
                    <a:pt x="619339" y="706885"/>
                  </a:lnTo>
                  <a:lnTo>
                    <a:pt x="620271" y="704712"/>
                  </a:lnTo>
                  <a:lnTo>
                    <a:pt x="624306" y="702539"/>
                  </a:lnTo>
                  <a:lnTo>
                    <a:pt x="626480" y="701608"/>
                  </a:lnTo>
                  <a:lnTo>
                    <a:pt x="626480" y="699434"/>
                  </a:lnTo>
                  <a:lnTo>
                    <a:pt x="627411" y="699434"/>
                  </a:lnTo>
                  <a:lnTo>
                    <a:pt x="627411" y="695088"/>
                  </a:lnTo>
                  <a:lnTo>
                    <a:pt x="622133" y="687638"/>
                  </a:lnTo>
                  <a:lnTo>
                    <a:pt x="614993" y="682360"/>
                  </a:lnTo>
                  <a:lnTo>
                    <a:pt x="607853" y="677082"/>
                  </a:lnTo>
                  <a:lnTo>
                    <a:pt x="600713" y="671805"/>
                  </a:lnTo>
                  <a:lnTo>
                    <a:pt x="600713" y="662491"/>
                  </a:lnTo>
                  <a:lnTo>
                    <a:pt x="617477" y="673047"/>
                  </a:lnTo>
                  <a:lnTo>
                    <a:pt x="632068" y="687638"/>
                  </a:lnTo>
                  <a:lnTo>
                    <a:pt x="644485" y="702228"/>
                  </a:lnTo>
                  <a:lnTo>
                    <a:pt x="644485" y="723339"/>
                  </a:lnTo>
                  <a:lnTo>
                    <a:pt x="642312" y="718992"/>
                  </a:lnTo>
                  <a:lnTo>
                    <a:pt x="639208" y="715888"/>
                  </a:lnTo>
                  <a:lnTo>
                    <a:pt x="637035" y="711542"/>
                  </a:lnTo>
                  <a:lnTo>
                    <a:pt x="633930" y="709369"/>
                  </a:lnTo>
                  <a:lnTo>
                    <a:pt x="629894" y="709369"/>
                  </a:lnTo>
                  <a:lnTo>
                    <a:pt x="626790" y="709369"/>
                  </a:lnTo>
                  <a:lnTo>
                    <a:pt x="622754" y="709369"/>
                  </a:lnTo>
                  <a:lnTo>
                    <a:pt x="617477" y="711542"/>
                  </a:lnTo>
                  <a:lnTo>
                    <a:pt x="615304" y="723028"/>
                  </a:lnTo>
                  <a:lnTo>
                    <a:pt x="613130" y="741034"/>
                  </a:lnTo>
                  <a:lnTo>
                    <a:pt x="613130" y="763076"/>
                  </a:lnTo>
                  <a:lnTo>
                    <a:pt x="613130" y="787291"/>
                  </a:lnTo>
                  <a:lnTo>
                    <a:pt x="613130" y="807159"/>
                  </a:lnTo>
                  <a:lnTo>
                    <a:pt x="612199" y="821750"/>
                  </a:lnTo>
                  <a:lnTo>
                    <a:pt x="612199" y="829201"/>
                  </a:lnTo>
                  <a:lnTo>
                    <a:pt x="613130" y="859624"/>
                  </a:lnTo>
                  <a:lnTo>
                    <a:pt x="617166" y="881666"/>
                  </a:lnTo>
                  <a:lnTo>
                    <a:pt x="622444" y="898430"/>
                  </a:lnTo>
                  <a:lnTo>
                    <a:pt x="629584" y="911158"/>
                  </a:lnTo>
                  <a:lnTo>
                    <a:pt x="641071" y="922645"/>
                  </a:lnTo>
                  <a:lnTo>
                    <a:pt x="651626" y="935373"/>
                  </a:lnTo>
                  <a:lnTo>
                    <a:pt x="664043" y="953379"/>
                  </a:lnTo>
                  <a:lnTo>
                    <a:pt x="669321" y="964866"/>
                  </a:lnTo>
                  <a:lnTo>
                    <a:pt x="673357" y="975421"/>
                  </a:lnTo>
                  <a:lnTo>
                    <a:pt x="680497" y="984734"/>
                  </a:lnTo>
                  <a:lnTo>
                    <a:pt x="691052" y="992185"/>
                  </a:lnTo>
                  <a:lnTo>
                    <a:pt x="704712" y="997462"/>
                  </a:lnTo>
                  <a:lnTo>
                    <a:pt x="715267" y="1003671"/>
                  </a:lnTo>
                  <a:lnTo>
                    <a:pt x="724580" y="1014226"/>
                  </a:lnTo>
                  <a:lnTo>
                    <a:pt x="731721" y="1026955"/>
                  </a:lnTo>
                  <a:lnTo>
                    <a:pt x="734825" y="1041546"/>
                  </a:lnTo>
                  <a:lnTo>
                    <a:pt x="741034" y="1054274"/>
                  </a:lnTo>
                  <a:lnTo>
                    <a:pt x="747243" y="1065761"/>
                  </a:lnTo>
                  <a:lnTo>
                    <a:pt x="760903" y="1075074"/>
                  </a:lnTo>
                  <a:lnTo>
                    <a:pt x="758729" y="1076005"/>
                  </a:lnTo>
                  <a:lnTo>
                    <a:pt x="758729" y="1078178"/>
                  </a:lnTo>
                  <a:lnTo>
                    <a:pt x="758729" y="1080351"/>
                  </a:lnTo>
                  <a:lnTo>
                    <a:pt x="756556" y="1080351"/>
                  </a:lnTo>
                  <a:lnTo>
                    <a:pt x="754383" y="1080351"/>
                  </a:lnTo>
                  <a:lnTo>
                    <a:pt x="751279" y="1082525"/>
                  </a:lnTo>
                  <a:lnTo>
                    <a:pt x="760592" y="1095253"/>
                  </a:lnTo>
                  <a:lnTo>
                    <a:pt x="771147" y="1102704"/>
                  </a:lnTo>
                  <a:lnTo>
                    <a:pt x="782634" y="1110154"/>
                  </a:lnTo>
                  <a:lnTo>
                    <a:pt x="791016" y="1119468"/>
                  </a:lnTo>
                  <a:lnTo>
                    <a:pt x="797225" y="1130023"/>
                  </a:lnTo>
                  <a:lnTo>
                    <a:pt x="800329" y="1142751"/>
                  </a:lnTo>
                  <a:lnTo>
                    <a:pt x="804365" y="1155479"/>
                  </a:lnTo>
                  <a:lnTo>
                    <a:pt x="809643" y="1155479"/>
                  </a:lnTo>
                  <a:lnTo>
                    <a:pt x="811816" y="1155479"/>
                  </a:lnTo>
                  <a:lnTo>
                    <a:pt x="812747" y="1155479"/>
                  </a:lnTo>
                  <a:lnTo>
                    <a:pt x="814920" y="1155479"/>
                  </a:lnTo>
                  <a:lnTo>
                    <a:pt x="817093" y="1155479"/>
                  </a:lnTo>
                  <a:lnTo>
                    <a:pt x="820198" y="1155479"/>
                  </a:lnTo>
                  <a:lnTo>
                    <a:pt x="822371" y="1159826"/>
                  </a:lnTo>
                  <a:lnTo>
                    <a:pt x="822371" y="1162930"/>
                  </a:lnTo>
                  <a:lnTo>
                    <a:pt x="824544" y="1169139"/>
                  </a:lnTo>
                  <a:lnTo>
                    <a:pt x="824544" y="1176590"/>
                  </a:lnTo>
                  <a:lnTo>
                    <a:pt x="827648" y="1174417"/>
                  </a:lnTo>
                  <a:lnTo>
                    <a:pt x="827648" y="1172243"/>
                  </a:lnTo>
                  <a:lnTo>
                    <a:pt x="829822" y="1170070"/>
                  </a:lnTo>
                  <a:lnTo>
                    <a:pt x="831995" y="1166966"/>
                  </a:lnTo>
                  <a:lnTo>
                    <a:pt x="831995" y="1159515"/>
                  </a:lnTo>
                  <a:lnTo>
                    <a:pt x="827959" y="1148960"/>
                  </a:lnTo>
                  <a:lnTo>
                    <a:pt x="819577" y="1132196"/>
                  </a:lnTo>
                  <a:lnTo>
                    <a:pt x="808090" y="1113259"/>
                  </a:lnTo>
                  <a:lnTo>
                    <a:pt x="797535" y="1095253"/>
                  </a:lnTo>
                  <a:lnTo>
                    <a:pt x="783876" y="1076316"/>
                  </a:lnTo>
                  <a:lnTo>
                    <a:pt x="773320" y="1061725"/>
                  </a:lnTo>
                  <a:lnTo>
                    <a:pt x="761834" y="1048996"/>
                  </a:lnTo>
                  <a:lnTo>
                    <a:pt x="756556" y="1041546"/>
                  </a:lnTo>
                  <a:lnTo>
                    <a:pt x="756556" y="1021677"/>
                  </a:lnTo>
                  <a:lnTo>
                    <a:pt x="760592" y="1023850"/>
                  </a:lnTo>
                  <a:lnTo>
                    <a:pt x="763697" y="1026955"/>
                  </a:lnTo>
                  <a:lnTo>
                    <a:pt x="767732" y="1031301"/>
                  </a:lnTo>
                  <a:lnTo>
                    <a:pt x="776114" y="1036578"/>
                  </a:lnTo>
                  <a:lnTo>
                    <a:pt x="782323" y="1048065"/>
                  </a:lnTo>
                  <a:lnTo>
                    <a:pt x="785428" y="1058620"/>
                  </a:lnTo>
                  <a:lnTo>
                    <a:pt x="789464" y="1069175"/>
                  </a:lnTo>
                  <a:lnTo>
                    <a:pt x="796604" y="1078489"/>
                  </a:lnTo>
                  <a:lnTo>
                    <a:pt x="797535" y="1080662"/>
                  </a:lnTo>
                  <a:lnTo>
                    <a:pt x="803744" y="1082835"/>
                  </a:lnTo>
                  <a:lnTo>
                    <a:pt x="806849" y="1082835"/>
                  </a:lnTo>
                  <a:lnTo>
                    <a:pt x="812126" y="1083766"/>
                  </a:lnTo>
                  <a:lnTo>
                    <a:pt x="816162" y="1085939"/>
                  </a:lnTo>
                  <a:lnTo>
                    <a:pt x="833857" y="1112327"/>
                  </a:lnTo>
                  <a:lnTo>
                    <a:pt x="852484" y="1137473"/>
                  </a:lnTo>
                  <a:lnTo>
                    <a:pt x="870179" y="1161688"/>
                  </a:lnTo>
                  <a:lnTo>
                    <a:pt x="890048" y="1183730"/>
                  </a:lnTo>
                  <a:lnTo>
                    <a:pt x="882908" y="1206703"/>
                  </a:lnTo>
                  <a:lnTo>
                    <a:pt x="886944" y="1211049"/>
                  </a:lnTo>
                  <a:lnTo>
                    <a:pt x="894084" y="1218500"/>
                  </a:lnTo>
                  <a:lnTo>
                    <a:pt x="901224" y="1227813"/>
                  </a:lnTo>
                  <a:lnTo>
                    <a:pt x="910537" y="1235264"/>
                  </a:lnTo>
                  <a:lnTo>
                    <a:pt x="915815" y="1242715"/>
                  </a:lnTo>
                  <a:lnTo>
                    <a:pt x="918919" y="1243646"/>
                  </a:lnTo>
                  <a:lnTo>
                    <a:pt x="939719" y="1240541"/>
                  </a:lnTo>
                  <a:lnTo>
                    <a:pt x="940651" y="1242715"/>
                  </a:lnTo>
                  <a:lnTo>
                    <a:pt x="944686" y="1245819"/>
                  </a:lnTo>
                  <a:lnTo>
                    <a:pt x="947791" y="1250165"/>
                  </a:lnTo>
                  <a:lnTo>
                    <a:pt x="951827" y="1253270"/>
                  </a:lnTo>
                  <a:lnTo>
                    <a:pt x="954931" y="1256374"/>
                  </a:lnTo>
                  <a:lnTo>
                    <a:pt x="978835" y="1260720"/>
                  </a:lnTo>
                  <a:lnTo>
                    <a:pt x="981940" y="1262894"/>
                  </a:lnTo>
                  <a:lnTo>
                    <a:pt x="985976" y="1265998"/>
                  </a:lnTo>
                  <a:lnTo>
                    <a:pt x="991253" y="1271276"/>
                  </a:lnTo>
                  <a:lnTo>
                    <a:pt x="995289" y="1275622"/>
                  </a:lnTo>
                  <a:lnTo>
                    <a:pt x="998394" y="1278726"/>
                  </a:lnTo>
                  <a:lnTo>
                    <a:pt x="1002429" y="1280899"/>
                  </a:lnTo>
                  <a:lnTo>
                    <a:pt x="1010811" y="1283073"/>
                  </a:lnTo>
                  <a:lnTo>
                    <a:pt x="1017952" y="1278726"/>
                  </a:lnTo>
                  <a:lnTo>
                    <a:pt x="1024161" y="1275622"/>
                  </a:lnTo>
                  <a:lnTo>
                    <a:pt x="1031301" y="1271276"/>
                  </a:lnTo>
                  <a:lnTo>
                    <a:pt x="1041856" y="1271276"/>
                  </a:lnTo>
                  <a:lnTo>
                    <a:pt x="1058620" y="1278726"/>
                  </a:lnTo>
                  <a:lnTo>
                    <a:pt x="1069175" y="1288040"/>
                  </a:lnTo>
                  <a:lnTo>
                    <a:pt x="1081593" y="1297353"/>
                  </a:lnTo>
                  <a:lnTo>
                    <a:pt x="1102393" y="1304804"/>
                  </a:lnTo>
                  <a:lnTo>
                    <a:pt x="1117915" y="1310081"/>
                  </a:lnTo>
                  <a:lnTo>
                    <a:pt x="1132506" y="1314428"/>
                  </a:lnTo>
                  <a:lnTo>
                    <a:pt x="1141820" y="1317532"/>
                  </a:lnTo>
                  <a:lnTo>
                    <a:pt x="1151133" y="1326845"/>
                  </a:lnTo>
                  <a:lnTo>
                    <a:pt x="1159515" y="1339574"/>
                  </a:lnTo>
                  <a:lnTo>
                    <a:pt x="1168828" y="1361615"/>
                  </a:lnTo>
                  <a:lnTo>
                    <a:pt x="1180315" y="1364720"/>
                  </a:lnTo>
                  <a:lnTo>
                    <a:pt x="1195837" y="1372171"/>
                  </a:lnTo>
                  <a:lnTo>
                    <a:pt x="1212601" y="1381484"/>
                  </a:lnTo>
                  <a:lnTo>
                    <a:pt x="1229365" y="1390797"/>
                  </a:lnTo>
                  <a:lnTo>
                    <a:pt x="1238679" y="1398248"/>
                  </a:lnTo>
                  <a:lnTo>
                    <a:pt x="1241783" y="1396075"/>
                  </a:lnTo>
                  <a:lnTo>
                    <a:pt x="1243956" y="1396075"/>
                  </a:lnTo>
                  <a:lnTo>
                    <a:pt x="1244888" y="1396075"/>
                  </a:lnTo>
                  <a:lnTo>
                    <a:pt x="1247061" y="1393902"/>
                  </a:lnTo>
                  <a:lnTo>
                    <a:pt x="1249234" y="1393902"/>
                  </a:lnTo>
                  <a:lnTo>
                    <a:pt x="1251407" y="1390797"/>
                  </a:lnTo>
                  <a:lnTo>
                    <a:pt x="1251407" y="1388624"/>
                  </a:lnTo>
                  <a:lnTo>
                    <a:pt x="1251407" y="1385520"/>
                  </a:lnTo>
                  <a:lnTo>
                    <a:pt x="1249234" y="1381173"/>
                  </a:lnTo>
                  <a:lnTo>
                    <a:pt x="1252338" y="1379000"/>
                  </a:lnTo>
                  <a:lnTo>
                    <a:pt x="1254511" y="1378069"/>
                  </a:lnTo>
                  <a:lnTo>
                    <a:pt x="1256684" y="1375896"/>
                  </a:lnTo>
                  <a:lnTo>
                    <a:pt x="1258858" y="1373723"/>
                  </a:lnTo>
                  <a:lnTo>
                    <a:pt x="1265998" y="1373723"/>
                  </a:lnTo>
                  <a:lnTo>
                    <a:pt x="1273138" y="1385209"/>
                  </a:lnTo>
                  <a:lnTo>
                    <a:pt x="1280278" y="1395764"/>
                  </a:lnTo>
                  <a:lnTo>
                    <a:pt x="1285556" y="1405078"/>
                  </a:lnTo>
                  <a:lnTo>
                    <a:pt x="1287729" y="1419669"/>
                  </a:lnTo>
                  <a:lnTo>
                    <a:pt x="1287729" y="1434260"/>
                  </a:lnTo>
                  <a:lnTo>
                    <a:pt x="1288660" y="1444815"/>
                  </a:lnTo>
                  <a:lnTo>
                    <a:pt x="1276243" y="1459406"/>
                  </a:lnTo>
                  <a:lnTo>
                    <a:pt x="1261652" y="1472134"/>
                  </a:lnTo>
                  <a:lnTo>
                    <a:pt x="1249234" y="1485794"/>
                  </a:lnTo>
                  <a:lnTo>
                    <a:pt x="1242094" y="1501626"/>
                  </a:lnTo>
                  <a:lnTo>
                    <a:pt x="1236816" y="1518390"/>
                  </a:lnTo>
                  <a:lnTo>
                    <a:pt x="1229676" y="1535155"/>
                  </a:lnTo>
                  <a:lnTo>
                    <a:pt x="1234953" y="1537328"/>
                  </a:lnTo>
                  <a:lnTo>
                    <a:pt x="1240231" y="1537328"/>
                  </a:lnTo>
                  <a:lnTo>
                    <a:pt x="1245508" y="1538259"/>
                  </a:lnTo>
                  <a:lnTo>
                    <a:pt x="1254822" y="1538259"/>
                  </a:lnTo>
                  <a:lnTo>
                    <a:pt x="1254822" y="1542605"/>
                  </a:lnTo>
                  <a:lnTo>
                    <a:pt x="1245508" y="1547883"/>
                  </a:lnTo>
                  <a:lnTo>
                    <a:pt x="1239300" y="1553160"/>
                  </a:lnTo>
                  <a:lnTo>
                    <a:pt x="1229986" y="1558438"/>
                  </a:lnTo>
                  <a:lnTo>
                    <a:pt x="1229986" y="1565889"/>
                  </a:lnTo>
                  <a:lnTo>
                    <a:pt x="1229986" y="1573339"/>
                  </a:lnTo>
                  <a:lnTo>
                    <a:pt x="1229986" y="1579548"/>
                  </a:lnTo>
                  <a:lnTo>
                    <a:pt x="1225950" y="1586999"/>
                  </a:lnTo>
                  <a:lnTo>
                    <a:pt x="1229986" y="1590104"/>
                  </a:lnTo>
                  <a:lnTo>
                    <a:pt x="1233091" y="1594450"/>
                  </a:lnTo>
                  <a:lnTo>
                    <a:pt x="1237126" y="1595381"/>
                  </a:lnTo>
                  <a:lnTo>
                    <a:pt x="1242404" y="1595381"/>
                  </a:lnTo>
                  <a:lnTo>
                    <a:pt x="1245508" y="1599727"/>
                  </a:lnTo>
                  <a:lnTo>
                    <a:pt x="1256995" y="1610283"/>
                  </a:lnTo>
                  <a:lnTo>
                    <a:pt x="1264135" y="1624873"/>
                  </a:lnTo>
                  <a:lnTo>
                    <a:pt x="1269413" y="1643811"/>
                  </a:lnTo>
                  <a:lnTo>
                    <a:pt x="1274690" y="1659643"/>
                  </a:lnTo>
                  <a:lnTo>
                    <a:pt x="1281831" y="1676407"/>
                  </a:lnTo>
                  <a:lnTo>
                    <a:pt x="1302630" y="1705900"/>
                  </a:lnTo>
                  <a:lnTo>
                    <a:pt x="1327777" y="1733219"/>
                  </a:lnTo>
                  <a:lnTo>
                    <a:pt x="1359132" y="1754329"/>
                  </a:lnTo>
                  <a:lnTo>
                    <a:pt x="1395454" y="1767989"/>
                  </a:lnTo>
                  <a:lnTo>
                    <a:pt x="1391418" y="1797481"/>
                  </a:lnTo>
                  <a:lnTo>
                    <a:pt x="1389245" y="1829147"/>
                  </a:lnTo>
                  <a:lnTo>
                    <a:pt x="1388314" y="1861744"/>
                  </a:lnTo>
                  <a:lnTo>
                    <a:pt x="1382105" y="1893409"/>
                  </a:lnTo>
                  <a:lnTo>
                    <a:pt x="1371549" y="1941839"/>
                  </a:lnTo>
                  <a:lnTo>
                    <a:pt x="1362236" y="1991199"/>
                  </a:lnTo>
                  <a:lnTo>
                    <a:pt x="1351681" y="2036214"/>
                  </a:lnTo>
                  <a:lnTo>
                    <a:pt x="1339263" y="2080297"/>
                  </a:lnTo>
                  <a:lnTo>
                    <a:pt x="1337090" y="2091784"/>
                  </a:lnTo>
                  <a:lnTo>
                    <a:pt x="1340194" y="2104512"/>
                  </a:lnTo>
                  <a:lnTo>
                    <a:pt x="1342368" y="2111963"/>
                  </a:lnTo>
                  <a:lnTo>
                    <a:pt x="1329950" y="2188643"/>
                  </a:lnTo>
                  <a:lnTo>
                    <a:pt x="1329950" y="2192989"/>
                  </a:lnTo>
                  <a:lnTo>
                    <a:pt x="1337090" y="2190816"/>
                  </a:lnTo>
                  <a:lnTo>
                    <a:pt x="1340194" y="2186470"/>
                  </a:lnTo>
                  <a:lnTo>
                    <a:pt x="1342368" y="2183365"/>
                  </a:lnTo>
                  <a:lnTo>
                    <a:pt x="1345472" y="2179019"/>
                  </a:lnTo>
                  <a:lnTo>
                    <a:pt x="1349508" y="2175915"/>
                  </a:lnTo>
                  <a:lnTo>
                    <a:pt x="1349508" y="2179019"/>
                  </a:lnTo>
                  <a:lnTo>
                    <a:pt x="1354785" y="2179019"/>
                  </a:lnTo>
                  <a:lnTo>
                    <a:pt x="1345472" y="2215652"/>
                  </a:lnTo>
                  <a:lnTo>
                    <a:pt x="1334917" y="2215652"/>
                  </a:lnTo>
                  <a:lnTo>
                    <a:pt x="1327777" y="2234589"/>
                  </a:lnTo>
                  <a:lnTo>
                    <a:pt x="1320636" y="2256631"/>
                  </a:lnTo>
                  <a:lnTo>
                    <a:pt x="1315359" y="2279604"/>
                  </a:lnTo>
                  <a:lnTo>
                    <a:pt x="1313186" y="2305992"/>
                  </a:lnTo>
                  <a:lnTo>
                    <a:pt x="1311012" y="2333311"/>
                  </a:lnTo>
                  <a:lnTo>
                    <a:pt x="1315048" y="2357525"/>
                  </a:lnTo>
                  <a:lnTo>
                    <a:pt x="1322189" y="2380499"/>
                  </a:lnTo>
                  <a:lnTo>
                    <a:pt x="1332744" y="2401609"/>
                  </a:lnTo>
                  <a:lnTo>
                    <a:pt x="1349508" y="2416200"/>
                  </a:lnTo>
                  <a:lnTo>
                    <a:pt x="1369376" y="2426755"/>
                  </a:lnTo>
                  <a:lnTo>
                    <a:pt x="1369376" y="2434206"/>
                  </a:lnTo>
                  <a:lnTo>
                    <a:pt x="1354785" y="2424892"/>
                  </a:lnTo>
                  <a:lnTo>
                    <a:pt x="1342368" y="2414337"/>
                  </a:lnTo>
                  <a:lnTo>
                    <a:pt x="1329950" y="2401609"/>
                  </a:lnTo>
                  <a:lnTo>
                    <a:pt x="1325914" y="2401609"/>
                  </a:lnTo>
                  <a:lnTo>
                    <a:pt x="1332123" y="2416200"/>
                  </a:lnTo>
                  <a:lnTo>
                    <a:pt x="1342678" y="2430791"/>
                  </a:lnTo>
                  <a:lnTo>
                    <a:pt x="1357269" y="2445382"/>
                  </a:lnTo>
                  <a:lnTo>
                    <a:pt x="1374033" y="2458110"/>
                  </a:lnTo>
                  <a:lnTo>
                    <a:pt x="1389555" y="2466492"/>
                  </a:lnTo>
                  <a:lnTo>
                    <a:pt x="1406319" y="2470838"/>
                  </a:lnTo>
                  <a:lnTo>
                    <a:pt x="1423083" y="2466492"/>
                  </a:lnTo>
                  <a:lnTo>
                    <a:pt x="1426188" y="2465561"/>
                  </a:lnTo>
                  <a:lnTo>
                    <a:pt x="1428361" y="2463388"/>
                  </a:lnTo>
                  <a:lnTo>
                    <a:pt x="1430534" y="2463388"/>
                  </a:lnTo>
                  <a:lnTo>
                    <a:pt x="1430534" y="2461214"/>
                  </a:lnTo>
                  <a:lnTo>
                    <a:pt x="1432707" y="2460283"/>
                  </a:lnTo>
                  <a:lnTo>
                    <a:pt x="1435812" y="2458110"/>
                  </a:lnTo>
                  <a:lnTo>
                    <a:pt x="1432707" y="2453764"/>
                  </a:lnTo>
                  <a:lnTo>
                    <a:pt x="1432707" y="2452832"/>
                  </a:lnTo>
                  <a:lnTo>
                    <a:pt x="1432707" y="2452832"/>
                  </a:lnTo>
                  <a:lnTo>
                    <a:pt x="1432707" y="2450659"/>
                  </a:lnTo>
                  <a:lnTo>
                    <a:pt x="1428671" y="2450659"/>
                  </a:lnTo>
                  <a:lnTo>
                    <a:pt x="1427740" y="2450659"/>
                  </a:lnTo>
                  <a:lnTo>
                    <a:pt x="1421531" y="2450659"/>
                  </a:lnTo>
                  <a:lnTo>
                    <a:pt x="1420600" y="2439173"/>
                  </a:lnTo>
                  <a:lnTo>
                    <a:pt x="1418427" y="2426444"/>
                  </a:lnTo>
                  <a:lnTo>
                    <a:pt x="1416254" y="2415889"/>
                  </a:lnTo>
                  <a:lnTo>
                    <a:pt x="1413149" y="2406576"/>
                  </a:lnTo>
                  <a:lnTo>
                    <a:pt x="1410976" y="2404403"/>
                  </a:lnTo>
                  <a:lnTo>
                    <a:pt x="1410976" y="2402230"/>
                  </a:lnTo>
                  <a:lnTo>
                    <a:pt x="1408803" y="2402230"/>
                  </a:lnTo>
                  <a:lnTo>
                    <a:pt x="1405698" y="2401298"/>
                  </a:lnTo>
                  <a:lnTo>
                    <a:pt x="1396385" y="2414027"/>
                  </a:lnTo>
                  <a:lnTo>
                    <a:pt x="1384899" y="2426755"/>
                  </a:lnTo>
                  <a:lnTo>
                    <a:pt x="1384899" y="2431101"/>
                  </a:lnTo>
                  <a:lnTo>
                    <a:pt x="1381794" y="2431101"/>
                  </a:lnTo>
                  <a:lnTo>
                    <a:pt x="1381794" y="2424892"/>
                  </a:lnTo>
                  <a:lnTo>
                    <a:pt x="1381794" y="2421788"/>
                  </a:lnTo>
                  <a:lnTo>
                    <a:pt x="1383967" y="2417442"/>
                  </a:lnTo>
                  <a:lnTo>
                    <a:pt x="1384899" y="2414337"/>
                  </a:lnTo>
                  <a:lnTo>
                    <a:pt x="1394212" y="2402851"/>
                  </a:lnTo>
                  <a:lnTo>
                    <a:pt x="1406630" y="2392295"/>
                  </a:lnTo>
                  <a:lnTo>
                    <a:pt x="1420289" y="2384845"/>
                  </a:lnTo>
                  <a:lnTo>
                    <a:pt x="1428671" y="2382672"/>
                  </a:lnTo>
                  <a:lnTo>
                    <a:pt x="1427740" y="2373358"/>
                  </a:lnTo>
                  <a:lnTo>
                    <a:pt x="1423704" y="2368081"/>
                  </a:lnTo>
                  <a:lnTo>
                    <a:pt x="1418427" y="2362803"/>
                  </a:lnTo>
                  <a:lnTo>
                    <a:pt x="1413149" y="2357525"/>
                  </a:lnTo>
                  <a:lnTo>
                    <a:pt x="1418427" y="2340761"/>
                  </a:lnTo>
                  <a:lnTo>
                    <a:pt x="1427740" y="2322756"/>
                  </a:lnTo>
                  <a:lnTo>
                    <a:pt x="1440158" y="2303818"/>
                  </a:lnTo>
                  <a:lnTo>
                    <a:pt x="1454749" y="2289227"/>
                  </a:lnTo>
                  <a:lnTo>
                    <a:pt x="1469340" y="2281777"/>
                  </a:lnTo>
                  <a:lnTo>
                    <a:pt x="1472444" y="2269048"/>
                  </a:lnTo>
                  <a:lnTo>
                    <a:pt x="1467167" y="2264702"/>
                  </a:lnTo>
                  <a:lnTo>
                    <a:pt x="1461889" y="2261598"/>
                  </a:lnTo>
                  <a:lnTo>
                    <a:pt x="1455680" y="2258493"/>
                  </a:lnTo>
                  <a:lnTo>
                    <a:pt x="1452576" y="2252284"/>
                  </a:lnTo>
                  <a:lnTo>
                    <a:pt x="1448540" y="2244834"/>
                  </a:lnTo>
                  <a:lnTo>
                    <a:pt x="1448540" y="2243902"/>
                  </a:lnTo>
                  <a:lnTo>
                    <a:pt x="1447609" y="2241729"/>
                  </a:lnTo>
                  <a:lnTo>
                    <a:pt x="1448540" y="2239556"/>
                  </a:lnTo>
                  <a:lnTo>
                    <a:pt x="1448540" y="2237383"/>
                  </a:lnTo>
                  <a:lnTo>
                    <a:pt x="1448540" y="2234279"/>
                  </a:lnTo>
                  <a:lnTo>
                    <a:pt x="1448540" y="2229001"/>
                  </a:lnTo>
                  <a:lnTo>
                    <a:pt x="1454749" y="2229001"/>
                  </a:lnTo>
                  <a:lnTo>
                    <a:pt x="1460026" y="2226828"/>
                  </a:lnTo>
                  <a:lnTo>
                    <a:pt x="1462200" y="2226828"/>
                  </a:lnTo>
                  <a:lnTo>
                    <a:pt x="1465304" y="2224655"/>
                  </a:lnTo>
                  <a:lnTo>
                    <a:pt x="1469340" y="2214100"/>
                  </a:lnTo>
                  <a:lnTo>
                    <a:pt x="1472444" y="2202613"/>
                  </a:lnTo>
                  <a:lnTo>
                    <a:pt x="1477722" y="2192058"/>
                  </a:lnTo>
                  <a:lnTo>
                    <a:pt x="1479895" y="2185849"/>
                  </a:lnTo>
                  <a:lnTo>
                    <a:pt x="1483931" y="2184918"/>
                  </a:lnTo>
                  <a:lnTo>
                    <a:pt x="1489208" y="2182745"/>
                  </a:lnTo>
                  <a:lnTo>
                    <a:pt x="1494486" y="2180571"/>
                  </a:lnTo>
                  <a:lnTo>
                    <a:pt x="1501626" y="2178398"/>
                  </a:lnTo>
                  <a:lnTo>
                    <a:pt x="1498522" y="2173121"/>
                  </a:lnTo>
                  <a:lnTo>
                    <a:pt x="1496349" y="2170016"/>
                  </a:lnTo>
                  <a:lnTo>
                    <a:pt x="1492313" y="2165670"/>
                  </a:lnTo>
                  <a:lnTo>
                    <a:pt x="1489208" y="2163497"/>
                  </a:lnTo>
                  <a:lnTo>
                    <a:pt x="1485173" y="2162566"/>
                  </a:lnTo>
                  <a:lnTo>
                    <a:pt x="1479895" y="2158219"/>
                  </a:lnTo>
                  <a:lnTo>
                    <a:pt x="1472755" y="2155115"/>
                  </a:lnTo>
                  <a:lnTo>
                    <a:pt x="1472755" y="2147664"/>
                  </a:lnTo>
                  <a:lnTo>
                    <a:pt x="1487346" y="2145491"/>
                  </a:lnTo>
                  <a:lnTo>
                    <a:pt x="1501937" y="2145491"/>
                  </a:lnTo>
                  <a:lnTo>
                    <a:pt x="1513423" y="2143318"/>
                  </a:lnTo>
                  <a:lnTo>
                    <a:pt x="1521805" y="2143318"/>
                  </a:lnTo>
                  <a:lnTo>
                    <a:pt x="1520874" y="2135867"/>
                  </a:lnTo>
                  <a:lnTo>
                    <a:pt x="1520874" y="2132763"/>
                  </a:lnTo>
                  <a:lnTo>
                    <a:pt x="1520874" y="2129037"/>
                  </a:lnTo>
                  <a:lnTo>
                    <a:pt x="1520874" y="2128106"/>
                  </a:lnTo>
                  <a:lnTo>
                    <a:pt x="1521805" y="2123760"/>
                  </a:lnTo>
                  <a:lnTo>
                    <a:pt x="1521805" y="2116309"/>
                  </a:lnTo>
                  <a:lnTo>
                    <a:pt x="1521805" y="2108858"/>
                  </a:lnTo>
                  <a:lnTo>
                    <a:pt x="1523978" y="2103581"/>
                  </a:lnTo>
                  <a:lnTo>
                    <a:pt x="1526151" y="2099235"/>
                  </a:lnTo>
                  <a:lnTo>
                    <a:pt x="1553160" y="2091784"/>
                  </a:lnTo>
                  <a:lnTo>
                    <a:pt x="1585447" y="2090853"/>
                  </a:lnTo>
                  <a:lnTo>
                    <a:pt x="1587620" y="2076262"/>
                  </a:lnTo>
                  <a:lnTo>
                    <a:pt x="1589793" y="2062602"/>
                  </a:lnTo>
                  <a:lnTo>
                    <a:pt x="1587620" y="2052047"/>
                  </a:lnTo>
                  <a:lnTo>
                    <a:pt x="1582342" y="2041492"/>
                  </a:lnTo>
                  <a:lnTo>
                    <a:pt x="1569924" y="2034041"/>
                  </a:lnTo>
                  <a:lnTo>
                    <a:pt x="1569924" y="2026590"/>
                  </a:lnTo>
                  <a:lnTo>
                    <a:pt x="1592897" y="2031868"/>
                  </a:lnTo>
                  <a:lnTo>
                    <a:pt x="1618975" y="2037145"/>
                  </a:lnTo>
                  <a:lnTo>
                    <a:pt x="1631393" y="2022554"/>
                  </a:lnTo>
                  <a:lnTo>
                    <a:pt x="1642879" y="2009826"/>
                  </a:lnTo>
                  <a:lnTo>
                    <a:pt x="1653434" y="1995235"/>
                  </a:lnTo>
                  <a:lnTo>
                    <a:pt x="1662747" y="1973194"/>
                  </a:lnTo>
                  <a:lnTo>
                    <a:pt x="1663679" y="1973194"/>
                  </a:lnTo>
                  <a:lnTo>
                    <a:pt x="1665852" y="1971020"/>
                  </a:lnTo>
                  <a:lnTo>
                    <a:pt x="1668025" y="1971020"/>
                  </a:lnTo>
                  <a:lnTo>
                    <a:pt x="1670198" y="1968847"/>
                  </a:lnTo>
                  <a:lnTo>
                    <a:pt x="1671130" y="1973194"/>
                  </a:lnTo>
                  <a:lnTo>
                    <a:pt x="1673303" y="1978471"/>
                  </a:lnTo>
                  <a:lnTo>
                    <a:pt x="1673303" y="1982817"/>
                  </a:lnTo>
                  <a:lnTo>
                    <a:pt x="1673303" y="1990268"/>
                  </a:lnTo>
                  <a:lnTo>
                    <a:pt x="1678580" y="1990268"/>
                  </a:lnTo>
                  <a:lnTo>
                    <a:pt x="1685721" y="1969158"/>
                  </a:lnTo>
                  <a:lnTo>
                    <a:pt x="1692861" y="1953325"/>
                  </a:lnTo>
                  <a:lnTo>
                    <a:pt x="1700001" y="1936561"/>
                  </a:lnTo>
                  <a:lnTo>
                    <a:pt x="1704037" y="1916692"/>
                  </a:lnTo>
                  <a:lnTo>
                    <a:pt x="1706210" y="1892478"/>
                  </a:lnTo>
                  <a:lnTo>
                    <a:pt x="1718628" y="1892478"/>
                  </a:lnTo>
                  <a:lnTo>
                    <a:pt x="1716455" y="1887200"/>
                  </a:lnTo>
                  <a:lnTo>
                    <a:pt x="1714282" y="1881923"/>
                  </a:lnTo>
                  <a:lnTo>
                    <a:pt x="1714282" y="1877576"/>
                  </a:lnTo>
                  <a:lnTo>
                    <a:pt x="1714282" y="1874472"/>
                  </a:lnTo>
                  <a:lnTo>
                    <a:pt x="1718317" y="1868263"/>
                  </a:lnTo>
                  <a:lnTo>
                    <a:pt x="1727631" y="1857708"/>
                  </a:lnTo>
                  <a:lnTo>
                    <a:pt x="1742222" y="1852430"/>
                  </a:lnTo>
                  <a:lnTo>
                    <a:pt x="1757744" y="1848084"/>
                  </a:lnTo>
                  <a:lnTo>
                    <a:pt x="1774508" y="1847153"/>
                  </a:lnTo>
                  <a:lnTo>
                    <a:pt x="1791272" y="1844979"/>
                  </a:lnTo>
                  <a:lnTo>
                    <a:pt x="1801827" y="1840633"/>
                  </a:lnTo>
                  <a:lnTo>
                    <a:pt x="1807105" y="1833183"/>
                  </a:lnTo>
                  <a:lnTo>
                    <a:pt x="1816418" y="1820454"/>
                  </a:lnTo>
                  <a:lnTo>
                    <a:pt x="1825732" y="1803690"/>
                  </a:lnTo>
                  <a:lnTo>
                    <a:pt x="1835045" y="1787857"/>
                  </a:lnTo>
                  <a:lnTo>
                    <a:pt x="1842185" y="1773267"/>
                  </a:lnTo>
                  <a:lnTo>
                    <a:pt x="1845290" y="1763953"/>
                  </a:lnTo>
                  <a:lnTo>
                    <a:pt x="1847463" y="1749362"/>
                  </a:lnTo>
                  <a:lnTo>
                    <a:pt x="1843427" y="1732598"/>
                  </a:lnTo>
                  <a:lnTo>
                    <a:pt x="1842496" y="1718007"/>
                  </a:lnTo>
                  <a:lnTo>
                    <a:pt x="1842496" y="1707452"/>
                  </a:lnTo>
                  <a:lnTo>
                    <a:pt x="1850878" y="1690688"/>
                  </a:lnTo>
                  <a:lnTo>
                    <a:pt x="1863296" y="1668646"/>
                  </a:lnTo>
                  <a:lnTo>
                    <a:pt x="1877887" y="1646605"/>
                  </a:lnTo>
                  <a:lnTo>
                    <a:pt x="1892477" y="1626736"/>
                  </a:lnTo>
                  <a:lnTo>
                    <a:pt x="1906137" y="1609972"/>
                  </a:lnTo>
                  <a:lnTo>
                    <a:pt x="1903964" y="1601590"/>
                  </a:lnTo>
                  <a:lnTo>
                    <a:pt x="1901480" y="1594450"/>
                  </a:lnTo>
                  <a:close/>
                  <a:moveTo>
                    <a:pt x="1340815" y="768043"/>
                  </a:moveTo>
                  <a:lnTo>
                    <a:pt x="1342988" y="765870"/>
                  </a:lnTo>
                  <a:lnTo>
                    <a:pt x="1345162" y="763697"/>
                  </a:lnTo>
                  <a:lnTo>
                    <a:pt x="1348266" y="760592"/>
                  </a:lnTo>
                  <a:lnTo>
                    <a:pt x="1350439" y="756246"/>
                  </a:lnTo>
                  <a:lnTo>
                    <a:pt x="1353544" y="756246"/>
                  </a:lnTo>
                  <a:lnTo>
                    <a:pt x="1352612" y="760592"/>
                  </a:lnTo>
                  <a:lnTo>
                    <a:pt x="1350439" y="762765"/>
                  </a:lnTo>
                  <a:lnTo>
                    <a:pt x="1348266" y="765870"/>
                  </a:lnTo>
                  <a:lnTo>
                    <a:pt x="1348266" y="768043"/>
                  </a:lnTo>
                  <a:lnTo>
                    <a:pt x="1347335" y="773320"/>
                  </a:lnTo>
                  <a:lnTo>
                    <a:pt x="1343299" y="771147"/>
                  </a:lnTo>
                  <a:lnTo>
                    <a:pt x="1341126" y="770216"/>
                  </a:lnTo>
                  <a:lnTo>
                    <a:pt x="1341126" y="768043"/>
                  </a:lnTo>
                  <a:close/>
                  <a:moveTo>
                    <a:pt x="1108602" y="713094"/>
                  </a:moveTo>
                  <a:lnTo>
                    <a:pt x="1117915" y="701608"/>
                  </a:lnTo>
                  <a:lnTo>
                    <a:pt x="1126297" y="688879"/>
                  </a:lnTo>
                  <a:lnTo>
                    <a:pt x="1144924" y="691052"/>
                  </a:lnTo>
                  <a:lnTo>
                    <a:pt x="1159515" y="698503"/>
                  </a:lnTo>
                  <a:lnTo>
                    <a:pt x="1167897" y="705954"/>
                  </a:lnTo>
                  <a:lnTo>
                    <a:pt x="1175037" y="716509"/>
                  </a:lnTo>
                  <a:lnTo>
                    <a:pt x="1181246" y="727995"/>
                  </a:lnTo>
                  <a:lnTo>
                    <a:pt x="1189628" y="736377"/>
                  </a:lnTo>
                  <a:lnTo>
                    <a:pt x="1203288" y="746001"/>
                  </a:lnTo>
                  <a:lnTo>
                    <a:pt x="1211670" y="749106"/>
                  </a:lnTo>
                  <a:lnTo>
                    <a:pt x="1218810" y="749106"/>
                  </a:lnTo>
                  <a:lnTo>
                    <a:pt x="1228124" y="751279"/>
                  </a:lnTo>
                  <a:lnTo>
                    <a:pt x="1237437" y="756556"/>
                  </a:lnTo>
                  <a:lnTo>
                    <a:pt x="1237437" y="766180"/>
                  </a:lnTo>
                  <a:lnTo>
                    <a:pt x="1235264" y="771458"/>
                  </a:lnTo>
                  <a:lnTo>
                    <a:pt x="1235264" y="775804"/>
                  </a:lnTo>
                  <a:lnTo>
                    <a:pt x="1233091" y="777977"/>
                  </a:lnTo>
                  <a:lnTo>
                    <a:pt x="1232159" y="778909"/>
                  </a:lnTo>
                  <a:lnTo>
                    <a:pt x="1229986" y="778909"/>
                  </a:lnTo>
                  <a:lnTo>
                    <a:pt x="1227813" y="778909"/>
                  </a:lnTo>
                  <a:lnTo>
                    <a:pt x="1225640" y="781082"/>
                  </a:lnTo>
                  <a:lnTo>
                    <a:pt x="1224709" y="783255"/>
                  </a:lnTo>
                  <a:lnTo>
                    <a:pt x="1222535" y="785428"/>
                  </a:lnTo>
                  <a:lnTo>
                    <a:pt x="1218500" y="795983"/>
                  </a:lnTo>
                  <a:lnTo>
                    <a:pt x="1220673" y="805607"/>
                  </a:lnTo>
                  <a:lnTo>
                    <a:pt x="1222846" y="810884"/>
                  </a:lnTo>
                  <a:lnTo>
                    <a:pt x="1222846" y="818335"/>
                  </a:lnTo>
                  <a:lnTo>
                    <a:pt x="1217568" y="827959"/>
                  </a:lnTo>
                  <a:lnTo>
                    <a:pt x="1218500" y="831063"/>
                  </a:lnTo>
                  <a:lnTo>
                    <a:pt x="1218500" y="833237"/>
                  </a:lnTo>
                  <a:lnTo>
                    <a:pt x="1218500" y="835410"/>
                  </a:lnTo>
                  <a:lnTo>
                    <a:pt x="1220673" y="837583"/>
                  </a:lnTo>
                  <a:lnTo>
                    <a:pt x="1222846" y="838514"/>
                  </a:lnTo>
                  <a:lnTo>
                    <a:pt x="1225950" y="837583"/>
                  </a:lnTo>
                  <a:lnTo>
                    <a:pt x="1237437" y="833237"/>
                  </a:lnTo>
                  <a:lnTo>
                    <a:pt x="1252959" y="825786"/>
                  </a:lnTo>
                  <a:lnTo>
                    <a:pt x="1269723" y="815231"/>
                  </a:lnTo>
                  <a:lnTo>
                    <a:pt x="1288350" y="805607"/>
                  </a:lnTo>
                  <a:lnTo>
                    <a:pt x="1302941" y="794120"/>
                  </a:lnTo>
                  <a:lnTo>
                    <a:pt x="1315359" y="786670"/>
                  </a:lnTo>
                  <a:lnTo>
                    <a:pt x="1322499" y="781392"/>
                  </a:lnTo>
                  <a:lnTo>
                    <a:pt x="1325603" y="783565"/>
                  </a:lnTo>
                  <a:lnTo>
                    <a:pt x="1327777" y="783565"/>
                  </a:lnTo>
                  <a:lnTo>
                    <a:pt x="1329950" y="783565"/>
                  </a:lnTo>
                  <a:lnTo>
                    <a:pt x="1332123" y="785738"/>
                  </a:lnTo>
                  <a:lnTo>
                    <a:pt x="1332123" y="786670"/>
                  </a:lnTo>
                  <a:lnTo>
                    <a:pt x="1333054" y="791016"/>
                  </a:lnTo>
                  <a:lnTo>
                    <a:pt x="1337090" y="791016"/>
                  </a:lnTo>
                  <a:lnTo>
                    <a:pt x="1329950" y="801571"/>
                  </a:lnTo>
                  <a:lnTo>
                    <a:pt x="1313186" y="811195"/>
                  </a:lnTo>
                  <a:lnTo>
                    <a:pt x="1295490" y="818646"/>
                  </a:lnTo>
                  <a:lnTo>
                    <a:pt x="1276863" y="826096"/>
                  </a:lnTo>
                  <a:lnTo>
                    <a:pt x="1259168" y="835720"/>
                  </a:lnTo>
                  <a:lnTo>
                    <a:pt x="1242404" y="845344"/>
                  </a:lnTo>
                  <a:lnTo>
                    <a:pt x="1233091" y="859004"/>
                  </a:lnTo>
                  <a:lnTo>
                    <a:pt x="1210118" y="855899"/>
                  </a:lnTo>
                  <a:lnTo>
                    <a:pt x="1207945" y="831684"/>
                  </a:lnTo>
                  <a:lnTo>
                    <a:pt x="1207945" y="809332"/>
                  </a:lnTo>
                  <a:lnTo>
                    <a:pt x="1207945" y="791326"/>
                  </a:lnTo>
                  <a:lnTo>
                    <a:pt x="1205771" y="771147"/>
                  </a:lnTo>
                  <a:lnTo>
                    <a:pt x="1193354" y="771147"/>
                  </a:lnTo>
                  <a:lnTo>
                    <a:pt x="1191180" y="778598"/>
                  </a:lnTo>
                  <a:lnTo>
                    <a:pt x="1185903" y="789153"/>
                  </a:lnTo>
                  <a:lnTo>
                    <a:pt x="1180625" y="801882"/>
                  </a:lnTo>
                  <a:lnTo>
                    <a:pt x="1174416" y="816783"/>
                  </a:lnTo>
                  <a:lnTo>
                    <a:pt x="1169139" y="828269"/>
                  </a:lnTo>
                  <a:lnTo>
                    <a:pt x="1166034" y="835720"/>
                  </a:lnTo>
                  <a:lnTo>
                    <a:pt x="1166034" y="838825"/>
                  </a:lnTo>
                  <a:lnTo>
                    <a:pt x="1159825" y="837893"/>
                  </a:lnTo>
                  <a:lnTo>
                    <a:pt x="1158894" y="835720"/>
                  </a:lnTo>
                  <a:lnTo>
                    <a:pt x="1156721" y="833547"/>
                  </a:lnTo>
                  <a:lnTo>
                    <a:pt x="1154548" y="831374"/>
                  </a:lnTo>
                  <a:lnTo>
                    <a:pt x="1154548" y="828269"/>
                  </a:lnTo>
                  <a:lnTo>
                    <a:pt x="1153306" y="822061"/>
                  </a:lnTo>
                  <a:lnTo>
                    <a:pt x="1153306" y="812747"/>
                  </a:lnTo>
                  <a:lnTo>
                    <a:pt x="1159515" y="797846"/>
                  </a:lnTo>
                  <a:lnTo>
                    <a:pt x="1166655" y="780771"/>
                  </a:lnTo>
                  <a:lnTo>
                    <a:pt x="1175037" y="768043"/>
                  </a:lnTo>
                  <a:lnTo>
                    <a:pt x="1182177" y="756556"/>
                  </a:lnTo>
                  <a:lnTo>
                    <a:pt x="1175037" y="748174"/>
                  </a:lnTo>
                  <a:lnTo>
                    <a:pt x="1167897" y="743828"/>
                  </a:lnTo>
                  <a:lnTo>
                    <a:pt x="1160757" y="740724"/>
                  </a:lnTo>
                  <a:lnTo>
                    <a:pt x="1152375" y="736377"/>
                  </a:lnTo>
                  <a:lnTo>
                    <a:pt x="1147097" y="723649"/>
                  </a:lnTo>
                  <a:lnTo>
                    <a:pt x="1137784" y="723649"/>
                  </a:lnTo>
                  <a:lnTo>
                    <a:pt x="1137784" y="728927"/>
                  </a:lnTo>
                  <a:lnTo>
                    <a:pt x="1135611" y="733273"/>
                  </a:lnTo>
                  <a:lnTo>
                    <a:pt x="1135611" y="738551"/>
                  </a:lnTo>
                  <a:lnTo>
                    <a:pt x="1133438" y="746001"/>
                  </a:lnTo>
                  <a:lnTo>
                    <a:pt x="1126297" y="736377"/>
                  </a:lnTo>
                  <a:lnTo>
                    <a:pt x="1121020" y="731100"/>
                  </a:lnTo>
                  <a:lnTo>
                    <a:pt x="1113879" y="727995"/>
                  </a:lnTo>
                  <a:lnTo>
                    <a:pt x="1103324" y="728927"/>
                  </a:lnTo>
                  <a:lnTo>
                    <a:pt x="1108602" y="71309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7EC49C45-73E4-4020-87A5-43596670C9A1}"/>
                </a:ext>
              </a:extLst>
            </p:cNvPr>
            <p:cNvSpPr/>
            <p:nvPr/>
          </p:nvSpPr>
          <p:spPr>
            <a:xfrm>
              <a:off x="3644576" y="3731096"/>
              <a:ext cx="2992697" cy="1030680"/>
            </a:xfrm>
            <a:custGeom>
              <a:avLst/>
              <a:gdLst>
                <a:gd name="connsiteX0" fmla="*/ 7140 w 2992697"/>
                <a:gd name="connsiteY0" fmla="*/ 256428 h 1030680"/>
                <a:gd name="connsiteX1" fmla="*/ 26077 w 2992697"/>
                <a:gd name="connsiteY1" fmla="*/ 261706 h 1030680"/>
                <a:gd name="connsiteX2" fmla="*/ 38495 w 2992697"/>
                <a:gd name="connsiteY2" fmla="*/ 271330 h 1030680"/>
                <a:gd name="connsiteX3" fmla="*/ 49050 w 2992697"/>
                <a:gd name="connsiteY3" fmla="*/ 279712 h 1030680"/>
                <a:gd name="connsiteX4" fmla="*/ 60537 w 2992697"/>
                <a:gd name="connsiteY4" fmla="*/ 291198 h 1030680"/>
                <a:gd name="connsiteX5" fmla="*/ 71092 w 2992697"/>
                <a:gd name="connsiteY5" fmla="*/ 299580 h 1030680"/>
                <a:gd name="connsiteX6" fmla="*/ 71092 w 2992697"/>
                <a:gd name="connsiteY6" fmla="*/ 296476 h 1030680"/>
                <a:gd name="connsiteX7" fmla="*/ 77301 w 2992697"/>
                <a:gd name="connsiteY7" fmla="*/ 296476 h 1030680"/>
                <a:gd name="connsiteX8" fmla="*/ 77301 w 2992697"/>
                <a:gd name="connsiteY8" fmla="*/ 299580 h 1030680"/>
                <a:gd name="connsiteX9" fmla="*/ 78232 w 2992697"/>
                <a:gd name="connsiteY9" fmla="*/ 303926 h 1030680"/>
                <a:gd name="connsiteX10" fmla="*/ 82268 w 2992697"/>
                <a:gd name="connsiteY10" fmla="*/ 309204 h 1030680"/>
                <a:gd name="connsiteX11" fmla="*/ 84441 w 2992697"/>
                <a:gd name="connsiteY11" fmla="*/ 316655 h 1030680"/>
                <a:gd name="connsiteX12" fmla="*/ 76991 w 2992697"/>
                <a:gd name="connsiteY12" fmla="*/ 316655 h 1030680"/>
                <a:gd name="connsiteX13" fmla="*/ 72955 w 2992697"/>
                <a:gd name="connsiteY13" fmla="*/ 316655 h 1030680"/>
                <a:gd name="connsiteX14" fmla="*/ 72955 w 2992697"/>
                <a:gd name="connsiteY14" fmla="*/ 318828 h 1030680"/>
                <a:gd name="connsiteX15" fmla="*/ 70782 w 2992697"/>
                <a:gd name="connsiteY15" fmla="*/ 318828 h 1030680"/>
                <a:gd name="connsiteX16" fmla="*/ 67677 w 2992697"/>
                <a:gd name="connsiteY16" fmla="*/ 318828 h 1030680"/>
                <a:gd name="connsiteX17" fmla="*/ 63641 w 2992697"/>
                <a:gd name="connsiteY17" fmla="*/ 321001 h 1030680"/>
                <a:gd name="connsiteX18" fmla="*/ 49050 w 2992697"/>
                <a:gd name="connsiteY18" fmla="*/ 309514 h 1030680"/>
                <a:gd name="connsiteX19" fmla="*/ 34460 w 2992697"/>
                <a:gd name="connsiteY19" fmla="*/ 304237 h 1030680"/>
                <a:gd name="connsiteX20" fmla="*/ 16764 w 2992697"/>
                <a:gd name="connsiteY20" fmla="*/ 299891 h 1030680"/>
                <a:gd name="connsiteX21" fmla="*/ 0 w 2992697"/>
                <a:gd name="connsiteY21" fmla="*/ 291509 h 1030680"/>
                <a:gd name="connsiteX22" fmla="*/ 6209 w 2992697"/>
                <a:gd name="connsiteY22" fmla="*/ 286231 h 1030680"/>
                <a:gd name="connsiteX23" fmla="*/ 7140 w 2992697"/>
                <a:gd name="connsiteY23" fmla="*/ 280022 h 1030680"/>
                <a:gd name="connsiteX24" fmla="*/ 6209 w 2992697"/>
                <a:gd name="connsiteY24" fmla="*/ 274745 h 1030680"/>
                <a:gd name="connsiteX25" fmla="*/ 6209 w 2992697"/>
                <a:gd name="connsiteY25" fmla="*/ 266983 h 1030680"/>
                <a:gd name="connsiteX26" fmla="*/ 7140 w 2992697"/>
                <a:gd name="connsiteY26" fmla="*/ 256428 h 1030680"/>
                <a:gd name="connsiteX27" fmla="*/ 7140 w 2992697"/>
                <a:gd name="connsiteY27" fmla="*/ 256428 h 1030680"/>
                <a:gd name="connsiteX28" fmla="*/ 7140 w 2992697"/>
                <a:gd name="connsiteY28" fmla="*/ 256428 h 1030680"/>
                <a:gd name="connsiteX29" fmla="*/ 1275001 w 2992697"/>
                <a:gd name="connsiteY29" fmla="*/ 248978 h 1030680"/>
                <a:gd name="connsiteX30" fmla="*/ 1279037 w 2992697"/>
                <a:gd name="connsiteY30" fmla="*/ 248978 h 1030680"/>
                <a:gd name="connsiteX31" fmla="*/ 1282141 w 2992697"/>
                <a:gd name="connsiteY31" fmla="*/ 249909 h 1030680"/>
                <a:gd name="connsiteX32" fmla="*/ 1284314 w 2992697"/>
                <a:gd name="connsiteY32" fmla="*/ 252082 h 1030680"/>
                <a:gd name="connsiteX33" fmla="*/ 1286487 w 2992697"/>
                <a:gd name="connsiteY33" fmla="*/ 254255 h 1030680"/>
                <a:gd name="connsiteX34" fmla="*/ 1287419 w 2992697"/>
                <a:gd name="connsiteY34" fmla="*/ 256428 h 1030680"/>
                <a:gd name="connsiteX35" fmla="*/ 1287419 w 2992697"/>
                <a:gd name="connsiteY35" fmla="*/ 257670 h 1030680"/>
                <a:gd name="connsiteX36" fmla="*/ 1287419 w 2992697"/>
                <a:gd name="connsiteY36" fmla="*/ 259843 h 1030680"/>
                <a:gd name="connsiteX37" fmla="*/ 1289592 w 2992697"/>
                <a:gd name="connsiteY37" fmla="*/ 264189 h 1030680"/>
                <a:gd name="connsiteX38" fmla="*/ 1282141 w 2992697"/>
                <a:gd name="connsiteY38" fmla="*/ 264189 h 1030680"/>
                <a:gd name="connsiteX39" fmla="*/ 1279037 w 2992697"/>
                <a:gd name="connsiteY39" fmla="*/ 265121 h 1030680"/>
                <a:gd name="connsiteX40" fmla="*/ 1275001 w 2992697"/>
                <a:gd name="connsiteY40" fmla="*/ 265121 h 1030680"/>
                <a:gd name="connsiteX41" fmla="*/ 1271896 w 2992697"/>
                <a:gd name="connsiteY41" fmla="*/ 267294 h 1030680"/>
                <a:gd name="connsiteX42" fmla="*/ 1265687 w 2992697"/>
                <a:gd name="connsiteY42" fmla="*/ 267294 h 1030680"/>
                <a:gd name="connsiteX43" fmla="*/ 1265687 w 2992697"/>
                <a:gd name="connsiteY43" fmla="*/ 264189 h 1030680"/>
                <a:gd name="connsiteX44" fmla="*/ 1262583 w 2992697"/>
                <a:gd name="connsiteY44" fmla="*/ 264189 h 1030680"/>
                <a:gd name="connsiteX45" fmla="*/ 1262583 w 2992697"/>
                <a:gd name="connsiteY45" fmla="*/ 250530 h 1030680"/>
                <a:gd name="connsiteX46" fmla="*/ 1267861 w 2992697"/>
                <a:gd name="connsiteY46" fmla="*/ 250530 h 1030680"/>
                <a:gd name="connsiteX47" fmla="*/ 1273138 w 2992697"/>
                <a:gd name="connsiteY47" fmla="*/ 249598 h 1030680"/>
                <a:gd name="connsiteX48" fmla="*/ 1275001 w 2992697"/>
                <a:gd name="connsiteY48" fmla="*/ 249598 h 1030680"/>
                <a:gd name="connsiteX49" fmla="*/ 1275001 w 2992697"/>
                <a:gd name="connsiteY49" fmla="*/ 248978 h 1030680"/>
                <a:gd name="connsiteX50" fmla="*/ 1275001 w 2992697"/>
                <a:gd name="connsiteY50" fmla="*/ 248978 h 1030680"/>
                <a:gd name="connsiteX51" fmla="*/ 63641 w 2992697"/>
                <a:gd name="connsiteY51" fmla="*/ 239664 h 1030680"/>
                <a:gd name="connsiteX52" fmla="*/ 80405 w 2992697"/>
                <a:gd name="connsiteY52" fmla="*/ 239664 h 1030680"/>
                <a:gd name="connsiteX53" fmla="*/ 80405 w 2992697"/>
                <a:gd name="connsiteY53" fmla="*/ 242769 h 1030680"/>
                <a:gd name="connsiteX54" fmla="*/ 77301 w 2992697"/>
                <a:gd name="connsiteY54" fmla="*/ 242769 h 1030680"/>
                <a:gd name="connsiteX55" fmla="*/ 73265 w 2992697"/>
                <a:gd name="connsiteY55" fmla="*/ 242769 h 1030680"/>
                <a:gd name="connsiteX56" fmla="*/ 71092 w 2992697"/>
                <a:gd name="connsiteY56" fmla="*/ 244942 h 1030680"/>
                <a:gd name="connsiteX57" fmla="*/ 70161 w 2992697"/>
                <a:gd name="connsiteY57" fmla="*/ 244942 h 1030680"/>
                <a:gd name="connsiteX58" fmla="*/ 70161 w 2992697"/>
                <a:gd name="connsiteY58" fmla="*/ 244942 h 1030680"/>
                <a:gd name="connsiteX59" fmla="*/ 67988 w 2992697"/>
                <a:gd name="connsiteY59" fmla="*/ 244942 h 1030680"/>
                <a:gd name="connsiteX60" fmla="*/ 65815 w 2992697"/>
                <a:gd name="connsiteY60" fmla="*/ 242769 h 1030680"/>
                <a:gd name="connsiteX61" fmla="*/ 63641 w 2992697"/>
                <a:gd name="connsiteY61" fmla="*/ 239664 h 1030680"/>
                <a:gd name="connsiteX62" fmla="*/ 63641 w 2992697"/>
                <a:gd name="connsiteY62" fmla="*/ 239664 h 1030680"/>
                <a:gd name="connsiteX63" fmla="*/ 63641 w 2992697"/>
                <a:gd name="connsiteY63" fmla="*/ 239664 h 1030680"/>
                <a:gd name="connsiteX64" fmla="*/ 1790651 w 2992697"/>
                <a:gd name="connsiteY64" fmla="*/ 213276 h 1030680"/>
                <a:gd name="connsiteX65" fmla="*/ 1803069 w 2992697"/>
                <a:gd name="connsiteY65" fmla="*/ 213276 h 1030680"/>
                <a:gd name="connsiteX66" fmla="*/ 1807105 w 2992697"/>
                <a:gd name="connsiteY66" fmla="*/ 228178 h 1030680"/>
                <a:gd name="connsiteX67" fmla="*/ 1810209 w 2992697"/>
                <a:gd name="connsiteY67" fmla="*/ 237801 h 1030680"/>
                <a:gd name="connsiteX68" fmla="*/ 1817660 w 2992697"/>
                <a:gd name="connsiteY68" fmla="*/ 242148 h 1030680"/>
                <a:gd name="connsiteX69" fmla="*/ 1830078 w 2992697"/>
                <a:gd name="connsiteY69" fmla="*/ 247425 h 1030680"/>
                <a:gd name="connsiteX70" fmla="*/ 1824800 w 2992697"/>
                <a:gd name="connsiteY70" fmla="*/ 269467 h 1030680"/>
                <a:gd name="connsiteX71" fmla="*/ 1817350 w 2992697"/>
                <a:gd name="connsiteY71" fmla="*/ 291509 h 1030680"/>
                <a:gd name="connsiteX72" fmla="*/ 1806794 w 2992697"/>
                <a:gd name="connsiteY72" fmla="*/ 307341 h 1030680"/>
                <a:gd name="connsiteX73" fmla="*/ 1806794 w 2992697"/>
                <a:gd name="connsiteY73" fmla="*/ 287162 h 1030680"/>
                <a:gd name="connsiteX74" fmla="*/ 1782890 w 2992697"/>
                <a:gd name="connsiteY74" fmla="*/ 287162 h 1030680"/>
                <a:gd name="connsiteX75" fmla="*/ 1785063 w 2992697"/>
                <a:gd name="connsiteY75" fmla="*/ 263879 h 1030680"/>
                <a:gd name="connsiteX76" fmla="*/ 1787236 w 2992697"/>
                <a:gd name="connsiteY76" fmla="*/ 241837 h 1030680"/>
                <a:gd name="connsiteX77" fmla="*/ 1790651 w 2992697"/>
                <a:gd name="connsiteY77" fmla="*/ 213276 h 1030680"/>
                <a:gd name="connsiteX78" fmla="*/ 1790651 w 2992697"/>
                <a:gd name="connsiteY78" fmla="*/ 213276 h 1030680"/>
                <a:gd name="connsiteX79" fmla="*/ 1790651 w 2992697"/>
                <a:gd name="connsiteY79" fmla="*/ 213276 h 1030680"/>
                <a:gd name="connsiteX80" fmla="*/ 2941784 w 2992697"/>
                <a:gd name="connsiteY80" fmla="*/ 165778 h 1030680"/>
                <a:gd name="connsiteX81" fmla="*/ 2945820 w 2992697"/>
                <a:gd name="connsiteY81" fmla="*/ 165778 h 1030680"/>
                <a:gd name="connsiteX82" fmla="*/ 2945820 w 2992697"/>
                <a:gd name="connsiteY82" fmla="*/ 170124 h 1030680"/>
                <a:gd name="connsiteX83" fmla="*/ 2946751 w 2992697"/>
                <a:gd name="connsiteY83" fmla="*/ 175402 h 1030680"/>
                <a:gd name="connsiteX84" fmla="*/ 2948925 w 2992697"/>
                <a:gd name="connsiteY84" fmla="*/ 177575 h 1030680"/>
                <a:gd name="connsiteX85" fmla="*/ 2951098 w 2992697"/>
                <a:gd name="connsiteY85" fmla="*/ 180679 h 1030680"/>
                <a:gd name="connsiteX86" fmla="*/ 2953271 w 2992697"/>
                <a:gd name="connsiteY86" fmla="*/ 182853 h 1030680"/>
                <a:gd name="connsiteX87" fmla="*/ 2956375 w 2992697"/>
                <a:gd name="connsiteY87" fmla="*/ 185957 h 1030680"/>
                <a:gd name="connsiteX88" fmla="*/ 2960411 w 2992697"/>
                <a:gd name="connsiteY88" fmla="*/ 182853 h 1030680"/>
                <a:gd name="connsiteX89" fmla="*/ 2961342 w 2992697"/>
                <a:gd name="connsiteY89" fmla="*/ 178506 h 1030680"/>
                <a:gd name="connsiteX90" fmla="*/ 2963515 w 2992697"/>
                <a:gd name="connsiteY90" fmla="*/ 177575 h 1030680"/>
                <a:gd name="connsiteX91" fmla="*/ 2967551 w 2992697"/>
                <a:gd name="connsiteY91" fmla="*/ 177575 h 1030680"/>
                <a:gd name="connsiteX92" fmla="*/ 2972829 w 2992697"/>
                <a:gd name="connsiteY92" fmla="*/ 175402 h 1030680"/>
                <a:gd name="connsiteX93" fmla="*/ 2975933 w 2992697"/>
                <a:gd name="connsiteY93" fmla="*/ 185957 h 1030680"/>
                <a:gd name="connsiteX94" fmla="*/ 2982142 w 2992697"/>
                <a:gd name="connsiteY94" fmla="*/ 193408 h 1030680"/>
                <a:gd name="connsiteX95" fmla="*/ 2987420 w 2992697"/>
                <a:gd name="connsiteY95" fmla="*/ 200858 h 1030680"/>
                <a:gd name="connsiteX96" fmla="*/ 2990524 w 2992697"/>
                <a:gd name="connsiteY96" fmla="*/ 210482 h 1030680"/>
                <a:gd name="connsiteX97" fmla="*/ 2992697 w 2992697"/>
                <a:gd name="connsiteY97" fmla="*/ 223211 h 1030680"/>
                <a:gd name="connsiteX98" fmla="*/ 2992697 w 2992697"/>
                <a:gd name="connsiteY98" fmla="*/ 225384 h 1030680"/>
                <a:gd name="connsiteX99" fmla="*/ 2990524 w 2992697"/>
                <a:gd name="connsiteY99" fmla="*/ 227557 h 1030680"/>
                <a:gd name="connsiteX100" fmla="*/ 2990524 w 2992697"/>
                <a:gd name="connsiteY100" fmla="*/ 228488 h 1030680"/>
                <a:gd name="connsiteX101" fmla="*/ 2990524 w 2992697"/>
                <a:gd name="connsiteY101" fmla="*/ 230661 h 1030680"/>
                <a:gd name="connsiteX102" fmla="*/ 2990524 w 2992697"/>
                <a:gd name="connsiteY102" fmla="*/ 232834 h 1030680"/>
                <a:gd name="connsiteX103" fmla="*/ 2989593 w 2992697"/>
                <a:gd name="connsiteY103" fmla="*/ 235939 h 1030680"/>
                <a:gd name="connsiteX104" fmla="*/ 2978106 w 2992697"/>
                <a:gd name="connsiteY104" fmla="*/ 243390 h 1030680"/>
                <a:gd name="connsiteX105" fmla="*/ 2961342 w 2992697"/>
                <a:gd name="connsiteY105" fmla="*/ 250840 h 1030680"/>
                <a:gd name="connsiteX106" fmla="*/ 2941474 w 2992697"/>
                <a:gd name="connsiteY106" fmla="*/ 255186 h 1030680"/>
                <a:gd name="connsiteX107" fmla="*/ 2921605 w 2992697"/>
                <a:gd name="connsiteY107" fmla="*/ 258291 h 1030680"/>
                <a:gd name="connsiteX108" fmla="*/ 2904841 w 2992697"/>
                <a:gd name="connsiteY108" fmla="*/ 260464 h 1030680"/>
                <a:gd name="connsiteX109" fmla="*/ 2907014 w 2992697"/>
                <a:gd name="connsiteY109" fmla="*/ 250840 h 1030680"/>
                <a:gd name="connsiteX110" fmla="*/ 2909187 w 2992697"/>
                <a:gd name="connsiteY110" fmla="*/ 247736 h 1030680"/>
                <a:gd name="connsiteX111" fmla="*/ 2911360 w 2992697"/>
                <a:gd name="connsiteY111" fmla="*/ 243390 h 1030680"/>
                <a:gd name="connsiteX112" fmla="*/ 2912292 w 2992697"/>
                <a:gd name="connsiteY112" fmla="*/ 242458 h 1030680"/>
                <a:gd name="connsiteX113" fmla="*/ 2914465 w 2992697"/>
                <a:gd name="connsiteY113" fmla="*/ 242458 h 1030680"/>
                <a:gd name="connsiteX114" fmla="*/ 2918501 w 2992697"/>
                <a:gd name="connsiteY114" fmla="*/ 240285 h 1030680"/>
                <a:gd name="connsiteX115" fmla="*/ 2919432 w 2992697"/>
                <a:gd name="connsiteY115" fmla="*/ 240285 h 1030680"/>
                <a:gd name="connsiteX116" fmla="*/ 2921605 w 2992697"/>
                <a:gd name="connsiteY116" fmla="*/ 238112 h 1030680"/>
                <a:gd name="connsiteX117" fmla="*/ 2925641 w 2992697"/>
                <a:gd name="connsiteY117" fmla="*/ 235939 h 1030680"/>
                <a:gd name="connsiteX118" fmla="*/ 2930919 w 2992697"/>
                <a:gd name="connsiteY118" fmla="*/ 221037 h 1030680"/>
                <a:gd name="connsiteX119" fmla="*/ 2930919 w 2992697"/>
                <a:gd name="connsiteY119" fmla="*/ 206136 h 1030680"/>
                <a:gd name="connsiteX120" fmla="*/ 2928746 w 2992697"/>
                <a:gd name="connsiteY120" fmla="*/ 192476 h 1030680"/>
                <a:gd name="connsiteX121" fmla="*/ 2931850 w 2992697"/>
                <a:gd name="connsiteY121" fmla="*/ 180990 h 1030680"/>
                <a:gd name="connsiteX122" fmla="*/ 2941163 w 2992697"/>
                <a:gd name="connsiteY122" fmla="*/ 170435 h 1030680"/>
                <a:gd name="connsiteX123" fmla="*/ 2941163 w 2992697"/>
                <a:gd name="connsiteY123" fmla="*/ 165778 h 1030680"/>
                <a:gd name="connsiteX124" fmla="*/ 2941784 w 2992697"/>
                <a:gd name="connsiteY124" fmla="*/ 165778 h 1030680"/>
                <a:gd name="connsiteX125" fmla="*/ 2941784 w 2992697"/>
                <a:gd name="connsiteY125" fmla="*/ 165778 h 1030680"/>
                <a:gd name="connsiteX126" fmla="*/ 148083 w 2992697"/>
                <a:gd name="connsiteY126" fmla="*/ 158327 h 1030680"/>
                <a:gd name="connsiteX127" fmla="*/ 167951 w 2992697"/>
                <a:gd name="connsiteY127" fmla="*/ 180369 h 1030680"/>
                <a:gd name="connsiteX128" fmla="*/ 193097 w 2992697"/>
                <a:gd name="connsiteY128" fmla="*/ 197133 h 1030680"/>
                <a:gd name="connsiteX129" fmla="*/ 224452 w 2992697"/>
                <a:gd name="connsiteY129" fmla="*/ 209861 h 1030680"/>
                <a:gd name="connsiteX130" fmla="*/ 226625 w 2992697"/>
                <a:gd name="connsiteY130" fmla="*/ 227867 h 1030680"/>
                <a:gd name="connsiteX131" fmla="*/ 231903 w 2992697"/>
                <a:gd name="connsiteY131" fmla="*/ 241527 h 1030680"/>
                <a:gd name="connsiteX132" fmla="*/ 237181 w 2992697"/>
                <a:gd name="connsiteY132" fmla="*/ 248978 h 1030680"/>
                <a:gd name="connsiteX133" fmla="*/ 244631 w 2992697"/>
                <a:gd name="connsiteY133" fmla="*/ 256428 h 1030680"/>
                <a:gd name="connsiteX134" fmla="*/ 252082 w 2992697"/>
                <a:gd name="connsiteY134" fmla="*/ 266983 h 1030680"/>
                <a:gd name="connsiteX135" fmla="*/ 239664 w 2992697"/>
                <a:gd name="connsiteY135" fmla="*/ 269157 h 1030680"/>
                <a:gd name="connsiteX136" fmla="*/ 227246 w 2992697"/>
                <a:gd name="connsiteY136" fmla="*/ 271330 h 1030680"/>
                <a:gd name="connsiteX137" fmla="*/ 215760 w 2992697"/>
                <a:gd name="connsiteY137" fmla="*/ 276607 h 1030680"/>
                <a:gd name="connsiteX138" fmla="*/ 208309 w 2992697"/>
                <a:gd name="connsiteY138" fmla="*/ 284058 h 1030680"/>
                <a:gd name="connsiteX139" fmla="*/ 207378 w 2992697"/>
                <a:gd name="connsiteY139" fmla="*/ 287162 h 1030680"/>
                <a:gd name="connsiteX140" fmla="*/ 205205 w 2992697"/>
                <a:gd name="connsiteY140" fmla="*/ 291509 h 1030680"/>
                <a:gd name="connsiteX141" fmla="*/ 203032 w 2992697"/>
                <a:gd name="connsiteY141" fmla="*/ 294613 h 1030680"/>
                <a:gd name="connsiteX142" fmla="*/ 200858 w 2992697"/>
                <a:gd name="connsiteY142" fmla="*/ 296786 h 1030680"/>
                <a:gd name="connsiteX143" fmla="*/ 197754 w 2992697"/>
                <a:gd name="connsiteY143" fmla="*/ 299891 h 1030680"/>
                <a:gd name="connsiteX144" fmla="*/ 186267 w 2992697"/>
                <a:gd name="connsiteY144" fmla="*/ 302064 h 1030680"/>
                <a:gd name="connsiteX145" fmla="*/ 170745 w 2992697"/>
                <a:gd name="connsiteY145" fmla="*/ 304237 h 1030680"/>
                <a:gd name="connsiteX146" fmla="*/ 151808 w 2992697"/>
                <a:gd name="connsiteY146" fmla="*/ 302064 h 1030680"/>
                <a:gd name="connsiteX147" fmla="*/ 137217 w 2992697"/>
                <a:gd name="connsiteY147" fmla="*/ 299891 h 1030680"/>
                <a:gd name="connsiteX148" fmla="*/ 134113 w 2992697"/>
                <a:gd name="connsiteY148" fmla="*/ 289335 h 1030680"/>
                <a:gd name="connsiteX149" fmla="*/ 131939 w 2992697"/>
                <a:gd name="connsiteY149" fmla="*/ 281885 h 1030680"/>
                <a:gd name="connsiteX150" fmla="*/ 129766 w 2992697"/>
                <a:gd name="connsiteY150" fmla="*/ 276607 h 1030680"/>
                <a:gd name="connsiteX151" fmla="*/ 124489 w 2992697"/>
                <a:gd name="connsiteY151" fmla="*/ 266983 h 1030680"/>
                <a:gd name="connsiteX152" fmla="*/ 148393 w 2992697"/>
                <a:gd name="connsiteY152" fmla="*/ 259533 h 1030680"/>
                <a:gd name="connsiteX153" fmla="*/ 148393 w 2992697"/>
                <a:gd name="connsiteY153" fmla="*/ 256428 h 1030680"/>
                <a:gd name="connsiteX154" fmla="*/ 129456 w 2992697"/>
                <a:gd name="connsiteY154" fmla="*/ 254255 h 1030680"/>
                <a:gd name="connsiteX155" fmla="*/ 117038 w 2992697"/>
                <a:gd name="connsiteY155" fmla="*/ 249909 h 1030680"/>
                <a:gd name="connsiteX156" fmla="*/ 107725 w 2992697"/>
                <a:gd name="connsiteY156" fmla="*/ 242458 h 1030680"/>
                <a:gd name="connsiteX157" fmla="*/ 106793 w 2992697"/>
                <a:gd name="connsiteY157" fmla="*/ 237181 h 1030680"/>
                <a:gd name="connsiteX158" fmla="*/ 102758 w 2992697"/>
                <a:gd name="connsiteY158" fmla="*/ 231903 h 1030680"/>
                <a:gd name="connsiteX159" fmla="*/ 100584 w 2992697"/>
                <a:gd name="connsiteY159" fmla="*/ 226625 h 1030680"/>
                <a:gd name="connsiteX160" fmla="*/ 100584 w 2992697"/>
                <a:gd name="connsiteY160" fmla="*/ 220417 h 1030680"/>
                <a:gd name="connsiteX161" fmla="*/ 100584 w 2992697"/>
                <a:gd name="connsiteY161" fmla="*/ 217312 h 1030680"/>
                <a:gd name="connsiteX162" fmla="*/ 100584 w 2992697"/>
                <a:gd name="connsiteY162" fmla="*/ 212966 h 1030680"/>
                <a:gd name="connsiteX163" fmla="*/ 102758 w 2992697"/>
                <a:gd name="connsiteY163" fmla="*/ 212966 h 1030680"/>
                <a:gd name="connsiteX164" fmla="*/ 104931 w 2992697"/>
                <a:gd name="connsiteY164" fmla="*/ 212034 h 1030680"/>
                <a:gd name="connsiteX165" fmla="*/ 107104 w 2992697"/>
                <a:gd name="connsiteY165" fmla="*/ 212034 h 1030680"/>
                <a:gd name="connsiteX166" fmla="*/ 108035 w 2992697"/>
                <a:gd name="connsiteY166" fmla="*/ 212034 h 1030680"/>
                <a:gd name="connsiteX167" fmla="*/ 112071 w 2992697"/>
                <a:gd name="connsiteY167" fmla="*/ 209861 h 1030680"/>
                <a:gd name="connsiteX168" fmla="*/ 113623 w 2992697"/>
                <a:gd name="connsiteY168" fmla="*/ 204894 h 1030680"/>
                <a:gd name="connsiteX169" fmla="*/ 113623 w 2992697"/>
                <a:gd name="connsiteY169" fmla="*/ 198685 h 1030680"/>
                <a:gd name="connsiteX170" fmla="*/ 113623 w 2992697"/>
                <a:gd name="connsiteY170" fmla="*/ 195581 h 1030680"/>
                <a:gd name="connsiteX171" fmla="*/ 114554 w 2992697"/>
                <a:gd name="connsiteY171" fmla="*/ 193408 h 1030680"/>
                <a:gd name="connsiteX172" fmla="*/ 116728 w 2992697"/>
                <a:gd name="connsiteY172" fmla="*/ 190303 h 1030680"/>
                <a:gd name="connsiteX173" fmla="*/ 118901 w 2992697"/>
                <a:gd name="connsiteY173" fmla="*/ 190303 h 1030680"/>
                <a:gd name="connsiteX174" fmla="*/ 121074 w 2992697"/>
                <a:gd name="connsiteY174" fmla="*/ 188130 h 1030680"/>
                <a:gd name="connsiteX175" fmla="*/ 122005 w 2992697"/>
                <a:gd name="connsiteY175" fmla="*/ 188130 h 1030680"/>
                <a:gd name="connsiteX176" fmla="*/ 124178 w 2992697"/>
                <a:gd name="connsiteY176" fmla="*/ 188130 h 1030680"/>
                <a:gd name="connsiteX177" fmla="*/ 127283 w 2992697"/>
                <a:gd name="connsiteY177" fmla="*/ 185957 h 1030680"/>
                <a:gd name="connsiteX178" fmla="*/ 129456 w 2992697"/>
                <a:gd name="connsiteY178" fmla="*/ 178506 h 1030680"/>
                <a:gd name="connsiteX179" fmla="*/ 131629 w 2992697"/>
                <a:gd name="connsiteY179" fmla="*/ 173229 h 1030680"/>
                <a:gd name="connsiteX180" fmla="*/ 133802 w 2992697"/>
                <a:gd name="connsiteY180" fmla="*/ 167951 h 1030680"/>
                <a:gd name="connsiteX181" fmla="*/ 136907 w 2992697"/>
                <a:gd name="connsiteY181" fmla="*/ 162674 h 1030680"/>
                <a:gd name="connsiteX182" fmla="*/ 139080 w 2992697"/>
                <a:gd name="connsiteY182" fmla="*/ 160500 h 1030680"/>
                <a:gd name="connsiteX183" fmla="*/ 141253 w 2992697"/>
                <a:gd name="connsiteY183" fmla="*/ 160500 h 1030680"/>
                <a:gd name="connsiteX184" fmla="*/ 142184 w 2992697"/>
                <a:gd name="connsiteY184" fmla="*/ 158327 h 1030680"/>
                <a:gd name="connsiteX185" fmla="*/ 144357 w 2992697"/>
                <a:gd name="connsiteY185" fmla="*/ 158327 h 1030680"/>
                <a:gd name="connsiteX186" fmla="*/ 148083 w 2992697"/>
                <a:gd name="connsiteY186" fmla="*/ 158327 h 1030680"/>
                <a:gd name="connsiteX187" fmla="*/ 148083 w 2992697"/>
                <a:gd name="connsiteY187" fmla="*/ 158327 h 1030680"/>
                <a:gd name="connsiteX188" fmla="*/ 148083 w 2992697"/>
                <a:gd name="connsiteY188" fmla="*/ 158327 h 1030680"/>
                <a:gd name="connsiteX189" fmla="*/ 1222846 w 2992697"/>
                <a:gd name="connsiteY189" fmla="*/ 138148 h 1030680"/>
                <a:gd name="connsiteX190" fmla="*/ 1228124 w 2992697"/>
                <a:gd name="connsiteY190" fmla="*/ 140322 h 1030680"/>
                <a:gd name="connsiteX191" fmla="*/ 1233401 w 2992697"/>
                <a:gd name="connsiteY191" fmla="*/ 141253 h 1030680"/>
                <a:gd name="connsiteX192" fmla="*/ 1236506 w 2992697"/>
                <a:gd name="connsiteY192" fmla="*/ 143426 h 1030680"/>
                <a:gd name="connsiteX193" fmla="*/ 1242714 w 2992697"/>
                <a:gd name="connsiteY193" fmla="*/ 145599 h 1030680"/>
                <a:gd name="connsiteX194" fmla="*/ 1242714 w 2992697"/>
                <a:gd name="connsiteY194" fmla="*/ 150877 h 1030680"/>
                <a:gd name="connsiteX195" fmla="*/ 1243646 w 2992697"/>
                <a:gd name="connsiteY195" fmla="*/ 155223 h 1030680"/>
                <a:gd name="connsiteX196" fmla="*/ 1243646 w 2992697"/>
                <a:gd name="connsiteY196" fmla="*/ 158327 h 1030680"/>
                <a:gd name="connsiteX197" fmla="*/ 1245819 w 2992697"/>
                <a:gd name="connsiteY197" fmla="*/ 162674 h 1030680"/>
                <a:gd name="connsiteX198" fmla="*/ 1233401 w 2992697"/>
                <a:gd name="connsiteY198" fmla="*/ 162674 h 1030680"/>
                <a:gd name="connsiteX199" fmla="*/ 1231228 w 2992697"/>
                <a:gd name="connsiteY199" fmla="*/ 158327 h 1030680"/>
                <a:gd name="connsiteX200" fmla="*/ 1229055 w 2992697"/>
                <a:gd name="connsiteY200" fmla="*/ 155223 h 1030680"/>
                <a:gd name="connsiteX201" fmla="*/ 1225950 w 2992697"/>
                <a:gd name="connsiteY201" fmla="*/ 150877 h 1030680"/>
                <a:gd name="connsiteX202" fmla="*/ 1223777 w 2992697"/>
                <a:gd name="connsiteY202" fmla="*/ 148704 h 1030680"/>
                <a:gd name="connsiteX203" fmla="*/ 1223777 w 2992697"/>
                <a:gd name="connsiteY203" fmla="*/ 143426 h 1030680"/>
                <a:gd name="connsiteX204" fmla="*/ 1222846 w 2992697"/>
                <a:gd name="connsiteY204" fmla="*/ 138148 h 1030680"/>
                <a:gd name="connsiteX205" fmla="*/ 1222846 w 2992697"/>
                <a:gd name="connsiteY205" fmla="*/ 138148 h 1030680"/>
                <a:gd name="connsiteX206" fmla="*/ 1222846 w 2992697"/>
                <a:gd name="connsiteY206" fmla="*/ 138148 h 1030680"/>
                <a:gd name="connsiteX207" fmla="*/ 1730114 w 2992697"/>
                <a:gd name="connsiteY207" fmla="*/ 113934 h 1030680"/>
                <a:gd name="connsiteX208" fmla="*/ 1736323 w 2992697"/>
                <a:gd name="connsiteY208" fmla="*/ 123557 h 1030680"/>
                <a:gd name="connsiteX209" fmla="*/ 1741601 w 2992697"/>
                <a:gd name="connsiteY209" fmla="*/ 141563 h 1030680"/>
                <a:gd name="connsiteX210" fmla="*/ 1749051 w 2992697"/>
                <a:gd name="connsiteY210" fmla="*/ 158327 h 1030680"/>
                <a:gd name="connsiteX211" fmla="*/ 1758365 w 2992697"/>
                <a:gd name="connsiteY211" fmla="*/ 175091 h 1030680"/>
                <a:gd name="connsiteX212" fmla="*/ 1763642 w 2992697"/>
                <a:gd name="connsiteY212" fmla="*/ 182542 h 1030680"/>
                <a:gd name="connsiteX213" fmla="*/ 1766747 w 2992697"/>
                <a:gd name="connsiteY213" fmla="*/ 178196 h 1030680"/>
                <a:gd name="connsiteX214" fmla="*/ 1768920 w 2992697"/>
                <a:gd name="connsiteY214" fmla="*/ 177265 h 1030680"/>
                <a:gd name="connsiteX215" fmla="*/ 1772956 w 2992697"/>
                <a:gd name="connsiteY215" fmla="*/ 177265 h 1030680"/>
                <a:gd name="connsiteX216" fmla="*/ 1776060 w 2992697"/>
                <a:gd name="connsiteY216" fmla="*/ 175091 h 1030680"/>
                <a:gd name="connsiteX217" fmla="*/ 1783511 w 2992697"/>
                <a:gd name="connsiteY217" fmla="*/ 175091 h 1030680"/>
                <a:gd name="connsiteX218" fmla="*/ 1783511 w 2992697"/>
                <a:gd name="connsiteY218" fmla="*/ 178196 h 1030680"/>
                <a:gd name="connsiteX219" fmla="*/ 1787547 w 2992697"/>
                <a:gd name="connsiteY219" fmla="*/ 178196 h 1030680"/>
                <a:gd name="connsiteX220" fmla="*/ 1787547 w 2992697"/>
                <a:gd name="connsiteY220" fmla="*/ 189682 h 1030680"/>
                <a:gd name="connsiteX221" fmla="*/ 1759296 w 2992697"/>
                <a:gd name="connsiteY221" fmla="*/ 192787 h 1030680"/>
                <a:gd name="connsiteX222" fmla="*/ 1756192 w 2992697"/>
                <a:gd name="connsiteY222" fmla="*/ 222279 h 1030680"/>
                <a:gd name="connsiteX223" fmla="*/ 1746878 w 2992697"/>
                <a:gd name="connsiteY223" fmla="*/ 246494 h 1030680"/>
                <a:gd name="connsiteX224" fmla="*/ 1739428 w 2992697"/>
                <a:gd name="connsiteY224" fmla="*/ 270709 h 1030680"/>
                <a:gd name="connsiteX225" fmla="*/ 1736323 w 2992697"/>
                <a:gd name="connsiteY225" fmla="*/ 290888 h 1030680"/>
                <a:gd name="connsiteX226" fmla="*/ 1734150 w 2992697"/>
                <a:gd name="connsiteY226" fmla="*/ 311067 h 1030680"/>
                <a:gd name="connsiteX227" fmla="*/ 1734150 w 2992697"/>
                <a:gd name="connsiteY227" fmla="*/ 327831 h 1030680"/>
                <a:gd name="connsiteX228" fmla="*/ 1730114 w 2992697"/>
                <a:gd name="connsiteY228" fmla="*/ 343664 h 1030680"/>
                <a:gd name="connsiteX229" fmla="*/ 1727010 w 2992697"/>
                <a:gd name="connsiteY229" fmla="*/ 343664 h 1030680"/>
                <a:gd name="connsiteX230" fmla="*/ 1727010 w 2992697"/>
                <a:gd name="connsiteY230" fmla="*/ 340559 h 1030680"/>
                <a:gd name="connsiteX231" fmla="*/ 1721732 w 2992697"/>
                <a:gd name="connsiteY231" fmla="*/ 333108 h 1030680"/>
                <a:gd name="connsiteX232" fmla="*/ 1712419 w 2992697"/>
                <a:gd name="connsiteY232" fmla="*/ 323485 h 1030680"/>
                <a:gd name="connsiteX233" fmla="*/ 1701864 w 2992697"/>
                <a:gd name="connsiteY233" fmla="*/ 310756 h 1030680"/>
                <a:gd name="connsiteX234" fmla="*/ 1692550 w 2992697"/>
                <a:gd name="connsiteY234" fmla="*/ 298028 h 1030680"/>
                <a:gd name="connsiteX235" fmla="*/ 1685100 w 2992697"/>
                <a:gd name="connsiteY235" fmla="*/ 285300 h 1030680"/>
                <a:gd name="connsiteX236" fmla="*/ 1681064 w 2992697"/>
                <a:gd name="connsiteY236" fmla="*/ 273813 h 1030680"/>
                <a:gd name="connsiteX237" fmla="*/ 1683237 w 2992697"/>
                <a:gd name="connsiteY237" fmla="*/ 266363 h 1030680"/>
                <a:gd name="connsiteX238" fmla="*/ 1687273 w 2992697"/>
                <a:gd name="connsiteY238" fmla="*/ 264189 h 1030680"/>
                <a:gd name="connsiteX239" fmla="*/ 1690377 w 2992697"/>
                <a:gd name="connsiteY239" fmla="*/ 264189 h 1030680"/>
                <a:gd name="connsiteX240" fmla="*/ 1692550 w 2992697"/>
                <a:gd name="connsiteY240" fmla="*/ 264189 h 1030680"/>
                <a:gd name="connsiteX241" fmla="*/ 1694723 w 2992697"/>
                <a:gd name="connsiteY241" fmla="*/ 264189 h 1030680"/>
                <a:gd name="connsiteX242" fmla="*/ 1695655 w 2992697"/>
                <a:gd name="connsiteY242" fmla="*/ 264189 h 1030680"/>
                <a:gd name="connsiteX243" fmla="*/ 1697828 w 2992697"/>
                <a:gd name="connsiteY243" fmla="*/ 264189 h 1030680"/>
                <a:gd name="connsiteX244" fmla="*/ 1700001 w 2992697"/>
                <a:gd name="connsiteY244" fmla="*/ 263879 h 1030680"/>
                <a:gd name="connsiteX245" fmla="*/ 1703106 w 2992697"/>
                <a:gd name="connsiteY245" fmla="*/ 259533 h 1030680"/>
                <a:gd name="connsiteX246" fmla="*/ 1700001 w 2992697"/>
                <a:gd name="connsiteY246" fmla="*/ 259533 h 1030680"/>
                <a:gd name="connsiteX247" fmla="*/ 1700001 w 2992697"/>
                <a:gd name="connsiteY247" fmla="*/ 256428 h 1030680"/>
                <a:gd name="connsiteX248" fmla="*/ 1683237 w 2992697"/>
                <a:gd name="connsiteY248" fmla="*/ 254255 h 1030680"/>
                <a:gd name="connsiteX249" fmla="*/ 1673924 w 2992697"/>
                <a:gd name="connsiteY249" fmla="*/ 248978 h 1030680"/>
                <a:gd name="connsiteX250" fmla="*/ 1666473 w 2992697"/>
                <a:gd name="connsiteY250" fmla="*/ 239354 h 1030680"/>
                <a:gd name="connsiteX251" fmla="*/ 1673924 w 2992697"/>
                <a:gd name="connsiteY251" fmla="*/ 237181 h 1030680"/>
                <a:gd name="connsiteX252" fmla="*/ 1680132 w 2992697"/>
                <a:gd name="connsiteY252" fmla="*/ 235007 h 1030680"/>
                <a:gd name="connsiteX253" fmla="*/ 1683237 w 2992697"/>
                <a:gd name="connsiteY253" fmla="*/ 234076 h 1030680"/>
                <a:gd name="connsiteX254" fmla="*/ 1687273 w 2992697"/>
                <a:gd name="connsiteY254" fmla="*/ 231903 h 1030680"/>
                <a:gd name="connsiteX255" fmla="*/ 1690377 w 2992697"/>
                <a:gd name="connsiteY255" fmla="*/ 229730 h 1030680"/>
                <a:gd name="connsiteX256" fmla="*/ 1694413 w 2992697"/>
                <a:gd name="connsiteY256" fmla="*/ 226625 h 1030680"/>
                <a:gd name="connsiteX257" fmla="*/ 1694413 w 2992697"/>
                <a:gd name="connsiteY257" fmla="*/ 222279 h 1030680"/>
                <a:gd name="connsiteX258" fmla="*/ 1679822 w 2992697"/>
                <a:gd name="connsiteY258" fmla="*/ 222279 h 1030680"/>
                <a:gd name="connsiteX259" fmla="*/ 1675786 w 2992697"/>
                <a:gd name="connsiteY259" fmla="*/ 224452 h 1030680"/>
                <a:gd name="connsiteX260" fmla="*/ 1672682 w 2992697"/>
                <a:gd name="connsiteY260" fmla="*/ 224452 h 1030680"/>
                <a:gd name="connsiteX261" fmla="*/ 1668646 w 2992697"/>
                <a:gd name="connsiteY261" fmla="*/ 226625 h 1030680"/>
                <a:gd name="connsiteX262" fmla="*/ 1663369 w 2992697"/>
                <a:gd name="connsiteY262" fmla="*/ 226625 h 1030680"/>
                <a:gd name="connsiteX263" fmla="*/ 1654055 w 2992697"/>
                <a:gd name="connsiteY263" fmla="*/ 209861 h 1030680"/>
                <a:gd name="connsiteX264" fmla="*/ 1643500 w 2992697"/>
                <a:gd name="connsiteY264" fmla="*/ 193097 h 1030680"/>
                <a:gd name="connsiteX265" fmla="*/ 1644431 w 2992697"/>
                <a:gd name="connsiteY265" fmla="*/ 187820 h 1030680"/>
                <a:gd name="connsiteX266" fmla="*/ 1644431 w 2992697"/>
                <a:gd name="connsiteY266" fmla="*/ 184715 h 1030680"/>
                <a:gd name="connsiteX267" fmla="*/ 1646604 w 2992697"/>
                <a:gd name="connsiteY267" fmla="*/ 182542 h 1030680"/>
                <a:gd name="connsiteX268" fmla="*/ 1648778 w 2992697"/>
                <a:gd name="connsiteY268" fmla="*/ 178196 h 1030680"/>
                <a:gd name="connsiteX269" fmla="*/ 1648778 w 2992697"/>
                <a:gd name="connsiteY269" fmla="*/ 175091 h 1030680"/>
                <a:gd name="connsiteX270" fmla="*/ 1650951 w 2992697"/>
                <a:gd name="connsiteY270" fmla="*/ 169814 h 1030680"/>
                <a:gd name="connsiteX271" fmla="*/ 1646915 w 2992697"/>
                <a:gd name="connsiteY271" fmla="*/ 169814 h 1030680"/>
                <a:gd name="connsiteX272" fmla="*/ 1646915 w 2992697"/>
                <a:gd name="connsiteY272" fmla="*/ 165468 h 1030680"/>
                <a:gd name="connsiteX273" fmla="*/ 1643810 w 2992697"/>
                <a:gd name="connsiteY273" fmla="*/ 167641 h 1030680"/>
                <a:gd name="connsiteX274" fmla="*/ 1641637 w 2992697"/>
                <a:gd name="connsiteY274" fmla="*/ 167641 h 1030680"/>
                <a:gd name="connsiteX275" fmla="*/ 1639464 w 2992697"/>
                <a:gd name="connsiteY275" fmla="*/ 167641 h 1030680"/>
                <a:gd name="connsiteX276" fmla="*/ 1639464 w 2992697"/>
                <a:gd name="connsiteY276" fmla="*/ 167641 h 1030680"/>
                <a:gd name="connsiteX277" fmla="*/ 1637291 w 2992697"/>
                <a:gd name="connsiteY277" fmla="*/ 167641 h 1030680"/>
                <a:gd name="connsiteX278" fmla="*/ 1637291 w 2992697"/>
                <a:gd name="connsiteY278" fmla="*/ 165468 h 1030680"/>
                <a:gd name="connsiteX279" fmla="*/ 1634187 w 2992697"/>
                <a:gd name="connsiteY279" fmla="*/ 162363 h 1030680"/>
                <a:gd name="connsiteX280" fmla="*/ 1632013 w 2992697"/>
                <a:gd name="connsiteY280" fmla="*/ 158017 h 1030680"/>
                <a:gd name="connsiteX281" fmla="*/ 1629840 w 2992697"/>
                <a:gd name="connsiteY281" fmla="*/ 154912 h 1030680"/>
                <a:gd name="connsiteX282" fmla="*/ 1628909 w 2992697"/>
                <a:gd name="connsiteY282" fmla="*/ 152739 h 1030680"/>
                <a:gd name="connsiteX283" fmla="*/ 1628909 w 2992697"/>
                <a:gd name="connsiteY283" fmla="*/ 147462 h 1030680"/>
                <a:gd name="connsiteX284" fmla="*/ 1626736 w 2992697"/>
                <a:gd name="connsiteY284" fmla="*/ 141253 h 1030680"/>
                <a:gd name="connsiteX285" fmla="*/ 1646604 w 2992697"/>
                <a:gd name="connsiteY285" fmla="*/ 128525 h 1030680"/>
                <a:gd name="connsiteX286" fmla="*/ 1666473 w 2992697"/>
                <a:gd name="connsiteY286" fmla="*/ 117969 h 1030680"/>
                <a:gd name="connsiteX287" fmla="*/ 1668646 w 2992697"/>
                <a:gd name="connsiteY287" fmla="*/ 123247 h 1030680"/>
                <a:gd name="connsiteX288" fmla="*/ 1670819 w 2992697"/>
                <a:gd name="connsiteY288" fmla="*/ 128525 h 1030680"/>
                <a:gd name="connsiteX289" fmla="*/ 1672992 w 2992697"/>
                <a:gd name="connsiteY289" fmla="*/ 130698 h 1030680"/>
                <a:gd name="connsiteX290" fmla="*/ 1676097 w 2992697"/>
                <a:gd name="connsiteY290" fmla="*/ 132871 h 1030680"/>
                <a:gd name="connsiteX291" fmla="*/ 1678270 w 2992697"/>
                <a:gd name="connsiteY291" fmla="*/ 132871 h 1030680"/>
                <a:gd name="connsiteX292" fmla="*/ 1680443 w 2992697"/>
                <a:gd name="connsiteY292" fmla="*/ 133802 h 1030680"/>
                <a:gd name="connsiteX293" fmla="*/ 1683547 w 2992697"/>
                <a:gd name="connsiteY293" fmla="*/ 135975 h 1030680"/>
                <a:gd name="connsiteX294" fmla="*/ 1687583 w 2992697"/>
                <a:gd name="connsiteY294" fmla="*/ 138148 h 1030680"/>
                <a:gd name="connsiteX295" fmla="*/ 1690688 w 2992697"/>
                <a:gd name="connsiteY295" fmla="*/ 148704 h 1030680"/>
                <a:gd name="connsiteX296" fmla="*/ 1692861 w 2992697"/>
                <a:gd name="connsiteY296" fmla="*/ 162363 h 1030680"/>
                <a:gd name="connsiteX297" fmla="*/ 1695034 w 2992697"/>
                <a:gd name="connsiteY297" fmla="*/ 175091 h 1030680"/>
                <a:gd name="connsiteX298" fmla="*/ 1703416 w 2992697"/>
                <a:gd name="connsiteY298" fmla="*/ 175091 h 1030680"/>
                <a:gd name="connsiteX299" fmla="*/ 1703416 w 2992697"/>
                <a:gd name="connsiteY299" fmla="*/ 165468 h 1030680"/>
                <a:gd name="connsiteX300" fmla="*/ 1700311 w 2992697"/>
                <a:gd name="connsiteY300" fmla="*/ 154912 h 1030680"/>
                <a:gd name="connsiteX301" fmla="*/ 1700311 w 2992697"/>
                <a:gd name="connsiteY301" fmla="*/ 141253 h 1030680"/>
                <a:gd name="connsiteX302" fmla="*/ 1703416 w 2992697"/>
                <a:gd name="connsiteY302" fmla="*/ 128525 h 1030680"/>
                <a:gd name="connsiteX303" fmla="*/ 1707452 w 2992697"/>
                <a:gd name="connsiteY303" fmla="*/ 117969 h 1030680"/>
                <a:gd name="connsiteX304" fmla="*/ 1730114 w 2992697"/>
                <a:gd name="connsiteY304" fmla="*/ 113934 h 1030680"/>
                <a:gd name="connsiteX305" fmla="*/ 1730114 w 2992697"/>
                <a:gd name="connsiteY305" fmla="*/ 113934 h 1030680"/>
                <a:gd name="connsiteX306" fmla="*/ 1730114 w 2992697"/>
                <a:gd name="connsiteY306" fmla="*/ 113934 h 1030680"/>
                <a:gd name="connsiteX307" fmla="*/ 2755827 w 2992697"/>
                <a:gd name="connsiteY307" fmla="*/ 104620 h 1030680"/>
                <a:gd name="connsiteX308" fmla="*/ 2761105 w 2992697"/>
                <a:gd name="connsiteY308" fmla="*/ 108966 h 1030680"/>
                <a:gd name="connsiteX309" fmla="*/ 2765140 w 2992697"/>
                <a:gd name="connsiteY309" fmla="*/ 112071 h 1030680"/>
                <a:gd name="connsiteX310" fmla="*/ 2770418 w 2992697"/>
                <a:gd name="connsiteY310" fmla="*/ 112071 h 1030680"/>
                <a:gd name="connsiteX311" fmla="*/ 2775696 w 2992697"/>
                <a:gd name="connsiteY311" fmla="*/ 112071 h 1030680"/>
                <a:gd name="connsiteX312" fmla="*/ 2785009 w 2992697"/>
                <a:gd name="connsiteY312" fmla="*/ 114244 h 1030680"/>
                <a:gd name="connsiteX313" fmla="*/ 2782836 w 2992697"/>
                <a:gd name="connsiteY313" fmla="*/ 118590 h 1030680"/>
                <a:gd name="connsiteX314" fmla="*/ 2782836 w 2992697"/>
                <a:gd name="connsiteY314" fmla="*/ 119522 h 1030680"/>
                <a:gd name="connsiteX315" fmla="*/ 2782836 w 2992697"/>
                <a:gd name="connsiteY315" fmla="*/ 121695 h 1030680"/>
                <a:gd name="connsiteX316" fmla="*/ 2781905 w 2992697"/>
                <a:gd name="connsiteY316" fmla="*/ 123868 h 1030680"/>
                <a:gd name="connsiteX317" fmla="*/ 2781905 w 2992697"/>
                <a:gd name="connsiteY317" fmla="*/ 126041 h 1030680"/>
                <a:gd name="connsiteX318" fmla="*/ 2768245 w 2992697"/>
                <a:gd name="connsiteY318" fmla="*/ 133492 h 1030680"/>
                <a:gd name="connsiteX319" fmla="*/ 2750550 w 2992697"/>
                <a:gd name="connsiteY319" fmla="*/ 136596 h 1030680"/>
                <a:gd name="connsiteX320" fmla="*/ 2731613 w 2992697"/>
                <a:gd name="connsiteY320" fmla="*/ 138769 h 1030680"/>
                <a:gd name="connsiteX321" fmla="*/ 2730681 w 2992697"/>
                <a:gd name="connsiteY321" fmla="*/ 134423 h 1030680"/>
                <a:gd name="connsiteX322" fmla="*/ 2730681 w 2992697"/>
                <a:gd name="connsiteY322" fmla="*/ 131319 h 1030680"/>
                <a:gd name="connsiteX323" fmla="*/ 2728508 w 2992697"/>
                <a:gd name="connsiteY323" fmla="*/ 126972 h 1030680"/>
                <a:gd name="connsiteX324" fmla="*/ 2728508 w 2992697"/>
                <a:gd name="connsiteY324" fmla="*/ 121695 h 1030680"/>
                <a:gd name="connsiteX325" fmla="*/ 2733786 w 2992697"/>
                <a:gd name="connsiteY325" fmla="*/ 118590 h 1030680"/>
                <a:gd name="connsiteX326" fmla="*/ 2737821 w 2992697"/>
                <a:gd name="connsiteY326" fmla="*/ 114244 h 1030680"/>
                <a:gd name="connsiteX327" fmla="*/ 2740926 w 2992697"/>
                <a:gd name="connsiteY327" fmla="*/ 112071 h 1030680"/>
                <a:gd name="connsiteX328" fmla="*/ 2744961 w 2992697"/>
                <a:gd name="connsiteY328" fmla="*/ 108966 h 1030680"/>
                <a:gd name="connsiteX329" fmla="*/ 2748066 w 2992697"/>
                <a:gd name="connsiteY329" fmla="*/ 106793 h 1030680"/>
                <a:gd name="connsiteX330" fmla="*/ 2755827 w 2992697"/>
                <a:gd name="connsiteY330" fmla="*/ 104620 h 1030680"/>
                <a:gd name="connsiteX331" fmla="*/ 2755827 w 2992697"/>
                <a:gd name="connsiteY331" fmla="*/ 104620 h 1030680"/>
                <a:gd name="connsiteX332" fmla="*/ 2755827 w 2992697"/>
                <a:gd name="connsiteY332" fmla="*/ 104620 h 1030680"/>
                <a:gd name="connsiteX333" fmla="*/ 2195472 w 2992697"/>
                <a:gd name="connsiteY333" fmla="*/ 104620 h 1030680"/>
                <a:gd name="connsiteX334" fmla="*/ 2210063 w 2992697"/>
                <a:gd name="connsiteY334" fmla="*/ 106793 h 1030680"/>
                <a:gd name="connsiteX335" fmla="*/ 2220619 w 2992697"/>
                <a:gd name="connsiteY335" fmla="*/ 112071 h 1030680"/>
                <a:gd name="connsiteX336" fmla="*/ 2231174 w 2992697"/>
                <a:gd name="connsiteY336" fmla="*/ 118280 h 1030680"/>
                <a:gd name="connsiteX337" fmla="*/ 2228069 w 2992697"/>
                <a:gd name="connsiteY337" fmla="*/ 121384 h 1030680"/>
                <a:gd name="connsiteX338" fmla="*/ 2225896 w 2992697"/>
                <a:gd name="connsiteY338" fmla="*/ 126662 h 1030680"/>
                <a:gd name="connsiteX339" fmla="*/ 2222792 w 2992697"/>
                <a:gd name="connsiteY339" fmla="*/ 128835 h 1030680"/>
                <a:gd name="connsiteX340" fmla="*/ 2217514 w 2992697"/>
                <a:gd name="connsiteY340" fmla="*/ 131008 h 1030680"/>
                <a:gd name="connsiteX341" fmla="*/ 2211305 w 2992697"/>
                <a:gd name="connsiteY341" fmla="*/ 133181 h 1030680"/>
                <a:gd name="connsiteX342" fmla="*/ 2203855 w 2992697"/>
                <a:gd name="connsiteY342" fmla="*/ 133181 h 1030680"/>
                <a:gd name="connsiteX343" fmla="*/ 2198577 w 2992697"/>
                <a:gd name="connsiteY343" fmla="*/ 136286 h 1030680"/>
                <a:gd name="connsiteX344" fmla="*/ 2193300 w 2992697"/>
                <a:gd name="connsiteY344" fmla="*/ 136286 h 1030680"/>
                <a:gd name="connsiteX345" fmla="*/ 2188022 w 2992697"/>
                <a:gd name="connsiteY345" fmla="*/ 138459 h 1030680"/>
                <a:gd name="connsiteX346" fmla="*/ 2180571 w 2992697"/>
                <a:gd name="connsiteY346" fmla="*/ 138459 h 1030680"/>
                <a:gd name="connsiteX347" fmla="*/ 2180571 w 2992697"/>
                <a:gd name="connsiteY347" fmla="*/ 126972 h 1030680"/>
                <a:gd name="connsiteX348" fmla="*/ 2181502 w 2992697"/>
                <a:gd name="connsiteY348" fmla="*/ 119522 h 1030680"/>
                <a:gd name="connsiteX349" fmla="*/ 2188953 w 2992697"/>
                <a:gd name="connsiteY349" fmla="*/ 114244 h 1030680"/>
                <a:gd name="connsiteX350" fmla="*/ 2195472 w 2992697"/>
                <a:gd name="connsiteY350" fmla="*/ 104620 h 1030680"/>
                <a:gd name="connsiteX351" fmla="*/ 2195472 w 2992697"/>
                <a:gd name="connsiteY351" fmla="*/ 104620 h 1030680"/>
                <a:gd name="connsiteX352" fmla="*/ 2195472 w 2992697"/>
                <a:gd name="connsiteY352" fmla="*/ 104620 h 1030680"/>
                <a:gd name="connsiteX353" fmla="*/ 798156 w 2992697"/>
                <a:gd name="connsiteY353" fmla="*/ 104620 h 1030680"/>
                <a:gd name="connsiteX354" fmla="*/ 812747 w 2992697"/>
                <a:gd name="connsiteY354" fmla="*/ 104620 h 1030680"/>
                <a:gd name="connsiteX355" fmla="*/ 815852 w 2992697"/>
                <a:gd name="connsiteY355" fmla="*/ 114244 h 1030680"/>
                <a:gd name="connsiteX356" fmla="*/ 819887 w 2992697"/>
                <a:gd name="connsiteY356" fmla="*/ 119522 h 1030680"/>
                <a:gd name="connsiteX357" fmla="*/ 822992 w 2992697"/>
                <a:gd name="connsiteY357" fmla="*/ 126972 h 1030680"/>
                <a:gd name="connsiteX358" fmla="*/ 825165 w 2992697"/>
                <a:gd name="connsiteY358" fmla="*/ 138459 h 1030680"/>
                <a:gd name="connsiteX359" fmla="*/ 822060 w 2992697"/>
                <a:gd name="connsiteY359" fmla="*/ 138459 h 1030680"/>
                <a:gd name="connsiteX360" fmla="*/ 810574 w 2992697"/>
                <a:gd name="connsiteY360" fmla="*/ 131008 h 1030680"/>
                <a:gd name="connsiteX361" fmla="*/ 803123 w 2992697"/>
                <a:gd name="connsiteY361" fmla="*/ 123557 h 1030680"/>
                <a:gd name="connsiteX362" fmla="*/ 797846 w 2992697"/>
                <a:gd name="connsiteY362" fmla="*/ 116107 h 1030680"/>
                <a:gd name="connsiteX363" fmla="*/ 797846 w 2992697"/>
                <a:gd name="connsiteY363" fmla="*/ 104620 h 1030680"/>
                <a:gd name="connsiteX364" fmla="*/ 798156 w 2992697"/>
                <a:gd name="connsiteY364" fmla="*/ 104620 h 1030680"/>
                <a:gd name="connsiteX365" fmla="*/ 798156 w 2992697"/>
                <a:gd name="connsiteY365" fmla="*/ 104620 h 1030680"/>
                <a:gd name="connsiteX366" fmla="*/ 2852997 w 2992697"/>
                <a:gd name="connsiteY366" fmla="*/ 81337 h 1030680"/>
                <a:gd name="connsiteX367" fmla="*/ 2856101 w 2992697"/>
                <a:gd name="connsiteY367" fmla="*/ 81337 h 1030680"/>
                <a:gd name="connsiteX368" fmla="*/ 2860137 w 2992697"/>
                <a:gd name="connsiteY368" fmla="*/ 83510 h 1030680"/>
                <a:gd name="connsiteX369" fmla="*/ 2861068 w 2992697"/>
                <a:gd name="connsiteY369" fmla="*/ 83510 h 1030680"/>
                <a:gd name="connsiteX370" fmla="*/ 2863241 w 2992697"/>
                <a:gd name="connsiteY370" fmla="*/ 83510 h 1030680"/>
                <a:gd name="connsiteX371" fmla="*/ 2865415 w 2992697"/>
                <a:gd name="connsiteY371" fmla="*/ 84441 h 1030680"/>
                <a:gd name="connsiteX372" fmla="*/ 2861379 w 2992697"/>
                <a:gd name="connsiteY372" fmla="*/ 88788 h 1030680"/>
                <a:gd name="connsiteX373" fmla="*/ 2858274 w 2992697"/>
                <a:gd name="connsiteY373" fmla="*/ 91892 h 1030680"/>
                <a:gd name="connsiteX374" fmla="*/ 2856101 w 2992697"/>
                <a:gd name="connsiteY374" fmla="*/ 97170 h 1030680"/>
                <a:gd name="connsiteX375" fmla="*/ 2853928 w 2992697"/>
                <a:gd name="connsiteY375" fmla="*/ 101516 h 1030680"/>
                <a:gd name="connsiteX376" fmla="*/ 2852997 w 2992697"/>
                <a:gd name="connsiteY376" fmla="*/ 108966 h 1030680"/>
                <a:gd name="connsiteX377" fmla="*/ 2856101 w 2992697"/>
                <a:gd name="connsiteY377" fmla="*/ 108966 h 1030680"/>
                <a:gd name="connsiteX378" fmla="*/ 2860137 w 2992697"/>
                <a:gd name="connsiteY378" fmla="*/ 103689 h 1030680"/>
                <a:gd name="connsiteX379" fmla="*/ 2863241 w 2992697"/>
                <a:gd name="connsiteY379" fmla="*/ 99343 h 1030680"/>
                <a:gd name="connsiteX380" fmla="*/ 2867277 w 2992697"/>
                <a:gd name="connsiteY380" fmla="*/ 96238 h 1030680"/>
                <a:gd name="connsiteX381" fmla="*/ 2872555 w 2992697"/>
                <a:gd name="connsiteY381" fmla="*/ 94065 h 1030680"/>
                <a:gd name="connsiteX382" fmla="*/ 2883110 w 2992697"/>
                <a:gd name="connsiteY382" fmla="*/ 104620 h 1030680"/>
                <a:gd name="connsiteX383" fmla="*/ 2896770 w 2992697"/>
                <a:gd name="connsiteY383" fmla="*/ 114244 h 1030680"/>
                <a:gd name="connsiteX384" fmla="*/ 2905151 w 2992697"/>
                <a:gd name="connsiteY384" fmla="*/ 121695 h 1030680"/>
                <a:gd name="connsiteX385" fmla="*/ 2905151 w 2992697"/>
                <a:gd name="connsiteY385" fmla="*/ 145910 h 1030680"/>
                <a:gd name="connsiteX386" fmla="*/ 2911360 w 2992697"/>
                <a:gd name="connsiteY386" fmla="*/ 151187 h 1030680"/>
                <a:gd name="connsiteX387" fmla="*/ 2916638 w 2992697"/>
                <a:gd name="connsiteY387" fmla="*/ 155533 h 1030680"/>
                <a:gd name="connsiteX388" fmla="*/ 2921916 w 2992697"/>
                <a:gd name="connsiteY388" fmla="*/ 156465 h 1030680"/>
                <a:gd name="connsiteX389" fmla="*/ 2925952 w 2992697"/>
                <a:gd name="connsiteY389" fmla="*/ 163915 h 1030680"/>
                <a:gd name="connsiteX390" fmla="*/ 2929056 w 2992697"/>
                <a:gd name="connsiteY390" fmla="*/ 178817 h 1030680"/>
                <a:gd name="connsiteX391" fmla="*/ 2921605 w 2992697"/>
                <a:gd name="connsiteY391" fmla="*/ 188441 h 1030680"/>
                <a:gd name="connsiteX392" fmla="*/ 2918501 w 2992697"/>
                <a:gd name="connsiteY392" fmla="*/ 198064 h 1030680"/>
                <a:gd name="connsiteX393" fmla="*/ 2911050 w 2992697"/>
                <a:gd name="connsiteY393" fmla="*/ 203342 h 1030680"/>
                <a:gd name="connsiteX394" fmla="*/ 2901737 w 2992697"/>
                <a:gd name="connsiteY394" fmla="*/ 205515 h 1030680"/>
                <a:gd name="connsiteX395" fmla="*/ 2884972 w 2992697"/>
                <a:gd name="connsiteY395" fmla="*/ 206446 h 1030680"/>
                <a:gd name="connsiteX396" fmla="*/ 2872555 w 2992697"/>
                <a:gd name="connsiteY396" fmla="*/ 195891 h 1030680"/>
                <a:gd name="connsiteX397" fmla="*/ 2853618 w 2992697"/>
                <a:gd name="connsiteY397" fmla="*/ 186267 h 1030680"/>
                <a:gd name="connsiteX398" fmla="*/ 2833749 w 2992697"/>
                <a:gd name="connsiteY398" fmla="*/ 180990 h 1030680"/>
                <a:gd name="connsiteX399" fmla="*/ 2813881 w 2992697"/>
                <a:gd name="connsiteY399" fmla="*/ 173539 h 1030680"/>
                <a:gd name="connsiteX400" fmla="*/ 2796185 w 2992697"/>
                <a:gd name="connsiteY400" fmla="*/ 166089 h 1030680"/>
                <a:gd name="connsiteX401" fmla="*/ 2784699 w 2992697"/>
                <a:gd name="connsiteY401" fmla="*/ 155533 h 1030680"/>
                <a:gd name="connsiteX402" fmla="*/ 2792149 w 2992697"/>
                <a:gd name="connsiteY402" fmla="*/ 151187 h 1030680"/>
                <a:gd name="connsiteX403" fmla="*/ 2797427 w 2992697"/>
                <a:gd name="connsiteY403" fmla="*/ 148083 h 1030680"/>
                <a:gd name="connsiteX404" fmla="*/ 2801463 w 2992697"/>
                <a:gd name="connsiteY404" fmla="*/ 143736 h 1030680"/>
                <a:gd name="connsiteX405" fmla="*/ 2803636 w 2992697"/>
                <a:gd name="connsiteY405" fmla="*/ 138459 h 1030680"/>
                <a:gd name="connsiteX406" fmla="*/ 2804567 w 2992697"/>
                <a:gd name="connsiteY406" fmla="*/ 128835 h 1030680"/>
                <a:gd name="connsiteX407" fmla="*/ 2803636 w 2992697"/>
                <a:gd name="connsiteY407" fmla="*/ 125731 h 1030680"/>
                <a:gd name="connsiteX408" fmla="*/ 2801463 w 2992697"/>
                <a:gd name="connsiteY408" fmla="*/ 119522 h 1030680"/>
                <a:gd name="connsiteX409" fmla="*/ 2801463 w 2992697"/>
                <a:gd name="connsiteY409" fmla="*/ 111760 h 1030680"/>
                <a:gd name="connsiteX410" fmla="*/ 2801463 w 2992697"/>
                <a:gd name="connsiteY410" fmla="*/ 104310 h 1030680"/>
                <a:gd name="connsiteX411" fmla="*/ 2801463 w 2992697"/>
                <a:gd name="connsiteY411" fmla="*/ 103378 h 1030680"/>
                <a:gd name="connsiteX412" fmla="*/ 2803636 w 2992697"/>
                <a:gd name="connsiteY412" fmla="*/ 103378 h 1030680"/>
                <a:gd name="connsiteX413" fmla="*/ 2803636 w 2992697"/>
                <a:gd name="connsiteY413" fmla="*/ 103378 h 1030680"/>
                <a:gd name="connsiteX414" fmla="*/ 2803636 w 2992697"/>
                <a:gd name="connsiteY414" fmla="*/ 103378 h 1030680"/>
                <a:gd name="connsiteX415" fmla="*/ 2803636 w 2992697"/>
                <a:gd name="connsiteY415" fmla="*/ 103378 h 1030680"/>
                <a:gd name="connsiteX416" fmla="*/ 2804567 w 2992697"/>
                <a:gd name="connsiteY416" fmla="*/ 101205 h 1030680"/>
                <a:gd name="connsiteX417" fmla="*/ 2821331 w 2992697"/>
                <a:gd name="connsiteY417" fmla="*/ 96859 h 1030680"/>
                <a:gd name="connsiteX418" fmla="*/ 2839027 w 2992697"/>
                <a:gd name="connsiteY418" fmla="*/ 88477 h 1030680"/>
                <a:gd name="connsiteX419" fmla="*/ 2852997 w 2992697"/>
                <a:gd name="connsiteY419" fmla="*/ 81337 h 1030680"/>
                <a:gd name="connsiteX420" fmla="*/ 2852997 w 2992697"/>
                <a:gd name="connsiteY420" fmla="*/ 81337 h 1030680"/>
                <a:gd name="connsiteX421" fmla="*/ 2852997 w 2992697"/>
                <a:gd name="connsiteY421" fmla="*/ 81337 h 1030680"/>
                <a:gd name="connsiteX422" fmla="*/ 2621404 w 2992697"/>
                <a:gd name="connsiteY422" fmla="*/ 76991 h 1030680"/>
                <a:gd name="connsiteX423" fmla="*/ 2631959 w 2992697"/>
                <a:gd name="connsiteY423" fmla="*/ 76991 h 1030680"/>
                <a:gd name="connsiteX424" fmla="*/ 2646550 w 2992697"/>
                <a:gd name="connsiteY424" fmla="*/ 91892 h 1030680"/>
                <a:gd name="connsiteX425" fmla="*/ 2665487 w 2992697"/>
                <a:gd name="connsiteY425" fmla="*/ 104620 h 1030680"/>
                <a:gd name="connsiteX426" fmla="*/ 2665487 w 2992697"/>
                <a:gd name="connsiteY426" fmla="*/ 108656 h 1030680"/>
                <a:gd name="connsiteX427" fmla="*/ 2661451 w 2992697"/>
                <a:gd name="connsiteY427" fmla="*/ 108656 h 1030680"/>
                <a:gd name="connsiteX428" fmla="*/ 2661451 w 2992697"/>
                <a:gd name="connsiteY428" fmla="*/ 113934 h 1030680"/>
                <a:gd name="connsiteX429" fmla="*/ 2643756 w 2992697"/>
                <a:gd name="connsiteY429" fmla="*/ 104310 h 1030680"/>
                <a:gd name="connsiteX430" fmla="*/ 2631338 w 2992697"/>
                <a:gd name="connsiteY430" fmla="*/ 91582 h 1030680"/>
                <a:gd name="connsiteX431" fmla="*/ 2621404 w 2992697"/>
                <a:gd name="connsiteY431" fmla="*/ 76991 h 1030680"/>
                <a:gd name="connsiteX432" fmla="*/ 2621404 w 2992697"/>
                <a:gd name="connsiteY432" fmla="*/ 76991 h 1030680"/>
                <a:gd name="connsiteX433" fmla="*/ 2621404 w 2992697"/>
                <a:gd name="connsiteY433" fmla="*/ 76991 h 1030680"/>
                <a:gd name="connsiteX434" fmla="*/ 2255078 w 2992697"/>
                <a:gd name="connsiteY434" fmla="*/ 71713 h 1030680"/>
                <a:gd name="connsiteX435" fmla="*/ 2269669 w 2992697"/>
                <a:gd name="connsiteY435" fmla="*/ 76059 h 1030680"/>
                <a:gd name="connsiteX436" fmla="*/ 2281155 w 2992697"/>
                <a:gd name="connsiteY436" fmla="*/ 79164 h 1030680"/>
                <a:gd name="connsiteX437" fmla="*/ 2291711 w 2992697"/>
                <a:gd name="connsiteY437" fmla="*/ 84441 h 1030680"/>
                <a:gd name="connsiteX438" fmla="*/ 2291711 w 2992697"/>
                <a:gd name="connsiteY438" fmla="*/ 94065 h 1030680"/>
                <a:gd name="connsiteX439" fmla="*/ 2282397 w 2992697"/>
                <a:gd name="connsiteY439" fmla="*/ 96238 h 1030680"/>
                <a:gd name="connsiteX440" fmla="*/ 2274015 w 2992697"/>
                <a:gd name="connsiteY440" fmla="*/ 99343 h 1030680"/>
                <a:gd name="connsiteX441" fmla="*/ 2260356 w 2992697"/>
                <a:gd name="connsiteY441" fmla="*/ 101516 h 1030680"/>
                <a:gd name="connsiteX442" fmla="*/ 2255078 w 2992697"/>
                <a:gd name="connsiteY442" fmla="*/ 103689 h 1030680"/>
                <a:gd name="connsiteX443" fmla="*/ 2251974 w 2992697"/>
                <a:gd name="connsiteY443" fmla="*/ 104620 h 1030680"/>
                <a:gd name="connsiteX444" fmla="*/ 2245765 w 2992697"/>
                <a:gd name="connsiteY444" fmla="*/ 104620 h 1030680"/>
                <a:gd name="connsiteX445" fmla="*/ 2240487 w 2992697"/>
                <a:gd name="connsiteY445" fmla="*/ 104620 h 1030680"/>
                <a:gd name="connsiteX446" fmla="*/ 2240487 w 2992697"/>
                <a:gd name="connsiteY446" fmla="*/ 94065 h 1030680"/>
                <a:gd name="connsiteX447" fmla="*/ 2244523 w 2992697"/>
                <a:gd name="connsiteY447" fmla="*/ 88788 h 1030680"/>
                <a:gd name="connsiteX448" fmla="*/ 2249800 w 2992697"/>
                <a:gd name="connsiteY448" fmla="*/ 81337 h 1030680"/>
                <a:gd name="connsiteX449" fmla="*/ 2255078 w 2992697"/>
                <a:gd name="connsiteY449" fmla="*/ 71713 h 1030680"/>
                <a:gd name="connsiteX450" fmla="*/ 2255078 w 2992697"/>
                <a:gd name="connsiteY450" fmla="*/ 71713 h 1030680"/>
                <a:gd name="connsiteX451" fmla="*/ 2255078 w 2992697"/>
                <a:gd name="connsiteY451" fmla="*/ 71713 h 1030680"/>
                <a:gd name="connsiteX452" fmla="*/ 1810520 w 2992697"/>
                <a:gd name="connsiteY452" fmla="*/ 61158 h 1030680"/>
                <a:gd name="connsiteX453" fmla="*/ 1810520 w 2992697"/>
                <a:gd name="connsiteY453" fmla="*/ 81337 h 1030680"/>
                <a:gd name="connsiteX454" fmla="*/ 1817970 w 2992697"/>
                <a:gd name="connsiteY454" fmla="*/ 81337 h 1030680"/>
                <a:gd name="connsiteX455" fmla="*/ 1822006 w 2992697"/>
                <a:gd name="connsiteY455" fmla="*/ 79164 h 1030680"/>
                <a:gd name="connsiteX456" fmla="*/ 1825111 w 2992697"/>
                <a:gd name="connsiteY456" fmla="*/ 79164 h 1030680"/>
                <a:gd name="connsiteX457" fmla="*/ 1829146 w 2992697"/>
                <a:gd name="connsiteY457" fmla="*/ 79164 h 1030680"/>
                <a:gd name="connsiteX458" fmla="*/ 1830078 w 2992697"/>
                <a:gd name="connsiteY458" fmla="*/ 79164 h 1030680"/>
                <a:gd name="connsiteX459" fmla="*/ 1834114 w 2992697"/>
                <a:gd name="connsiteY459" fmla="*/ 81337 h 1030680"/>
                <a:gd name="connsiteX460" fmla="*/ 1839391 w 2992697"/>
                <a:gd name="connsiteY460" fmla="*/ 84441 h 1030680"/>
                <a:gd name="connsiteX461" fmla="*/ 1839391 w 2992697"/>
                <a:gd name="connsiteY461" fmla="*/ 94065 h 1030680"/>
                <a:gd name="connsiteX462" fmla="*/ 1843427 w 2992697"/>
                <a:gd name="connsiteY462" fmla="*/ 96238 h 1030680"/>
                <a:gd name="connsiteX463" fmla="*/ 1848705 w 2992697"/>
                <a:gd name="connsiteY463" fmla="*/ 96238 h 1030680"/>
                <a:gd name="connsiteX464" fmla="*/ 1851809 w 2992697"/>
                <a:gd name="connsiteY464" fmla="*/ 94065 h 1030680"/>
                <a:gd name="connsiteX465" fmla="*/ 1858018 w 2992697"/>
                <a:gd name="connsiteY465" fmla="*/ 94065 h 1030680"/>
                <a:gd name="connsiteX466" fmla="*/ 1858949 w 2992697"/>
                <a:gd name="connsiteY466" fmla="*/ 91892 h 1030680"/>
                <a:gd name="connsiteX467" fmla="*/ 1862985 w 2992697"/>
                <a:gd name="connsiteY467" fmla="*/ 94065 h 1030680"/>
                <a:gd name="connsiteX468" fmla="*/ 1866090 w 2992697"/>
                <a:gd name="connsiteY468" fmla="*/ 97170 h 1030680"/>
                <a:gd name="connsiteX469" fmla="*/ 1870125 w 2992697"/>
                <a:gd name="connsiteY469" fmla="*/ 103378 h 1030680"/>
                <a:gd name="connsiteX470" fmla="*/ 1873230 w 2992697"/>
                <a:gd name="connsiteY470" fmla="*/ 108656 h 1030680"/>
                <a:gd name="connsiteX471" fmla="*/ 1867952 w 2992697"/>
                <a:gd name="connsiteY471" fmla="*/ 121384 h 1030680"/>
                <a:gd name="connsiteX472" fmla="*/ 1862675 w 2992697"/>
                <a:gd name="connsiteY472" fmla="*/ 134113 h 1030680"/>
                <a:gd name="connsiteX473" fmla="*/ 1858639 w 2992697"/>
                <a:gd name="connsiteY473" fmla="*/ 149014 h 1030680"/>
                <a:gd name="connsiteX474" fmla="*/ 1846221 w 2992697"/>
                <a:gd name="connsiteY474" fmla="*/ 149014 h 1030680"/>
                <a:gd name="connsiteX475" fmla="*/ 1836908 w 2992697"/>
                <a:gd name="connsiteY475" fmla="*/ 153360 h 1030680"/>
                <a:gd name="connsiteX476" fmla="*/ 1828526 w 2992697"/>
                <a:gd name="connsiteY476" fmla="*/ 158638 h 1030680"/>
                <a:gd name="connsiteX477" fmla="*/ 1813935 w 2992697"/>
                <a:gd name="connsiteY477" fmla="*/ 162984 h 1030680"/>
                <a:gd name="connsiteX478" fmla="*/ 1804621 w 2992697"/>
                <a:gd name="connsiteY478" fmla="*/ 155533 h 1030680"/>
                <a:gd name="connsiteX479" fmla="*/ 1792203 w 2992697"/>
                <a:gd name="connsiteY479" fmla="*/ 151187 h 1030680"/>
                <a:gd name="connsiteX480" fmla="*/ 1779786 w 2992697"/>
                <a:gd name="connsiteY480" fmla="*/ 145910 h 1030680"/>
                <a:gd name="connsiteX481" fmla="*/ 1777613 w 2992697"/>
                <a:gd name="connsiteY481" fmla="*/ 141563 h 1030680"/>
                <a:gd name="connsiteX482" fmla="*/ 1777613 w 2992697"/>
                <a:gd name="connsiteY482" fmla="*/ 138459 h 1030680"/>
                <a:gd name="connsiteX483" fmla="*/ 1775439 w 2992697"/>
                <a:gd name="connsiteY483" fmla="*/ 134113 h 1030680"/>
                <a:gd name="connsiteX484" fmla="*/ 1773266 w 2992697"/>
                <a:gd name="connsiteY484" fmla="*/ 128835 h 1030680"/>
                <a:gd name="connsiteX485" fmla="*/ 1767989 w 2992697"/>
                <a:gd name="connsiteY485" fmla="*/ 123557 h 1030680"/>
                <a:gd name="connsiteX486" fmla="*/ 1762711 w 2992697"/>
                <a:gd name="connsiteY486" fmla="*/ 118280 h 1030680"/>
                <a:gd name="connsiteX487" fmla="*/ 1758675 w 2992697"/>
                <a:gd name="connsiteY487" fmla="*/ 113934 h 1030680"/>
                <a:gd name="connsiteX488" fmla="*/ 1755571 w 2992697"/>
                <a:gd name="connsiteY488" fmla="*/ 106483 h 1030680"/>
                <a:gd name="connsiteX489" fmla="*/ 1753398 w 2992697"/>
                <a:gd name="connsiteY489" fmla="*/ 93755 h 1030680"/>
                <a:gd name="connsiteX490" fmla="*/ 1760848 w 2992697"/>
                <a:gd name="connsiteY490" fmla="*/ 84131 h 1030680"/>
                <a:gd name="connsiteX491" fmla="*/ 1766126 w 2992697"/>
                <a:gd name="connsiteY491" fmla="*/ 76680 h 1030680"/>
                <a:gd name="connsiteX492" fmla="*/ 1773577 w 2992697"/>
                <a:gd name="connsiteY492" fmla="*/ 76680 h 1030680"/>
                <a:gd name="connsiteX493" fmla="*/ 1779786 w 2992697"/>
                <a:gd name="connsiteY493" fmla="*/ 78853 h 1030680"/>
                <a:gd name="connsiteX494" fmla="*/ 1787236 w 2992697"/>
                <a:gd name="connsiteY494" fmla="*/ 81026 h 1030680"/>
                <a:gd name="connsiteX495" fmla="*/ 1794687 w 2992697"/>
                <a:gd name="connsiteY495" fmla="*/ 81026 h 1030680"/>
                <a:gd name="connsiteX496" fmla="*/ 1794687 w 2992697"/>
                <a:gd name="connsiteY496" fmla="*/ 68298 h 1030680"/>
                <a:gd name="connsiteX497" fmla="*/ 1797791 w 2992697"/>
                <a:gd name="connsiteY497" fmla="*/ 66125 h 1030680"/>
                <a:gd name="connsiteX498" fmla="*/ 1801827 w 2992697"/>
                <a:gd name="connsiteY498" fmla="*/ 63952 h 1030680"/>
                <a:gd name="connsiteX499" fmla="*/ 1802759 w 2992697"/>
                <a:gd name="connsiteY499" fmla="*/ 63952 h 1030680"/>
                <a:gd name="connsiteX500" fmla="*/ 1806794 w 2992697"/>
                <a:gd name="connsiteY500" fmla="*/ 61779 h 1030680"/>
                <a:gd name="connsiteX501" fmla="*/ 1810520 w 2992697"/>
                <a:gd name="connsiteY501" fmla="*/ 61158 h 1030680"/>
                <a:gd name="connsiteX502" fmla="*/ 1810520 w 2992697"/>
                <a:gd name="connsiteY502" fmla="*/ 61158 h 1030680"/>
                <a:gd name="connsiteX503" fmla="*/ 1810520 w 2992697"/>
                <a:gd name="connsiteY503" fmla="*/ 61158 h 1030680"/>
                <a:gd name="connsiteX504" fmla="*/ 2281155 w 2992697"/>
                <a:gd name="connsiteY504" fmla="*/ 47498 h 1030680"/>
                <a:gd name="connsiteX505" fmla="*/ 2295747 w 2992697"/>
                <a:gd name="connsiteY505" fmla="*/ 47498 h 1030680"/>
                <a:gd name="connsiteX506" fmla="*/ 2304129 w 2992697"/>
                <a:gd name="connsiteY506" fmla="*/ 57122 h 1030680"/>
                <a:gd name="connsiteX507" fmla="*/ 2313442 w 2992697"/>
                <a:gd name="connsiteY507" fmla="*/ 62400 h 1030680"/>
                <a:gd name="connsiteX508" fmla="*/ 2320893 w 2992697"/>
                <a:gd name="connsiteY508" fmla="*/ 69850 h 1030680"/>
                <a:gd name="connsiteX509" fmla="*/ 2328343 w 2992697"/>
                <a:gd name="connsiteY509" fmla="*/ 81337 h 1030680"/>
                <a:gd name="connsiteX510" fmla="*/ 2311579 w 2992697"/>
                <a:gd name="connsiteY510" fmla="*/ 81337 h 1030680"/>
                <a:gd name="connsiteX511" fmla="*/ 2301024 w 2992697"/>
                <a:gd name="connsiteY511" fmla="*/ 69850 h 1030680"/>
                <a:gd name="connsiteX512" fmla="*/ 2289538 w 2992697"/>
                <a:gd name="connsiteY512" fmla="*/ 61468 h 1030680"/>
                <a:gd name="connsiteX513" fmla="*/ 2281155 w 2992697"/>
                <a:gd name="connsiteY513" fmla="*/ 47498 h 1030680"/>
                <a:gd name="connsiteX514" fmla="*/ 2281155 w 2992697"/>
                <a:gd name="connsiteY514" fmla="*/ 47498 h 1030680"/>
                <a:gd name="connsiteX515" fmla="*/ 2281155 w 2992697"/>
                <a:gd name="connsiteY515" fmla="*/ 47498 h 1030680"/>
                <a:gd name="connsiteX516" fmla="*/ 439281 w 2992697"/>
                <a:gd name="connsiteY516" fmla="*/ 47498 h 1030680"/>
                <a:gd name="connsiteX517" fmla="*/ 451699 w 2992697"/>
                <a:gd name="connsiteY517" fmla="*/ 47498 h 1030680"/>
                <a:gd name="connsiteX518" fmla="*/ 456976 w 2992697"/>
                <a:gd name="connsiteY518" fmla="*/ 51844 h 1030680"/>
                <a:gd name="connsiteX519" fmla="*/ 461012 w 2992697"/>
                <a:gd name="connsiteY519" fmla="*/ 54949 h 1030680"/>
                <a:gd name="connsiteX520" fmla="*/ 463185 w 2992697"/>
                <a:gd name="connsiteY520" fmla="*/ 59295 h 1030680"/>
                <a:gd name="connsiteX521" fmla="*/ 466290 w 2992697"/>
                <a:gd name="connsiteY521" fmla="*/ 64573 h 1030680"/>
                <a:gd name="connsiteX522" fmla="*/ 468463 w 2992697"/>
                <a:gd name="connsiteY522" fmla="*/ 68919 h 1030680"/>
                <a:gd name="connsiteX523" fmla="*/ 477776 w 2992697"/>
                <a:gd name="connsiteY523" fmla="*/ 59295 h 1030680"/>
                <a:gd name="connsiteX524" fmla="*/ 488331 w 2992697"/>
                <a:gd name="connsiteY524" fmla="*/ 54949 h 1030680"/>
                <a:gd name="connsiteX525" fmla="*/ 505095 w 2992697"/>
                <a:gd name="connsiteY525" fmla="*/ 57122 h 1030680"/>
                <a:gd name="connsiteX526" fmla="*/ 505095 w 2992697"/>
                <a:gd name="connsiteY526" fmla="*/ 72023 h 1030680"/>
                <a:gd name="connsiteX527" fmla="*/ 528068 w 2992697"/>
                <a:gd name="connsiteY527" fmla="*/ 74197 h 1030680"/>
                <a:gd name="connsiteX528" fmla="*/ 548868 w 2992697"/>
                <a:gd name="connsiteY528" fmla="*/ 77301 h 1030680"/>
                <a:gd name="connsiteX529" fmla="*/ 566564 w 2992697"/>
                <a:gd name="connsiteY529" fmla="*/ 81647 h 1030680"/>
                <a:gd name="connsiteX530" fmla="*/ 586432 w 2992697"/>
                <a:gd name="connsiteY530" fmla="*/ 83820 h 1030680"/>
                <a:gd name="connsiteX531" fmla="*/ 608474 w 2992697"/>
                <a:gd name="connsiteY531" fmla="*/ 81647 h 1030680"/>
                <a:gd name="connsiteX532" fmla="*/ 608474 w 2992697"/>
                <a:gd name="connsiteY532" fmla="*/ 94376 h 1030680"/>
                <a:gd name="connsiteX533" fmla="*/ 612510 w 2992697"/>
                <a:gd name="connsiteY533" fmla="*/ 94376 h 1030680"/>
                <a:gd name="connsiteX534" fmla="*/ 615614 w 2992697"/>
                <a:gd name="connsiteY534" fmla="*/ 94376 h 1030680"/>
                <a:gd name="connsiteX535" fmla="*/ 617787 w 2992697"/>
                <a:gd name="connsiteY535" fmla="*/ 94376 h 1030680"/>
                <a:gd name="connsiteX536" fmla="*/ 619960 w 2992697"/>
                <a:gd name="connsiteY536" fmla="*/ 96549 h 1030680"/>
                <a:gd name="connsiteX537" fmla="*/ 622133 w 2992697"/>
                <a:gd name="connsiteY537" fmla="*/ 97480 h 1030680"/>
                <a:gd name="connsiteX538" fmla="*/ 618098 w 2992697"/>
                <a:gd name="connsiteY538" fmla="*/ 97480 h 1030680"/>
                <a:gd name="connsiteX539" fmla="*/ 601023 w 2992697"/>
                <a:gd name="connsiteY539" fmla="*/ 108656 h 1030680"/>
                <a:gd name="connsiteX540" fmla="*/ 581155 w 2992697"/>
                <a:gd name="connsiteY540" fmla="*/ 121384 h 1030680"/>
                <a:gd name="connsiteX541" fmla="*/ 557250 w 2992697"/>
                <a:gd name="connsiteY541" fmla="*/ 132871 h 1030680"/>
                <a:gd name="connsiteX542" fmla="*/ 535209 w 2992697"/>
                <a:gd name="connsiteY542" fmla="*/ 145599 h 1030680"/>
                <a:gd name="connsiteX543" fmla="*/ 519686 w 2992697"/>
                <a:gd name="connsiteY543" fmla="*/ 156154 h 1030680"/>
                <a:gd name="connsiteX544" fmla="*/ 508200 w 2992697"/>
                <a:gd name="connsiteY544" fmla="*/ 165778 h 1030680"/>
                <a:gd name="connsiteX545" fmla="*/ 524964 w 2992697"/>
                <a:gd name="connsiteY545" fmla="*/ 165778 h 1030680"/>
                <a:gd name="connsiteX546" fmla="*/ 530241 w 2992697"/>
                <a:gd name="connsiteY546" fmla="*/ 162674 h 1030680"/>
                <a:gd name="connsiteX547" fmla="*/ 535519 w 2992697"/>
                <a:gd name="connsiteY547" fmla="*/ 160500 h 1030680"/>
                <a:gd name="connsiteX548" fmla="*/ 541728 w 2992697"/>
                <a:gd name="connsiteY548" fmla="*/ 158327 h 1030680"/>
                <a:gd name="connsiteX549" fmla="*/ 549179 w 2992697"/>
                <a:gd name="connsiteY549" fmla="*/ 158327 h 1030680"/>
                <a:gd name="connsiteX550" fmla="*/ 549179 w 2992697"/>
                <a:gd name="connsiteY550" fmla="*/ 162674 h 1030680"/>
                <a:gd name="connsiteX551" fmla="*/ 527137 w 2992697"/>
                <a:gd name="connsiteY551" fmla="*/ 178506 h 1030680"/>
                <a:gd name="connsiteX552" fmla="*/ 508200 w 2992697"/>
                <a:gd name="connsiteY552" fmla="*/ 195270 h 1030680"/>
                <a:gd name="connsiteX553" fmla="*/ 492677 w 2992697"/>
                <a:gd name="connsiteY553" fmla="*/ 212034 h 1030680"/>
                <a:gd name="connsiteX554" fmla="*/ 473740 w 2992697"/>
                <a:gd name="connsiteY554" fmla="*/ 226936 h 1030680"/>
                <a:gd name="connsiteX555" fmla="*/ 453872 w 2992697"/>
                <a:gd name="connsiteY555" fmla="*/ 239664 h 1030680"/>
                <a:gd name="connsiteX556" fmla="*/ 427794 w 2992697"/>
                <a:gd name="connsiteY556" fmla="*/ 247115 h 1030680"/>
                <a:gd name="connsiteX557" fmla="*/ 427794 w 2992697"/>
                <a:gd name="connsiteY557" fmla="*/ 259843 h 1030680"/>
                <a:gd name="connsiteX558" fmla="*/ 415377 w 2992697"/>
                <a:gd name="connsiteY558" fmla="*/ 262016 h 1030680"/>
                <a:gd name="connsiteX559" fmla="*/ 400786 w 2992697"/>
                <a:gd name="connsiteY559" fmla="*/ 267294 h 1030680"/>
                <a:gd name="connsiteX560" fmla="*/ 392403 w 2992697"/>
                <a:gd name="connsiteY560" fmla="*/ 274745 h 1030680"/>
                <a:gd name="connsiteX561" fmla="*/ 397681 w 2992697"/>
                <a:gd name="connsiteY561" fmla="*/ 279091 h 1030680"/>
                <a:gd name="connsiteX562" fmla="*/ 400786 w 2992697"/>
                <a:gd name="connsiteY562" fmla="*/ 282195 h 1030680"/>
                <a:gd name="connsiteX563" fmla="*/ 402959 w 2992697"/>
                <a:gd name="connsiteY563" fmla="*/ 284368 h 1030680"/>
                <a:gd name="connsiteX564" fmla="*/ 402959 w 2992697"/>
                <a:gd name="connsiteY564" fmla="*/ 287473 h 1030680"/>
                <a:gd name="connsiteX565" fmla="*/ 402959 w 2992697"/>
                <a:gd name="connsiteY565" fmla="*/ 291819 h 1030680"/>
                <a:gd name="connsiteX566" fmla="*/ 400786 w 2992697"/>
                <a:gd name="connsiteY566" fmla="*/ 297097 h 1030680"/>
                <a:gd name="connsiteX567" fmla="*/ 400786 w 2992697"/>
                <a:gd name="connsiteY567" fmla="*/ 304547 h 1030680"/>
                <a:gd name="connsiteX568" fmla="*/ 361048 w 2992697"/>
                <a:gd name="connsiteY568" fmla="*/ 307652 h 1030680"/>
                <a:gd name="connsiteX569" fmla="*/ 361048 w 2992697"/>
                <a:gd name="connsiteY569" fmla="*/ 311998 h 1030680"/>
                <a:gd name="connsiteX570" fmla="*/ 366326 w 2992697"/>
                <a:gd name="connsiteY570" fmla="*/ 314171 h 1030680"/>
                <a:gd name="connsiteX571" fmla="*/ 368499 w 2992697"/>
                <a:gd name="connsiteY571" fmla="*/ 314171 h 1030680"/>
                <a:gd name="connsiteX572" fmla="*/ 371604 w 2992697"/>
                <a:gd name="connsiteY572" fmla="*/ 314171 h 1030680"/>
                <a:gd name="connsiteX573" fmla="*/ 371604 w 2992697"/>
                <a:gd name="connsiteY573" fmla="*/ 314171 h 1030680"/>
                <a:gd name="connsiteX574" fmla="*/ 373777 w 2992697"/>
                <a:gd name="connsiteY574" fmla="*/ 315103 h 1030680"/>
                <a:gd name="connsiteX575" fmla="*/ 373777 w 2992697"/>
                <a:gd name="connsiteY575" fmla="*/ 317276 h 1030680"/>
                <a:gd name="connsiteX576" fmla="*/ 377813 w 2992697"/>
                <a:gd name="connsiteY576" fmla="*/ 321622 h 1030680"/>
                <a:gd name="connsiteX577" fmla="*/ 371604 w 2992697"/>
                <a:gd name="connsiteY577" fmla="*/ 321622 h 1030680"/>
                <a:gd name="connsiteX578" fmla="*/ 363222 w 2992697"/>
                <a:gd name="connsiteY578" fmla="*/ 324726 h 1030680"/>
                <a:gd name="connsiteX579" fmla="*/ 351735 w 2992697"/>
                <a:gd name="connsiteY579" fmla="*/ 329073 h 1030680"/>
                <a:gd name="connsiteX580" fmla="*/ 341180 w 2992697"/>
                <a:gd name="connsiteY580" fmla="*/ 332177 h 1030680"/>
                <a:gd name="connsiteX581" fmla="*/ 344284 w 2992697"/>
                <a:gd name="connsiteY581" fmla="*/ 334350 h 1030680"/>
                <a:gd name="connsiteX582" fmla="*/ 346458 w 2992697"/>
                <a:gd name="connsiteY582" fmla="*/ 334350 h 1030680"/>
                <a:gd name="connsiteX583" fmla="*/ 348631 w 2992697"/>
                <a:gd name="connsiteY583" fmla="*/ 334350 h 1030680"/>
                <a:gd name="connsiteX584" fmla="*/ 349562 w 2992697"/>
                <a:gd name="connsiteY584" fmla="*/ 336523 h 1030680"/>
                <a:gd name="connsiteX585" fmla="*/ 351735 w 2992697"/>
                <a:gd name="connsiteY585" fmla="*/ 336523 h 1030680"/>
                <a:gd name="connsiteX586" fmla="*/ 349562 w 2992697"/>
                <a:gd name="connsiteY586" fmla="*/ 339628 h 1030680"/>
                <a:gd name="connsiteX587" fmla="*/ 348631 w 2992697"/>
                <a:gd name="connsiteY587" fmla="*/ 343974 h 1030680"/>
                <a:gd name="connsiteX588" fmla="*/ 346458 w 2992697"/>
                <a:gd name="connsiteY588" fmla="*/ 344905 h 1030680"/>
                <a:gd name="connsiteX589" fmla="*/ 348631 w 2992697"/>
                <a:gd name="connsiteY589" fmla="*/ 347078 h 1030680"/>
                <a:gd name="connsiteX590" fmla="*/ 348631 w 2992697"/>
                <a:gd name="connsiteY590" fmla="*/ 349252 h 1030680"/>
                <a:gd name="connsiteX591" fmla="*/ 349562 w 2992697"/>
                <a:gd name="connsiteY591" fmla="*/ 352356 h 1030680"/>
                <a:gd name="connsiteX592" fmla="*/ 351735 w 2992697"/>
                <a:gd name="connsiteY592" fmla="*/ 356702 h 1030680"/>
                <a:gd name="connsiteX593" fmla="*/ 344284 w 2992697"/>
                <a:gd name="connsiteY593" fmla="*/ 358875 h 1030680"/>
                <a:gd name="connsiteX594" fmla="*/ 339007 w 2992697"/>
                <a:gd name="connsiteY594" fmla="*/ 358875 h 1030680"/>
                <a:gd name="connsiteX595" fmla="*/ 333729 w 2992697"/>
                <a:gd name="connsiteY595" fmla="*/ 358875 h 1030680"/>
                <a:gd name="connsiteX596" fmla="*/ 327520 w 2992697"/>
                <a:gd name="connsiteY596" fmla="*/ 361980 h 1030680"/>
                <a:gd name="connsiteX597" fmla="*/ 346458 w 2992697"/>
                <a:gd name="connsiteY597" fmla="*/ 361980 h 1030680"/>
                <a:gd name="connsiteX598" fmla="*/ 361048 w 2992697"/>
                <a:gd name="connsiteY598" fmla="*/ 366326 h 1030680"/>
                <a:gd name="connsiteX599" fmla="*/ 361048 w 2992697"/>
                <a:gd name="connsiteY599" fmla="*/ 373777 h 1030680"/>
                <a:gd name="connsiteX600" fmla="*/ 337144 w 2992697"/>
                <a:gd name="connsiteY600" fmla="*/ 373777 h 1030680"/>
                <a:gd name="connsiteX601" fmla="*/ 334971 w 2992697"/>
                <a:gd name="connsiteY601" fmla="*/ 379054 h 1030680"/>
                <a:gd name="connsiteX602" fmla="*/ 334971 w 2992697"/>
                <a:gd name="connsiteY602" fmla="*/ 381227 h 1030680"/>
                <a:gd name="connsiteX603" fmla="*/ 334971 w 2992697"/>
                <a:gd name="connsiteY603" fmla="*/ 382159 h 1030680"/>
                <a:gd name="connsiteX604" fmla="*/ 334040 w 2992697"/>
                <a:gd name="connsiteY604" fmla="*/ 384332 h 1030680"/>
                <a:gd name="connsiteX605" fmla="*/ 331867 w 2992697"/>
                <a:gd name="connsiteY605" fmla="*/ 386505 h 1030680"/>
                <a:gd name="connsiteX606" fmla="*/ 322553 w 2992697"/>
                <a:gd name="connsiteY606" fmla="*/ 389609 h 1030680"/>
                <a:gd name="connsiteX607" fmla="*/ 310135 w 2992697"/>
                <a:gd name="connsiteY607" fmla="*/ 389609 h 1030680"/>
                <a:gd name="connsiteX608" fmla="*/ 297717 w 2992697"/>
                <a:gd name="connsiteY608" fmla="*/ 389609 h 1030680"/>
                <a:gd name="connsiteX609" fmla="*/ 285300 w 2992697"/>
                <a:gd name="connsiteY609" fmla="*/ 382159 h 1030680"/>
                <a:gd name="connsiteX610" fmla="*/ 268536 w 2992697"/>
                <a:gd name="connsiteY610" fmla="*/ 382159 h 1030680"/>
                <a:gd name="connsiteX611" fmla="*/ 251772 w 2992697"/>
                <a:gd name="connsiteY611" fmla="*/ 384332 h 1030680"/>
                <a:gd name="connsiteX612" fmla="*/ 234076 w 2992697"/>
                <a:gd name="connsiteY612" fmla="*/ 386505 h 1030680"/>
                <a:gd name="connsiteX613" fmla="*/ 217312 w 2992697"/>
                <a:gd name="connsiteY613" fmla="*/ 384332 h 1030680"/>
                <a:gd name="connsiteX614" fmla="*/ 200548 w 2992697"/>
                <a:gd name="connsiteY614" fmla="*/ 379054 h 1030680"/>
                <a:gd name="connsiteX615" fmla="*/ 199617 w 2992697"/>
                <a:gd name="connsiteY615" fmla="*/ 376881 h 1030680"/>
                <a:gd name="connsiteX616" fmla="*/ 199617 w 2992697"/>
                <a:gd name="connsiteY616" fmla="*/ 374708 h 1030680"/>
                <a:gd name="connsiteX617" fmla="*/ 197444 w 2992697"/>
                <a:gd name="connsiteY617" fmla="*/ 374708 h 1030680"/>
                <a:gd name="connsiteX618" fmla="*/ 197444 w 2992697"/>
                <a:gd name="connsiteY618" fmla="*/ 372535 h 1030680"/>
                <a:gd name="connsiteX619" fmla="*/ 197444 w 2992697"/>
                <a:gd name="connsiteY619" fmla="*/ 368189 h 1030680"/>
                <a:gd name="connsiteX620" fmla="*/ 200548 w 2992697"/>
                <a:gd name="connsiteY620" fmla="*/ 368189 h 1030680"/>
                <a:gd name="connsiteX621" fmla="*/ 202721 w 2992697"/>
                <a:gd name="connsiteY621" fmla="*/ 365084 h 1030680"/>
                <a:gd name="connsiteX622" fmla="*/ 206757 w 2992697"/>
                <a:gd name="connsiteY622" fmla="*/ 360738 h 1030680"/>
                <a:gd name="connsiteX623" fmla="*/ 207688 w 2992697"/>
                <a:gd name="connsiteY623" fmla="*/ 358565 h 1030680"/>
                <a:gd name="connsiteX624" fmla="*/ 211724 w 2992697"/>
                <a:gd name="connsiteY624" fmla="*/ 357634 h 1030680"/>
                <a:gd name="connsiteX625" fmla="*/ 213897 w 2992697"/>
                <a:gd name="connsiteY625" fmla="*/ 353287 h 1030680"/>
                <a:gd name="connsiteX626" fmla="*/ 217002 w 2992697"/>
                <a:gd name="connsiteY626" fmla="*/ 348010 h 1030680"/>
                <a:gd name="connsiteX627" fmla="*/ 209551 w 2992697"/>
                <a:gd name="connsiteY627" fmla="*/ 345837 h 1030680"/>
                <a:gd name="connsiteX628" fmla="*/ 204273 w 2992697"/>
                <a:gd name="connsiteY628" fmla="*/ 342732 h 1030680"/>
                <a:gd name="connsiteX629" fmla="*/ 200238 w 2992697"/>
                <a:gd name="connsiteY629" fmla="*/ 336523 h 1030680"/>
                <a:gd name="connsiteX630" fmla="*/ 199306 w 2992697"/>
                <a:gd name="connsiteY630" fmla="*/ 331246 h 1030680"/>
                <a:gd name="connsiteX631" fmla="*/ 197133 w 2992697"/>
                <a:gd name="connsiteY631" fmla="*/ 323795 h 1030680"/>
                <a:gd name="connsiteX632" fmla="*/ 204584 w 2992697"/>
                <a:gd name="connsiteY632" fmla="*/ 323795 h 1030680"/>
                <a:gd name="connsiteX633" fmla="*/ 217002 w 2992697"/>
                <a:gd name="connsiteY633" fmla="*/ 320691 h 1030680"/>
                <a:gd name="connsiteX634" fmla="*/ 231593 w 2992697"/>
                <a:gd name="connsiteY634" fmla="*/ 323795 h 1030680"/>
                <a:gd name="connsiteX635" fmla="*/ 244010 w 2992697"/>
                <a:gd name="connsiteY635" fmla="*/ 329073 h 1030680"/>
                <a:gd name="connsiteX636" fmla="*/ 256428 w 2992697"/>
                <a:gd name="connsiteY636" fmla="*/ 335281 h 1030680"/>
                <a:gd name="connsiteX637" fmla="*/ 256428 w 2992697"/>
                <a:gd name="connsiteY637" fmla="*/ 327831 h 1030680"/>
                <a:gd name="connsiteX638" fmla="*/ 244010 w 2992697"/>
                <a:gd name="connsiteY638" fmla="*/ 321622 h 1030680"/>
                <a:gd name="connsiteX639" fmla="*/ 233455 w 2992697"/>
                <a:gd name="connsiteY639" fmla="*/ 316344 h 1030680"/>
                <a:gd name="connsiteX640" fmla="*/ 224142 w 2992697"/>
                <a:gd name="connsiteY640" fmla="*/ 306720 h 1030680"/>
                <a:gd name="connsiteX641" fmla="*/ 227246 w 2992697"/>
                <a:gd name="connsiteY641" fmla="*/ 306720 h 1030680"/>
                <a:gd name="connsiteX642" fmla="*/ 236560 w 2992697"/>
                <a:gd name="connsiteY642" fmla="*/ 293061 h 1030680"/>
                <a:gd name="connsiteX643" fmla="*/ 248046 w 2992697"/>
                <a:gd name="connsiteY643" fmla="*/ 283437 h 1030680"/>
                <a:gd name="connsiteX644" fmla="*/ 262637 w 2992697"/>
                <a:gd name="connsiteY644" fmla="*/ 275986 h 1030680"/>
                <a:gd name="connsiteX645" fmla="*/ 280333 w 2992697"/>
                <a:gd name="connsiteY645" fmla="*/ 270709 h 1030680"/>
                <a:gd name="connsiteX646" fmla="*/ 280333 w 2992697"/>
                <a:gd name="connsiteY646" fmla="*/ 266983 h 1030680"/>
                <a:gd name="connsiteX647" fmla="*/ 263568 w 2992697"/>
                <a:gd name="connsiteY647" fmla="*/ 261706 h 1030680"/>
                <a:gd name="connsiteX648" fmla="*/ 251151 w 2992697"/>
                <a:gd name="connsiteY648" fmla="*/ 252082 h 1030680"/>
                <a:gd name="connsiteX649" fmla="*/ 240595 w 2992697"/>
                <a:gd name="connsiteY649" fmla="*/ 239354 h 1030680"/>
                <a:gd name="connsiteX650" fmla="*/ 231282 w 2992697"/>
                <a:gd name="connsiteY650" fmla="*/ 226625 h 1030680"/>
                <a:gd name="connsiteX651" fmla="*/ 236560 w 2992697"/>
                <a:gd name="connsiteY651" fmla="*/ 224452 h 1030680"/>
                <a:gd name="connsiteX652" fmla="*/ 240595 w 2992697"/>
                <a:gd name="connsiteY652" fmla="*/ 224452 h 1030680"/>
                <a:gd name="connsiteX653" fmla="*/ 245873 w 2992697"/>
                <a:gd name="connsiteY653" fmla="*/ 222279 h 1030680"/>
                <a:gd name="connsiteX654" fmla="*/ 251151 w 2992697"/>
                <a:gd name="connsiteY654" fmla="*/ 222279 h 1030680"/>
                <a:gd name="connsiteX655" fmla="*/ 258601 w 2992697"/>
                <a:gd name="connsiteY655" fmla="*/ 227557 h 1030680"/>
                <a:gd name="connsiteX656" fmla="*/ 263879 w 2992697"/>
                <a:gd name="connsiteY656" fmla="*/ 233766 h 1030680"/>
                <a:gd name="connsiteX657" fmla="*/ 271330 w 2992697"/>
                <a:gd name="connsiteY657" fmla="*/ 239043 h 1030680"/>
                <a:gd name="connsiteX658" fmla="*/ 271330 w 2992697"/>
                <a:gd name="connsiteY658" fmla="*/ 234697 h 1030680"/>
                <a:gd name="connsiteX659" fmla="*/ 270398 w 2992697"/>
                <a:gd name="connsiteY659" fmla="*/ 231593 h 1030680"/>
                <a:gd name="connsiteX660" fmla="*/ 268225 w 2992697"/>
                <a:gd name="connsiteY660" fmla="*/ 231593 h 1030680"/>
                <a:gd name="connsiteX661" fmla="*/ 268225 w 2992697"/>
                <a:gd name="connsiteY661" fmla="*/ 229419 h 1030680"/>
                <a:gd name="connsiteX662" fmla="*/ 266052 w 2992697"/>
                <a:gd name="connsiteY662" fmla="*/ 227246 h 1030680"/>
                <a:gd name="connsiteX663" fmla="*/ 266052 w 2992697"/>
                <a:gd name="connsiteY663" fmla="*/ 226315 h 1030680"/>
                <a:gd name="connsiteX664" fmla="*/ 263879 w 2992697"/>
                <a:gd name="connsiteY664" fmla="*/ 221969 h 1030680"/>
                <a:gd name="connsiteX665" fmla="*/ 267915 w 2992697"/>
                <a:gd name="connsiteY665" fmla="*/ 221969 h 1030680"/>
                <a:gd name="connsiteX666" fmla="*/ 267915 w 2992697"/>
                <a:gd name="connsiteY666" fmla="*/ 218864 h 1030680"/>
                <a:gd name="connsiteX667" fmla="*/ 284679 w 2992697"/>
                <a:gd name="connsiteY667" fmla="*/ 212655 h 1030680"/>
                <a:gd name="connsiteX668" fmla="*/ 300201 w 2992697"/>
                <a:gd name="connsiteY668" fmla="*/ 209551 h 1030680"/>
                <a:gd name="connsiteX669" fmla="*/ 316965 w 2992697"/>
                <a:gd name="connsiteY669" fmla="*/ 207378 h 1030680"/>
                <a:gd name="connsiteX670" fmla="*/ 336834 w 2992697"/>
                <a:gd name="connsiteY670" fmla="*/ 209551 h 1030680"/>
                <a:gd name="connsiteX671" fmla="*/ 327520 w 2992697"/>
                <a:gd name="connsiteY671" fmla="*/ 198064 h 1030680"/>
                <a:gd name="connsiteX672" fmla="*/ 339007 w 2992697"/>
                <a:gd name="connsiteY672" fmla="*/ 194960 h 1030680"/>
                <a:gd name="connsiteX673" fmla="*/ 351425 w 2992697"/>
                <a:gd name="connsiteY673" fmla="*/ 189682 h 1030680"/>
                <a:gd name="connsiteX674" fmla="*/ 363842 w 2992697"/>
                <a:gd name="connsiteY674" fmla="*/ 184405 h 1030680"/>
                <a:gd name="connsiteX675" fmla="*/ 371293 w 2992697"/>
                <a:gd name="connsiteY675" fmla="*/ 178196 h 1030680"/>
                <a:gd name="connsiteX676" fmla="*/ 377502 w 2992697"/>
                <a:gd name="connsiteY676" fmla="*/ 178196 h 1030680"/>
                <a:gd name="connsiteX677" fmla="*/ 377502 w 2992697"/>
                <a:gd name="connsiteY677" fmla="*/ 175091 h 1030680"/>
                <a:gd name="connsiteX678" fmla="*/ 368189 w 2992697"/>
                <a:gd name="connsiteY678" fmla="*/ 175091 h 1030680"/>
                <a:gd name="connsiteX679" fmla="*/ 364153 w 2992697"/>
                <a:gd name="connsiteY679" fmla="*/ 177265 h 1030680"/>
                <a:gd name="connsiteX680" fmla="*/ 361048 w 2992697"/>
                <a:gd name="connsiteY680" fmla="*/ 178196 h 1030680"/>
                <a:gd name="connsiteX681" fmla="*/ 358875 w 2992697"/>
                <a:gd name="connsiteY681" fmla="*/ 178196 h 1030680"/>
                <a:gd name="connsiteX682" fmla="*/ 356702 w 2992697"/>
                <a:gd name="connsiteY682" fmla="*/ 178196 h 1030680"/>
                <a:gd name="connsiteX683" fmla="*/ 355771 w 2992697"/>
                <a:gd name="connsiteY683" fmla="*/ 178196 h 1030680"/>
                <a:gd name="connsiteX684" fmla="*/ 353598 w 2992697"/>
                <a:gd name="connsiteY684" fmla="*/ 177265 h 1030680"/>
                <a:gd name="connsiteX685" fmla="*/ 351425 w 2992697"/>
                <a:gd name="connsiteY685" fmla="*/ 175091 h 1030680"/>
                <a:gd name="connsiteX686" fmla="*/ 348320 w 2992697"/>
                <a:gd name="connsiteY686" fmla="*/ 175091 h 1030680"/>
                <a:gd name="connsiteX687" fmla="*/ 344284 w 2992697"/>
                <a:gd name="connsiteY687" fmla="*/ 178196 h 1030680"/>
                <a:gd name="connsiteX688" fmla="*/ 339007 w 2992697"/>
                <a:gd name="connsiteY688" fmla="*/ 184405 h 1030680"/>
                <a:gd name="connsiteX689" fmla="*/ 333729 w 2992697"/>
                <a:gd name="connsiteY689" fmla="*/ 189682 h 1030680"/>
                <a:gd name="connsiteX690" fmla="*/ 329693 w 2992697"/>
                <a:gd name="connsiteY690" fmla="*/ 194960 h 1030680"/>
                <a:gd name="connsiteX691" fmla="*/ 324416 w 2992697"/>
                <a:gd name="connsiteY691" fmla="*/ 198064 h 1030680"/>
                <a:gd name="connsiteX692" fmla="*/ 304547 w 2992697"/>
                <a:gd name="connsiteY692" fmla="*/ 204273 h 1030680"/>
                <a:gd name="connsiteX693" fmla="*/ 285610 w 2992697"/>
                <a:gd name="connsiteY693" fmla="*/ 204273 h 1030680"/>
                <a:gd name="connsiteX694" fmla="*/ 267915 w 2992697"/>
                <a:gd name="connsiteY694" fmla="*/ 199927 h 1030680"/>
                <a:gd name="connsiteX695" fmla="*/ 251151 w 2992697"/>
                <a:gd name="connsiteY695" fmla="*/ 192476 h 1030680"/>
                <a:gd name="connsiteX696" fmla="*/ 248978 w 2992697"/>
                <a:gd name="connsiteY696" fmla="*/ 192476 h 1030680"/>
                <a:gd name="connsiteX697" fmla="*/ 245873 w 2992697"/>
                <a:gd name="connsiteY697" fmla="*/ 194650 h 1030680"/>
                <a:gd name="connsiteX698" fmla="*/ 240595 w 2992697"/>
                <a:gd name="connsiteY698" fmla="*/ 196823 h 1030680"/>
                <a:gd name="connsiteX699" fmla="*/ 236560 w 2992697"/>
                <a:gd name="connsiteY699" fmla="*/ 197754 h 1030680"/>
                <a:gd name="connsiteX700" fmla="*/ 233455 w 2992697"/>
                <a:gd name="connsiteY700" fmla="*/ 199927 h 1030680"/>
                <a:gd name="connsiteX701" fmla="*/ 227246 w 2992697"/>
                <a:gd name="connsiteY701" fmla="*/ 202100 h 1030680"/>
                <a:gd name="connsiteX702" fmla="*/ 224142 w 2992697"/>
                <a:gd name="connsiteY702" fmla="*/ 192476 h 1030680"/>
                <a:gd name="connsiteX703" fmla="*/ 227246 w 2992697"/>
                <a:gd name="connsiteY703" fmla="*/ 191545 h 1030680"/>
                <a:gd name="connsiteX704" fmla="*/ 227246 w 2992697"/>
                <a:gd name="connsiteY704" fmla="*/ 191545 h 1030680"/>
                <a:gd name="connsiteX705" fmla="*/ 229419 w 2992697"/>
                <a:gd name="connsiteY705" fmla="*/ 189372 h 1030680"/>
                <a:gd name="connsiteX706" fmla="*/ 231593 w 2992697"/>
                <a:gd name="connsiteY706" fmla="*/ 185026 h 1030680"/>
                <a:gd name="connsiteX707" fmla="*/ 221037 w 2992697"/>
                <a:gd name="connsiteY707" fmla="*/ 185026 h 1030680"/>
                <a:gd name="connsiteX708" fmla="*/ 217002 w 2992697"/>
                <a:gd name="connsiteY708" fmla="*/ 187199 h 1030680"/>
                <a:gd name="connsiteX709" fmla="*/ 211724 w 2992697"/>
                <a:gd name="connsiteY709" fmla="*/ 189372 h 1030680"/>
                <a:gd name="connsiteX710" fmla="*/ 206446 w 2992697"/>
                <a:gd name="connsiteY710" fmla="*/ 189372 h 1030680"/>
                <a:gd name="connsiteX711" fmla="*/ 200238 w 2992697"/>
                <a:gd name="connsiteY711" fmla="*/ 189372 h 1030680"/>
                <a:gd name="connsiteX712" fmla="*/ 197133 w 2992697"/>
                <a:gd name="connsiteY712" fmla="*/ 177885 h 1030680"/>
                <a:gd name="connsiteX713" fmla="*/ 200238 w 2992697"/>
                <a:gd name="connsiteY713" fmla="*/ 176954 h 1030680"/>
                <a:gd name="connsiteX714" fmla="*/ 202411 w 2992697"/>
                <a:gd name="connsiteY714" fmla="*/ 176954 h 1030680"/>
                <a:gd name="connsiteX715" fmla="*/ 204584 w 2992697"/>
                <a:gd name="connsiteY715" fmla="*/ 176954 h 1030680"/>
                <a:gd name="connsiteX716" fmla="*/ 206757 w 2992697"/>
                <a:gd name="connsiteY716" fmla="*/ 174781 h 1030680"/>
                <a:gd name="connsiteX717" fmla="*/ 207688 w 2992697"/>
                <a:gd name="connsiteY717" fmla="*/ 174781 h 1030680"/>
                <a:gd name="connsiteX718" fmla="*/ 184715 w 2992697"/>
                <a:gd name="connsiteY718" fmla="*/ 177885 h 1030680"/>
                <a:gd name="connsiteX719" fmla="*/ 182542 w 2992697"/>
                <a:gd name="connsiteY719" fmla="*/ 172608 h 1030680"/>
                <a:gd name="connsiteX720" fmla="*/ 178506 w 2992697"/>
                <a:gd name="connsiteY720" fmla="*/ 169503 h 1030680"/>
                <a:gd name="connsiteX721" fmla="*/ 177575 w 2992697"/>
                <a:gd name="connsiteY721" fmla="*/ 167330 h 1030680"/>
                <a:gd name="connsiteX722" fmla="*/ 175402 w 2992697"/>
                <a:gd name="connsiteY722" fmla="*/ 162984 h 1030680"/>
                <a:gd name="connsiteX723" fmla="*/ 171366 w 2992697"/>
                <a:gd name="connsiteY723" fmla="*/ 157706 h 1030680"/>
                <a:gd name="connsiteX724" fmla="*/ 177575 w 2992697"/>
                <a:gd name="connsiteY724" fmla="*/ 155533 h 1030680"/>
                <a:gd name="connsiteX725" fmla="*/ 180679 w 2992697"/>
                <a:gd name="connsiteY725" fmla="*/ 155533 h 1030680"/>
                <a:gd name="connsiteX726" fmla="*/ 182853 w 2992697"/>
                <a:gd name="connsiteY726" fmla="*/ 155533 h 1030680"/>
                <a:gd name="connsiteX727" fmla="*/ 185026 w 2992697"/>
                <a:gd name="connsiteY727" fmla="*/ 155533 h 1030680"/>
                <a:gd name="connsiteX728" fmla="*/ 185026 w 2992697"/>
                <a:gd name="connsiteY728" fmla="*/ 155223 h 1030680"/>
                <a:gd name="connsiteX729" fmla="*/ 185957 w 2992697"/>
                <a:gd name="connsiteY729" fmla="*/ 153050 h 1030680"/>
                <a:gd name="connsiteX730" fmla="*/ 188130 w 2992697"/>
                <a:gd name="connsiteY730" fmla="*/ 148704 h 1030680"/>
                <a:gd name="connsiteX731" fmla="*/ 180679 w 2992697"/>
                <a:gd name="connsiteY731" fmla="*/ 147772 h 1030680"/>
                <a:gd name="connsiteX732" fmla="*/ 173229 w 2992697"/>
                <a:gd name="connsiteY732" fmla="*/ 145599 h 1030680"/>
                <a:gd name="connsiteX733" fmla="*/ 170124 w 2992697"/>
                <a:gd name="connsiteY733" fmla="*/ 141253 h 1030680"/>
                <a:gd name="connsiteX734" fmla="*/ 163915 w 2992697"/>
                <a:gd name="connsiteY734" fmla="*/ 138148 h 1030680"/>
                <a:gd name="connsiteX735" fmla="*/ 167951 w 2992697"/>
                <a:gd name="connsiteY735" fmla="*/ 138148 h 1030680"/>
                <a:gd name="connsiteX736" fmla="*/ 167951 w 2992697"/>
                <a:gd name="connsiteY736" fmla="*/ 132871 h 1030680"/>
                <a:gd name="connsiteX737" fmla="*/ 185647 w 2992697"/>
                <a:gd name="connsiteY737" fmla="*/ 135975 h 1030680"/>
                <a:gd name="connsiteX738" fmla="*/ 194960 w 2992697"/>
                <a:gd name="connsiteY738" fmla="*/ 133802 h 1030680"/>
                <a:gd name="connsiteX739" fmla="*/ 202411 w 2992697"/>
                <a:gd name="connsiteY739" fmla="*/ 130698 h 1030680"/>
                <a:gd name="connsiteX740" fmla="*/ 206446 w 2992697"/>
                <a:gd name="connsiteY740" fmla="*/ 125420 h 1030680"/>
                <a:gd name="connsiteX741" fmla="*/ 211724 w 2992697"/>
                <a:gd name="connsiteY741" fmla="*/ 117969 h 1030680"/>
                <a:gd name="connsiteX742" fmla="*/ 221037 w 2992697"/>
                <a:gd name="connsiteY742" fmla="*/ 113623 h 1030680"/>
                <a:gd name="connsiteX743" fmla="*/ 231593 w 2992697"/>
                <a:gd name="connsiteY743" fmla="*/ 110519 h 1030680"/>
                <a:gd name="connsiteX744" fmla="*/ 239043 w 2992697"/>
                <a:gd name="connsiteY744" fmla="*/ 113623 h 1030680"/>
                <a:gd name="connsiteX745" fmla="*/ 248357 w 2992697"/>
                <a:gd name="connsiteY745" fmla="*/ 117969 h 1030680"/>
                <a:gd name="connsiteX746" fmla="*/ 255807 w 2992697"/>
                <a:gd name="connsiteY746" fmla="*/ 118901 h 1030680"/>
                <a:gd name="connsiteX747" fmla="*/ 264189 w 2992697"/>
                <a:gd name="connsiteY747" fmla="*/ 117969 h 1030680"/>
                <a:gd name="connsiteX748" fmla="*/ 261085 w 2992697"/>
                <a:gd name="connsiteY748" fmla="*/ 115796 h 1030680"/>
                <a:gd name="connsiteX749" fmla="*/ 257049 w 2992697"/>
                <a:gd name="connsiteY749" fmla="*/ 113623 h 1030680"/>
                <a:gd name="connsiteX750" fmla="*/ 256118 w 2992697"/>
                <a:gd name="connsiteY750" fmla="*/ 113623 h 1030680"/>
                <a:gd name="connsiteX751" fmla="*/ 256118 w 2992697"/>
                <a:gd name="connsiteY751" fmla="*/ 111760 h 1030680"/>
                <a:gd name="connsiteX752" fmla="*/ 253945 w 2992697"/>
                <a:gd name="connsiteY752" fmla="*/ 110829 h 1030680"/>
                <a:gd name="connsiteX753" fmla="*/ 253945 w 2992697"/>
                <a:gd name="connsiteY753" fmla="*/ 106483 h 1030680"/>
                <a:gd name="connsiteX754" fmla="*/ 251772 w 2992697"/>
                <a:gd name="connsiteY754" fmla="*/ 101205 h 1030680"/>
                <a:gd name="connsiteX755" fmla="*/ 257049 w 2992697"/>
                <a:gd name="connsiteY755" fmla="*/ 99032 h 1030680"/>
                <a:gd name="connsiteX756" fmla="*/ 261085 w 2992697"/>
                <a:gd name="connsiteY756" fmla="*/ 96859 h 1030680"/>
                <a:gd name="connsiteX757" fmla="*/ 264189 w 2992697"/>
                <a:gd name="connsiteY757" fmla="*/ 96859 h 1030680"/>
                <a:gd name="connsiteX758" fmla="*/ 266363 w 2992697"/>
                <a:gd name="connsiteY758" fmla="*/ 95928 h 1030680"/>
                <a:gd name="connsiteX759" fmla="*/ 270398 w 2992697"/>
                <a:gd name="connsiteY759" fmla="*/ 93755 h 1030680"/>
                <a:gd name="connsiteX760" fmla="*/ 277849 w 2992697"/>
                <a:gd name="connsiteY760" fmla="*/ 93755 h 1030680"/>
                <a:gd name="connsiteX761" fmla="*/ 280953 w 2992697"/>
                <a:gd name="connsiteY761" fmla="*/ 95928 h 1030680"/>
                <a:gd name="connsiteX762" fmla="*/ 284989 w 2992697"/>
                <a:gd name="connsiteY762" fmla="*/ 99032 h 1030680"/>
                <a:gd name="connsiteX763" fmla="*/ 288094 w 2992697"/>
                <a:gd name="connsiteY763" fmla="*/ 101205 h 1030680"/>
                <a:gd name="connsiteX764" fmla="*/ 288094 w 2992697"/>
                <a:gd name="connsiteY764" fmla="*/ 96859 h 1030680"/>
                <a:gd name="connsiteX765" fmla="*/ 285921 w 2992697"/>
                <a:gd name="connsiteY765" fmla="*/ 95928 h 1030680"/>
                <a:gd name="connsiteX766" fmla="*/ 285921 w 2992697"/>
                <a:gd name="connsiteY766" fmla="*/ 93755 h 1030680"/>
                <a:gd name="connsiteX767" fmla="*/ 285921 w 2992697"/>
                <a:gd name="connsiteY767" fmla="*/ 93755 h 1030680"/>
                <a:gd name="connsiteX768" fmla="*/ 285921 w 2992697"/>
                <a:gd name="connsiteY768" fmla="*/ 91582 h 1030680"/>
                <a:gd name="connsiteX769" fmla="*/ 284989 w 2992697"/>
                <a:gd name="connsiteY769" fmla="*/ 88477 h 1030680"/>
                <a:gd name="connsiteX770" fmla="*/ 290267 w 2992697"/>
                <a:gd name="connsiteY770" fmla="*/ 86304 h 1030680"/>
                <a:gd name="connsiteX771" fmla="*/ 293371 w 2992697"/>
                <a:gd name="connsiteY771" fmla="*/ 84131 h 1030680"/>
                <a:gd name="connsiteX772" fmla="*/ 299580 w 2992697"/>
                <a:gd name="connsiteY772" fmla="*/ 81026 h 1030680"/>
                <a:gd name="connsiteX773" fmla="*/ 302685 w 2992697"/>
                <a:gd name="connsiteY773" fmla="*/ 76680 h 1030680"/>
                <a:gd name="connsiteX774" fmla="*/ 304858 w 2992697"/>
                <a:gd name="connsiteY774" fmla="*/ 76680 h 1030680"/>
                <a:gd name="connsiteX775" fmla="*/ 312308 w 2992697"/>
                <a:gd name="connsiteY775" fmla="*/ 76680 h 1030680"/>
                <a:gd name="connsiteX776" fmla="*/ 317586 w 2992697"/>
                <a:gd name="connsiteY776" fmla="*/ 78853 h 1030680"/>
                <a:gd name="connsiteX777" fmla="*/ 321622 w 2992697"/>
                <a:gd name="connsiteY777" fmla="*/ 83199 h 1030680"/>
                <a:gd name="connsiteX778" fmla="*/ 327831 w 2992697"/>
                <a:gd name="connsiteY778" fmla="*/ 83199 h 1030680"/>
                <a:gd name="connsiteX779" fmla="*/ 337144 w 2992697"/>
                <a:gd name="connsiteY779" fmla="*/ 81026 h 1030680"/>
                <a:gd name="connsiteX780" fmla="*/ 341180 w 2992697"/>
                <a:gd name="connsiteY780" fmla="*/ 68298 h 1030680"/>
                <a:gd name="connsiteX781" fmla="*/ 346458 w 2992697"/>
                <a:gd name="connsiteY781" fmla="*/ 66125 h 1030680"/>
                <a:gd name="connsiteX782" fmla="*/ 351735 w 2992697"/>
                <a:gd name="connsiteY782" fmla="*/ 66125 h 1030680"/>
                <a:gd name="connsiteX783" fmla="*/ 357013 w 2992697"/>
                <a:gd name="connsiteY783" fmla="*/ 66125 h 1030680"/>
                <a:gd name="connsiteX784" fmla="*/ 361048 w 2992697"/>
                <a:gd name="connsiteY784" fmla="*/ 68298 h 1030680"/>
                <a:gd name="connsiteX785" fmla="*/ 364153 w 2992697"/>
                <a:gd name="connsiteY785" fmla="*/ 68298 h 1030680"/>
                <a:gd name="connsiteX786" fmla="*/ 371604 w 2992697"/>
                <a:gd name="connsiteY786" fmla="*/ 56812 h 1030680"/>
                <a:gd name="connsiteX787" fmla="*/ 383090 w 2992697"/>
                <a:gd name="connsiteY787" fmla="*/ 54638 h 1030680"/>
                <a:gd name="connsiteX788" fmla="*/ 390541 w 2992697"/>
                <a:gd name="connsiteY788" fmla="*/ 58985 h 1030680"/>
                <a:gd name="connsiteX789" fmla="*/ 397992 w 2992697"/>
                <a:gd name="connsiteY789" fmla="*/ 62089 h 1030680"/>
                <a:gd name="connsiteX790" fmla="*/ 405442 w 2992697"/>
                <a:gd name="connsiteY790" fmla="*/ 64262 h 1030680"/>
                <a:gd name="connsiteX791" fmla="*/ 414756 w 2992697"/>
                <a:gd name="connsiteY791" fmla="*/ 61158 h 1030680"/>
                <a:gd name="connsiteX792" fmla="*/ 427173 w 2992697"/>
                <a:gd name="connsiteY792" fmla="*/ 53707 h 1030680"/>
                <a:gd name="connsiteX793" fmla="*/ 439281 w 2992697"/>
                <a:gd name="connsiteY793" fmla="*/ 47498 h 1030680"/>
                <a:gd name="connsiteX794" fmla="*/ 439281 w 2992697"/>
                <a:gd name="connsiteY794" fmla="*/ 47498 h 1030680"/>
                <a:gd name="connsiteX795" fmla="*/ 439281 w 2992697"/>
                <a:gd name="connsiteY795" fmla="*/ 47498 h 1030680"/>
                <a:gd name="connsiteX796" fmla="*/ 2195472 w 2992697"/>
                <a:gd name="connsiteY796" fmla="*/ 44394 h 1030680"/>
                <a:gd name="connsiteX797" fmla="*/ 2202923 w 2992697"/>
                <a:gd name="connsiteY797" fmla="*/ 46567 h 1030680"/>
                <a:gd name="connsiteX798" fmla="*/ 2210374 w 2992697"/>
                <a:gd name="connsiteY798" fmla="*/ 49671 h 1030680"/>
                <a:gd name="connsiteX799" fmla="*/ 2213478 w 2992697"/>
                <a:gd name="connsiteY799" fmla="*/ 54018 h 1030680"/>
                <a:gd name="connsiteX800" fmla="*/ 2218756 w 2992697"/>
                <a:gd name="connsiteY800" fmla="*/ 57122 h 1030680"/>
                <a:gd name="connsiteX801" fmla="*/ 2224965 w 2992697"/>
                <a:gd name="connsiteY801" fmla="*/ 61468 h 1030680"/>
                <a:gd name="connsiteX802" fmla="*/ 2220929 w 2992697"/>
                <a:gd name="connsiteY802" fmla="*/ 72023 h 1030680"/>
                <a:gd name="connsiteX803" fmla="*/ 2198888 w 2992697"/>
                <a:gd name="connsiteY803" fmla="*/ 84752 h 1030680"/>
                <a:gd name="connsiteX804" fmla="*/ 2182123 w 2992697"/>
                <a:gd name="connsiteY804" fmla="*/ 99653 h 1030680"/>
                <a:gd name="connsiteX805" fmla="*/ 2167532 w 2992697"/>
                <a:gd name="connsiteY805" fmla="*/ 118590 h 1030680"/>
                <a:gd name="connsiteX806" fmla="*/ 2164428 w 2992697"/>
                <a:gd name="connsiteY806" fmla="*/ 118590 h 1030680"/>
                <a:gd name="connsiteX807" fmla="*/ 2164428 w 2992697"/>
                <a:gd name="connsiteY807" fmla="*/ 114244 h 1030680"/>
                <a:gd name="connsiteX808" fmla="*/ 2159150 w 2992697"/>
                <a:gd name="connsiteY808" fmla="*/ 111140 h 1030680"/>
                <a:gd name="connsiteX809" fmla="*/ 2155115 w 2992697"/>
                <a:gd name="connsiteY809" fmla="*/ 106793 h 1030680"/>
                <a:gd name="connsiteX810" fmla="*/ 2152942 w 2992697"/>
                <a:gd name="connsiteY810" fmla="*/ 103689 h 1030680"/>
                <a:gd name="connsiteX811" fmla="*/ 2149837 w 2992697"/>
                <a:gd name="connsiteY811" fmla="*/ 99343 h 1030680"/>
                <a:gd name="connsiteX812" fmla="*/ 2147664 w 2992697"/>
                <a:gd name="connsiteY812" fmla="*/ 94065 h 1030680"/>
                <a:gd name="connsiteX813" fmla="*/ 2151700 w 2992697"/>
                <a:gd name="connsiteY813" fmla="*/ 86614 h 1030680"/>
                <a:gd name="connsiteX814" fmla="*/ 2152631 w 2992697"/>
                <a:gd name="connsiteY814" fmla="*/ 81337 h 1030680"/>
                <a:gd name="connsiteX815" fmla="*/ 2154804 w 2992697"/>
                <a:gd name="connsiteY815" fmla="*/ 71713 h 1030680"/>
                <a:gd name="connsiteX816" fmla="*/ 2127795 w 2992697"/>
                <a:gd name="connsiteY816" fmla="*/ 71713 h 1030680"/>
                <a:gd name="connsiteX817" fmla="*/ 2127795 w 2992697"/>
                <a:gd name="connsiteY817" fmla="*/ 64262 h 1030680"/>
                <a:gd name="connsiteX818" fmla="*/ 2142386 w 2992697"/>
                <a:gd name="connsiteY818" fmla="*/ 58985 h 1030680"/>
                <a:gd name="connsiteX819" fmla="*/ 2156977 w 2992697"/>
                <a:gd name="connsiteY819" fmla="*/ 54638 h 1030680"/>
                <a:gd name="connsiteX820" fmla="*/ 2174673 w 2992697"/>
                <a:gd name="connsiteY820" fmla="*/ 51534 h 1030680"/>
                <a:gd name="connsiteX821" fmla="*/ 2176846 w 2992697"/>
                <a:gd name="connsiteY821" fmla="*/ 56812 h 1030680"/>
                <a:gd name="connsiteX822" fmla="*/ 2179019 w 2992697"/>
                <a:gd name="connsiteY822" fmla="*/ 58985 h 1030680"/>
                <a:gd name="connsiteX823" fmla="*/ 2179019 w 2992697"/>
                <a:gd name="connsiteY823" fmla="*/ 61158 h 1030680"/>
                <a:gd name="connsiteX824" fmla="*/ 2181192 w 2992697"/>
                <a:gd name="connsiteY824" fmla="*/ 61158 h 1030680"/>
                <a:gd name="connsiteX825" fmla="*/ 2181192 w 2992697"/>
                <a:gd name="connsiteY825" fmla="*/ 62089 h 1030680"/>
                <a:gd name="connsiteX826" fmla="*/ 2184297 w 2992697"/>
                <a:gd name="connsiteY826" fmla="*/ 64262 h 1030680"/>
                <a:gd name="connsiteX827" fmla="*/ 2186470 w 2992697"/>
                <a:gd name="connsiteY827" fmla="*/ 58985 h 1030680"/>
                <a:gd name="connsiteX828" fmla="*/ 2188643 w 2992697"/>
                <a:gd name="connsiteY828" fmla="*/ 54638 h 1030680"/>
                <a:gd name="connsiteX829" fmla="*/ 2189574 w 2992697"/>
                <a:gd name="connsiteY829" fmla="*/ 51534 h 1030680"/>
                <a:gd name="connsiteX830" fmla="*/ 2193610 w 2992697"/>
                <a:gd name="connsiteY830" fmla="*/ 47188 h 1030680"/>
                <a:gd name="connsiteX831" fmla="*/ 2195472 w 2992697"/>
                <a:gd name="connsiteY831" fmla="*/ 44394 h 1030680"/>
                <a:gd name="connsiteX832" fmla="*/ 2195472 w 2992697"/>
                <a:gd name="connsiteY832" fmla="*/ 44394 h 1030680"/>
                <a:gd name="connsiteX833" fmla="*/ 2195472 w 2992697"/>
                <a:gd name="connsiteY833" fmla="*/ 44394 h 1030680"/>
                <a:gd name="connsiteX834" fmla="*/ 2240487 w 2992697"/>
                <a:gd name="connsiteY834" fmla="*/ 24215 h 1030680"/>
                <a:gd name="connsiteX835" fmla="*/ 2244523 w 2992697"/>
                <a:gd name="connsiteY835" fmla="*/ 25146 h 1030680"/>
                <a:gd name="connsiteX836" fmla="*/ 2245454 w 2992697"/>
                <a:gd name="connsiteY836" fmla="*/ 25146 h 1030680"/>
                <a:gd name="connsiteX837" fmla="*/ 2247628 w 2992697"/>
                <a:gd name="connsiteY837" fmla="*/ 27319 h 1030680"/>
                <a:gd name="connsiteX838" fmla="*/ 2247628 w 2992697"/>
                <a:gd name="connsiteY838" fmla="*/ 27319 h 1030680"/>
                <a:gd name="connsiteX839" fmla="*/ 2249800 w 2992697"/>
                <a:gd name="connsiteY839" fmla="*/ 29492 h 1030680"/>
                <a:gd name="connsiteX840" fmla="*/ 2251974 w 2992697"/>
                <a:gd name="connsiteY840" fmla="*/ 32597 h 1030680"/>
                <a:gd name="connsiteX841" fmla="*/ 2255078 w 2992697"/>
                <a:gd name="connsiteY841" fmla="*/ 38806 h 1030680"/>
                <a:gd name="connsiteX842" fmla="*/ 2259114 w 2992697"/>
                <a:gd name="connsiteY842" fmla="*/ 44083 h 1030680"/>
                <a:gd name="connsiteX843" fmla="*/ 2260045 w 2992697"/>
                <a:gd name="connsiteY843" fmla="*/ 51534 h 1030680"/>
                <a:gd name="connsiteX844" fmla="*/ 2251663 w 2992697"/>
                <a:gd name="connsiteY844" fmla="*/ 51534 h 1030680"/>
                <a:gd name="connsiteX845" fmla="*/ 2251663 w 2992697"/>
                <a:gd name="connsiteY845" fmla="*/ 47188 h 1030680"/>
                <a:gd name="connsiteX846" fmla="*/ 2247628 w 2992697"/>
                <a:gd name="connsiteY846" fmla="*/ 44083 h 1030680"/>
                <a:gd name="connsiteX847" fmla="*/ 2244523 w 2992697"/>
                <a:gd name="connsiteY847" fmla="*/ 39737 h 1030680"/>
                <a:gd name="connsiteX848" fmla="*/ 2242350 w 2992697"/>
                <a:gd name="connsiteY848" fmla="*/ 36633 h 1030680"/>
                <a:gd name="connsiteX849" fmla="*/ 2240177 w 2992697"/>
                <a:gd name="connsiteY849" fmla="*/ 31355 h 1030680"/>
                <a:gd name="connsiteX850" fmla="*/ 2240177 w 2992697"/>
                <a:gd name="connsiteY850" fmla="*/ 24215 h 1030680"/>
                <a:gd name="connsiteX851" fmla="*/ 2240487 w 2992697"/>
                <a:gd name="connsiteY851" fmla="*/ 24215 h 1030680"/>
                <a:gd name="connsiteX852" fmla="*/ 2240487 w 2992697"/>
                <a:gd name="connsiteY852" fmla="*/ 24215 h 1030680"/>
                <a:gd name="connsiteX853" fmla="*/ 984113 w 2992697"/>
                <a:gd name="connsiteY853" fmla="*/ 20179 h 1030680"/>
                <a:gd name="connsiteX854" fmla="*/ 1009259 w 2992697"/>
                <a:gd name="connsiteY854" fmla="*/ 20179 h 1030680"/>
                <a:gd name="connsiteX855" fmla="*/ 1035337 w 2992697"/>
                <a:gd name="connsiteY855" fmla="*/ 24525 h 1030680"/>
                <a:gd name="connsiteX856" fmla="*/ 1058310 w 2992697"/>
                <a:gd name="connsiteY856" fmla="*/ 27630 h 1030680"/>
                <a:gd name="connsiteX857" fmla="*/ 1079110 w 2992697"/>
                <a:gd name="connsiteY857" fmla="*/ 32907 h 1030680"/>
                <a:gd name="connsiteX858" fmla="*/ 1109223 w 2992697"/>
                <a:gd name="connsiteY858" fmla="*/ 27630 h 1030680"/>
                <a:gd name="connsiteX859" fmla="*/ 1113259 w 2992697"/>
                <a:gd name="connsiteY859" fmla="*/ 31976 h 1030680"/>
                <a:gd name="connsiteX860" fmla="*/ 1116363 w 2992697"/>
                <a:gd name="connsiteY860" fmla="*/ 32907 h 1030680"/>
                <a:gd name="connsiteX861" fmla="*/ 1120399 w 2992697"/>
                <a:gd name="connsiteY861" fmla="*/ 39116 h 1030680"/>
                <a:gd name="connsiteX862" fmla="*/ 1122572 w 2992697"/>
                <a:gd name="connsiteY862" fmla="*/ 42221 h 1030680"/>
                <a:gd name="connsiteX863" fmla="*/ 1125676 w 2992697"/>
                <a:gd name="connsiteY863" fmla="*/ 44394 h 1030680"/>
                <a:gd name="connsiteX864" fmla="*/ 1143372 w 2992697"/>
                <a:gd name="connsiteY864" fmla="*/ 51844 h 1030680"/>
                <a:gd name="connsiteX865" fmla="*/ 1164172 w 2992697"/>
                <a:gd name="connsiteY865" fmla="*/ 57122 h 1030680"/>
                <a:gd name="connsiteX866" fmla="*/ 1181867 w 2992697"/>
                <a:gd name="connsiteY866" fmla="*/ 61468 h 1030680"/>
                <a:gd name="connsiteX867" fmla="*/ 1181867 w 2992697"/>
                <a:gd name="connsiteY867" fmla="*/ 68919 h 1030680"/>
                <a:gd name="connsiteX868" fmla="*/ 1152685 w 2992697"/>
                <a:gd name="connsiteY868" fmla="*/ 68919 h 1030680"/>
                <a:gd name="connsiteX869" fmla="*/ 1140267 w 2992697"/>
                <a:gd name="connsiteY869" fmla="*/ 62710 h 1030680"/>
                <a:gd name="connsiteX870" fmla="*/ 1125676 w 2992697"/>
                <a:gd name="connsiteY870" fmla="*/ 62710 h 1030680"/>
                <a:gd name="connsiteX871" fmla="*/ 1108912 w 2992697"/>
                <a:gd name="connsiteY871" fmla="*/ 64883 h 1030680"/>
                <a:gd name="connsiteX872" fmla="*/ 1093390 w 2992697"/>
                <a:gd name="connsiteY872" fmla="*/ 69229 h 1030680"/>
                <a:gd name="connsiteX873" fmla="*/ 1093390 w 2992697"/>
                <a:gd name="connsiteY873" fmla="*/ 77611 h 1030680"/>
                <a:gd name="connsiteX874" fmla="*/ 1113259 w 2992697"/>
                <a:gd name="connsiteY874" fmla="*/ 77611 h 1030680"/>
                <a:gd name="connsiteX875" fmla="*/ 1127850 w 2992697"/>
                <a:gd name="connsiteY875" fmla="*/ 74507 h 1030680"/>
                <a:gd name="connsiteX876" fmla="*/ 1145545 w 2992697"/>
                <a:gd name="connsiteY876" fmla="*/ 72334 h 1030680"/>
                <a:gd name="connsiteX877" fmla="*/ 1167587 w 2992697"/>
                <a:gd name="connsiteY877" fmla="*/ 72334 h 1030680"/>
                <a:gd name="connsiteX878" fmla="*/ 1189628 w 2992697"/>
                <a:gd name="connsiteY878" fmla="*/ 72334 h 1030680"/>
                <a:gd name="connsiteX879" fmla="*/ 1206392 w 2992697"/>
                <a:gd name="connsiteY879" fmla="*/ 72334 h 1030680"/>
                <a:gd name="connsiteX880" fmla="*/ 1220983 w 2992697"/>
                <a:gd name="connsiteY880" fmla="*/ 87235 h 1030680"/>
                <a:gd name="connsiteX881" fmla="*/ 1238679 w 2992697"/>
                <a:gd name="connsiteY881" fmla="*/ 97790 h 1030680"/>
                <a:gd name="connsiteX882" fmla="*/ 1233401 w 2992697"/>
                <a:gd name="connsiteY882" fmla="*/ 109277 h 1030680"/>
                <a:gd name="connsiteX883" fmla="*/ 1222846 w 2992697"/>
                <a:gd name="connsiteY883" fmla="*/ 116728 h 1030680"/>
                <a:gd name="connsiteX884" fmla="*/ 1213533 w 2992697"/>
                <a:gd name="connsiteY884" fmla="*/ 122005 h 1030680"/>
                <a:gd name="connsiteX885" fmla="*/ 1201115 w 2992697"/>
                <a:gd name="connsiteY885" fmla="*/ 126351 h 1030680"/>
                <a:gd name="connsiteX886" fmla="*/ 1182178 w 2992697"/>
                <a:gd name="connsiteY886" fmla="*/ 126351 h 1030680"/>
                <a:gd name="connsiteX887" fmla="*/ 1165413 w 2992697"/>
                <a:gd name="connsiteY887" fmla="*/ 131629 h 1030680"/>
                <a:gd name="connsiteX888" fmla="*/ 1147718 w 2992697"/>
                <a:gd name="connsiteY888" fmla="*/ 131629 h 1030680"/>
                <a:gd name="connsiteX889" fmla="*/ 1127850 w 2992697"/>
                <a:gd name="connsiteY889" fmla="*/ 129456 h 1030680"/>
                <a:gd name="connsiteX890" fmla="*/ 1108912 w 2992697"/>
                <a:gd name="connsiteY890" fmla="*/ 127283 h 1030680"/>
                <a:gd name="connsiteX891" fmla="*/ 1091527 w 2992697"/>
                <a:gd name="connsiteY891" fmla="*/ 127283 h 1030680"/>
                <a:gd name="connsiteX892" fmla="*/ 1076936 w 2992697"/>
                <a:gd name="connsiteY892" fmla="*/ 131629 h 1030680"/>
                <a:gd name="connsiteX893" fmla="*/ 1065450 w 2992697"/>
                <a:gd name="connsiteY893" fmla="*/ 142184 h 1030680"/>
                <a:gd name="connsiteX894" fmla="*/ 1109223 w 2992697"/>
                <a:gd name="connsiteY894" fmla="*/ 142184 h 1030680"/>
                <a:gd name="connsiteX895" fmla="*/ 1122882 w 2992697"/>
                <a:gd name="connsiteY895" fmla="*/ 139080 h 1030680"/>
                <a:gd name="connsiteX896" fmla="*/ 1138405 w 2992697"/>
                <a:gd name="connsiteY896" fmla="*/ 136907 h 1030680"/>
                <a:gd name="connsiteX897" fmla="*/ 1157342 w 2992697"/>
                <a:gd name="connsiteY897" fmla="*/ 139080 h 1030680"/>
                <a:gd name="connsiteX898" fmla="*/ 1169760 w 2992697"/>
                <a:gd name="connsiteY898" fmla="*/ 142184 h 1030680"/>
                <a:gd name="connsiteX899" fmla="*/ 1172864 w 2992697"/>
                <a:gd name="connsiteY899" fmla="*/ 155844 h 1030680"/>
                <a:gd name="connsiteX900" fmla="*/ 1179073 w 2992697"/>
                <a:gd name="connsiteY900" fmla="*/ 153671 h 1030680"/>
                <a:gd name="connsiteX901" fmla="*/ 1187455 w 2992697"/>
                <a:gd name="connsiteY901" fmla="*/ 148393 h 1030680"/>
                <a:gd name="connsiteX902" fmla="*/ 1198942 w 2992697"/>
                <a:gd name="connsiteY902" fmla="*/ 144047 h 1030680"/>
                <a:gd name="connsiteX903" fmla="*/ 1209497 w 2992697"/>
                <a:gd name="connsiteY903" fmla="*/ 141874 h 1030680"/>
                <a:gd name="connsiteX904" fmla="*/ 1211670 w 2992697"/>
                <a:gd name="connsiteY904" fmla="*/ 148083 h 1030680"/>
                <a:gd name="connsiteX905" fmla="*/ 1213843 w 2992697"/>
                <a:gd name="connsiteY905" fmla="*/ 151187 h 1030680"/>
                <a:gd name="connsiteX906" fmla="*/ 1216016 w 2992697"/>
                <a:gd name="connsiteY906" fmla="*/ 153360 h 1030680"/>
                <a:gd name="connsiteX907" fmla="*/ 1219121 w 2992697"/>
                <a:gd name="connsiteY907" fmla="*/ 155533 h 1030680"/>
                <a:gd name="connsiteX908" fmla="*/ 1223156 w 2992697"/>
                <a:gd name="connsiteY908" fmla="*/ 158638 h 1030680"/>
                <a:gd name="connsiteX909" fmla="*/ 1206392 w 2992697"/>
                <a:gd name="connsiteY909" fmla="*/ 189993 h 1030680"/>
                <a:gd name="connsiteX910" fmla="*/ 1213843 w 2992697"/>
                <a:gd name="connsiteY910" fmla="*/ 189993 h 1030680"/>
                <a:gd name="connsiteX911" fmla="*/ 1226261 w 2992697"/>
                <a:gd name="connsiteY911" fmla="*/ 182542 h 1030680"/>
                <a:gd name="connsiteX912" fmla="*/ 1243025 w 2992697"/>
                <a:gd name="connsiteY912" fmla="*/ 172918 h 1030680"/>
                <a:gd name="connsiteX913" fmla="*/ 1262893 w 2992697"/>
                <a:gd name="connsiteY913" fmla="*/ 165468 h 1030680"/>
                <a:gd name="connsiteX914" fmla="*/ 1284935 w 2992697"/>
                <a:gd name="connsiteY914" fmla="*/ 158017 h 1030680"/>
                <a:gd name="connsiteX915" fmla="*/ 1308839 w 2992697"/>
                <a:gd name="connsiteY915" fmla="*/ 152739 h 1030680"/>
                <a:gd name="connsiteX916" fmla="*/ 1329639 w 2992697"/>
                <a:gd name="connsiteY916" fmla="*/ 152739 h 1030680"/>
                <a:gd name="connsiteX917" fmla="*/ 1350439 w 2992697"/>
                <a:gd name="connsiteY917" fmla="*/ 154912 h 1030680"/>
                <a:gd name="connsiteX918" fmla="*/ 1365030 w 2992697"/>
                <a:gd name="connsiteY918" fmla="*/ 163294 h 1030680"/>
                <a:gd name="connsiteX919" fmla="*/ 1373412 w 2992697"/>
                <a:gd name="connsiteY919" fmla="*/ 178196 h 1030680"/>
                <a:gd name="connsiteX920" fmla="*/ 1379621 w 2992697"/>
                <a:gd name="connsiteY920" fmla="*/ 178196 h 1030680"/>
                <a:gd name="connsiteX921" fmla="*/ 1379621 w 2992697"/>
                <a:gd name="connsiteY921" fmla="*/ 180369 h 1030680"/>
                <a:gd name="connsiteX922" fmla="*/ 1379621 w 2992697"/>
                <a:gd name="connsiteY922" fmla="*/ 180369 h 1030680"/>
                <a:gd name="connsiteX923" fmla="*/ 1377448 w 2992697"/>
                <a:gd name="connsiteY923" fmla="*/ 182542 h 1030680"/>
                <a:gd name="connsiteX924" fmla="*/ 1375275 w 2992697"/>
                <a:gd name="connsiteY924" fmla="*/ 182542 h 1030680"/>
                <a:gd name="connsiteX925" fmla="*/ 1375275 w 2992697"/>
                <a:gd name="connsiteY925" fmla="*/ 182542 h 1030680"/>
                <a:gd name="connsiteX926" fmla="*/ 1373102 w 2992697"/>
                <a:gd name="connsiteY926" fmla="*/ 182542 h 1030680"/>
                <a:gd name="connsiteX927" fmla="*/ 1369997 w 2992697"/>
                <a:gd name="connsiteY927" fmla="*/ 185647 h 1030680"/>
                <a:gd name="connsiteX928" fmla="*/ 1364720 w 2992697"/>
                <a:gd name="connsiteY928" fmla="*/ 187820 h 1030680"/>
                <a:gd name="connsiteX929" fmla="*/ 1358511 w 2992697"/>
                <a:gd name="connsiteY929" fmla="*/ 189993 h 1030680"/>
                <a:gd name="connsiteX930" fmla="*/ 1351060 w 2992697"/>
                <a:gd name="connsiteY930" fmla="*/ 192166 h 1030680"/>
                <a:gd name="connsiteX931" fmla="*/ 1345783 w 2992697"/>
                <a:gd name="connsiteY931" fmla="*/ 193097 h 1030680"/>
                <a:gd name="connsiteX932" fmla="*/ 1333365 w 2992697"/>
                <a:gd name="connsiteY932" fmla="*/ 213276 h 1030680"/>
                <a:gd name="connsiteX933" fmla="*/ 1309460 w 2992697"/>
                <a:gd name="connsiteY933" fmla="*/ 228178 h 1030680"/>
                <a:gd name="connsiteX934" fmla="*/ 1282452 w 2992697"/>
                <a:gd name="connsiteY934" fmla="*/ 237801 h 1030680"/>
                <a:gd name="connsiteX935" fmla="*/ 1250165 w 2992697"/>
                <a:gd name="connsiteY935" fmla="*/ 243079 h 1030680"/>
                <a:gd name="connsiteX936" fmla="*/ 1250165 w 2992697"/>
                <a:gd name="connsiteY936" fmla="*/ 249288 h 1030680"/>
                <a:gd name="connsiteX937" fmla="*/ 1250165 w 2992697"/>
                <a:gd name="connsiteY937" fmla="*/ 252392 h 1030680"/>
                <a:gd name="connsiteX938" fmla="*/ 1250165 w 2992697"/>
                <a:gd name="connsiteY938" fmla="*/ 254566 h 1030680"/>
                <a:gd name="connsiteX939" fmla="*/ 1247992 w 2992697"/>
                <a:gd name="connsiteY939" fmla="*/ 256739 h 1030680"/>
                <a:gd name="connsiteX940" fmla="*/ 1250165 w 2992697"/>
                <a:gd name="connsiteY940" fmla="*/ 257670 h 1030680"/>
                <a:gd name="connsiteX941" fmla="*/ 1250165 w 2992697"/>
                <a:gd name="connsiteY941" fmla="*/ 259843 h 1030680"/>
                <a:gd name="connsiteX942" fmla="*/ 1253270 w 2992697"/>
                <a:gd name="connsiteY942" fmla="*/ 264189 h 1030680"/>
                <a:gd name="connsiteX943" fmla="*/ 1258547 w 2992697"/>
                <a:gd name="connsiteY943" fmla="*/ 267294 h 1030680"/>
                <a:gd name="connsiteX944" fmla="*/ 1262583 w 2992697"/>
                <a:gd name="connsiteY944" fmla="*/ 269467 h 1030680"/>
                <a:gd name="connsiteX945" fmla="*/ 1265687 w 2992697"/>
                <a:gd name="connsiteY945" fmla="*/ 272571 h 1030680"/>
                <a:gd name="connsiteX946" fmla="*/ 1269723 w 2992697"/>
                <a:gd name="connsiteY946" fmla="*/ 274745 h 1030680"/>
                <a:gd name="connsiteX947" fmla="*/ 1272828 w 2992697"/>
                <a:gd name="connsiteY947" fmla="*/ 280022 h 1030680"/>
                <a:gd name="connsiteX948" fmla="*/ 1269723 w 2992697"/>
                <a:gd name="connsiteY948" fmla="*/ 287473 h 1030680"/>
                <a:gd name="connsiteX949" fmla="*/ 1265687 w 2992697"/>
                <a:gd name="connsiteY949" fmla="*/ 304237 h 1030680"/>
                <a:gd name="connsiteX950" fmla="*/ 1262583 w 2992697"/>
                <a:gd name="connsiteY950" fmla="*/ 324416 h 1030680"/>
                <a:gd name="connsiteX951" fmla="*/ 1258547 w 2992697"/>
                <a:gd name="connsiteY951" fmla="*/ 344595 h 1030680"/>
                <a:gd name="connsiteX952" fmla="*/ 1258547 w 2992697"/>
                <a:gd name="connsiteY952" fmla="*/ 361359 h 1030680"/>
                <a:gd name="connsiteX953" fmla="*/ 1262583 w 2992697"/>
                <a:gd name="connsiteY953" fmla="*/ 359186 h 1030680"/>
                <a:gd name="connsiteX954" fmla="*/ 1265687 w 2992697"/>
                <a:gd name="connsiteY954" fmla="*/ 359186 h 1030680"/>
                <a:gd name="connsiteX955" fmla="*/ 1267861 w 2992697"/>
                <a:gd name="connsiteY955" fmla="*/ 359186 h 1030680"/>
                <a:gd name="connsiteX956" fmla="*/ 1271896 w 2992697"/>
                <a:gd name="connsiteY956" fmla="*/ 359186 h 1030680"/>
                <a:gd name="connsiteX957" fmla="*/ 1272828 w 2992697"/>
                <a:gd name="connsiteY957" fmla="*/ 359186 h 1030680"/>
                <a:gd name="connsiteX958" fmla="*/ 1279037 w 2992697"/>
                <a:gd name="connsiteY958" fmla="*/ 361359 h 1030680"/>
                <a:gd name="connsiteX959" fmla="*/ 1276864 w 2992697"/>
                <a:gd name="connsiteY959" fmla="*/ 366636 h 1030680"/>
                <a:gd name="connsiteX960" fmla="*/ 1276864 w 2992697"/>
                <a:gd name="connsiteY960" fmla="*/ 368810 h 1030680"/>
                <a:gd name="connsiteX961" fmla="*/ 1276864 w 2992697"/>
                <a:gd name="connsiteY961" fmla="*/ 373156 h 1030680"/>
                <a:gd name="connsiteX962" fmla="*/ 1276864 w 2992697"/>
                <a:gd name="connsiteY962" fmla="*/ 374087 h 1030680"/>
                <a:gd name="connsiteX963" fmla="*/ 1276864 w 2992697"/>
                <a:gd name="connsiteY963" fmla="*/ 378433 h 1030680"/>
                <a:gd name="connsiteX964" fmla="*/ 1279037 w 2992697"/>
                <a:gd name="connsiteY964" fmla="*/ 385884 h 1030680"/>
                <a:gd name="connsiteX965" fmla="*/ 1272828 w 2992697"/>
                <a:gd name="connsiteY965" fmla="*/ 385884 h 1030680"/>
                <a:gd name="connsiteX966" fmla="*/ 1272828 w 2992697"/>
                <a:gd name="connsiteY966" fmla="*/ 388989 h 1030680"/>
                <a:gd name="connsiteX967" fmla="*/ 1269723 w 2992697"/>
                <a:gd name="connsiteY967" fmla="*/ 388057 h 1030680"/>
                <a:gd name="connsiteX968" fmla="*/ 1265687 w 2992697"/>
                <a:gd name="connsiteY968" fmla="*/ 383711 h 1030680"/>
                <a:gd name="connsiteX969" fmla="*/ 1264756 w 2992697"/>
                <a:gd name="connsiteY969" fmla="*/ 381538 h 1030680"/>
                <a:gd name="connsiteX970" fmla="*/ 1260720 w 2992697"/>
                <a:gd name="connsiteY970" fmla="*/ 380607 h 1030680"/>
                <a:gd name="connsiteX971" fmla="*/ 1257616 w 2992697"/>
                <a:gd name="connsiteY971" fmla="*/ 378433 h 1030680"/>
                <a:gd name="connsiteX972" fmla="*/ 1250165 w 2992697"/>
                <a:gd name="connsiteY972" fmla="*/ 378433 h 1030680"/>
                <a:gd name="connsiteX973" fmla="*/ 1246129 w 2992697"/>
                <a:gd name="connsiteY973" fmla="*/ 380607 h 1030680"/>
                <a:gd name="connsiteX974" fmla="*/ 1243025 w 2992697"/>
                <a:gd name="connsiteY974" fmla="*/ 381538 h 1030680"/>
                <a:gd name="connsiteX975" fmla="*/ 1238989 w 2992697"/>
                <a:gd name="connsiteY975" fmla="*/ 383711 h 1030680"/>
                <a:gd name="connsiteX976" fmla="*/ 1236816 w 2992697"/>
                <a:gd name="connsiteY976" fmla="*/ 385884 h 1030680"/>
                <a:gd name="connsiteX977" fmla="*/ 1233711 w 2992697"/>
                <a:gd name="connsiteY977" fmla="*/ 388057 h 1030680"/>
                <a:gd name="connsiteX978" fmla="*/ 1231538 w 2992697"/>
                <a:gd name="connsiteY978" fmla="*/ 391162 h 1030680"/>
                <a:gd name="connsiteX979" fmla="*/ 1229365 w 2992697"/>
                <a:gd name="connsiteY979" fmla="*/ 398612 h 1030680"/>
                <a:gd name="connsiteX980" fmla="*/ 1253270 w 2992697"/>
                <a:gd name="connsiteY980" fmla="*/ 406063 h 1030680"/>
                <a:gd name="connsiteX981" fmla="*/ 1258547 w 2992697"/>
                <a:gd name="connsiteY981" fmla="*/ 438660 h 1030680"/>
                <a:gd name="connsiteX982" fmla="*/ 1253270 w 2992697"/>
                <a:gd name="connsiteY982" fmla="*/ 438660 h 1030680"/>
                <a:gd name="connsiteX983" fmla="*/ 1250165 w 2992697"/>
                <a:gd name="connsiteY983" fmla="*/ 438660 h 1030680"/>
                <a:gd name="connsiteX984" fmla="*/ 1246129 w 2992697"/>
                <a:gd name="connsiteY984" fmla="*/ 440833 h 1030680"/>
                <a:gd name="connsiteX985" fmla="*/ 1243025 w 2992697"/>
                <a:gd name="connsiteY985" fmla="*/ 443006 h 1030680"/>
                <a:gd name="connsiteX986" fmla="*/ 1243025 w 2992697"/>
                <a:gd name="connsiteY986" fmla="*/ 450457 h 1030680"/>
                <a:gd name="connsiteX987" fmla="*/ 1251407 w 2992697"/>
                <a:gd name="connsiteY987" fmla="*/ 455734 h 1030680"/>
                <a:gd name="connsiteX988" fmla="*/ 1257616 w 2992697"/>
                <a:gd name="connsiteY988" fmla="*/ 463185 h 1030680"/>
                <a:gd name="connsiteX989" fmla="*/ 1260720 w 2992697"/>
                <a:gd name="connsiteY989" fmla="*/ 472809 h 1030680"/>
                <a:gd name="connsiteX990" fmla="*/ 1262893 w 2992697"/>
                <a:gd name="connsiteY990" fmla="*/ 487710 h 1030680"/>
                <a:gd name="connsiteX991" fmla="*/ 1253580 w 2992697"/>
                <a:gd name="connsiteY991" fmla="*/ 487710 h 1030680"/>
                <a:gd name="connsiteX992" fmla="*/ 1251407 w 2992697"/>
                <a:gd name="connsiteY992" fmla="*/ 487710 h 1030680"/>
                <a:gd name="connsiteX993" fmla="*/ 1246129 w 2992697"/>
                <a:gd name="connsiteY993" fmla="*/ 485537 h 1030680"/>
                <a:gd name="connsiteX994" fmla="*/ 1243025 w 2992697"/>
                <a:gd name="connsiteY994" fmla="*/ 487710 h 1030680"/>
                <a:gd name="connsiteX995" fmla="*/ 1236816 w 2992697"/>
                <a:gd name="connsiteY995" fmla="*/ 487710 h 1030680"/>
                <a:gd name="connsiteX996" fmla="*/ 1233711 w 2992697"/>
                <a:gd name="connsiteY996" fmla="*/ 490815 h 1030680"/>
                <a:gd name="connsiteX997" fmla="*/ 1229676 w 2992697"/>
                <a:gd name="connsiteY997" fmla="*/ 495161 h 1030680"/>
                <a:gd name="connsiteX998" fmla="*/ 1235885 w 2992697"/>
                <a:gd name="connsiteY998" fmla="*/ 498266 h 1030680"/>
                <a:gd name="connsiteX999" fmla="*/ 1238989 w 2992697"/>
                <a:gd name="connsiteY999" fmla="*/ 500439 h 1030680"/>
                <a:gd name="connsiteX1000" fmla="*/ 1241162 w 2992697"/>
                <a:gd name="connsiteY1000" fmla="*/ 502612 h 1030680"/>
                <a:gd name="connsiteX1001" fmla="*/ 1243335 w 2992697"/>
                <a:gd name="connsiteY1001" fmla="*/ 503543 h 1030680"/>
                <a:gd name="connsiteX1002" fmla="*/ 1244267 w 2992697"/>
                <a:gd name="connsiteY1002" fmla="*/ 509752 h 1030680"/>
                <a:gd name="connsiteX1003" fmla="*/ 1246440 w 2992697"/>
                <a:gd name="connsiteY1003" fmla="*/ 515030 h 1030680"/>
                <a:gd name="connsiteX1004" fmla="*/ 1244267 w 2992697"/>
                <a:gd name="connsiteY1004" fmla="*/ 517203 h 1030680"/>
                <a:gd name="connsiteX1005" fmla="*/ 1244267 w 2992697"/>
                <a:gd name="connsiteY1005" fmla="*/ 518134 h 1030680"/>
                <a:gd name="connsiteX1006" fmla="*/ 1244267 w 2992697"/>
                <a:gd name="connsiteY1006" fmla="*/ 518134 h 1030680"/>
                <a:gd name="connsiteX1007" fmla="*/ 1243335 w 2992697"/>
                <a:gd name="connsiteY1007" fmla="*/ 520307 h 1030680"/>
                <a:gd name="connsiteX1008" fmla="*/ 1243335 w 2992697"/>
                <a:gd name="connsiteY1008" fmla="*/ 524653 h 1030680"/>
                <a:gd name="connsiteX1009" fmla="*/ 1228124 w 2992697"/>
                <a:gd name="connsiteY1009" fmla="*/ 524653 h 1030680"/>
                <a:gd name="connsiteX1010" fmla="*/ 1213533 w 2992697"/>
                <a:gd name="connsiteY1010" fmla="*/ 527758 h 1030680"/>
                <a:gd name="connsiteX1011" fmla="*/ 1202046 w 2992697"/>
                <a:gd name="connsiteY1011" fmla="*/ 532104 h 1030680"/>
                <a:gd name="connsiteX1012" fmla="*/ 1206082 w 2992697"/>
                <a:gd name="connsiteY1012" fmla="*/ 532104 h 1030680"/>
                <a:gd name="connsiteX1013" fmla="*/ 1211359 w 2992697"/>
                <a:gd name="connsiteY1013" fmla="*/ 535209 h 1030680"/>
                <a:gd name="connsiteX1014" fmla="*/ 1215395 w 2992697"/>
                <a:gd name="connsiteY1014" fmla="*/ 537382 h 1030680"/>
                <a:gd name="connsiteX1015" fmla="*/ 1218500 w 2992697"/>
                <a:gd name="connsiteY1015" fmla="*/ 537382 h 1030680"/>
                <a:gd name="connsiteX1016" fmla="*/ 1222536 w 2992697"/>
                <a:gd name="connsiteY1016" fmla="*/ 539555 h 1030680"/>
                <a:gd name="connsiteX1017" fmla="*/ 1225640 w 2992697"/>
                <a:gd name="connsiteY1017" fmla="*/ 542659 h 1030680"/>
                <a:gd name="connsiteX1018" fmla="*/ 1228744 w 2992697"/>
                <a:gd name="connsiteY1018" fmla="*/ 547937 h 1030680"/>
                <a:gd name="connsiteX1019" fmla="*/ 1222536 w 2992697"/>
                <a:gd name="connsiteY1019" fmla="*/ 557561 h 1030680"/>
                <a:gd name="connsiteX1020" fmla="*/ 1218500 w 2992697"/>
                <a:gd name="connsiteY1020" fmla="*/ 569047 h 1030680"/>
                <a:gd name="connsiteX1021" fmla="*/ 1213222 w 2992697"/>
                <a:gd name="connsiteY1021" fmla="*/ 581775 h 1030680"/>
                <a:gd name="connsiteX1022" fmla="*/ 1211049 w 2992697"/>
                <a:gd name="connsiteY1022" fmla="*/ 576498 h 1030680"/>
                <a:gd name="connsiteX1023" fmla="*/ 1207945 w 2992697"/>
                <a:gd name="connsiteY1023" fmla="*/ 572152 h 1030680"/>
                <a:gd name="connsiteX1024" fmla="*/ 1205771 w 2992697"/>
                <a:gd name="connsiteY1024" fmla="*/ 569979 h 1030680"/>
                <a:gd name="connsiteX1025" fmla="*/ 1201736 w 2992697"/>
                <a:gd name="connsiteY1025" fmla="*/ 569979 h 1030680"/>
                <a:gd name="connsiteX1026" fmla="*/ 1196458 w 2992697"/>
                <a:gd name="connsiteY1026" fmla="*/ 569047 h 1030680"/>
                <a:gd name="connsiteX1027" fmla="*/ 1189007 w 2992697"/>
                <a:gd name="connsiteY1027" fmla="*/ 569047 h 1030680"/>
                <a:gd name="connsiteX1028" fmla="*/ 1189007 w 2992697"/>
                <a:gd name="connsiteY1028" fmla="*/ 572152 h 1030680"/>
                <a:gd name="connsiteX1029" fmla="*/ 1193043 w 2992697"/>
                <a:gd name="connsiteY1029" fmla="*/ 572152 h 1030680"/>
                <a:gd name="connsiteX1030" fmla="*/ 1205461 w 2992697"/>
                <a:gd name="connsiteY1030" fmla="*/ 584880 h 1030680"/>
                <a:gd name="connsiteX1031" fmla="*/ 1216016 w 2992697"/>
                <a:gd name="connsiteY1031" fmla="*/ 599781 h 1030680"/>
                <a:gd name="connsiteX1032" fmla="*/ 1222225 w 2992697"/>
                <a:gd name="connsiteY1032" fmla="*/ 618719 h 1030680"/>
                <a:gd name="connsiteX1033" fmla="*/ 1225329 w 2992697"/>
                <a:gd name="connsiteY1033" fmla="*/ 640760 h 1030680"/>
                <a:gd name="connsiteX1034" fmla="*/ 1222225 w 2992697"/>
                <a:gd name="connsiteY1034" fmla="*/ 640760 h 1030680"/>
                <a:gd name="connsiteX1035" fmla="*/ 1222225 w 2992697"/>
                <a:gd name="connsiteY1035" fmla="*/ 646038 h 1030680"/>
                <a:gd name="connsiteX1036" fmla="*/ 1193043 w 2992697"/>
                <a:gd name="connsiteY1036" fmla="*/ 649142 h 1030680"/>
                <a:gd name="connsiteX1037" fmla="*/ 1193043 w 2992697"/>
                <a:gd name="connsiteY1037" fmla="*/ 628963 h 1030680"/>
                <a:gd name="connsiteX1038" fmla="*/ 1189007 w 2992697"/>
                <a:gd name="connsiteY1038" fmla="*/ 625859 h 1030680"/>
                <a:gd name="connsiteX1039" fmla="*/ 1185903 w 2992697"/>
                <a:gd name="connsiteY1039" fmla="*/ 623686 h 1030680"/>
                <a:gd name="connsiteX1040" fmla="*/ 1183730 w 2992697"/>
                <a:gd name="connsiteY1040" fmla="*/ 621513 h 1030680"/>
                <a:gd name="connsiteX1041" fmla="*/ 1178452 w 2992697"/>
                <a:gd name="connsiteY1041" fmla="*/ 618408 h 1030680"/>
                <a:gd name="connsiteX1042" fmla="*/ 1172243 w 2992697"/>
                <a:gd name="connsiteY1042" fmla="*/ 616235 h 1030680"/>
                <a:gd name="connsiteX1043" fmla="*/ 1163861 w 2992697"/>
                <a:gd name="connsiteY1043" fmla="*/ 621513 h 1030680"/>
                <a:gd name="connsiteX1044" fmla="*/ 1152375 w 2992697"/>
                <a:gd name="connsiteY1044" fmla="*/ 625859 h 1030680"/>
                <a:gd name="connsiteX1045" fmla="*/ 1139957 w 2992697"/>
                <a:gd name="connsiteY1045" fmla="*/ 626790 h 1030680"/>
                <a:gd name="connsiteX1046" fmla="*/ 1128470 w 2992697"/>
                <a:gd name="connsiteY1046" fmla="*/ 631136 h 1030680"/>
                <a:gd name="connsiteX1047" fmla="*/ 1122262 w 2992697"/>
                <a:gd name="connsiteY1047" fmla="*/ 636414 h 1030680"/>
                <a:gd name="connsiteX1048" fmla="*/ 1128470 w 2992697"/>
                <a:gd name="connsiteY1048" fmla="*/ 636414 h 1030680"/>
                <a:gd name="connsiteX1049" fmla="*/ 1137784 w 2992697"/>
                <a:gd name="connsiteY1049" fmla="*/ 636414 h 1030680"/>
                <a:gd name="connsiteX1050" fmla="*/ 1152375 w 2992697"/>
                <a:gd name="connsiteY1050" fmla="*/ 634241 h 1030680"/>
                <a:gd name="connsiteX1051" fmla="*/ 1169139 w 2992697"/>
                <a:gd name="connsiteY1051" fmla="*/ 633309 h 1030680"/>
                <a:gd name="connsiteX1052" fmla="*/ 1169139 w 2992697"/>
                <a:gd name="connsiteY1052" fmla="*/ 640760 h 1030680"/>
                <a:gd name="connsiteX1053" fmla="*/ 1132506 w 2992697"/>
                <a:gd name="connsiteY1053" fmla="*/ 653488 h 1030680"/>
                <a:gd name="connsiteX1054" fmla="*/ 1132506 w 2992697"/>
                <a:gd name="connsiteY1054" fmla="*/ 656593 h 1030680"/>
                <a:gd name="connsiteX1055" fmla="*/ 1141820 w 2992697"/>
                <a:gd name="connsiteY1055" fmla="*/ 656593 h 1030680"/>
                <a:gd name="connsiteX1056" fmla="*/ 1147097 w 2992697"/>
                <a:gd name="connsiteY1056" fmla="*/ 655662 h 1030680"/>
                <a:gd name="connsiteX1057" fmla="*/ 1154548 w 2992697"/>
                <a:gd name="connsiteY1057" fmla="*/ 653488 h 1030680"/>
                <a:gd name="connsiteX1058" fmla="*/ 1161999 w 2992697"/>
                <a:gd name="connsiteY1058" fmla="*/ 651315 h 1030680"/>
                <a:gd name="connsiteX1059" fmla="*/ 1169449 w 2992697"/>
                <a:gd name="connsiteY1059" fmla="*/ 649142 h 1030680"/>
                <a:gd name="connsiteX1060" fmla="*/ 1171622 w 2992697"/>
                <a:gd name="connsiteY1060" fmla="*/ 658766 h 1030680"/>
                <a:gd name="connsiteX1061" fmla="*/ 1179073 w 2992697"/>
                <a:gd name="connsiteY1061" fmla="*/ 663112 h 1030680"/>
                <a:gd name="connsiteX1062" fmla="*/ 1186524 w 2992697"/>
                <a:gd name="connsiteY1062" fmla="*/ 664044 h 1030680"/>
                <a:gd name="connsiteX1063" fmla="*/ 1198942 w 2992697"/>
                <a:gd name="connsiteY1063" fmla="*/ 663112 h 1030680"/>
                <a:gd name="connsiteX1064" fmla="*/ 1213533 w 2992697"/>
                <a:gd name="connsiteY1064" fmla="*/ 663112 h 1030680"/>
                <a:gd name="connsiteX1065" fmla="*/ 1213533 w 2992697"/>
                <a:gd name="connsiteY1065" fmla="*/ 666217 h 1030680"/>
                <a:gd name="connsiteX1066" fmla="*/ 1209497 w 2992697"/>
                <a:gd name="connsiteY1066" fmla="*/ 666217 h 1030680"/>
                <a:gd name="connsiteX1067" fmla="*/ 1189628 w 2992697"/>
                <a:gd name="connsiteY1067" fmla="*/ 685154 h 1030680"/>
                <a:gd name="connsiteX1068" fmla="*/ 1167587 w 2992697"/>
                <a:gd name="connsiteY1068" fmla="*/ 703160 h 1030680"/>
                <a:gd name="connsiteX1069" fmla="*/ 1145545 w 2992697"/>
                <a:gd name="connsiteY1069" fmla="*/ 718061 h 1030680"/>
                <a:gd name="connsiteX1070" fmla="*/ 1120399 w 2992697"/>
                <a:gd name="connsiteY1070" fmla="*/ 730789 h 1030680"/>
                <a:gd name="connsiteX1071" fmla="*/ 1093390 w 2992697"/>
                <a:gd name="connsiteY1071" fmla="*/ 736067 h 1030680"/>
                <a:gd name="connsiteX1072" fmla="*/ 1062035 w 2992697"/>
                <a:gd name="connsiteY1072" fmla="*/ 735136 h 1030680"/>
                <a:gd name="connsiteX1073" fmla="*/ 1062035 w 2992697"/>
                <a:gd name="connsiteY1073" fmla="*/ 740413 h 1030680"/>
                <a:gd name="connsiteX1074" fmla="*/ 1062035 w 2992697"/>
                <a:gd name="connsiteY1074" fmla="*/ 745691 h 1030680"/>
                <a:gd name="connsiteX1075" fmla="*/ 1059862 w 2992697"/>
                <a:gd name="connsiteY1075" fmla="*/ 750037 h 1030680"/>
                <a:gd name="connsiteX1076" fmla="*/ 1057689 w 2992697"/>
                <a:gd name="connsiteY1076" fmla="*/ 750968 h 1030680"/>
                <a:gd name="connsiteX1077" fmla="*/ 1056757 w 2992697"/>
                <a:gd name="connsiteY1077" fmla="*/ 750968 h 1030680"/>
                <a:gd name="connsiteX1078" fmla="*/ 1054584 w 2992697"/>
                <a:gd name="connsiteY1078" fmla="*/ 753142 h 1030680"/>
                <a:gd name="connsiteX1079" fmla="*/ 1050548 w 2992697"/>
                <a:gd name="connsiteY1079" fmla="*/ 755315 h 1030680"/>
                <a:gd name="connsiteX1080" fmla="*/ 1047444 w 2992697"/>
                <a:gd name="connsiteY1080" fmla="*/ 757488 h 1030680"/>
                <a:gd name="connsiteX1081" fmla="*/ 1045271 w 2992697"/>
                <a:gd name="connsiteY1081" fmla="*/ 758419 h 1030680"/>
                <a:gd name="connsiteX1082" fmla="*/ 1042166 w 2992697"/>
                <a:gd name="connsiteY1082" fmla="*/ 762765 h 1030680"/>
                <a:gd name="connsiteX1083" fmla="*/ 1038131 w 2992697"/>
                <a:gd name="connsiteY1083" fmla="*/ 773321 h 1030680"/>
                <a:gd name="connsiteX1084" fmla="*/ 1035957 w 2992697"/>
                <a:gd name="connsiteY1084" fmla="*/ 786980 h 1030680"/>
                <a:gd name="connsiteX1085" fmla="*/ 1032853 w 2992697"/>
                <a:gd name="connsiteY1085" fmla="*/ 795362 h 1030680"/>
                <a:gd name="connsiteX1086" fmla="*/ 1023540 w 2992697"/>
                <a:gd name="connsiteY1086" fmla="*/ 804986 h 1030680"/>
                <a:gd name="connsiteX1087" fmla="*/ 1008017 w 2992697"/>
                <a:gd name="connsiteY1087" fmla="*/ 815541 h 1030680"/>
                <a:gd name="connsiteX1088" fmla="*/ 987218 w 2992697"/>
                <a:gd name="connsiteY1088" fmla="*/ 825165 h 1030680"/>
                <a:gd name="connsiteX1089" fmla="*/ 969522 w 2992697"/>
                <a:gd name="connsiteY1089" fmla="*/ 832616 h 1030680"/>
                <a:gd name="connsiteX1090" fmla="*/ 952758 w 2992697"/>
                <a:gd name="connsiteY1090" fmla="*/ 836962 h 1030680"/>
                <a:gd name="connsiteX1091" fmla="*/ 952758 w 2992697"/>
                <a:gd name="connsiteY1091" fmla="*/ 832616 h 1030680"/>
                <a:gd name="connsiteX1092" fmla="*/ 952758 w 2992697"/>
                <a:gd name="connsiteY1092" fmla="*/ 829511 h 1030680"/>
                <a:gd name="connsiteX1093" fmla="*/ 950585 w 2992697"/>
                <a:gd name="connsiteY1093" fmla="*/ 829511 h 1030680"/>
                <a:gd name="connsiteX1094" fmla="*/ 950585 w 2992697"/>
                <a:gd name="connsiteY1094" fmla="*/ 827338 h 1030680"/>
                <a:gd name="connsiteX1095" fmla="*/ 949654 w 2992697"/>
                <a:gd name="connsiteY1095" fmla="*/ 825165 h 1030680"/>
                <a:gd name="connsiteX1096" fmla="*/ 947480 w 2992697"/>
                <a:gd name="connsiteY1096" fmla="*/ 840066 h 1030680"/>
                <a:gd name="connsiteX1097" fmla="*/ 942203 w 2992697"/>
                <a:gd name="connsiteY1097" fmla="*/ 852795 h 1030680"/>
                <a:gd name="connsiteX1098" fmla="*/ 938167 w 2992697"/>
                <a:gd name="connsiteY1098" fmla="*/ 864281 h 1030680"/>
                <a:gd name="connsiteX1099" fmla="*/ 932890 w 2992697"/>
                <a:gd name="connsiteY1099" fmla="*/ 874836 h 1030680"/>
                <a:gd name="connsiteX1100" fmla="*/ 928854 w 2992697"/>
                <a:gd name="connsiteY1100" fmla="*/ 889738 h 1030680"/>
                <a:gd name="connsiteX1101" fmla="*/ 932890 w 2992697"/>
                <a:gd name="connsiteY1101" fmla="*/ 891911 h 1030680"/>
                <a:gd name="connsiteX1102" fmla="*/ 932890 w 2992697"/>
                <a:gd name="connsiteY1102" fmla="*/ 894084 h 1030680"/>
                <a:gd name="connsiteX1103" fmla="*/ 935063 w 2992697"/>
                <a:gd name="connsiteY1103" fmla="*/ 894084 h 1030680"/>
                <a:gd name="connsiteX1104" fmla="*/ 935063 w 2992697"/>
                <a:gd name="connsiteY1104" fmla="*/ 894084 h 1030680"/>
                <a:gd name="connsiteX1105" fmla="*/ 935063 w 2992697"/>
                <a:gd name="connsiteY1105" fmla="*/ 896257 h 1030680"/>
                <a:gd name="connsiteX1106" fmla="*/ 932890 w 2992697"/>
                <a:gd name="connsiteY1106" fmla="*/ 897188 h 1030680"/>
                <a:gd name="connsiteX1107" fmla="*/ 928854 w 2992697"/>
                <a:gd name="connsiteY1107" fmla="*/ 901535 h 1030680"/>
                <a:gd name="connsiteX1108" fmla="*/ 925749 w 2992697"/>
                <a:gd name="connsiteY1108" fmla="*/ 903708 h 1030680"/>
                <a:gd name="connsiteX1109" fmla="*/ 922645 w 2992697"/>
                <a:gd name="connsiteY1109" fmla="*/ 906812 h 1030680"/>
                <a:gd name="connsiteX1110" fmla="*/ 918609 w 2992697"/>
                <a:gd name="connsiteY1110" fmla="*/ 908985 h 1030680"/>
                <a:gd name="connsiteX1111" fmla="*/ 916436 w 2992697"/>
                <a:gd name="connsiteY1111" fmla="*/ 912090 h 1030680"/>
                <a:gd name="connsiteX1112" fmla="*/ 913331 w 2992697"/>
                <a:gd name="connsiteY1112" fmla="*/ 917367 h 1030680"/>
                <a:gd name="connsiteX1113" fmla="*/ 905881 w 2992697"/>
                <a:gd name="connsiteY1113" fmla="*/ 938478 h 1030680"/>
                <a:gd name="connsiteX1114" fmla="*/ 900603 w 2992697"/>
                <a:gd name="connsiteY1114" fmla="*/ 960519 h 1030680"/>
                <a:gd name="connsiteX1115" fmla="*/ 898430 w 2992697"/>
                <a:gd name="connsiteY1115" fmla="*/ 985976 h 1030680"/>
                <a:gd name="connsiteX1116" fmla="*/ 894394 w 2992697"/>
                <a:gd name="connsiteY1116" fmla="*/ 1010191 h 1030680"/>
                <a:gd name="connsiteX1117" fmla="*/ 889117 w 2992697"/>
                <a:gd name="connsiteY1117" fmla="*/ 1032232 h 1030680"/>
                <a:gd name="connsiteX1118" fmla="*/ 886012 w 2992697"/>
                <a:gd name="connsiteY1118" fmla="*/ 1030059 h 1030680"/>
                <a:gd name="connsiteX1119" fmla="*/ 886012 w 2992697"/>
                <a:gd name="connsiteY1119" fmla="*/ 1030059 h 1030680"/>
                <a:gd name="connsiteX1120" fmla="*/ 883839 w 2992697"/>
                <a:gd name="connsiteY1120" fmla="*/ 1030059 h 1030680"/>
                <a:gd name="connsiteX1121" fmla="*/ 883839 w 2992697"/>
                <a:gd name="connsiteY1121" fmla="*/ 1027886 h 1030680"/>
                <a:gd name="connsiteX1122" fmla="*/ 881666 w 2992697"/>
                <a:gd name="connsiteY1122" fmla="*/ 1027886 h 1030680"/>
                <a:gd name="connsiteX1123" fmla="*/ 876388 w 2992697"/>
                <a:gd name="connsiteY1123" fmla="*/ 1024782 h 1030680"/>
                <a:gd name="connsiteX1124" fmla="*/ 867075 w 2992697"/>
                <a:gd name="connsiteY1124" fmla="*/ 1017331 h 1030680"/>
                <a:gd name="connsiteX1125" fmla="*/ 852484 w 2992697"/>
                <a:gd name="connsiteY1125" fmla="*/ 1005844 h 1030680"/>
                <a:gd name="connsiteX1126" fmla="*/ 835720 w 2992697"/>
                <a:gd name="connsiteY1126" fmla="*/ 996221 h 1030680"/>
                <a:gd name="connsiteX1127" fmla="*/ 820198 w 2992697"/>
                <a:gd name="connsiteY1127" fmla="*/ 985665 h 1030680"/>
                <a:gd name="connsiteX1128" fmla="*/ 807780 w 2992697"/>
                <a:gd name="connsiteY1128" fmla="*/ 976042 h 1030680"/>
                <a:gd name="connsiteX1129" fmla="*/ 796294 w 2992697"/>
                <a:gd name="connsiteY1129" fmla="*/ 970764 h 1030680"/>
                <a:gd name="connsiteX1130" fmla="*/ 793189 w 2992697"/>
                <a:gd name="connsiteY1130" fmla="*/ 968591 h 1030680"/>
                <a:gd name="connsiteX1131" fmla="*/ 789153 w 2992697"/>
                <a:gd name="connsiteY1131" fmla="*/ 928543 h 1030680"/>
                <a:gd name="connsiteX1132" fmla="*/ 786980 w 2992697"/>
                <a:gd name="connsiteY1132" fmla="*/ 924197 h 1030680"/>
                <a:gd name="connsiteX1133" fmla="*/ 781703 w 2992697"/>
                <a:gd name="connsiteY1133" fmla="*/ 921093 h 1030680"/>
                <a:gd name="connsiteX1134" fmla="*/ 778598 w 2992697"/>
                <a:gd name="connsiteY1134" fmla="*/ 918920 h 1030680"/>
                <a:gd name="connsiteX1135" fmla="*/ 772389 w 2992697"/>
                <a:gd name="connsiteY1135" fmla="*/ 914573 h 1030680"/>
                <a:gd name="connsiteX1136" fmla="*/ 769285 w 2992697"/>
                <a:gd name="connsiteY1136" fmla="*/ 911469 h 1030680"/>
                <a:gd name="connsiteX1137" fmla="*/ 772389 w 2992697"/>
                <a:gd name="connsiteY1137" fmla="*/ 909296 h 1030680"/>
                <a:gd name="connsiteX1138" fmla="*/ 772389 w 2992697"/>
                <a:gd name="connsiteY1138" fmla="*/ 907123 h 1030680"/>
                <a:gd name="connsiteX1139" fmla="*/ 774562 w 2992697"/>
                <a:gd name="connsiteY1139" fmla="*/ 906191 h 1030680"/>
                <a:gd name="connsiteX1140" fmla="*/ 774562 w 2992697"/>
                <a:gd name="connsiteY1140" fmla="*/ 906191 h 1030680"/>
                <a:gd name="connsiteX1141" fmla="*/ 776735 w 2992697"/>
                <a:gd name="connsiteY1141" fmla="*/ 901845 h 1030680"/>
                <a:gd name="connsiteX1142" fmla="*/ 778908 w 2992697"/>
                <a:gd name="connsiteY1142" fmla="*/ 898741 h 1030680"/>
                <a:gd name="connsiteX1143" fmla="*/ 769595 w 2992697"/>
                <a:gd name="connsiteY1143" fmla="*/ 898741 h 1030680"/>
                <a:gd name="connsiteX1144" fmla="*/ 764317 w 2992697"/>
                <a:gd name="connsiteY1144" fmla="*/ 898741 h 1030680"/>
                <a:gd name="connsiteX1145" fmla="*/ 760282 w 2992697"/>
                <a:gd name="connsiteY1145" fmla="*/ 898741 h 1030680"/>
                <a:gd name="connsiteX1146" fmla="*/ 758109 w 2992697"/>
                <a:gd name="connsiteY1146" fmla="*/ 896567 h 1030680"/>
                <a:gd name="connsiteX1147" fmla="*/ 757177 w 2992697"/>
                <a:gd name="connsiteY1147" fmla="*/ 893463 h 1030680"/>
                <a:gd name="connsiteX1148" fmla="*/ 753141 w 2992697"/>
                <a:gd name="connsiteY1148" fmla="*/ 887254 h 1030680"/>
                <a:gd name="connsiteX1149" fmla="*/ 750968 w 2992697"/>
                <a:gd name="connsiteY1149" fmla="*/ 884150 h 1030680"/>
                <a:gd name="connsiteX1150" fmla="*/ 750968 w 2992697"/>
                <a:gd name="connsiteY1150" fmla="*/ 879803 h 1030680"/>
                <a:gd name="connsiteX1151" fmla="*/ 750968 w 2992697"/>
                <a:gd name="connsiteY1151" fmla="*/ 878872 h 1030680"/>
                <a:gd name="connsiteX1152" fmla="*/ 750968 w 2992697"/>
                <a:gd name="connsiteY1152" fmla="*/ 874526 h 1030680"/>
                <a:gd name="connsiteX1153" fmla="*/ 753141 w 2992697"/>
                <a:gd name="connsiteY1153" fmla="*/ 871421 h 1030680"/>
                <a:gd name="connsiteX1154" fmla="*/ 753141 w 2992697"/>
                <a:gd name="connsiteY1154" fmla="*/ 867075 h 1030680"/>
                <a:gd name="connsiteX1155" fmla="*/ 742586 w 2992697"/>
                <a:gd name="connsiteY1155" fmla="*/ 867075 h 1030680"/>
                <a:gd name="connsiteX1156" fmla="*/ 742586 w 2992697"/>
                <a:gd name="connsiteY1156" fmla="*/ 861798 h 1030680"/>
                <a:gd name="connsiteX1157" fmla="*/ 743518 w 2992697"/>
                <a:gd name="connsiteY1157" fmla="*/ 856520 h 1030680"/>
                <a:gd name="connsiteX1158" fmla="*/ 745691 w 2992697"/>
                <a:gd name="connsiteY1158" fmla="*/ 854347 h 1030680"/>
                <a:gd name="connsiteX1159" fmla="*/ 745691 w 2992697"/>
                <a:gd name="connsiteY1159" fmla="*/ 850622 h 1030680"/>
                <a:gd name="connsiteX1160" fmla="*/ 747864 w 2992697"/>
                <a:gd name="connsiteY1160" fmla="*/ 847517 h 1030680"/>
                <a:gd name="connsiteX1161" fmla="*/ 750037 w 2992697"/>
                <a:gd name="connsiteY1161" fmla="*/ 842239 h 1030680"/>
                <a:gd name="connsiteX1162" fmla="*/ 743828 w 2992697"/>
                <a:gd name="connsiteY1162" fmla="*/ 842239 h 1030680"/>
                <a:gd name="connsiteX1163" fmla="*/ 737619 w 2992697"/>
                <a:gd name="connsiteY1163" fmla="*/ 842239 h 1030680"/>
                <a:gd name="connsiteX1164" fmla="*/ 734515 w 2992697"/>
                <a:gd name="connsiteY1164" fmla="*/ 840066 h 1030680"/>
                <a:gd name="connsiteX1165" fmla="*/ 728306 w 2992697"/>
                <a:gd name="connsiteY1165" fmla="*/ 837893 h 1030680"/>
                <a:gd name="connsiteX1166" fmla="*/ 727375 w 2992697"/>
                <a:gd name="connsiteY1166" fmla="*/ 810574 h 1030680"/>
                <a:gd name="connsiteX1167" fmla="*/ 725201 w 2992697"/>
                <a:gd name="connsiteY1167" fmla="*/ 785117 h 1030680"/>
                <a:gd name="connsiteX1168" fmla="*/ 725201 w 2992697"/>
                <a:gd name="connsiteY1168" fmla="*/ 760903 h 1030680"/>
                <a:gd name="connsiteX1169" fmla="*/ 732652 w 2992697"/>
                <a:gd name="connsiteY1169" fmla="*/ 736688 h 1030680"/>
                <a:gd name="connsiteX1170" fmla="*/ 740103 w 2992697"/>
                <a:gd name="connsiteY1170" fmla="*/ 726133 h 1030680"/>
                <a:gd name="connsiteX1171" fmla="*/ 749416 w 2992697"/>
                <a:gd name="connsiteY1171" fmla="*/ 718682 h 1030680"/>
                <a:gd name="connsiteX1172" fmla="*/ 756867 w 2992697"/>
                <a:gd name="connsiteY1172" fmla="*/ 712473 h 1030680"/>
                <a:gd name="connsiteX1173" fmla="*/ 762144 w 2992697"/>
                <a:gd name="connsiteY1173" fmla="*/ 704091 h 1030680"/>
                <a:gd name="connsiteX1174" fmla="*/ 767422 w 2992697"/>
                <a:gd name="connsiteY1174" fmla="*/ 692605 h 1030680"/>
                <a:gd name="connsiteX1175" fmla="*/ 769595 w 2992697"/>
                <a:gd name="connsiteY1175" fmla="*/ 672426 h 1030680"/>
                <a:gd name="connsiteX1176" fmla="*/ 765559 w 2992697"/>
                <a:gd name="connsiteY1176" fmla="*/ 672426 h 1030680"/>
                <a:gd name="connsiteX1177" fmla="*/ 762455 w 2992697"/>
                <a:gd name="connsiteY1177" fmla="*/ 676772 h 1030680"/>
                <a:gd name="connsiteX1178" fmla="*/ 758419 w 2992697"/>
                <a:gd name="connsiteY1178" fmla="*/ 677703 h 1030680"/>
                <a:gd name="connsiteX1179" fmla="*/ 757488 w 2992697"/>
                <a:gd name="connsiteY1179" fmla="*/ 677703 h 1030680"/>
                <a:gd name="connsiteX1180" fmla="*/ 753452 w 2992697"/>
                <a:gd name="connsiteY1180" fmla="*/ 677703 h 1030680"/>
                <a:gd name="connsiteX1181" fmla="*/ 750347 w 2992697"/>
                <a:gd name="connsiteY1181" fmla="*/ 676772 h 1030680"/>
                <a:gd name="connsiteX1182" fmla="*/ 735757 w 2992697"/>
                <a:gd name="connsiteY1182" fmla="*/ 672426 h 1030680"/>
                <a:gd name="connsiteX1183" fmla="*/ 724270 w 2992697"/>
                <a:gd name="connsiteY1183" fmla="*/ 664975 h 1030680"/>
                <a:gd name="connsiteX1184" fmla="*/ 716819 w 2992697"/>
                <a:gd name="connsiteY1184" fmla="*/ 654420 h 1030680"/>
                <a:gd name="connsiteX1185" fmla="*/ 713715 w 2992697"/>
                <a:gd name="connsiteY1185" fmla="*/ 635483 h 1030680"/>
                <a:gd name="connsiteX1186" fmla="*/ 718992 w 2992697"/>
                <a:gd name="connsiteY1186" fmla="*/ 635483 h 1030680"/>
                <a:gd name="connsiteX1187" fmla="*/ 718992 w 2992697"/>
                <a:gd name="connsiteY1187" fmla="*/ 632378 h 1030680"/>
                <a:gd name="connsiteX1188" fmla="*/ 728306 w 2992697"/>
                <a:gd name="connsiteY1188" fmla="*/ 637656 h 1030680"/>
                <a:gd name="connsiteX1189" fmla="*/ 738861 w 2992697"/>
                <a:gd name="connsiteY1189" fmla="*/ 645106 h 1030680"/>
                <a:gd name="connsiteX1190" fmla="*/ 748174 w 2992697"/>
                <a:gd name="connsiteY1190" fmla="*/ 648211 h 1030680"/>
                <a:gd name="connsiteX1191" fmla="*/ 758729 w 2992697"/>
                <a:gd name="connsiteY1191" fmla="*/ 648211 h 1030680"/>
                <a:gd name="connsiteX1192" fmla="*/ 758729 w 2992697"/>
                <a:gd name="connsiteY1192" fmla="*/ 647280 h 1030680"/>
                <a:gd name="connsiteX1193" fmla="*/ 760903 w 2992697"/>
                <a:gd name="connsiteY1193" fmla="*/ 645106 h 1030680"/>
                <a:gd name="connsiteX1194" fmla="*/ 760903 w 2992697"/>
                <a:gd name="connsiteY1194" fmla="*/ 645106 h 1030680"/>
                <a:gd name="connsiteX1195" fmla="*/ 760903 w 2992697"/>
                <a:gd name="connsiteY1195" fmla="*/ 642623 h 1030680"/>
                <a:gd name="connsiteX1196" fmla="*/ 763076 w 2992697"/>
                <a:gd name="connsiteY1196" fmla="*/ 639518 h 1030680"/>
                <a:gd name="connsiteX1197" fmla="*/ 743207 w 2992697"/>
                <a:gd name="connsiteY1197" fmla="*/ 624617 h 1030680"/>
                <a:gd name="connsiteX1198" fmla="*/ 726443 w 2992697"/>
                <a:gd name="connsiteY1198" fmla="*/ 603507 h 1030680"/>
                <a:gd name="connsiteX1199" fmla="*/ 721166 w 2992697"/>
                <a:gd name="connsiteY1199" fmla="*/ 605680 h 1030680"/>
                <a:gd name="connsiteX1200" fmla="*/ 717130 w 2992697"/>
                <a:gd name="connsiteY1200" fmla="*/ 607853 h 1030680"/>
                <a:gd name="connsiteX1201" fmla="*/ 711852 w 2992697"/>
                <a:gd name="connsiteY1201" fmla="*/ 610026 h 1030680"/>
                <a:gd name="connsiteX1202" fmla="*/ 706575 w 2992697"/>
                <a:gd name="connsiteY1202" fmla="*/ 610957 h 1030680"/>
                <a:gd name="connsiteX1203" fmla="*/ 702539 w 2992697"/>
                <a:gd name="connsiteY1203" fmla="*/ 607853 h 1030680"/>
                <a:gd name="connsiteX1204" fmla="*/ 701608 w 2992697"/>
                <a:gd name="connsiteY1204" fmla="*/ 605680 h 1030680"/>
                <a:gd name="connsiteX1205" fmla="*/ 699434 w 2992697"/>
                <a:gd name="connsiteY1205" fmla="*/ 602575 h 1030680"/>
                <a:gd name="connsiteX1206" fmla="*/ 697261 w 2992697"/>
                <a:gd name="connsiteY1206" fmla="*/ 600402 h 1030680"/>
                <a:gd name="connsiteX1207" fmla="*/ 694157 w 2992697"/>
                <a:gd name="connsiteY1207" fmla="*/ 595125 h 1030680"/>
                <a:gd name="connsiteX1208" fmla="*/ 704712 w 2992697"/>
                <a:gd name="connsiteY1208" fmla="*/ 583638 h 1030680"/>
                <a:gd name="connsiteX1209" fmla="*/ 706885 w 2992697"/>
                <a:gd name="connsiteY1209" fmla="*/ 567805 h 1030680"/>
                <a:gd name="connsiteX1210" fmla="*/ 704712 w 2992697"/>
                <a:gd name="connsiteY1210" fmla="*/ 546695 h 1030680"/>
                <a:gd name="connsiteX1211" fmla="*/ 699434 w 2992697"/>
                <a:gd name="connsiteY1211" fmla="*/ 524653 h 1030680"/>
                <a:gd name="connsiteX1212" fmla="*/ 690121 w 2992697"/>
                <a:gd name="connsiteY1212" fmla="*/ 501370 h 1030680"/>
                <a:gd name="connsiteX1213" fmla="*/ 679566 w 2992697"/>
                <a:gd name="connsiteY1213" fmla="*/ 479328 h 1030680"/>
                <a:gd name="connsiteX1214" fmla="*/ 665906 w 2992697"/>
                <a:gd name="connsiteY1214" fmla="*/ 459149 h 1030680"/>
                <a:gd name="connsiteX1215" fmla="*/ 655351 w 2992697"/>
                <a:gd name="connsiteY1215" fmla="*/ 440212 h 1030680"/>
                <a:gd name="connsiteX1216" fmla="*/ 646038 w 2992697"/>
                <a:gd name="connsiteY1216" fmla="*/ 425311 h 1030680"/>
                <a:gd name="connsiteX1217" fmla="*/ 623996 w 2992697"/>
                <a:gd name="connsiteY1217" fmla="*/ 410409 h 1030680"/>
                <a:gd name="connsiteX1218" fmla="*/ 598850 w 2992697"/>
                <a:gd name="connsiteY1218" fmla="*/ 405132 h 1030680"/>
                <a:gd name="connsiteX1219" fmla="*/ 572772 w 2992697"/>
                <a:gd name="connsiteY1219" fmla="*/ 405132 h 1030680"/>
                <a:gd name="connsiteX1220" fmla="*/ 543591 w 2992697"/>
                <a:gd name="connsiteY1220" fmla="*/ 405132 h 1030680"/>
                <a:gd name="connsiteX1221" fmla="*/ 515340 w 2992697"/>
                <a:gd name="connsiteY1221" fmla="*/ 407305 h 1030680"/>
                <a:gd name="connsiteX1222" fmla="*/ 486158 w 2992697"/>
                <a:gd name="connsiteY1222" fmla="*/ 405132 h 1030680"/>
                <a:gd name="connsiteX1223" fmla="*/ 486158 w 2992697"/>
                <a:gd name="connsiteY1223" fmla="*/ 399854 h 1030680"/>
                <a:gd name="connsiteX1224" fmla="*/ 486158 w 2992697"/>
                <a:gd name="connsiteY1224" fmla="*/ 395508 h 1030680"/>
                <a:gd name="connsiteX1225" fmla="*/ 487089 w 2992697"/>
                <a:gd name="connsiteY1225" fmla="*/ 394577 h 1030680"/>
                <a:gd name="connsiteX1226" fmla="*/ 487089 w 2992697"/>
                <a:gd name="connsiteY1226" fmla="*/ 392404 h 1030680"/>
                <a:gd name="connsiteX1227" fmla="*/ 487089 w 2992697"/>
                <a:gd name="connsiteY1227" fmla="*/ 390230 h 1030680"/>
                <a:gd name="connsiteX1228" fmla="*/ 486158 w 2992697"/>
                <a:gd name="connsiteY1228" fmla="*/ 388057 h 1030680"/>
                <a:gd name="connsiteX1229" fmla="*/ 474672 w 2992697"/>
                <a:gd name="connsiteY1229" fmla="*/ 382780 h 1030680"/>
                <a:gd name="connsiteX1230" fmla="*/ 464116 w 2992697"/>
                <a:gd name="connsiteY1230" fmla="*/ 379675 h 1030680"/>
                <a:gd name="connsiteX1231" fmla="*/ 452630 w 2992697"/>
                <a:gd name="connsiteY1231" fmla="*/ 372225 h 1030680"/>
                <a:gd name="connsiteX1232" fmla="*/ 461943 w 2992697"/>
                <a:gd name="connsiteY1232" fmla="*/ 372225 h 1030680"/>
                <a:gd name="connsiteX1233" fmla="*/ 472499 w 2992697"/>
                <a:gd name="connsiteY1233" fmla="*/ 367878 h 1030680"/>
                <a:gd name="connsiteX1234" fmla="*/ 487089 w 2992697"/>
                <a:gd name="connsiteY1234" fmla="*/ 364774 h 1030680"/>
                <a:gd name="connsiteX1235" fmla="*/ 503854 w 2992697"/>
                <a:gd name="connsiteY1235" fmla="*/ 362601 h 1030680"/>
                <a:gd name="connsiteX1236" fmla="*/ 516271 w 2992697"/>
                <a:gd name="connsiteY1236" fmla="*/ 358254 h 1030680"/>
                <a:gd name="connsiteX1237" fmla="*/ 525585 w 2992697"/>
                <a:gd name="connsiteY1237" fmla="*/ 350804 h 1030680"/>
                <a:gd name="connsiteX1238" fmla="*/ 481812 w 2992697"/>
                <a:gd name="connsiteY1238" fmla="*/ 350804 h 1030680"/>
                <a:gd name="connsiteX1239" fmla="*/ 471257 w 2992697"/>
                <a:gd name="connsiteY1239" fmla="*/ 347699 h 1030680"/>
                <a:gd name="connsiteX1240" fmla="*/ 461943 w 2992697"/>
                <a:gd name="connsiteY1240" fmla="*/ 347699 h 1030680"/>
                <a:gd name="connsiteX1241" fmla="*/ 450457 w 2992697"/>
                <a:gd name="connsiteY1241" fmla="*/ 345526 h 1030680"/>
                <a:gd name="connsiteX1242" fmla="*/ 442075 w 2992697"/>
                <a:gd name="connsiteY1242" fmla="*/ 343353 h 1030680"/>
                <a:gd name="connsiteX1243" fmla="*/ 432761 w 2992697"/>
                <a:gd name="connsiteY1243" fmla="*/ 340249 h 1030680"/>
                <a:gd name="connsiteX1244" fmla="*/ 427484 w 2992697"/>
                <a:gd name="connsiteY1244" fmla="*/ 330625 h 1030680"/>
                <a:gd name="connsiteX1245" fmla="*/ 425311 w 2992697"/>
                <a:gd name="connsiteY1245" fmla="*/ 315723 h 1030680"/>
                <a:gd name="connsiteX1246" fmla="*/ 447352 w 2992697"/>
                <a:gd name="connsiteY1246" fmla="*/ 312619 h 1030680"/>
                <a:gd name="connsiteX1247" fmla="*/ 467221 w 2992697"/>
                <a:gd name="connsiteY1247" fmla="*/ 305168 h 1030680"/>
                <a:gd name="connsiteX1248" fmla="*/ 483985 w 2992697"/>
                <a:gd name="connsiteY1248" fmla="*/ 297718 h 1030680"/>
                <a:gd name="connsiteX1249" fmla="*/ 501680 w 2992697"/>
                <a:gd name="connsiteY1249" fmla="*/ 290267 h 1030680"/>
                <a:gd name="connsiteX1250" fmla="*/ 538313 w 2992697"/>
                <a:gd name="connsiteY1250" fmla="*/ 290267 h 1030680"/>
                <a:gd name="connsiteX1251" fmla="*/ 552904 w 2992697"/>
                <a:gd name="connsiteY1251" fmla="*/ 241837 h 1030680"/>
                <a:gd name="connsiteX1252" fmla="*/ 518444 w 2992697"/>
                <a:gd name="connsiteY1252" fmla="*/ 241837 h 1030680"/>
                <a:gd name="connsiteX1253" fmla="*/ 509131 w 2992697"/>
                <a:gd name="connsiteY1253" fmla="*/ 229109 h 1030680"/>
                <a:gd name="connsiteX1254" fmla="*/ 520618 w 2992697"/>
                <a:gd name="connsiteY1254" fmla="*/ 221658 h 1030680"/>
                <a:gd name="connsiteX1255" fmla="*/ 529000 w 2992697"/>
                <a:gd name="connsiteY1255" fmla="*/ 214208 h 1030680"/>
                <a:gd name="connsiteX1256" fmla="*/ 540486 w 2992697"/>
                <a:gd name="connsiteY1256" fmla="*/ 208930 h 1030680"/>
                <a:gd name="connsiteX1257" fmla="*/ 552904 w 2992697"/>
                <a:gd name="connsiteY1257" fmla="*/ 204584 h 1030680"/>
                <a:gd name="connsiteX1258" fmla="*/ 552904 w 2992697"/>
                <a:gd name="connsiteY1258" fmla="*/ 191856 h 1030680"/>
                <a:gd name="connsiteX1259" fmla="*/ 567495 w 2992697"/>
                <a:gd name="connsiteY1259" fmla="*/ 184405 h 1030680"/>
                <a:gd name="connsiteX1260" fmla="*/ 574946 w 2992697"/>
                <a:gd name="connsiteY1260" fmla="*/ 176023 h 1030680"/>
                <a:gd name="connsiteX1261" fmla="*/ 582396 w 2992697"/>
                <a:gd name="connsiteY1261" fmla="*/ 164536 h 1030680"/>
                <a:gd name="connsiteX1262" fmla="*/ 593883 w 2992697"/>
                <a:gd name="connsiteY1262" fmla="*/ 157086 h 1030680"/>
                <a:gd name="connsiteX1263" fmla="*/ 606301 w 2992697"/>
                <a:gd name="connsiteY1263" fmla="*/ 151808 h 1030680"/>
                <a:gd name="connsiteX1264" fmla="*/ 616856 w 2992697"/>
                <a:gd name="connsiteY1264" fmla="*/ 151808 h 1030680"/>
                <a:gd name="connsiteX1265" fmla="*/ 626169 w 2992697"/>
                <a:gd name="connsiteY1265" fmla="*/ 154912 h 1030680"/>
                <a:gd name="connsiteX1266" fmla="*/ 638587 w 2992697"/>
                <a:gd name="connsiteY1266" fmla="*/ 153981 h 1030680"/>
                <a:gd name="connsiteX1267" fmla="*/ 629274 w 2992697"/>
                <a:gd name="connsiteY1267" fmla="*/ 149635 h 1030680"/>
                <a:gd name="connsiteX1268" fmla="*/ 623996 w 2992697"/>
                <a:gd name="connsiteY1268" fmla="*/ 147462 h 1030680"/>
                <a:gd name="connsiteX1269" fmla="*/ 618718 w 2992697"/>
                <a:gd name="connsiteY1269" fmla="*/ 146530 h 1030680"/>
                <a:gd name="connsiteX1270" fmla="*/ 613441 w 2992697"/>
                <a:gd name="connsiteY1270" fmla="*/ 140322 h 1030680"/>
                <a:gd name="connsiteX1271" fmla="*/ 631136 w 2992697"/>
                <a:gd name="connsiteY1271" fmla="*/ 137217 h 1030680"/>
                <a:gd name="connsiteX1272" fmla="*/ 647900 w 2992697"/>
                <a:gd name="connsiteY1272" fmla="*/ 131939 h 1030680"/>
                <a:gd name="connsiteX1273" fmla="*/ 662491 w 2992697"/>
                <a:gd name="connsiteY1273" fmla="*/ 127593 h 1030680"/>
                <a:gd name="connsiteX1274" fmla="*/ 679255 w 2992697"/>
                <a:gd name="connsiteY1274" fmla="*/ 124489 h 1030680"/>
                <a:gd name="connsiteX1275" fmla="*/ 680187 w 2992697"/>
                <a:gd name="connsiteY1275" fmla="*/ 131939 h 1030680"/>
                <a:gd name="connsiteX1276" fmla="*/ 682360 w 2992697"/>
                <a:gd name="connsiteY1276" fmla="*/ 135044 h 1030680"/>
                <a:gd name="connsiteX1277" fmla="*/ 684533 w 2992697"/>
                <a:gd name="connsiteY1277" fmla="*/ 140322 h 1030680"/>
                <a:gd name="connsiteX1278" fmla="*/ 686706 w 2992697"/>
                <a:gd name="connsiteY1278" fmla="*/ 144668 h 1030680"/>
                <a:gd name="connsiteX1279" fmla="*/ 691984 w 2992697"/>
                <a:gd name="connsiteY1279" fmla="*/ 146841 h 1030680"/>
                <a:gd name="connsiteX1280" fmla="*/ 699434 w 2992697"/>
                <a:gd name="connsiteY1280" fmla="*/ 147772 h 1030680"/>
                <a:gd name="connsiteX1281" fmla="*/ 699434 w 2992697"/>
                <a:gd name="connsiteY1281" fmla="*/ 142495 h 1030680"/>
                <a:gd name="connsiteX1282" fmla="*/ 702539 w 2992697"/>
                <a:gd name="connsiteY1282" fmla="*/ 137217 h 1030680"/>
                <a:gd name="connsiteX1283" fmla="*/ 704712 w 2992697"/>
                <a:gd name="connsiteY1283" fmla="*/ 129766 h 1030680"/>
                <a:gd name="connsiteX1284" fmla="*/ 706885 w 2992697"/>
                <a:gd name="connsiteY1284" fmla="*/ 124489 h 1030680"/>
                <a:gd name="connsiteX1285" fmla="*/ 709989 w 2992697"/>
                <a:gd name="connsiteY1285" fmla="*/ 129766 h 1030680"/>
                <a:gd name="connsiteX1286" fmla="*/ 716198 w 2992697"/>
                <a:gd name="connsiteY1286" fmla="*/ 135044 h 1030680"/>
                <a:gd name="connsiteX1287" fmla="*/ 719303 w 2992697"/>
                <a:gd name="connsiteY1287" fmla="*/ 139390 h 1030680"/>
                <a:gd name="connsiteX1288" fmla="*/ 726754 w 2992697"/>
                <a:gd name="connsiteY1288" fmla="*/ 142495 h 1030680"/>
                <a:gd name="connsiteX1289" fmla="*/ 734204 w 2992697"/>
                <a:gd name="connsiteY1289" fmla="*/ 144668 h 1030680"/>
                <a:gd name="connsiteX1290" fmla="*/ 730168 w 2992697"/>
                <a:gd name="connsiteY1290" fmla="*/ 120453 h 1030680"/>
                <a:gd name="connsiteX1291" fmla="*/ 743828 w 2992697"/>
                <a:gd name="connsiteY1291" fmla="*/ 117349 h 1030680"/>
                <a:gd name="connsiteX1292" fmla="*/ 754383 w 2992697"/>
                <a:gd name="connsiteY1292" fmla="*/ 113002 h 1030680"/>
                <a:gd name="connsiteX1293" fmla="*/ 771147 w 2992697"/>
                <a:gd name="connsiteY1293" fmla="*/ 117349 h 1030680"/>
                <a:gd name="connsiteX1294" fmla="*/ 788843 w 2992697"/>
                <a:gd name="connsiteY1294" fmla="*/ 124799 h 1030680"/>
                <a:gd name="connsiteX1295" fmla="*/ 807780 w 2992697"/>
                <a:gd name="connsiteY1295" fmla="*/ 135354 h 1030680"/>
                <a:gd name="connsiteX1296" fmla="*/ 827648 w 2992697"/>
                <a:gd name="connsiteY1296" fmla="*/ 144978 h 1030680"/>
                <a:gd name="connsiteX1297" fmla="*/ 844413 w 2992697"/>
                <a:gd name="connsiteY1297" fmla="*/ 152429 h 1030680"/>
                <a:gd name="connsiteX1298" fmla="*/ 859935 w 2992697"/>
                <a:gd name="connsiteY1298" fmla="*/ 157706 h 1030680"/>
                <a:gd name="connsiteX1299" fmla="*/ 859935 w 2992697"/>
                <a:gd name="connsiteY1299" fmla="*/ 154602 h 1030680"/>
                <a:gd name="connsiteX1300" fmla="*/ 849380 w 2992697"/>
                <a:gd name="connsiteY1300" fmla="*/ 144978 h 1030680"/>
                <a:gd name="connsiteX1301" fmla="*/ 841929 w 2992697"/>
                <a:gd name="connsiteY1301" fmla="*/ 137527 h 1030680"/>
                <a:gd name="connsiteX1302" fmla="*/ 837893 w 2992697"/>
                <a:gd name="connsiteY1302" fmla="*/ 127904 h 1030680"/>
                <a:gd name="connsiteX1303" fmla="*/ 844102 w 2992697"/>
                <a:gd name="connsiteY1303" fmla="*/ 117349 h 1030680"/>
                <a:gd name="connsiteX1304" fmla="*/ 840066 w 2992697"/>
                <a:gd name="connsiteY1304" fmla="*/ 113002 h 1030680"/>
                <a:gd name="connsiteX1305" fmla="*/ 834789 w 2992697"/>
                <a:gd name="connsiteY1305" fmla="*/ 107725 h 1030680"/>
                <a:gd name="connsiteX1306" fmla="*/ 829511 w 2992697"/>
                <a:gd name="connsiteY1306" fmla="*/ 103378 h 1030680"/>
                <a:gd name="connsiteX1307" fmla="*/ 824234 w 2992697"/>
                <a:gd name="connsiteY1307" fmla="*/ 100274 h 1030680"/>
                <a:gd name="connsiteX1308" fmla="*/ 820198 w 2992697"/>
                <a:gd name="connsiteY1308" fmla="*/ 95928 h 1030680"/>
                <a:gd name="connsiteX1309" fmla="*/ 824234 w 2992697"/>
                <a:gd name="connsiteY1309" fmla="*/ 87546 h 1030680"/>
                <a:gd name="connsiteX1310" fmla="*/ 834789 w 2992697"/>
                <a:gd name="connsiteY1310" fmla="*/ 90650 h 1030680"/>
                <a:gd name="connsiteX1311" fmla="*/ 849380 w 2992697"/>
                <a:gd name="connsiteY1311" fmla="*/ 92823 h 1030680"/>
                <a:gd name="connsiteX1312" fmla="*/ 861797 w 2992697"/>
                <a:gd name="connsiteY1312" fmla="*/ 90650 h 1030680"/>
                <a:gd name="connsiteX1313" fmla="*/ 871111 w 2992697"/>
                <a:gd name="connsiteY1313" fmla="*/ 83199 h 1030680"/>
                <a:gd name="connsiteX1314" fmla="*/ 827338 w 2992697"/>
                <a:gd name="connsiteY1314" fmla="*/ 83199 h 1030680"/>
                <a:gd name="connsiteX1315" fmla="*/ 827338 w 2992697"/>
                <a:gd name="connsiteY1315" fmla="*/ 80095 h 1030680"/>
                <a:gd name="connsiteX1316" fmla="*/ 824234 w 2992697"/>
                <a:gd name="connsiteY1316" fmla="*/ 80095 h 1030680"/>
                <a:gd name="connsiteX1317" fmla="*/ 824234 w 2992697"/>
                <a:gd name="connsiteY1317" fmla="*/ 75749 h 1030680"/>
                <a:gd name="connsiteX1318" fmla="*/ 829511 w 2992697"/>
                <a:gd name="connsiteY1318" fmla="*/ 72644 h 1030680"/>
                <a:gd name="connsiteX1319" fmla="*/ 834789 w 2992697"/>
                <a:gd name="connsiteY1319" fmla="*/ 68298 h 1030680"/>
                <a:gd name="connsiteX1320" fmla="*/ 840066 w 2992697"/>
                <a:gd name="connsiteY1320" fmla="*/ 65194 h 1030680"/>
                <a:gd name="connsiteX1321" fmla="*/ 845344 w 2992697"/>
                <a:gd name="connsiteY1321" fmla="*/ 60847 h 1030680"/>
                <a:gd name="connsiteX1322" fmla="*/ 851553 w 2992697"/>
                <a:gd name="connsiteY1322" fmla="*/ 59916 h 1030680"/>
                <a:gd name="connsiteX1323" fmla="*/ 874526 w 2992697"/>
                <a:gd name="connsiteY1323" fmla="*/ 63020 h 1030680"/>
                <a:gd name="connsiteX1324" fmla="*/ 880735 w 2992697"/>
                <a:gd name="connsiteY1324" fmla="*/ 46256 h 1030680"/>
                <a:gd name="connsiteX1325" fmla="*/ 907743 w 2992697"/>
                <a:gd name="connsiteY1325" fmla="*/ 50603 h 1030680"/>
                <a:gd name="connsiteX1326" fmla="*/ 909917 w 2992697"/>
                <a:gd name="connsiteY1326" fmla="*/ 50603 h 1030680"/>
                <a:gd name="connsiteX1327" fmla="*/ 910848 w 2992697"/>
                <a:gd name="connsiteY1327" fmla="*/ 46256 h 1030680"/>
                <a:gd name="connsiteX1328" fmla="*/ 913021 w 2992697"/>
                <a:gd name="connsiteY1328" fmla="*/ 45325 h 1030680"/>
                <a:gd name="connsiteX1329" fmla="*/ 915194 w 2992697"/>
                <a:gd name="connsiteY1329" fmla="*/ 40979 h 1030680"/>
                <a:gd name="connsiteX1330" fmla="*/ 920472 w 2992697"/>
                <a:gd name="connsiteY1330" fmla="*/ 38806 h 1030680"/>
                <a:gd name="connsiteX1331" fmla="*/ 924508 w 2992697"/>
                <a:gd name="connsiteY1331" fmla="*/ 45015 h 1030680"/>
                <a:gd name="connsiteX1332" fmla="*/ 929785 w 2992697"/>
                <a:gd name="connsiteY1332" fmla="*/ 50292 h 1030680"/>
                <a:gd name="connsiteX1333" fmla="*/ 935063 w 2992697"/>
                <a:gd name="connsiteY1333" fmla="*/ 55570 h 1030680"/>
                <a:gd name="connsiteX1334" fmla="*/ 935063 w 2992697"/>
                <a:gd name="connsiteY1334" fmla="*/ 45946 h 1030680"/>
                <a:gd name="connsiteX1335" fmla="*/ 937236 w 2992697"/>
                <a:gd name="connsiteY1335" fmla="*/ 45015 h 1030680"/>
                <a:gd name="connsiteX1336" fmla="*/ 937236 w 2992697"/>
                <a:gd name="connsiteY1336" fmla="*/ 42842 h 1030680"/>
                <a:gd name="connsiteX1337" fmla="*/ 937236 w 2992697"/>
                <a:gd name="connsiteY1337" fmla="*/ 40668 h 1030680"/>
                <a:gd name="connsiteX1338" fmla="*/ 937236 w 2992697"/>
                <a:gd name="connsiteY1338" fmla="*/ 38495 h 1030680"/>
                <a:gd name="connsiteX1339" fmla="*/ 938167 w 2992697"/>
                <a:gd name="connsiteY1339" fmla="*/ 35391 h 1030680"/>
                <a:gd name="connsiteX1340" fmla="*/ 940340 w 2992697"/>
                <a:gd name="connsiteY1340" fmla="*/ 33218 h 1030680"/>
                <a:gd name="connsiteX1341" fmla="*/ 944376 w 2992697"/>
                <a:gd name="connsiteY1341" fmla="*/ 31045 h 1030680"/>
                <a:gd name="connsiteX1342" fmla="*/ 962071 w 2992697"/>
                <a:gd name="connsiteY1342" fmla="*/ 22663 h 1030680"/>
                <a:gd name="connsiteX1343" fmla="*/ 984113 w 2992697"/>
                <a:gd name="connsiteY1343" fmla="*/ 20179 h 1030680"/>
                <a:gd name="connsiteX1344" fmla="*/ 984113 w 2992697"/>
                <a:gd name="connsiteY1344" fmla="*/ 20179 h 1030680"/>
                <a:gd name="connsiteX1345" fmla="*/ 984113 w 2992697"/>
                <a:gd name="connsiteY1345" fmla="*/ 20179 h 1030680"/>
                <a:gd name="connsiteX1346" fmla="*/ 2301024 w 2992697"/>
                <a:gd name="connsiteY1346" fmla="*/ 16764 h 1030680"/>
                <a:gd name="connsiteX1347" fmla="*/ 2311579 w 2992697"/>
                <a:gd name="connsiteY1347" fmla="*/ 19869 h 1030680"/>
                <a:gd name="connsiteX1348" fmla="*/ 2311579 w 2992697"/>
                <a:gd name="connsiteY1348" fmla="*/ 27319 h 1030680"/>
                <a:gd name="connsiteX1349" fmla="*/ 2296057 w 2992697"/>
                <a:gd name="connsiteY1349" fmla="*/ 27319 h 1030680"/>
                <a:gd name="connsiteX1350" fmla="*/ 2301024 w 2992697"/>
                <a:gd name="connsiteY1350" fmla="*/ 16764 h 1030680"/>
                <a:gd name="connsiteX1351" fmla="*/ 2301024 w 2992697"/>
                <a:gd name="connsiteY1351" fmla="*/ 16764 h 1030680"/>
                <a:gd name="connsiteX1352" fmla="*/ 2301024 w 2992697"/>
                <a:gd name="connsiteY1352" fmla="*/ 16764 h 1030680"/>
                <a:gd name="connsiteX1353" fmla="*/ 2792460 w 2992697"/>
                <a:gd name="connsiteY1353" fmla="*/ 0 h 1030680"/>
                <a:gd name="connsiteX1354" fmla="*/ 2797737 w 2992697"/>
                <a:gd name="connsiteY1354" fmla="*/ 3104 h 1030680"/>
                <a:gd name="connsiteX1355" fmla="*/ 2801773 w 2992697"/>
                <a:gd name="connsiteY1355" fmla="*/ 7451 h 1030680"/>
                <a:gd name="connsiteX1356" fmla="*/ 2803946 w 2992697"/>
                <a:gd name="connsiteY1356" fmla="*/ 10555 h 1030680"/>
                <a:gd name="connsiteX1357" fmla="*/ 2804878 w 2992697"/>
                <a:gd name="connsiteY1357" fmla="*/ 16764 h 1030680"/>
                <a:gd name="connsiteX1358" fmla="*/ 2807051 w 2992697"/>
                <a:gd name="connsiteY1358" fmla="*/ 19869 h 1030680"/>
                <a:gd name="connsiteX1359" fmla="*/ 2809224 w 2992697"/>
                <a:gd name="connsiteY1359" fmla="*/ 25146 h 1030680"/>
                <a:gd name="connsiteX1360" fmla="*/ 2812328 w 2992697"/>
                <a:gd name="connsiteY1360" fmla="*/ 27319 h 1030680"/>
                <a:gd name="connsiteX1361" fmla="*/ 2823815 w 2992697"/>
                <a:gd name="connsiteY1361" fmla="*/ 32597 h 1030680"/>
                <a:gd name="connsiteX1362" fmla="*/ 2834370 w 2992697"/>
                <a:gd name="connsiteY1362" fmla="*/ 34770 h 1030680"/>
                <a:gd name="connsiteX1363" fmla="*/ 2841821 w 2992697"/>
                <a:gd name="connsiteY1363" fmla="*/ 34770 h 1030680"/>
                <a:gd name="connsiteX1364" fmla="*/ 2847098 w 2992697"/>
                <a:gd name="connsiteY1364" fmla="*/ 39116 h 1030680"/>
                <a:gd name="connsiteX1365" fmla="*/ 2851134 w 2992697"/>
                <a:gd name="connsiteY1365" fmla="*/ 46567 h 1030680"/>
                <a:gd name="connsiteX1366" fmla="*/ 2853307 w 2992697"/>
                <a:gd name="connsiteY1366" fmla="*/ 61468 h 1030680"/>
                <a:gd name="connsiteX1367" fmla="*/ 2851134 w 2992697"/>
                <a:gd name="connsiteY1367" fmla="*/ 62400 h 1030680"/>
                <a:gd name="connsiteX1368" fmla="*/ 2851134 w 2992697"/>
                <a:gd name="connsiteY1368" fmla="*/ 62400 h 1030680"/>
                <a:gd name="connsiteX1369" fmla="*/ 2851134 w 2992697"/>
                <a:gd name="connsiteY1369" fmla="*/ 64573 h 1030680"/>
                <a:gd name="connsiteX1370" fmla="*/ 2851134 w 2992697"/>
                <a:gd name="connsiteY1370" fmla="*/ 66746 h 1030680"/>
                <a:gd name="connsiteX1371" fmla="*/ 2848961 w 2992697"/>
                <a:gd name="connsiteY1371" fmla="*/ 68919 h 1030680"/>
                <a:gd name="connsiteX1372" fmla="*/ 2825988 w 2992697"/>
                <a:gd name="connsiteY1372" fmla="*/ 68919 h 1030680"/>
                <a:gd name="connsiteX1373" fmla="*/ 2802084 w 2992697"/>
                <a:gd name="connsiteY1373" fmla="*/ 68919 h 1030680"/>
                <a:gd name="connsiteX1374" fmla="*/ 2782215 w 2992697"/>
                <a:gd name="connsiteY1374" fmla="*/ 77301 h 1030680"/>
                <a:gd name="connsiteX1375" fmla="*/ 2778179 w 2992697"/>
                <a:gd name="connsiteY1375" fmla="*/ 79474 h 1030680"/>
                <a:gd name="connsiteX1376" fmla="*/ 2776006 w 2992697"/>
                <a:gd name="connsiteY1376" fmla="*/ 83820 h 1030680"/>
                <a:gd name="connsiteX1377" fmla="*/ 2775075 w 2992697"/>
                <a:gd name="connsiteY1377" fmla="*/ 84752 h 1030680"/>
                <a:gd name="connsiteX1378" fmla="*/ 2772902 w 2992697"/>
                <a:gd name="connsiteY1378" fmla="*/ 86925 h 1030680"/>
                <a:gd name="connsiteX1379" fmla="*/ 2770729 w 2992697"/>
                <a:gd name="connsiteY1379" fmla="*/ 89098 h 1030680"/>
                <a:gd name="connsiteX1380" fmla="*/ 2767624 w 2992697"/>
                <a:gd name="connsiteY1380" fmla="*/ 91271 h 1030680"/>
                <a:gd name="connsiteX1381" fmla="*/ 2761415 w 2992697"/>
                <a:gd name="connsiteY1381" fmla="*/ 94376 h 1030680"/>
                <a:gd name="connsiteX1382" fmla="*/ 2758311 w 2992697"/>
                <a:gd name="connsiteY1382" fmla="*/ 89098 h 1030680"/>
                <a:gd name="connsiteX1383" fmla="*/ 2756137 w 2992697"/>
                <a:gd name="connsiteY1383" fmla="*/ 84752 h 1030680"/>
                <a:gd name="connsiteX1384" fmla="*/ 2753033 w 2992697"/>
                <a:gd name="connsiteY1384" fmla="*/ 81647 h 1030680"/>
                <a:gd name="connsiteX1385" fmla="*/ 2765451 w 2992697"/>
                <a:gd name="connsiteY1385" fmla="*/ 49982 h 1030680"/>
                <a:gd name="connsiteX1386" fmla="*/ 2777869 w 2992697"/>
                <a:gd name="connsiteY1386" fmla="*/ 24525 h 1030680"/>
                <a:gd name="connsiteX1387" fmla="*/ 2792460 w 2992697"/>
                <a:gd name="connsiteY1387" fmla="*/ 0 h 1030680"/>
                <a:gd name="connsiteX1388" fmla="*/ 2792460 w 2992697"/>
                <a:gd name="connsiteY1388" fmla="*/ 0 h 1030680"/>
                <a:gd name="connsiteX1389" fmla="*/ 2792460 w 2992697"/>
                <a:gd name="connsiteY1389" fmla="*/ 0 h 1030680"/>
                <a:gd name="connsiteX1390" fmla="*/ 2665177 w 2992697"/>
                <a:gd name="connsiteY1390" fmla="*/ 0 h 1030680"/>
                <a:gd name="connsiteX1391" fmla="*/ 2674490 w 2992697"/>
                <a:gd name="connsiteY1391" fmla="*/ 9624 h 1030680"/>
                <a:gd name="connsiteX1392" fmla="*/ 2679768 w 2992697"/>
                <a:gd name="connsiteY1392" fmla="*/ 20179 h 1030680"/>
                <a:gd name="connsiteX1393" fmla="*/ 2685046 w 2992697"/>
                <a:gd name="connsiteY1393" fmla="*/ 32907 h 1030680"/>
                <a:gd name="connsiteX1394" fmla="*/ 2675732 w 2992697"/>
                <a:gd name="connsiteY1394" fmla="*/ 32907 h 1030680"/>
                <a:gd name="connsiteX1395" fmla="*/ 2675732 w 2992697"/>
                <a:gd name="connsiteY1395" fmla="*/ 27319 h 1030680"/>
                <a:gd name="connsiteX1396" fmla="*/ 2672628 w 2992697"/>
                <a:gd name="connsiteY1396" fmla="*/ 24215 h 1030680"/>
                <a:gd name="connsiteX1397" fmla="*/ 2668592 w 2992697"/>
                <a:gd name="connsiteY1397" fmla="*/ 19869 h 1030680"/>
                <a:gd name="connsiteX1398" fmla="*/ 2667660 w 2992697"/>
                <a:gd name="connsiteY1398" fmla="*/ 14591 h 1030680"/>
                <a:gd name="connsiteX1399" fmla="*/ 2665487 w 2992697"/>
                <a:gd name="connsiteY1399" fmla="*/ 9313 h 1030680"/>
                <a:gd name="connsiteX1400" fmla="*/ 2665487 w 2992697"/>
                <a:gd name="connsiteY1400" fmla="*/ 0 h 1030680"/>
                <a:gd name="connsiteX1401" fmla="*/ 2665177 w 2992697"/>
                <a:gd name="connsiteY1401" fmla="*/ 0 h 1030680"/>
                <a:gd name="connsiteX1402" fmla="*/ 2665177 w 2992697"/>
                <a:gd name="connsiteY1402" fmla="*/ 0 h 1030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</a:cxnLst>
              <a:rect l="l" t="t" r="r" b="b"/>
              <a:pathLst>
                <a:path w="2992697" h="1030680">
                  <a:moveTo>
                    <a:pt x="7140" y="256428"/>
                  </a:moveTo>
                  <a:lnTo>
                    <a:pt x="26077" y="261706"/>
                  </a:lnTo>
                  <a:lnTo>
                    <a:pt x="38495" y="271330"/>
                  </a:lnTo>
                  <a:lnTo>
                    <a:pt x="49050" y="279712"/>
                  </a:lnTo>
                  <a:lnTo>
                    <a:pt x="60537" y="291198"/>
                  </a:lnTo>
                  <a:lnTo>
                    <a:pt x="71092" y="299580"/>
                  </a:lnTo>
                  <a:lnTo>
                    <a:pt x="71092" y="296476"/>
                  </a:lnTo>
                  <a:lnTo>
                    <a:pt x="77301" y="296476"/>
                  </a:lnTo>
                  <a:lnTo>
                    <a:pt x="77301" y="299580"/>
                  </a:lnTo>
                  <a:lnTo>
                    <a:pt x="78232" y="303926"/>
                  </a:lnTo>
                  <a:lnTo>
                    <a:pt x="82268" y="309204"/>
                  </a:lnTo>
                  <a:lnTo>
                    <a:pt x="84441" y="316655"/>
                  </a:lnTo>
                  <a:lnTo>
                    <a:pt x="76991" y="316655"/>
                  </a:lnTo>
                  <a:lnTo>
                    <a:pt x="72955" y="316655"/>
                  </a:lnTo>
                  <a:lnTo>
                    <a:pt x="72955" y="318828"/>
                  </a:lnTo>
                  <a:lnTo>
                    <a:pt x="70782" y="318828"/>
                  </a:lnTo>
                  <a:lnTo>
                    <a:pt x="67677" y="318828"/>
                  </a:lnTo>
                  <a:lnTo>
                    <a:pt x="63641" y="321001"/>
                  </a:lnTo>
                  <a:lnTo>
                    <a:pt x="49050" y="309514"/>
                  </a:lnTo>
                  <a:lnTo>
                    <a:pt x="34460" y="304237"/>
                  </a:lnTo>
                  <a:lnTo>
                    <a:pt x="16764" y="299891"/>
                  </a:lnTo>
                  <a:lnTo>
                    <a:pt x="0" y="291509"/>
                  </a:lnTo>
                  <a:lnTo>
                    <a:pt x="6209" y="286231"/>
                  </a:lnTo>
                  <a:lnTo>
                    <a:pt x="7140" y="280022"/>
                  </a:lnTo>
                  <a:lnTo>
                    <a:pt x="6209" y="274745"/>
                  </a:lnTo>
                  <a:lnTo>
                    <a:pt x="6209" y="266983"/>
                  </a:lnTo>
                  <a:lnTo>
                    <a:pt x="7140" y="256428"/>
                  </a:lnTo>
                  <a:lnTo>
                    <a:pt x="7140" y="256428"/>
                  </a:lnTo>
                  <a:lnTo>
                    <a:pt x="7140" y="256428"/>
                  </a:lnTo>
                  <a:close/>
                  <a:moveTo>
                    <a:pt x="1275001" y="248978"/>
                  </a:moveTo>
                  <a:lnTo>
                    <a:pt x="1279037" y="248978"/>
                  </a:lnTo>
                  <a:lnTo>
                    <a:pt x="1282141" y="249909"/>
                  </a:lnTo>
                  <a:lnTo>
                    <a:pt x="1284314" y="252082"/>
                  </a:lnTo>
                  <a:lnTo>
                    <a:pt x="1286487" y="254255"/>
                  </a:lnTo>
                  <a:lnTo>
                    <a:pt x="1287419" y="256428"/>
                  </a:lnTo>
                  <a:lnTo>
                    <a:pt x="1287419" y="257670"/>
                  </a:lnTo>
                  <a:lnTo>
                    <a:pt x="1287419" y="259843"/>
                  </a:lnTo>
                  <a:lnTo>
                    <a:pt x="1289592" y="264189"/>
                  </a:lnTo>
                  <a:lnTo>
                    <a:pt x="1282141" y="264189"/>
                  </a:lnTo>
                  <a:lnTo>
                    <a:pt x="1279037" y="265121"/>
                  </a:lnTo>
                  <a:lnTo>
                    <a:pt x="1275001" y="265121"/>
                  </a:lnTo>
                  <a:lnTo>
                    <a:pt x="1271896" y="267294"/>
                  </a:lnTo>
                  <a:lnTo>
                    <a:pt x="1265687" y="267294"/>
                  </a:lnTo>
                  <a:lnTo>
                    <a:pt x="1265687" y="264189"/>
                  </a:lnTo>
                  <a:lnTo>
                    <a:pt x="1262583" y="264189"/>
                  </a:lnTo>
                  <a:lnTo>
                    <a:pt x="1262583" y="250530"/>
                  </a:lnTo>
                  <a:lnTo>
                    <a:pt x="1267861" y="250530"/>
                  </a:lnTo>
                  <a:lnTo>
                    <a:pt x="1273138" y="249598"/>
                  </a:lnTo>
                  <a:lnTo>
                    <a:pt x="1275001" y="249598"/>
                  </a:lnTo>
                  <a:lnTo>
                    <a:pt x="1275001" y="248978"/>
                  </a:lnTo>
                  <a:lnTo>
                    <a:pt x="1275001" y="248978"/>
                  </a:lnTo>
                  <a:close/>
                  <a:moveTo>
                    <a:pt x="63641" y="239664"/>
                  </a:moveTo>
                  <a:lnTo>
                    <a:pt x="80405" y="239664"/>
                  </a:lnTo>
                  <a:lnTo>
                    <a:pt x="80405" y="242769"/>
                  </a:lnTo>
                  <a:lnTo>
                    <a:pt x="77301" y="242769"/>
                  </a:lnTo>
                  <a:lnTo>
                    <a:pt x="73265" y="242769"/>
                  </a:lnTo>
                  <a:lnTo>
                    <a:pt x="71092" y="244942"/>
                  </a:lnTo>
                  <a:lnTo>
                    <a:pt x="70161" y="244942"/>
                  </a:lnTo>
                  <a:lnTo>
                    <a:pt x="70161" y="244942"/>
                  </a:lnTo>
                  <a:lnTo>
                    <a:pt x="67988" y="244942"/>
                  </a:lnTo>
                  <a:lnTo>
                    <a:pt x="65815" y="242769"/>
                  </a:lnTo>
                  <a:lnTo>
                    <a:pt x="63641" y="239664"/>
                  </a:lnTo>
                  <a:lnTo>
                    <a:pt x="63641" y="239664"/>
                  </a:lnTo>
                  <a:lnTo>
                    <a:pt x="63641" y="239664"/>
                  </a:lnTo>
                  <a:close/>
                  <a:moveTo>
                    <a:pt x="1790651" y="213276"/>
                  </a:moveTo>
                  <a:lnTo>
                    <a:pt x="1803069" y="213276"/>
                  </a:lnTo>
                  <a:lnTo>
                    <a:pt x="1807105" y="228178"/>
                  </a:lnTo>
                  <a:lnTo>
                    <a:pt x="1810209" y="237801"/>
                  </a:lnTo>
                  <a:lnTo>
                    <a:pt x="1817660" y="242148"/>
                  </a:lnTo>
                  <a:lnTo>
                    <a:pt x="1830078" y="247425"/>
                  </a:lnTo>
                  <a:lnTo>
                    <a:pt x="1824800" y="269467"/>
                  </a:lnTo>
                  <a:lnTo>
                    <a:pt x="1817350" y="291509"/>
                  </a:lnTo>
                  <a:lnTo>
                    <a:pt x="1806794" y="307341"/>
                  </a:lnTo>
                  <a:lnTo>
                    <a:pt x="1806794" y="287162"/>
                  </a:lnTo>
                  <a:lnTo>
                    <a:pt x="1782890" y="287162"/>
                  </a:lnTo>
                  <a:lnTo>
                    <a:pt x="1785063" y="263879"/>
                  </a:lnTo>
                  <a:lnTo>
                    <a:pt x="1787236" y="241837"/>
                  </a:lnTo>
                  <a:lnTo>
                    <a:pt x="1790651" y="213276"/>
                  </a:lnTo>
                  <a:lnTo>
                    <a:pt x="1790651" y="213276"/>
                  </a:lnTo>
                  <a:lnTo>
                    <a:pt x="1790651" y="213276"/>
                  </a:lnTo>
                  <a:close/>
                  <a:moveTo>
                    <a:pt x="2941784" y="165778"/>
                  </a:moveTo>
                  <a:lnTo>
                    <a:pt x="2945820" y="165778"/>
                  </a:lnTo>
                  <a:lnTo>
                    <a:pt x="2945820" y="170124"/>
                  </a:lnTo>
                  <a:lnTo>
                    <a:pt x="2946751" y="175402"/>
                  </a:lnTo>
                  <a:lnTo>
                    <a:pt x="2948925" y="177575"/>
                  </a:lnTo>
                  <a:lnTo>
                    <a:pt x="2951098" y="180679"/>
                  </a:lnTo>
                  <a:lnTo>
                    <a:pt x="2953271" y="182853"/>
                  </a:lnTo>
                  <a:lnTo>
                    <a:pt x="2956375" y="185957"/>
                  </a:lnTo>
                  <a:lnTo>
                    <a:pt x="2960411" y="182853"/>
                  </a:lnTo>
                  <a:lnTo>
                    <a:pt x="2961342" y="178506"/>
                  </a:lnTo>
                  <a:lnTo>
                    <a:pt x="2963515" y="177575"/>
                  </a:lnTo>
                  <a:lnTo>
                    <a:pt x="2967551" y="177575"/>
                  </a:lnTo>
                  <a:lnTo>
                    <a:pt x="2972829" y="175402"/>
                  </a:lnTo>
                  <a:lnTo>
                    <a:pt x="2975933" y="185957"/>
                  </a:lnTo>
                  <a:lnTo>
                    <a:pt x="2982142" y="193408"/>
                  </a:lnTo>
                  <a:lnTo>
                    <a:pt x="2987420" y="200858"/>
                  </a:lnTo>
                  <a:lnTo>
                    <a:pt x="2990524" y="210482"/>
                  </a:lnTo>
                  <a:lnTo>
                    <a:pt x="2992697" y="223211"/>
                  </a:lnTo>
                  <a:lnTo>
                    <a:pt x="2992697" y="225384"/>
                  </a:lnTo>
                  <a:lnTo>
                    <a:pt x="2990524" y="227557"/>
                  </a:lnTo>
                  <a:lnTo>
                    <a:pt x="2990524" y="228488"/>
                  </a:lnTo>
                  <a:lnTo>
                    <a:pt x="2990524" y="230661"/>
                  </a:lnTo>
                  <a:lnTo>
                    <a:pt x="2990524" y="232834"/>
                  </a:lnTo>
                  <a:lnTo>
                    <a:pt x="2989593" y="235939"/>
                  </a:lnTo>
                  <a:lnTo>
                    <a:pt x="2978106" y="243390"/>
                  </a:lnTo>
                  <a:lnTo>
                    <a:pt x="2961342" y="250840"/>
                  </a:lnTo>
                  <a:lnTo>
                    <a:pt x="2941474" y="255186"/>
                  </a:lnTo>
                  <a:lnTo>
                    <a:pt x="2921605" y="258291"/>
                  </a:lnTo>
                  <a:lnTo>
                    <a:pt x="2904841" y="260464"/>
                  </a:lnTo>
                  <a:lnTo>
                    <a:pt x="2907014" y="250840"/>
                  </a:lnTo>
                  <a:lnTo>
                    <a:pt x="2909187" y="247736"/>
                  </a:lnTo>
                  <a:lnTo>
                    <a:pt x="2911360" y="243390"/>
                  </a:lnTo>
                  <a:lnTo>
                    <a:pt x="2912292" y="242458"/>
                  </a:lnTo>
                  <a:lnTo>
                    <a:pt x="2914465" y="242458"/>
                  </a:lnTo>
                  <a:lnTo>
                    <a:pt x="2918501" y="240285"/>
                  </a:lnTo>
                  <a:lnTo>
                    <a:pt x="2919432" y="240285"/>
                  </a:lnTo>
                  <a:lnTo>
                    <a:pt x="2921605" y="238112"/>
                  </a:lnTo>
                  <a:lnTo>
                    <a:pt x="2925641" y="235939"/>
                  </a:lnTo>
                  <a:lnTo>
                    <a:pt x="2930919" y="221037"/>
                  </a:lnTo>
                  <a:lnTo>
                    <a:pt x="2930919" y="206136"/>
                  </a:lnTo>
                  <a:lnTo>
                    <a:pt x="2928746" y="192476"/>
                  </a:lnTo>
                  <a:lnTo>
                    <a:pt x="2931850" y="180990"/>
                  </a:lnTo>
                  <a:lnTo>
                    <a:pt x="2941163" y="170435"/>
                  </a:lnTo>
                  <a:lnTo>
                    <a:pt x="2941163" y="165778"/>
                  </a:lnTo>
                  <a:lnTo>
                    <a:pt x="2941784" y="165778"/>
                  </a:lnTo>
                  <a:lnTo>
                    <a:pt x="2941784" y="165778"/>
                  </a:lnTo>
                  <a:close/>
                  <a:moveTo>
                    <a:pt x="148083" y="158327"/>
                  </a:moveTo>
                  <a:lnTo>
                    <a:pt x="167951" y="180369"/>
                  </a:lnTo>
                  <a:lnTo>
                    <a:pt x="193097" y="197133"/>
                  </a:lnTo>
                  <a:lnTo>
                    <a:pt x="224452" y="209861"/>
                  </a:lnTo>
                  <a:lnTo>
                    <a:pt x="226625" y="227867"/>
                  </a:lnTo>
                  <a:lnTo>
                    <a:pt x="231903" y="241527"/>
                  </a:lnTo>
                  <a:lnTo>
                    <a:pt x="237181" y="248978"/>
                  </a:lnTo>
                  <a:lnTo>
                    <a:pt x="244631" y="256428"/>
                  </a:lnTo>
                  <a:lnTo>
                    <a:pt x="252082" y="266983"/>
                  </a:lnTo>
                  <a:lnTo>
                    <a:pt x="239664" y="269157"/>
                  </a:lnTo>
                  <a:lnTo>
                    <a:pt x="227246" y="271330"/>
                  </a:lnTo>
                  <a:lnTo>
                    <a:pt x="215760" y="276607"/>
                  </a:lnTo>
                  <a:lnTo>
                    <a:pt x="208309" y="284058"/>
                  </a:lnTo>
                  <a:lnTo>
                    <a:pt x="207378" y="287162"/>
                  </a:lnTo>
                  <a:lnTo>
                    <a:pt x="205205" y="291509"/>
                  </a:lnTo>
                  <a:lnTo>
                    <a:pt x="203032" y="294613"/>
                  </a:lnTo>
                  <a:lnTo>
                    <a:pt x="200858" y="296786"/>
                  </a:lnTo>
                  <a:lnTo>
                    <a:pt x="197754" y="299891"/>
                  </a:lnTo>
                  <a:lnTo>
                    <a:pt x="186267" y="302064"/>
                  </a:lnTo>
                  <a:lnTo>
                    <a:pt x="170745" y="304237"/>
                  </a:lnTo>
                  <a:lnTo>
                    <a:pt x="151808" y="302064"/>
                  </a:lnTo>
                  <a:lnTo>
                    <a:pt x="137217" y="299891"/>
                  </a:lnTo>
                  <a:lnTo>
                    <a:pt x="134113" y="289335"/>
                  </a:lnTo>
                  <a:lnTo>
                    <a:pt x="131939" y="281885"/>
                  </a:lnTo>
                  <a:lnTo>
                    <a:pt x="129766" y="276607"/>
                  </a:lnTo>
                  <a:lnTo>
                    <a:pt x="124489" y="266983"/>
                  </a:lnTo>
                  <a:lnTo>
                    <a:pt x="148393" y="259533"/>
                  </a:lnTo>
                  <a:lnTo>
                    <a:pt x="148393" y="256428"/>
                  </a:lnTo>
                  <a:lnTo>
                    <a:pt x="129456" y="254255"/>
                  </a:lnTo>
                  <a:lnTo>
                    <a:pt x="117038" y="249909"/>
                  </a:lnTo>
                  <a:lnTo>
                    <a:pt x="107725" y="242458"/>
                  </a:lnTo>
                  <a:lnTo>
                    <a:pt x="106793" y="237181"/>
                  </a:lnTo>
                  <a:lnTo>
                    <a:pt x="102758" y="231903"/>
                  </a:lnTo>
                  <a:lnTo>
                    <a:pt x="100584" y="226625"/>
                  </a:lnTo>
                  <a:lnTo>
                    <a:pt x="100584" y="220417"/>
                  </a:lnTo>
                  <a:lnTo>
                    <a:pt x="100584" y="217312"/>
                  </a:lnTo>
                  <a:lnTo>
                    <a:pt x="100584" y="212966"/>
                  </a:lnTo>
                  <a:lnTo>
                    <a:pt x="102758" y="212966"/>
                  </a:lnTo>
                  <a:lnTo>
                    <a:pt x="104931" y="212034"/>
                  </a:lnTo>
                  <a:lnTo>
                    <a:pt x="107104" y="212034"/>
                  </a:lnTo>
                  <a:lnTo>
                    <a:pt x="108035" y="212034"/>
                  </a:lnTo>
                  <a:lnTo>
                    <a:pt x="112071" y="209861"/>
                  </a:lnTo>
                  <a:lnTo>
                    <a:pt x="113623" y="204894"/>
                  </a:lnTo>
                  <a:lnTo>
                    <a:pt x="113623" y="198685"/>
                  </a:lnTo>
                  <a:lnTo>
                    <a:pt x="113623" y="195581"/>
                  </a:lnTo>
                  <a:lnTo>
                    <a:pt x="114554" y="193408"/>
                  </a:lnTo>
                  <a:lnTo>
                    <a:pt x="116728" y="190303"/>
                  </a:lnTo>
                  <a:lnTo>
                    <a:pt x="118901" y="190303"/>
                  </a:lnTo>
                  <a:lnTo>
                    <a:pt x="121074" y="188130"/>
                  </a:lnTo>
                  <a:lnTo>
                    <a:pt x="122005" y="188130"/>
                  </a:lnTo>
                  <a:lnTo>
                    <a:pt x="124178" y="188130"/>
                  </a:lnTo>
                  <a:lnTo>
                    <a:pt x="127283" y="185957"/>
                  </a:lnTo>
                  <a:lnTo>
                    <a:pt x="129456" y="178506"/>
                  </a:lnTo>
                  <a:lnTo>
                    <a:pt x="131629" y="173229"/>
                  </a:lnTo>
                  <a:lnTo>
                    <a:pt x="133802" y="167951"/>
                  </a:lnTo>
                  <a:lnTo>
                    <a:pt x="136907" y="162674"/>
                  </a:lnTo>
                  <a:lnTo>
                    <a:pt x="139080" y="160500"/>
                  </a:lnTo>
                  <a:lnTo>
                    <a:pt x="141253" y="160500"/>
                  </a:lnTo>
                  <a:lnTo>
                    <a:pt x="142184" y="158327"/>
                  </a:lnTo>
                  <a:lnTo>
                    <a:pt x="144357" y="158327"/>
                  </a:lnTo>
                  <a:lnTo>
                    <a:pt x="148083" y="158327"/>
                  </a:lnTo>
                  <a:lnTo>
                    <a:pt x="148083" y="158327"/>
                  </a:lnTo>
                  <a:lnTo>
                    <a:pt x="148083" y="158327"/>
                  </a:lnTo>
                  <a:close/>
                  <a:moveTo>
                    <a:pt x="1222846" y="138148"/>
                  </a:moveTo>
                  <a:lnTo>
                    <a:pt x="1228124" y="140322"/>
                  </a:lnTo>
                  <a:lnTo>
                    <a:pt x="1233401" y="141253"/>
                  </a:lnTo>
                  <a:lnTo>
                    <a:pt x="1236506" y="143426"/>
                  </a:lnTo>
                  <a:lnTo>
                    <a:pt x="1242714" y="145599"/>
                  </a:lnTo>
                  <a:lnTo>
                    <a:pt x="1242714" y="150877"/>
                  </a:lnTo>
                  <a:lnTo>
                    <a:pt x="1243646" y="155223"/>
                  </a:lnTo>
                  <a:lnTo>
                    <a:pt x="1243646" y="158327"/>
                  </a:lnTo>
                  <a:lnTo>
                    <a:pt x="1245819" y="162674"/>
                  </a:lnTo>
                  <a:lnTo>
                    <a:pt x="1233401" y="162674"/>
                  </a:lnTo>
                  <a:lnTo>
                    <a:pt x="1231228" y="158327"/>
                  </a:lnTo>
                  <a:lnTo>
                    <a:pt x="1229055" y="155223"/>
                  </a:lnTo>
                  <a:lnTo>
                    <a:pt x="1225950" y="150877"/>
                  </a:lnTo>
                  <a:lnTo>
                    <a:pt x="1223777" y="148704"/>
                  </a:lnTo>
                  <a:lnTo>
                    <a:pt x="1223777" y="143426"/>
                  </a:lnTo>
                  <a:lnTo>
                    <a:pt x="1222846" y="138148"/>
                  </a:lnTo>
                  <a:lnTo>
                    <a:pt x="1222846" y="138148"/>
                  </a:lnTo>
                  <a:lnTo>
                    <a:pt x="1222846" y="138148"/>
                  </a:lnTo>
                  <a:close/>
                  <a:moveTo>
                    <a:pt x="1730114" y="113934"/>
                  </a:moveTo>
                  <a:lnTo>
                    <a:pt x="1736323" y="123557"/>
                  </a:lnTo>
                  <a:lnTo>
                    <a:pt x="1741601" y="141563"/>
                  </a:lnTo>
                  <a:lnTo>
                    <a:pt x="1749051" y="158327"/>
                  </a:lnTo>
                  <a:lnTo>
                    <a:pt x="1758365" y="175091"/>
                  </a:lnTo>
                  <a:lnTo>
                    <a:pt x="1763642" y="182542"/>
                  </a:lnTo>
                  <a:lnTo>
                    <a:pt x="1766747" y="178196"/>
                  </a:lnTo>
                  <a:lnTo>
                    <a:pt x="1768920" y="177265"/>
                  </a:lnTo>
                  <a:lnTo>
                    <a:pt x="1772956" y="177265"/>
                  </a:lnTo>
                  <a:lnTo>
                    <a:pt x="1776060" y="175091"/>
                  </a:lnTo>
                  <a:lnTo>
                    <a:pt x="1783511" y="175091"/>
                  </a:lnTo>
                  <a:lnTo>
                    <a:pt x="1783511" y="178196"/>
                  </a:lnTo>
                  <a:lnTo>
                    <a:pt x="1787547" y="178196"/>
                  </a:lnTo>
                  <a:lnTo>
                    <a:pt x="1787547" y="189682"/>
                  </a:lnTo>
                  <a:lnTo>
                    <a:pt x="1759296" y="192787"/>
                  </a:lnTo>
                  <a:lnTo>
                    <a:pt x="1756192" y="222279"/>
                  </a:lnTo>
                  <a:lnTo>
                    <a:pt x="1746878" y="246494"/>
                  </a:lnTo>
                  <a:lnTo>
                    <a:pt x="1739428" y="270709"/>
                  </a:lnTo>
                  <a:lnTo>
                    <a:pt x="1736323" y="290888"/>
                  </a:lnTo>
                  <a:lnTo>
                    <a:pt x="1734150" y="311067"/>
                  </a:lnTo>
                  <a:lnTo>
                    <a:pt x="1734150" y="327831"/>
                  </a:lnTo>
                  <a:lnTo>
                    <a:pt x="1730114" y="343664"/>
                  </a:lnTo>
                  <a:lnTo>
                    <a:pt x="1727010" y="343664"/>
                  </a:lnTo>
                  <a:lnTo>
                    <a:pt x="1727010" y="340559"/>
                  </a:lnTo>
                  <a:lnTo>
                    <a:pt x="1721732" y="333108"/>
                  </a:lnTo>
                  <a:lnTo>
                    <a:pt x="1712419" y="323485"/>
                  </a:lnTo>
                  <a:lnTo>
                    <a:pt x="1701864" y="310756"/>
                  </a:lnTo>
                  <a:lnTo>
                    <a:pt x="1692550" y="298028"/>
                  </a:lnTo>
                  <a:lnTo>
                    <a:pt x="1685100" y="285300"/>
                  </a:lnTo>
                  <a:lnTo>
                    <a:pt x="1681064" y="273813"/>
                  </a:lnTo>
                  <a:lnTo>
                    <a:pt x="1683237" y="266363"/>
                  </a:lnTo>
                  <a:lnTo>
                    <a:pt x="1687273" y="264189"/>
                  </a:lnTo>
                  <a:lnTo>
                    <a:pt x="1690377" y="264189"/>
                  </a:lnTo>
                  <a:lnTo>
                    <a:pt x="1692550" y="264189"/>
                  </a:lnTo>
                  <a:lnTo>
                    <a:pt x="1694723" y="264189"/>
                  </a:lnTo>
                  <a:lnTo>
                    <a:pt x="1695655" y="264189"/>
                  </a:lnTo>
                  <a:lnTo>
                    <a:pt x="1697828" y="264189"/>
                  </a:lnTo>
                  <a:lnTo>
                    <a:pt x="1700001" y="263879"/>
                  </a:lnTo>
                  <a:lnTo>
                    <a:pt x="1703106" y="259533"/>
                  </a:lnTo>
                  <a:lnTo>
                    <a:pt x="1700001" y="259533"/>
                  </a:lnTo>
                  <a:lnTo>
                    <a:pt x="1700001" y="256428"/>
                  </a:lnTo>
                  <a:lnTo>
                    <a:pt x="1683237" y="254255"/>
                  </a:lnTo>
                  <a:lnTo>
                    <a:pt x="1673924" y="248978"/>
                  </a:lnTo>
                  <a:lnTo>
                    <a:pt x="1666473" y="239354"/>
                  </a:lnTo>
                  <a:lnTo>
                    <a:pt x="1673924" y="237181"/>
                  </a:lnTo>
                  <a:lnTo>
                    <a:pt x="1680132" y="235007"/>
                  </a:lnTo>
                  <a:lnTo>
                    <a:pt x="1683237" y="234076"/>
                  </a:lnTo>
                  <a:lnTo>
                    <a:pt x="1687273" y="231903"/>
                  </a:lnTo>
                  <a:lnTo>
                    <a:pt x="1690377" y="229730"/>
                  </a:lnTo>
                  <a:lnTo>
                    <a:pt x="1694413" y="226625"/>
                  </a:lnTo>
                  <a:lnTo>
                    <a:pt x="1694413" y="222279"/>
                  </a:lnTo>
                  <a:lnTo>
                    <a:pt x="1679822" y="222279"/>
                  </a:lnTo>
                  <a:lnTo>
                    <a:pt x="1675786" y="224452"/>
                  </a:lnTo>
                  <a:lnTo>
                    <a:pt x="1672682" y="224452"/>
                  </a:lnTo>
                  <a:lnTo>
                    <a:pt x="1668646" y="226625"/>
                  </a:lnTo>
                  <a:lnTo>
                    <a:pt x="1663369" y="226625"/>
                  </a:lnTo>
                  <a:lnTo>
                    <a:pt x="1654055" y="209861"/>
                  </a:lnTo>
                  <a:lnTo>
                    <a:pt x="1643500" y="193097"/>
                  </a:lnTo>
                  <a:lnTo>
                    <a:pt x="1644431" y="187820"/>
                  </a:lnTo>
                  <a:lnTo>
                    <a:pt x="1644431" y="184715"/>
                  </a:lnTo>
                  <a:lnTo>
                    <a:pt x="1646604" y="182542"/>
                  </a:lnTo>
                  <a:lnTo>
                    <a:pt x="1648778" y="178196"/>
                  </a:lnTo>
                  <a:lnTo>
                    <a:pt x="1648778" y="175091"/>
                  </a:lnTo>
                  <a:lnTo>
                    <a:pt x="1650951" y="169814"/>
                  </a:lnTo>
                  <a:lnTo>
                    <a:pt x="1646915" y="169814"/>
                  </a:lnTo>
                  <a:lnTo>
                    <a:pt x="1646915" y="165468"/>
                  </a:lnTo>
                  <a:lnTo>
                    <a:pt x="1643810" y="167641"/>
                  </a:lnTo>
                  <a:lnTo>
                    <a:pt x="1641637" y="167641"/>
                  </a:lnTo>
                  <a:lnTo>
                    <a:pt x="1639464" y="167641"/>
                  </a:lnTo>
                  <a:lnTo>
                    <a:pt x="1639464" y="167641"/>
                  </a:lnTo>
                  <a:lnTo>
                    <a:pt x="1637291" y="167641"/>
                  </a:lnTo>
                  <a:lnTo>
                    <a:pt x="1637291" y="165468"/>
                  </a:lnTo>
                  <a:lnTo>
                    <a:pt x="1634187" y="162363"/>
                  </a:lnTo>
                  <a:lnTo>
                    <a:pt x="1632013" y="158017"/>
                  </a:lnTo>
                  <a:lnTo>
                    <a:pt x="1629840" y="154912"/>
                  </a:lnTo>
                  <a:lnTo>
                    <a:pt x="1628909" y="152739"/>
                  </a:lnTo>
                  <a:lnTo>
                    <a:pt x="1628909" y="147462"/>
                  </a:lnTo>
                  <a:lnTo>
                    <a:pt x="1626736" y="141253"/>
                  </a:lnTo>
                  <a:lnTo>
                    <a:pt x="1646604" y="128525"/>
                  </a:lnTo>
                  <a:lnTo>
                    <a:pt x="1666473" y="117969"/>
                  </a:lnTo>
                  <a:lnTo>
                    <a:pt x="1668646" y="123247"/>
                  </a:lnTo>
                  <a:lnTo>
                    <a:pt x="1670819" y="128525"/>
                  </a:lnTo>
                  <a:lnTo>
                    <a:pt x="1672992" y="130698"/>
                  </a:lnTo>
                  <a:lnTo>
                    <a:pt x="1676097" y="132871"/>
                  </a:lnTo>
                  <a:lnTo>
                    <a:pt x="1678270" y="132871"/>
                  </a:lnTo>
                  <a:lnTo>
                    <a:pt x="1680443" y="133802"/>
                  </a:lnTo>
                  <a:lnTo>
                    <a:pt x="1683547" y="135975"/>
                  </a:lnTo>
                  <a:lnTo>
                    <a:pt x="1687583" y="138148"/>
                  </a:lnTo>
                  <a:lnTo>
                    <a:pt x="1690688" y="148704"/>
                  </a:lnTo>
                  <a:lnTo>
                    <a:pt x="1692861" y="162363"/>
                  </a:lnTo>
                  <a:lnTo>
                    <a:pt x="1695034" y="175091"/>
                  </a:lnTo>
                  <a:lnTo>
                    <a:pt x="1703416" y="175091"/>
                  </a:lnTo>
                  <a:lnTo>
                    <a:pt x="1703416" y="165468"/>
                  </a:lnTo>
                  <a:lnTo>
                    <a:pt x="1700311" y="154912"/>
                  </a:lnTo>
                  <a:lnTo>
                    <a:pt x="1700311" y="141253"/>
                  </a:lnTo>
                  <a:lnTo>
                    <a:pt x="1703416" y="128525"/>
                  </a:lnTo>
                  <a:lnTo>
                    <a:pt x="1707452" y="117969"/>
                  </a:lnTo>
                  <a:lnTo>
                    <a:pt x="1730114" y="113934"/>
                  </a:lnTo>
                  <a:lnTo>
                    <a:pt x="1730114" y="113934"/>
                  </a:lnTo>
                  <a:lnTo>
                    <a:pt x="1730114" y="113934"/>
                  </a:lnTo>
                  <a:close/>
                  <a:moveTo>
                    <a:pt x="2755827" y="104620"/>
                  </a:moveTo>
                  <a:lnTo>
                    <a:pt x="2761105" y="108966"/>
                  </a:lnTo>
                  <a:lnTo>
                    <a:pt x="2765140" y="112071"/>
                  </a:lnTo>
                  <a:lnTo>
                    <a:pt x="2770418" y="112071"/>
                  </a:lnTo>
                  <a:lnTo>
                    <a:pt x="2775696" y="112071"/>
                  </a:lnTo>
                  <a:lnTo>
                    <a:pt x="2785009" y="114244"/>
                  </a:lnTo>
                  <a:lnTo>
                    <a:pt x="2782836" y="118590"/>
                  </a:lnTo>
                  <a:lnTo>
                    <a:pt x="2782836" y="119522"/>
                  </a:lnTo>
                  <a:lnTo>
                    <a:pt x="2782836" y="121695"/>
                  </a:lnTo>
                  <a:lnTo>
                    <a:pt x="2781905" y="123868"/>
                  </a:lnTo>
                  <a:lnTo>
                    <a:pt x="2781905" y="126041"/>
                  </a:lnTo>
                  <a:lnTo>
                    <a:pt x="2768245" y="133492"/>
                  </a:lnTo>
                  <a:lnTo>
                    <a:pt x="2750550" y="136596"/>
                  </a:lnTo>
                  <a:lnTo>
                    <a:pt x="2731613" y="138769"/>
                  </a:lnTo>
                  <a:lnTo>
                    <a:pt x="2730681" y="134423"/>
                  </a:lnTo>
                  <a:lnTo>
                    <a:pt x="2730681" y="131319"/>
                  </a:lnTo>
                  <a:lnTo>
                    <a:pt x="2728508" y="126972"/>
                  </a:lnTo>
                  <a:lnTo>
                    <a:pt x="2728508" y="121695"/>
                  </a:lnTo>
                  <a:lnTo>
                    <a:pt x="2733786" y="118590"/>
                  </a:lnTo>
                  <a:lnTo>
                    <a:pt x="2737821" y="114244"/>
                  </a:lnTo>
                  <a:lnTo>
                    <a:pt x="2740926" y="112071"/>
                  </a:lnTo>
                  <a:lnTo>
                    <a:pt x="2744961" y="108966"/>
                  </a:lnTo>
                  <a:lnTo>
                    <a:pt x="2748066" y="106793"/>
                  </a:lnTo>
                  <a:lnTo>
                    <a:pt x="2755827" y="104620"/>
                  </a:lnTo>
                  <a:lnTo>
                    <a:pt x="2755827" y="104620"/>
                  </a:lnTo>
                  <a:lnTo>
                    <a:pt x="2755827" y="104620"/>
                  </a:lnTo>
                  <a:close/>
                  <a:moveTo>
                    <a:pt x="2195472" y="104620"/>
                  </a:moveTo>
                  <a:lnTo>
                    <a:pt x="2210063" y="106793"/>
                  </a:lnTo>
                  <a:lnTo>
                    <a:pt x="2220619" y="112071"/>
                  </a:lnTo>
                  <a:lnTo>
                    <a:pt x="2231174" y="118280"/>
                  </a:lnTo>
                  <a:lnTo>
                    <a:pt x="2228069" y="121384"/>
                  </a:lnTo>
                  <a:lnTo>
                    <a:pt x="2225896" y="126662"/>
                  </a:lnTo>
                  <a:lnTo>
                    <a:pt x="2222792" y="128835"/>
                  </a:lnTo>
                  <a:lnTo>
                    <a:pt x="2217514" y="131008"/>
                  </a:lnTo>
                  <a:lnTo>
                    <a:pt x="2211305" y="133181"/>
                  </a:lnTo>
                  <a:lnTo>
                    <a:pt x="2203855" y="133181"/>
                  </a:lnTo>
                  <a:lnTo>
                    <a:pt x="2198577" y="136286"/>
                  </a:lnTo>
                  <a:lnTo>
                    <a:pt x="2193300" y="136286"/>
                  </a:lnTo>
                  <a:lnTo>
                    <a:pt x="2188022" y="138459"/>
                  </a:lnTo>
                  <a:lnTo>
                    <a:pt x="2180571" y="138459"/>
                  </a:lnTo>
                  <a:lnTo>
                    <a:pt x="2180571" y="126972"/>
                  </a:lnTo>
                  <a:lnTo>
                    <a:pt x="2181502" y="119522"/>
                  </a:lnTo>
                  <a:lnTo>
                    <a:pt x="2188953" y="114244"/>
                  </a:lnTo>
                  <a:lnTo>
                    <a:pt x="2195472" y="104620"/>
                  </a:lnTo>
                  <a:lnTo>
                    <a:pt x="2195472" y="104620"/>
                  </a:lnTo>
                  <a:lnTo>
                    <a:pt x="2195472" y="104620"/>
                  </a:lnTo>
                  <a:close/>
                  <a:moveTo>
                    <a:pt x="798156" y="104620"/>
                  </a:moveTo>
                  <a:lnTo>
                    <a:pt x="812747" y="104620"/>
                  </a:lnTo>
                  <a:lnTo>
                    <a:pt x="815852" y="114244"/>
                  </a:lnTo>
                  <a:lnTo>
                    <a:pt x="819887" y="119522"/>
                  </a:lnTo>
                  <a:lnTo>
                    <a:pt x="822992" y="126972"/>
                  </a:lnTo>
                  <a:lnTo>
                    <a:pt x="825165" y="138459"/>
                  </a:lnTo>
                  <a:lnTo>
                    <a:pt x="822060" y="138459"/>
                  </a:lnTo>
                  <a:lnTo>
                    <a:pt x="810574" y="131008"/>
                  </a:lnTo>
                  <a:lnTo>
                    <a:pt x="803123" y="123557"/>
                  </a:lnTo>
                  <a:lnTo>
                    <a:pt x="797846" y="116107"/>
                  </a:lnTo>
                  <a:lnTo>
                    <a:pt x="797846" y="104620"/>
                  </a:lnTo>
                  <a:lnTo>
                    <a:pt x="798156" y="104620"/>
                  </a:lnTo>
                  <a:lnTo>
                    <a:pt x="798156" y="104620"/>
                  </a:lnTo>
                  <a:close/>
                  <a:moveTo>
                    <a:pt x="2852997" y="81337"/>
                  </a:moveTo>
                  <a:lnTo>
                    <a:pt x="2856101" y="81337"/>
                  </a:lnTo>
                  <a:lnTo>
                    <a:pt x="2860137" y="83510"/>
                  </a:lnTo>
                  <a:lnTo>
                    <a:pt x="2861068" y="83510"/>
                  </a:lnTo>
                  <a:lnTo>
                    <a:pt x="2863241" y="83510"/>
                  </a:lnTo>
                  <a:lnTo>
                    <a:pt x="2865415" y="84441"/>
                  </a:lnTo>
                  <a:lnTo>
                    <a:pt x="2861379" y="88788"/>
                  </a:lnTo>
                  <a:lnTo>
                    <a:pt x="2858274" y="91892"/>
                  </a:lnTo>
                  <a:lnTo>
                    <a:pt x="2856101" y="97170"/>
                  </a:lnTo>
                  <a:lnTo>
                    <a:pt x="2853928" y="101516"/>
                  </a:lnTo>
                  <a:lnTo>
                    <a:pt x="2852997" y="108966"/>
                  </a:lnTo>
                  <a:lnTo>
                    <a:pt x="2856101" y="108966"/>
                  </a:lnTo>
                  <a:lnTo>
                    <a:pt x="2860137" y="103689"/>
                  </a:lnTo>
                  <a:lnTo>
                    <a:pt x="2863241" y="99343"/>
                  </a:lnTo>
                  <a:lnTo>
                    <a:pt x="2867277" y="96238"/>
                  </a:lnTo>
                  <a:lnTo>
                    <a:pt x="2872555" y="94065"/>
                  </a:lnTo>
                  <a:lnTo>
                    <a:pt x="2883110" y="104620"/>
                  </a:lnTo>
                  <a:lnTo>
                    <a:pt x="2896770" y="114244"/>
                  </a:lnTo>
                  <a:lnTo>
                    <a:pt x="2905151" y="121695"/>
                  </a:lnTo>
                  <a:lnTo>
                    <a:pt x="2905151" y="145910"/>
                  </a:lnTo>
                  <a:lnTo>
                    <a:pt x="2911360" y="151187"/>
                  </a:lnTo>
                  <a:lnTo>
                    <a:pt x="2916638" y="155533"/>
                  </a:lnTo>
                  <a:lnTo>
                    <a:pt x="2921916" y="156465"/>
                  </a:lnTo>
                  <a:lnTo>
                    <a:pt x="2925952" y="163915"/>
                  </a:lnTo>
                  <a:lnTo>
                    <a:pt x="2929056" y="178817"/>
                  </a:lnTo>
                  <a:lnTo>
                    <a:pt x="2921605" y="188441"/>
                  </a:lnTo>
                  <a:lnTo>
                    <a:pt x="2918501" y="198064"/>
                  </a:lnTo>
                  <a:lnTo>
                    <a:pt x="2911050" y="203342"/>
                  </a:lnTo>
                  <a:lnTo>
                    <a:pt x="2901737" y="205515"/>
                  </a:lnTo>
                  <a:lnTo>
                    <a:pt x="2884972" y="206446"/>
                  </a:lnTo>
                  <a:lnTo>
                    <a:pt x="2872555" y="195891"/>
                  </a:lnTo>
                  <a:lnTo>
                    <a:pt x="2853618" y="186267"/>
                  </a:lnTo>
                  <a:lnTo>
                    <a:pt x="2833749" y="180990"/>
                  </a:lnTo>
                  <a:lnTo>
                    <a:pt x="2813881" y="173539"/>
                  </a:lnTo>
                  <a:lnTo>
                    <a:pt x="2796185" y="166089"/>
                  </a:lnTo>
                  <a:lnTo>
                    <a:pt x="2784699" y="155533"/>
                  </a:lnTo>
                  <a:lnTo>
                    <a:pt x="2792149" y="151187"/>
                  </a:lnTo>
                  <a:lnTo>
                    <a:pt x="2797427" y="148083"/>
                  </a:lnTo>
                  <a:lnTo>
                    <a:pt x="2801463" y="143736"/>
                  </a:lnTo>
                  <a:lnTo>
                    <a:pt x="2803636" y="138459"/>
                  </a:lnTo>
                  <a:lnTo>
                    <a:pt x="2804567" y="128835"/>
                  </a:lnTo>
                  <a:lnTo>
                    <a:pt x="2803636" y="125731"/>
                  </a:lnTo>
                  <a:lnTo>
                    <a:pt x="2801463" y="119522"/>
                  </a:lnTo>
                  <a:lnTo>
                    <a:pt x="2801463" y="111760"/>
                  </a:lnTo>
                  <a:lnTo>
                    <a:pt x="2801463" y="104310"/>
                  </a:lnTo>
                  <a:lnTo>
                    <a:pt x="2801463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3636" y="103378"/>
                  </a:lnTo>
                  <a:lnTo>
                    <a:pt x="2804567" y="101205"/>
                  </a:lnTo>
                  <a:lnTo>
                    <a:pt x="2821331" y="96859"/>
                  </a:lnTo>
                  <a:lnTo>
                    <a:pt x="2839027" y="88477"/>
                  </a:lnTo>
                  <a:lnTo>
                    <a:pt x="2852997" y="81337"/>
                  </a:lnTo>
                  <a:lnTo>
                    <a:pt x="2852997" y="81337"/>
                  </a:lnTo>
                  <a:lnTo>
                    <a:pt x="2852997" y="81337"/>
                  </a:lnTo>
                  <a:close/>
                  <a:moveTo>
                    <a:pt x="2621404" y="76991"/>
                  </a:moveTo>
                  <a:lnTo>
                    <a:pt x="2631959" y="76991"/>
                  </a:lnTo>
                  <a:lnTo>
                    <a:pt x="2646550" y="91892"/>
                  </a:lnTo>
                  <a:lnTo>
                    <a:pt x="2665487" y="104620"/>
                  </a:lnTo>
                  <a:lnTo>
                    <a:pt x="2665487" y="108656"/>
                  </a:lnTo>
                  <a:lnTo>
                    <a:pt x="2661451" y="108656"/>
                  </a:lnTo>
                  <a:lnTo>
                    <a:pt x="2661451" y="113934"/>
                  </a:lnTo>
                  <a:lnTo>
                    <a:pt x="2643756" y="104310"/>
                  </a:lnTo>
                  <a:lnTo>
                    <a:pt x="2631338" y="91582"/>
                  </a:lnTo>
                  <a:lnTo>
                    <a:pt x="2621404" y="76991"/>
                  </a:lnTo>
                  <a:lnTo>
                    <a:pt x="2621404" y="76991"/>
                  </a:lnTo>
                  <a:lnTo>
                    <a:pt x="2621404" y="76991"/>
                  </a:lnTo>
                  <a:close/>
                  <a:moveTo>
                    <a:pt x="2255078" y="71713"/>
                  </a:moveTo>
                  <a:lnTo>
                    <a:pt x="2269669" y="76059"/>
                  </a:lnTo>
                  <a:lnTo>
                    <a:pt x="2281155" y="79164"/>
                  </a:lnTo>
                  <a:lnTo>
                    <a:pt x="2291711" y="84441"/>
                  </a:lnTo>
                  <a:lnTo>
                    <a:pt x="2291711" y="94065"/>
                  </a:lnTo>
                  <a:lnTo>
                    <a:pt x="2282397" y="96238"/>
                  </a:lnTo>
                  <a:lnTo>
                    <a:pt x="2274015" y="99343"/>
                  </a:lnTo>
                  <a:lnTo>
                    <a:pt x="2260356" y="101516"/>
                  </a:lnTo>
                  <a:lnTo>
                    <a:pt x="2255078" y="103689"/>
                  </a:lnTo>
                  <a:lnTo>
                    <a:pt x="2251974" y="104620"/>
                  </a:lnTo>
                  <a:lnTo>
                    <a:pt x="2245765" y="104620"/>
                  </a:lnTo>
                  <a:lnTo>
                    <a:pt x="2240487" y="104620"/>
                  </a:lnTo>
                  <a:lnTo>
                    <a:pt x="2240487" y="94065"/>
                  </a:lnTo>
                  <a:lnTo>
                    <a:pt x="2244523" y="88788"/>
                  </a:lnTo>
                  <a:lnTo>
                    <a:pt x="2249800" y="81337"/>
                  </a:lnTo>
                  <a:lnTo>
                    <a:pt x="2255078" y="71713"/>
                  </a:lnTo>
                  <a:lnTo>
                    <a:pt x="2255078" y="71713"/>
                  </a:lnTo>
                  <a:lnTo>
                    <a:pt x="2255078" y="71713"/>
                  </a:lnTo>
                  <a:close/>
                  <a:moveTo>
                    <a:pt x="1810520" y="61158"/>
                  </a:moveTo>
                  <a:lnTo>
                    <a:pt x="1810520" y="81337"/>
                  </a:lnTo>
                  <a:lnTo>
                    <a:pt x="1817970" y="81337"/>
                  </a:lnTo>
                  <a:lnTo>
                    <a:pt x="1822006" y="79164"/>
                  </a:lnTo>
                  <a:lnTo>
                    <a:pt x="1825111" y="79164"/>
                  </a:lnTo>
                  <a:lnTo>
                    <a:pt x="1829146" y="79164"/>
                  </a:lnTo>
                  <a:lnTo>
                    <a:pt x="1830078" y="79164"/>
                  </a:lnTo>
                  <a:lnTo>
                    <a:pt x="1834114" y="81337"/>
                  </a:lnTo>
                  <a:lnTo>
                    <a:pt x="1839391" y="84441"/>
                  </a:lnTo>
                  <a:lnTo>
                    <a:pt x="1839391" y="94065"/>
                  </a:lnTo>
                  <a:lnTo>
                    <a:pt x="1843427" y="96238"/>
                  </a:lnTo>
                  <a:lnTo>
                    <a:pt x="1848705" y="96238"/>
                  </a:lnTo>
                  <a:lnTo>
                    <a:pt x="1851809" y="94065"/>
                  </a:lnTo>
                  <a:lnTo>
                    <a:pt x="1858018" y="94065"/>
                  </a:lnTo>
                  <a:lnTo>
                    <a:pt x="1858949" y="91892"/>
                  </a:lnTo>
                  <a:lnTo>
                    <a:pt x="1862985" y="94065"/>
                  </a:lnTo>
                  <a:lnTo>
                    <a:pt x="1866090" y="97170"/>
                  </a:lnTo>
                  <a:lnTo>
                    <a:pt x="1870125" y="103378"/>
                  </a:lnTo>
                  <a:lnTo>
                    <a:pt x="1873230" y="108656"/>
                  </a:lnTo>
                  <a:lnTo>
                    <a:pt x="1867952" y="121384"/>
                  </a:lnTo>
                  <a:lnTo>
                    <a:pt x="1862675" y="134113"/>
                  </a:lnTo>
                  <a:lnTo>
                    <a:pt x="1858639" y="149014"/>
                  </a:lnTo>
                  <a:lnTo>
                    <a:pt x="1846221" y="149014"/>
                  </a:lnTo>
                  <a:lnTo>
                    <a:pt x="1836908" y="153360"/>
                  </a:lnTo>
                  <a:lnTo>
                    <a:pt x="1828526" y="158638"/>
                  </a:lnTo>
                  <a:lnTo>
                    <a:pt x="1813935" y="162984"/>
                  </a:lnTo>
                  <a:lnTo>
                    <a:pt x="1804621" y="155533"/>
                  </a:lnTo>
                  <a:lnTo>
                    <a:pt x="1792203" y="151187"/>
                  </a:lnTo>
                  <a:lnTo>
                    <a:pt x="1779786" y="145910"/>
                  </a:lnTo>
                  <a:lnTo>
                    <a:pt x="1777613" y="141563"/>
                  </a:lnTo>
                  <a:lnTo>
                    <a:pt x="1777613" y="138459"/>
                  </a:lnTo>
                  <a:lnTo>
                    <a:pt x="1775439" y="134113"/>
                  </a:lnTo>
                  <a:lnTo>
                    <a:pt x="1773266" y="128835"/>
                  </a:lnTo>
                  <a:lnTo>
                    <a:pt x="1767989" y="123557"/>
                  </a:lnTo>
                  <a:lnTo>
                    <a:pt x="1762711" y="118280"/>
                  </a:lnTo>
                  <a:lnTo>
                    <a:pt x="1758675" y="113934"/>
                  </a:lnTo>
                  <a:lnTo>
                    <a:pt x="1755571" y="106483"/>
                  </a:lnTo>
                  <a:lnTo>
                    <a:pt x="1753398" y="93755"/>
                  </a:lnTo>
                  <a:lnTo>
                    <a:pt x="1760848" y="84131"/>
                  </a:lnTo>
                  <a:lnTo>
                    <a:pt x="1766126" y="76680"/>
                  </a:lnTo>
                  <a:lnTo>
                    <a:pt x="1773577" y="76680"/>
                  </a:lnTo>
                  <a:lnTo>
                    <a:pt x="1779786" y="78853"/>
                  </a:lnTo>
                  <a:lnTo>
                    <a:pt x="1787236" y="81026"/>
                  </a:lnTo>
                  <a:lnTo>
                    <a:pt x="1794687" y="81026"/>
                  </a:lnTo>
                  <a:lnTo>
                    <a:pt x="1794687" y="68298"/>
                  </a:lnTo>
                  <a:lnTo>
                    <a:pt x="1797791" y="66125"/>
                  </a:lnTo>
                  <a:lnTo>
                    <a:pt x="1801827" y="63952"/>
                  </a:lnTo>
                  <a:lnTo>
                    <a:pt x="1802759" y="63952"/>
                  </a:lnTo>
                  <a:lnTo>
                    <a:pt x="1806794" y="61779"/>
                  </a:lnTo>
                  <a:lnTo>
                    <a:pt x="1810520" y="61158"/>
                  </a:lnTo>
                  <a:lnTo>
                    <a:pt x="1810520" y="61158"/>
                  </a:lnTo>
                  <a:lnTo>
                    <a:pt x="1810520" y="61158"/>
                  </a:lnTo>
                  <a:close/>
                  <a:moveTo>
                    <a:pt x="2281155" y="47498"/>
                  </a:moveTo>
                  <a:lnTo>
                    <a:pt x="2295747" y="47498"/>
                  </a:lnTo>
                  <a:lnTo>
                    <a:pt x="2304129" y="57122"/>
                  </a:lnTo>
                  <a:lnTo>
                    <a:pt x="2313442" y="62400"/>
                  </a:lnTo>
                  <a:lnTo>
                    <a:pt x="2320893" y="69850"/>
                  </a:lnTo>
                  <a:lnTo>
                    <a:pt x="2328343" y="81337"/>
                  </a:lnTo>
                  <a:lnTo>
                    <a:pt x="2311579" y="81337"/>
                  </a:lnTo>
                  <a:lnTo>
                    <a:pt x="2301024" y="69850"/>
                  </a:lnTo>
                  <a:lnTo>
                    <a:pt x="2289538" y="61468"/>
                  </a:lnTo>
                  <a:lnTo>
                    <a:pt x="2281155" y="47498"/>
                  </a:lnTo>
                  <a:lnTo>
                    <a:pt x="2281155" y="47498"/>
                  </a:lnTo>
                  <a:lnTo>
                    <a:pt x="2281155" y="47498"/>
                  </a:lnTo>
                  <a:close/>
                  <a:moveTo>
                    <a:pt x="439281" y="47498"/>
                  </a:moveTo>
                  <a:lnTo>
                    <a:pt x="451699" y="47498"/>
                  </a:lnTo>
                  <a:lnTo>
                    <a:pt x="456976" y="51844"/>
                  </a:lnTo>
                  <a:lnTo>
                    <a:pt x="461012" y="54949"/>
                  </a:lnTo>
                  <a:lnTo>
                    <a:pt x="463185" y="59295"/>
                  </a:lnTo>
                  <a:lnTo>
                    <a:pt x="466290" y="64573"/>
                  </a:lnTo>
                  <a:lnTo>
                    <a:pt x="468463" y="68919"/>
                  </a:lnTo>
                  <a:lnTo>
                    <a:pt x="477776" y="59295"/>
                  </a:lnTo>
                  <a:lnTo>
                    <a:pt x="488331" y="54949"/>
                  </a:lnTo>
                  <a:lnTo>
                    <a:pt x="505095" y="57122"/>
                  </a:lnTo>
                  <a:lnTo>
                    <a:pt x="505095" y="72023"/>
                  </a:lnTo>
                  <a:lnTo>
                    <a:pt x="528068" y="74197"/>
                  </a:lnTo>
                  <a:lnTo>
                    <a:pt x="548868" y="77301"/>
                  </a:lnTo>
                  <a:lnTo>
                    <a:pt x="566564" y="81647"/>
                  </a:lnTo>
                  <a:lnTo>
                    <a:pt x="586432" y="83820"/>
                  </a:lnTo>
                  <a:lnTo>
                    <a:pt x="608474" y="81647"/>
                  </a:lnTo>
                  <a:lnTo>
                    <a:pt x="608474" y="94376"/>
                  </a:lnTo>
                  <a:lnTo>
                    <a:pt x="612510" y="94376"/>
                  </a:lnTo>
                  <a:lnTo>
                    <a:pt x="615614" y="94376"/>
                  </a:lnTo>
                  <a:lnTo>
                    <a:pt x="617787" y="94376"/>
                  </a:lnTo>
                  <a:lnTo>
                    <a:pt x="619960" y="96549"/>
                  </a:lnTo>
                  <a:lnTo>
                    <a:pt x="622133" y="97480"/>
                  </a:lnTo>
                  <a:lnTo>
                    <a:pt x="618098" y="97480"/>
                  </a:lnTo>
                  <a:lnTo>
                    <a:pt x="601023" y="108656"/>
                  </a:lnTo>
                  <a:lnTo>
                    <a:pt x="581155" y="121384"/>
                  </a:lnTo>
                  <a:lnTo>
                    <a:pt x="557250" y="132871"/>
                  </a:lnTo>
                  <a:lnTo>
                    <a:pt x="535209" y="145599"/>
                  </a:lnTo>
                  <a:lnTo>
                    <a:pt x="519686" y="156154"/>
                  </a:lnTo>
                  <a:lnTo>
                    <a:pt x="508200" y="165778"/>
                  </a:lnTo>
                  <a:lnTo>
                    <a:pt x="524964" y="165778"/>
                  </a:lnTo>
                  <a:lnTo>
                    <a:pt x="530241" y="162674"/>
                  </a:lnTo>
                  <a:lnTo>
                    <a:pt x="535519" y="160500"/>
                  </a:lnTo>
                  <a:lnTo>
                    <a:pt x="541728" y="158327"/>
                  </a:lnTo>
                  <a:lnTo>
                    <a:pt x="549179" y="158327"/>
                  </a:lnTo>
                  <a:lnTo>
                    <a:pt x="549179" y="162674"/>
                  </a:lnTo>
                  <a:lnTo>
                    <a:pt x="527137" y="178506"/>
                  </a:lnTo>
                  <a:lnTo>
                    <a:pt x="508200" y="195270"/>
                  </a:lnTo>
                  <a:lnTo>
                    <a:pt x="492677" y="212034"/>
                  </a:lnTo>
                  <a:lnTo>
                    <a:pt x="473740" y="226936"/>
                  </a:lnTo>
                  <a:lnTo>
                    <a:pt x="453872" y="239664"/>
                  </a:lnTo>
                  <a:lnTo>
                    <a:pt x="427794" y="247115"/>
                  </a:lnTo>
                  <a:lnTo>
                    <a:pt x="427794" y="259843"/>
                  </a:lnTo>
                  <a:lnTo>
                    <a:pt x="415377" y="262016"/>
                  </a:lnTo>
                  <a:lnTo>
                    <a:pt x="400786" y="267294"/>
                  </a:lnTo>
                  <a:lnTo>
                    <a:pt x="392403" y="274745"/>
                  </a:lnTo>
                  <a:lnTo>
                    <a:pt x="397681" y="279091"/>
                  </a:lnTo>
                  <a:lnTo>
                    <a:pt x="400786" y="282195"/>
                  </a:lnTo>
                  <a:lnTo>
                    <a:pt x="402959" y="284368"/>
                  </a:lnTo>
                  <a:lnTo>
                    <a:pt x="402959" y="287473"/>
                  </a:lnTo>
                  <a:lnTo>
                    <a:pt x="402959" y="291819"/>
                  </a:lnTo>
                  <a:lnTo>
                    <a:pt x="400786" y="297097"/>
                  </a:lnTo>
                  <a:lnTo>
                    <a:pt x="400786" y="304547"/>
                  </a:lnTo>
                  <a:lnTo>
                    <a:pt x="361048" y="307652"/>
                  </a:lnTo>
                  <a:lnTo>
                    <a:pt x="361048" y="311998"/>
                  </a:lnTo>
                  <a:lnTo>
                    <a:pt x="366326" y="314171"/>
                  </a:lnTo>
                  <a:lnTo>
                    <a:pt x="368499" y="314171"/>
                  </a:lnTo>
                  <a:lnTo>
                    <a:pt x="371604" y="314171"/>
                  </a:lnTo>
                  <a:lnTo>
                    <a:pt x="371604" y="314171"/>
                  </a:lnTo>
                  <a:lnTo>
                    <a:pt x="373777" y="315103"/>
                  </a:lnTo>
                  <a:lnTo>
                    <a:pt x="373777" y="317276"/>
                  </a:lnTo>
                  <a:lnTo>
                    <a:pt x="377813" y="321622"/>
                  </a:lnTo>
                  <a:lnTo>
                    <a:pt x="371604" y="321622"/>
                  </a:lnTo>
                  <a:lnTo>
                    <a:pt x="363222" y="324726"/>
                  </a:lnTo>
                  <a:lnTo>
                    <a:pt x="351735" y="329073"/>
                  </a:lnTo>
                  <a:lnTo>
                    <a:pt x="341180" y="332177"/>
                  </a:lnTo>
                  <a:lnTo>
                    <a:pt x="344284" y="334350"/>
                  </a:lnTo>
                  <a:lnTo>
                    <a:pt x="346458" y="334350"/>
                  </a:lnTo>
                  <a:lnTo>
                    <a:pt x="348631" y="334350"/>
                  </a:lnTo>
                  <a:lnTo>
                    <a:pt x="349562" y="336523"/>
                  </a:lnTo>
                  <a:lnTo>
                    <a:pt x="351735" y="336523"/>
                  </a:lnTo>
                  <a:lnTo>
                    <a:pt x="349562" y="339628"/>
                  </a:lnTo>
                  <a:lnTo>
                    <a:pt x="348631" y="343974"/>
                  </a:lnTo>
                  <a:lnTo>
                    <a:pt x="346458" y="344905"/>
                  </a:lnTo>
                  <a:lnTo>
                    <a:pt x="348631" y="347078"/>
                  </a:lnTo>
                  <a:lnTo>
                    <a:pt x="348631" y="349252"/>
                  </a:lnTo>
                  <a:lnTo>
                    <a:pt x="349562" y="352356"/>
                  </a:lnTo>
                  <a:lnTo>
                    <a:pt x="351735" y="356702"/>
                  </a:lnTo>
                  <a:lnTo>
                    <a:pt x="344284" y="358875"/>
                  </a:lnTo>
                  <a:lnTo>
                    <a:pt x="339007" y="358875"/>
                  </a:lnTo>
                  <a:lnTo>
                    <a:pt x="333729" y="358875"/>
                  </a:lnTo>
                  <a:lnTo>
                    <a:pt x="327520" y="361980"/>
                  </a:lnTo>
                  <a:lnTo>
                    <a:pt x="346458" y="361980"/>
                  </a:lnTo>
                  <a:lnTo>
                    <a:pt x="361048" y="366326"/>
                  </a:lnTo>
                  <a:lnTo>
                    <a:pt x="361048" y="373777"/>
                  </a:lnTo>
                  <a:lnTo>
                    <a:pt x="337144" y="373777"/>
                  </a:lnTo>
                  <a:lnTo>
                    <a:pt x="334971" y="379054"/>
                  </a:lnTo>
                  <a:lnTo>
                    <a:pt x="334971" y="381227"/>
                  </a:lnTo>
                  <a:lnTo>
                    <a:pt x="334971" y="382159"/>
                  </a:lnTo>
                  <a:lnTo>
                    <a:pt x="334040" y="384332"/>
                  </a:lnTo>
                  <a:lnTo>
                    <a:pt x="331867" y="386505"/>
                  </a:lnTo>
                  <a:lnTo>
                    <a:pt x="322553" y="389609"/>
                  </a:lnTo>
                  <a:lnTo>
                    <a:pt x="310135" y="389609"/>
                  </a:lnTo>
                  <a:lnTo>
                    <a:pt x="297717" y="389609"/>
                  </a:lnTo>
                  <a:lnTo>
                    <a:pt x="285300" y="382159"/>
                  </a:lnTo>
                  <a:lnTo>
                    <a:pt x="268536" y="382159"/>
                  </a:lnTo>
                  <a:lnTo>
                    <a:pt x="251772" y="384332"/>
                  </a:lnTo>
                  <a:lnTo>
                    <a:pt x="234076" y="386505"/>
                  </a:lnTo>
                  <a:lnTo>
                    <a:pt x="217312" y="384332"/>
                  </a:lnTo>
                  <a:lnTo>
                    <a:pt x="200548" y="379054"/>
                  </a:lnTo>
                  <a:lnTo>
                    <a:pt x="199617" y="376881"/>
                  </a:lnTo>
                  <a:lnTo>
                    <a:pt x="199617" y="374708"/>
                  </a:lnTo>
                  <a:lnTo>
                    <a:pt x="197444" y="374708"/>
                  </a:lnTo>
                  <a:lnTo>
                    <a:pt x="197444" y="372535"/>
                  </a:lnTo>
                  <a:lnTo>
                    <a:pt x="197444" y="368189"/>
                  </a:lnTo>
                  <a:lnTo>
                    <a:pt x="200548" y="368189"/>
                  </a:lnTo>
                  <a:lnTo>
                    <a:pt x="202721" y="365084"/>
                  </a:lnTo>
                  <a:lnTo>
                    <a:pt x="206757" y="360738"/>
                  </a:lnTo>
                  <a:lnTo>
                    <a:pt x="207688" y="358565"/>
                  </a:lnTo>
                  <a:lnTo>
                    <a:pt x="211724" y="357634"/>
                  </a:lnTo>
                  <a:lnTo>
                    <a:pt x="213897" y="353287"/>
                  </a:lnTo>
                  <a:lnTo>
                    <a:pt x="217002" y="348010"/>
                  </a:lnTo>
                  <a:lnTo>
                    <a:pt x="209551" y="345837"/>
                  </a:lnTo>
                  <a:lnTo>
                    <a:pt x="204273" y="342732"/>
                  </a:lnTo>
                  <a:lnTo>
                    <a:pt x="200238" y="336523"/>
                  </a:lnTo>
                  <a:lnTo>
                    <a:pt x="199306" y="331246"/>
                  </a:lnTo>
                  <a:lnTo>
                    <a:pt x="197133" y="323795"/>
                  </a:lnTo>
                  <a:lnTo>
                    <a:pt x="204584" y="323795"/>
                  </a:lnTo>
                  <a:lnTo>
                    <a:pt x="217002" y="320691"/>
                  </a:lnTo>
                  <a:lnTo>
                    <a:pt x="231593" y="323795"/>
                  </a:lnTo>
                  <a:lnTo>
                    <a:pt x="244010" y="329073"/>
                  </a:lnTo>
                  <a:lnTo>
                    <a:pt x="256428" y="335281"/>
                  </a:lnTo>
                  <a:lnTo>
                    <a:pt x="256428" y="327831"/>
                  </a:lnTo>
                  <a:lnTo>
                    <a:pt x="244010" y="321622"/>
                  </a:lnTo>
                  <a:lnTo>
                    <a:pt x="233455" y="316344"/>
                  </a:lnTo>
                  <a:lnTo>
                    <a:pt x="224142" y="306720"/>
                  </a:lnTo>
                  <a:lnTo>
                    <a:pt x="227246" y="306720"/>
                  </a:lnTo>
                  <a:lnTo>
                    <a:pt x="236560" y="293061"/>
                  </a:lnTo>
                  <a:lnTo>
                    <a:pt x="248046" y="283437"/>
                  </a:lnTo>
                  <a:lnTo>
                    <a:pt x="262637" y="275986"/>
                  </a:lnTo>
                  <a:lnTo>
                    <a:pt x="280333" y="270709"/>
                  </a:lnTo>
                  <a:lnTo>
                    <a:pt x="280333" y="266983"/>
                  </a:lnTo>
                  <a:lnTo>
                    <a:pt x="263568" y="261706"/>
                  </a:lnTo>
                  <a:lnTo>
                    <a:pt x="251151" y="252082"/>
                  </a:lnTo>
                  <a:lnTo>
                    <a:pt x="240595" y="239354"/>
                  </a:lnTo>
                  <a:lnTo>
                    <a:pt x="231282" y="226625"/>
                  </a:lnTo>
                  <a:lnTo>
                    <a:pt x="236560" y="224452"/>
                  </a:lnTo>
                  <a:lnTo>
                    <a:pt x="240595" y="224452"/>
                  </a:lnTo>
                  <a:lnTo>
                    <a:pt x="245873" y="222279"/>
                  </a:lnTo>
                  <a:lnTo>
                    <a:pt x="251151" y="222279"/>
                  </a:lnTo>
                  <a:lnTo>
                    <a:pt x="258601" y="227557"/>
                  </a:lnTo>
                  <a:lnTo>
                    <a:pt x="263879" y="233766"/>
                  </a:lnTo>
                  <a:lnTo>
                    <a:pt x="271330" y="239043"/>
                  </a:lnTo>
                  <a:lnTo>
                    <a:pt x="271330" y="234697"/>
                  </a:lnTo>
                  <a:lnTo>
                    <a:pt x="270398" y="231593"/>
                  </a:lnTo>
                  <a:lnTo>
                    <a:pt x="268225" y="231593"/>
                  </a:lnTo>
                  <a:lnTo>
                    <a:pt x="268225" y="229419"/>
                  </a:lnTo>
                  <a:lnTo>
                    <a:pt x="266052" y="227246"/>
                  </a:lnTo>
                  <a:lnTo>
                    <a:pt x="266052" y="226315"/>
                  </a:lnTo>
                  <a:lnTo>
                    <a:pt x="263879" y="221969"/>
                  </a:lnTo>
                  <a:lnTo>
                    <a:pt x="267915" y="221969"/>
                  </a:lnTo>
                  <a:lnTo>
                    <a:pt x="267915" y="218864"/>
                  </a:lnTo>
                  <a:lnTo>
                    <a:pt x="284679" y="212655"/>
                  </a:lnTo>
                  <a:lnTo>
                    <a:pt x="300201" y="209551"/>
                  </a:lnTo>
                  <a:lnTo>
                    <a:pt x="316965" y="207378"/>
                  </a:lnTo>
                  <a:lnTo>
                    <a:pt x="336834" y="209551"/>
                  </a:lnTo>
                  <a:lnTo>
                    <a:pt x="327520" y="198064"/>
                  </a:lnTo>
                  <a:lnTo>
                    <a:pt x="339007" y="194960"/>
                  </a:lnTo>
                  <a:lnTo>
                    <a:pt x="351425" y="189682"/>
                  </a:lnTo>
                  <a:lnTo>
                    <a:pt x="363842" y="184405"/>
                  </a:lnTo>
                  <a:lnTo>
                    <a:pt x="371293" y="178196"/>
                  </a:lnTo>
                  <a:lnTo>
                    <a:pt x="377502" y="178196"/>
                  </a:lnTo>
                  <a:lnTo>
                    <a:pt x="377502" y="175091"/>
                  </a:lnTo>
                  <a:lnTo>
                    <a:pt x="368189" y="175091"/>
                  </a:lnTo>
                  <a:lnTo>
                    <a:pt x="364153" y="177265"/>
                  </a:lnTo>
                  <a:lnTo>
                    <a:pt x="361048" y="178196"/>
                  </a:lnTo>
                  <a:lnTo>
                    <a:pt x="358875" y="178196"/>
                  </a:lnTo>
                  <a:lnTo>
                    <a:pt x="356702" y="178196"/>
                  </a:lnTo>
                  <a:lnTo>
                    <a:pt x="355771" y="178196"/>
                  </a:lnTo>
                  <a:lnTo>
                    <a:pt x="353598" y="177265"/>
                  </a:lnTo>
                  <a:lnTo>
                    <a:pt x="351425" y="175091"/>
                  </a:lnTo>
                  <a:lnTo>
                    <a:pt x="348320" y="175091"/>
                  </a:lnTo>
                  <a:lnTo>
                    <a:pt x="344284" y="178196"/>
                  </a:lnTo>
                  <a:lnTo>
                    <a:pt x="339007" y="184405"/>
                  </a:lnTo>
                  <a:lnTo>
                    <a:pt x="333729" y="189682"/>
                  </a:lnTo>
                  <a:lnTo>
                    <a:pt x="329693" y="194960"/>
                  </a:lnTo>
                  <a:lnTo>
                    <a:pt x="324416" y="198064"/>
                  </a:lnTo>
                  <a:lnTo>
                    <a:pt x="304547" y="204273"/>
                  </a:lnTo>
                  <a:lnTo>
                    <a:pt x="285610" y="204273"/>
                  </a:lnTo>
                  <a:lnTo>
                    <a:pt x="267915" y="199927"/>
                  </a:lnTo>
                  <a:lnTo>
                    <a:pt x="251151" y="192476"/>
                  </a:lnTo>
                  <a:lnTo>
                    <a:pt x="248978" y="192476"/>
                  </a:lnTo>
                  <a:lnTo>
                    <a:pt x="245873" y="194650"/>
                  </a:lnTo>
                  <a:lnTo>
                    <a:pt x="240595" y="196823"/>
                  </a:lnTo>
                  <a:lnTo>
                    <a:pt x="236560" y="197754"/>
                  </a:lnTo>
                  <a:lnTo>
                    <a:pt x="233455" y="199927"/>
                  </a:lnTo>
                  <a:lnTo>
                    <a:pt x="227246" y="202100"/>
                  </a:lnTo>
                  <a:lnTo>
                    <a:pt x="224142" y="192476"/>
                  </a:lnTo>
                  <a:lnTo>
                    <a:pt x="227246" y="191545"/>
                  </a:lnTo>
                  <a:lnTo>
                    <a:pt x="227246" y="191545"/>
                  </a:lnTo>
                  <a:lnTo>
                    <a:pt x="229419" y="189372"/>
                  </a:lnTo>
                  <a:lnTo>
                    <a:pt x="231593" y="185026"/>
                  </a:lnTo>
                  <a:lnTo>
                    <a:pt x="221037" y="185026"/>
                  </a:lnTo>
                  <a:lnTo>
                    <a:pt x="217002" y="187199"/>
                  </a:lnTo>
                  <a:lnTo>
                    <a:pt x="211724" y="189372"/>
                  </a:lnTo>
                  <a:lnTo>
                    <a:pt x="206446" y="189372"/>
                  </a:lnTo>
                  <a:lnTo>
                    <a:pt x="200238" y="189372"/>
                  </a:lnTo>
                  <a:lnTo>
                    <a:pt x="197133" y="177885"/>
                  </a:lnTo>
                  <a:lnTo>
                    <a:pt x="200238" y="176954"/>
                  </a:lnTo>
                  <a:lnTo>
                    <a:pt x="202411" y="176954"/>
                  </a:lnTo>
                  <a:lnTo>
                    <a:pt x="204584" y="176954"/>
                  </a:lnTo>
                  <a:lnTo>
                    <a:pt x="206757" y="174781"/>
                  </a:lnTo>
                  <a:lnTo>
                    <a:pt x="207688" y="174781"/>
                  </a:lnTo>
                  <a:lnTo>
                    <a:pt x="184715" y="177885"/>
                  </a:lnTo>
                  <a:lnTo>
                    <a:pt x="182542" y="172608"/>
                  </a:lnTo>
                  <a:lnTo>
                    <a:pt x="178506" y="169503"/>
                  </a:lnTo>
                  <a:lnTo>
                    <a:pt x="177575" y="167330"/>
                  </a:lnTo>
                  <a:lnTo>
                    <a:pt x="175402" y="162984"/>
                  </a:lnTo>
                  <a:lnTo>
                    <a:pt x="171366" y="157706"/>
                  </a:lnTo>
                  <a:lnTo>
                    <a:pt x="177575" y="155533"/>
                  </a:lnTo>
                  <a:lnTo>
                    <a:pt x="180679" y="155533"/>
                  </a:lnTo>
                  <a:lnTo>
                    <a:pt x="182853" y="155533"/>
                  </a:lnTo>
                  <a:lnTo>
                    <a:pt x="185026" y="155533"/>
                  </a:lnTo>
                  <a:lnTo>
                    <a:pt x="185026" y="155223"/>
                  </a:lnTo>
                  <a:lnTo>
                    <a:pt x="185957" y="153050"/>
                  </a:lnTo>
                  <a:lnTo>
                    <a:pt x="188130" y="148704"/>
                  </a:lnTo>
                  <a:lnTo>
                    <a:pt x="180679" y="147772"/>
                  </a:lnTo>
                  <a:lnTo>
                    <a:pt x="173229" y="145599"/>
                  </a:lnTo>
                  <a:lnTo>
                    <a:pt x="170124" y="141253"/>
                  </a:lnTo>
                  <a:lnTo>
                    <a:pt x="163915" y="138148"/>
                  </a:lnTo>
                  <a:lnTo>
                    <a:pt x="167951" y="138148"/>
                  </a:lnTo>
                  <a:lnTo>
                    <a:pt x="167951" y="132871"/>
                  </a:lnTo>
                  <a:lnTo>
                    <a:pt x="185647" y="135975"/>
                  </a:lnTo>
                  <a:lnTo>
                    <a:pt x="194960" y="133802"/>
                  </a:lnTo>
                  <a:lnTo>
                    <a:pt x="202411" y="130698"/>
                  </a:lnTo>
                  <a:lnTo>
                    <a:pt x="206446" y="125420"/>
                  </a:lnTo>
                  <a:lnTo>
                    <a:pt x="211724" y="117969"/>
                  </a:lnTo>
                  <a:lnTo>
                    <a:pt x="221037" y="113623"/>
                  </a:lnTo>
                  <a:lnTo>
                    <a:pt x="231593" y="110519"/>
                  </a:lnTo>
                  <a:lnTo>
                    <a:pt x="239043" y="113623"/>
                  </a:lnTo>
                  <a:lnTo>
                    <a:pt x="248357" y="117969"/>
                  </a:lnTo>
                  <a:lnTo>
                    <a:pt x="255807" y="118901"/>
                  </a:lnTo>
                  <a:lnTo>
                    <a:pt x="264189" y="117969"/>
                  </a:lnTo>
                  <a:lnTo>
                    <a:pt x="261085" y="115796"/>
                  </a:lnTo>
                  <a:lnTo>
                    <a:pt x="257049" y="113623"/>
                  </a:lnTo>
                  <a:lnTo>
                    <a:pt x="256118" y="113623"/>
                  </a:lnTo>
                  <a:lnTo>
                    <a:pt x="256118" y="111760"/>
                  </a:lnTo>
                  <a:lnTo>
                    <a:pt x="253945" y="110829"/>
                  </a:lnTo>
                  <a:lnTo>
                    <a:pt x="253945" y="106483"/>
                  </a:lnTo>
                  <a:lnTo>
                    <a:pt x="251772" y="101205"/>
                  </a:lnTo>
                  <a:lnTo>
                    <a:pt x="257049" y="99032"/>
                  </a:lnTo>
                  <a:lnTo>
                    <a:pt x="261085" y="96859"/>
                  </a:lnTo>
                  <a:lnTo>
                    <a:pt x="264189" y="96859"/>
                  </a:lnTo>
                  <a:lnTo>
                    <a:pt x="266363" y="95928"/>
                  </a:lnTo>
                  <a:lnTo>
                    <a:pt x="270398" y="93755"/>
                  </a:lnTo>
                  <a:lnTo>
                    <a:pt x="277849" y="93755"/>
                  </a:lnTo>
                  <a:lnTo>
                    <a:pt x="280953" y="95928"/>
                  </a:lnTo>
                  <a:lnTo>
                    <a:pt x="284989" y="99032"/>
                  </a:lnTo>
                  <a:lnTo>
                    <a:pt x="288094" y="101205"/>
                  </a:lnTo>
                  <a:lnTo>
                    <a:pt x="288094" y="96859"/>
                  </a:lnTo>
                  <a:lnTo>
                    <a:pt x="285921" y="95928"/>
                  </a:lnTo>
                  <a:lnTo>
                    <a:pt x="285921" y="93755"/>
                  </a:lnTo>
                  <a:lnTo>
                    <a:pt x="285921" y="93755"/>
                  </a:lnTo>
                  <a:lnTo>
                    <a:pt x="285921" y="91582"/>
                  </a:lnTo>
                  <a:lnTo>
                    <a:pt x="284989" y="88477"/>
                  </a:lnTo>
                  <a:lnTo>
                    <a:pt x="290267" y="86304"/>
                  </a:lnTo>
                  <a:lnTo>
                    <a:pt x="293371" y="84131"/>
                  </a:lnTo>
                  <a:lnTo>
                    <a:pt x="299580" y="81026"/>
                  </a:lnTo>
                  <a:lnTo>
                    <a:pt x="302685" y="76680"/>
                  </a:lnTo>
                  <a:lnTo>
                    <a:pt x="304858" y="76680"/>
                  </a:lnTo>
                  <a:lnTo>
                    <a:pt x="312308" y="76680"/>
                  </a:lnTo>
                  <a:lnTo>
                    <a:pt x="317586" y="78853"/>
                  </a:lnTo>
                  <a:lnTo>
                    <a:pt x="321622" y="83199"/>
                  </a:lnTo>
                  <a:lnTo>
                    <a:pt x="327831" y="83199"/>
                  </a:lnTo>
                  <a:lnTo>
                    <a:pt x="337144" y="81026"/>
                  </a:lnTo>
                  <a:lnTo>
                    <a:pt x="341180" y="68298"/>
                  </a:lnTo>
                  <a:lnTo>
                    <a:pt x="346458" y="66125"/>
                  </a:lnTo>
                  <a:lnTo>
                    <a:pt x="351735" y="66125"/>
                  </a:lnTo>
                  <a:lnTo>
                    <a:pt x="357013" y="66125"/>
                  </a:lnTo>
                  <a:lnTo>
                    <a:pt x="361048" y="68298"/>
                  </a:lnTo>
                  <a:lnTo>
                    <a:pt x="364153" y="68298"/>
                  </a:lnTo>
                  <a:lnTo>
                    <a:pt x="371604" y="56812"/>
                  </a:lnTo>
                  <a:lnTo>
                    <a:pt x="383090" y="54638"/>
                  </a:lnTo>
                  <a:lnTo>
                    <a:pt x="390541" y="58985"/>
                  </a:lnTo>
                  <a:lnTo>
                    <a:pt x="397992" y="62089"/>
                  </a:lnTo>
                  <a:lnTo>
                    <a:pt x="405442" y="64262"/>
                  </a:lnTo>
                  <a:lnTo>
                    <a:pt x="414756" y="61158"/>
                  </a:lnTo>
                  <a:lnTo>
                    <a:pt x="427173" y="53707"/>
                  </a:lnTo>
                  <a:lnTo>
                    <a:pt x="439281" y="47498"/>
                  </a:lnTo>
                  <a:lnTo>
                    <a:pt x="439281" y="47498"/>
                  </a:lnTo>
                  <a:lnTo>
                    <a:pt x="439281" y="47498"/>
                  </a:lnTo>
                  <a:close/>
                  <a:moveTo>
                    <a:pt x="2195472" y="44394"/>
                  </a:moveTo>
                  <a:lnTo>
                    <a:pt x="2202923" y="46567"/>
                  </a:lnTo>
                  <a:lnTo>
                    <a:pt x="2210374" y="49671"/>
                  </a:lnTo>
                  <a:lnTo>
                    <a:pt x="2213478" y="54018"/>
                  </a:lnTo>
                  <a:lnTo>
                    <a:pt x="2218756" y="57122"/>
                  </a:lnTo>
                  <a:lnTo>
                    <a:pt x="2224965" y="61468"/>
                  </a:lnTo>
                  <a:lnTo>
                    <a:pt x="2220929" y="72023"/>
                  </a:lnTo>
                  <a:lnTo>
                    <a:pt x="2198888" y="84752"/>
                  </a:lnTo>
                  <a:lnTo>
                    <a:pt x="2182123" y="99653"/>
                  </a:lnTo>
                  <a:lnTo>
                    <a:pt x="2167532" y="118590"/>
                  </a:lnTo>
                  <a:lnTo>
                    <a:pt x="2164428" y="118590"/>
                  </a:lnTo>
                  <a:lnTo>
                    <a:pt x="2164428" y="114244"/>
                  </a:lnTo>
                  <a:lnTo>
                    <a:pt x="2159150" y="111140"/>
                  </a:lnTo>
                  <a:lnTo>
                    <a:pt x="2155115" y="106793"/>
                  </a:lnTo>
                  <a:lnTo>
                    <a:pt x="2152942" y="103689"/>
                  </a:lnTo>
                  <a:lnTo>
                    <a:pt x="2149837" y="99343"/>
                  </a:lnTo>
                  <a:lnTo>
                    <a:pt x="2147664" y="94065"/>
                  </a:lnTo>
                  <a:lnTo>
                    <a:pt x="2151700" y="86614"/>
                  </a:lnTo>
                  <a:lnTo>
                    <a:pt x="2152631" y="81337"/>
                  </a:lnTo>
                  <a:lnTo>
                    <a:pt x="2154804" y="71713"/>
                  </a:lnTo>
                  <a:lnTo>
                    <a:pt x="2127795" y="71713"/>
                  </a:lnTo>
                  <a:lnTo>
                    <a:pt x="2127795" y="64262"/>
                  </a:lnTo>
                  <a:lnTo>
                    <a:pt x="2142386" y="58985"/>
                  </a:lnTo>
                  <a:lnTo>
                    <a:pt x="2156977" y="54638"/>
                  </a:lnTo>
                  <a:lnTo>
                    <a:pt x="2174673" y="51534"/>
                  </a:lnTo>
                  <a:lnTo>
                    <a:pt x="2176846" y="56812"/>
                  </a:lnTo>
                  <a:lnTo>
                    <a:pt x="2179019" y="58985"/>
                  </a:lnTo>
                  <a:lnTo>
                    <a:pt x="2179019" y="61158"/>
                  </a:lnTo>
                  <a:lnTo>
                    <a:pt x="2181192" y="61158"/>
                  </a:lnTo>
                  <a:lnTo>
                    <a:pt x="2181192" y="62089"/>
                  </a:lnTo>
                  <a:lnTo>
                    <a:pt x="2184297" y="64262"/>
                  </a:lnTo>
                  <a:lnTo>
                    <a:pt x="2186470" y="58985"/>
                  </a:lnTo>
                  <a:lnTo>
                    <a:pt x="2188643" y="54638"/>
                  </a:lnTo>
                  <a:lnTo>
                    <a:pt x="2189574" y="51534"/>
                  </a:lnTo>
                  <a:lnTo>
                    <a:pt x="2193610" y="47188"/>
                  </a:lnTo>
                  <a:lnTo>
                    <a:pt x="2195472" y="44394"/>
                  </a:lnTo>
                  <a:lnTo>
                    <a:pt x="2195472" y="44394"/>
                  </a:lnTo>
                  <a:lnTo>
                    <a:pt x="2195472" y="44394"/>
                  </a:lnTo>
                  <a:close/>
                  <a:moveTo>
                    <a:pt x="2240487" y="24215"/>
                  </a:moveTo>
                  <a:lnTo>
                    <a:pt x="2244523" y="25146"/>
                  </a:lnTo>
                  <a:lnTo>
                    <a:pt x="2245454" y="25146"/>
                  </a:lnTo>
                  <a:lnTo>
                    <a:pt x="2247628" y="27319"/>
                  </a:lnTo>
                  <a:lnTo>
                    <a:pt x="2247628" y="27319"/>
                  </a:lnTo>
                  <a:lnTo>
                    <a:pt x="2249800" y="29492"/>
                  </a:lnTo>
                  <a:lnTo>
                    <a:pt x="2251974" y="32597"/>
                  </a:lnTo>
                  <a:lnTo>
                    <a:pt x="2255078" y="38806"/>
                  </a:lnTo>
                  <a:lnTo>
                    <a:pt x="2259114" y="44083"/>
                  </a:lnTo>
                  <a:lnTo>
                    <a:pt x="2260045" y="51534"/>
                  </a:lnTo>
                  <a:lnTo>
                    <a:pt x="2251663" y="51534"/>
                  </a:lnTo>
                  <a:lnTo>
                    <a:pt x="2251663" y="47188"/>
                  </a:lnTo>
                  <a:lnTo>
                    <a:pt x="2247628" y="44083"/>
                  </a:lnTo>
                  <a:lnTo>
                    <a:pt x="2244523" y="39737"/>
                  </a:lnTo>
                  <a:lnTo>
                    <a:pt x="2242350" y="36633"/>
                  </a:lnTo>
                  <a:lnTo>
                    <a:pt x="2240177" y="31355"/>
                  </a:lnTo>
                  <a:lnTo>
                    <a:pt x="2240177" y="24215"/>
                  </a:lnTo>
                  <a:lnTo>
                    <a:pt x="2240487" y="24215"/>
                  </a:lnTo>
                  <a:lnTo>
                    <a:pt x="2240487" y="24215"/>
                  </a:lnTo>
                  <a:close/>
                  <a:moveTo>
                    <a:pt x="984113" y="20179"/>
                  </a:moveTo>
                  <a:lnTo>
                    <a:pt x="1009259" y="20179"/>
                  </a:lnTo>
                  <a:lnTo>
                    <a:pt x="1035337" y="24525"/>
                  </a:lnTo>
                  <a:lnTo>
                    <a:pt x="1058310" y="27630"/>
                  </a:lnTo>
                  <a:lnTo>
                    <a:pt x="1079110" y="32907"/>
                  </a:lnTo>
                  <a:lnTo>
                    <a:pt x="1109223" y="27630"/>
                  </a:lnTo>
                  <a:lnTo>
                    <a:pt x="1113259" y="31976"/>
                  </a:lnTo>
                  <a:lnTo>
                    <a:pt x="1116363" y="32907"/>
                  </a:lnTo>
                  <a:lnTo>
                    <a:pt x="1120399" y="39116"/>
                  </a:lnTo>
                  <a:lnTo>
                    <a:pt x="1122572" y="42221"/>
                  </a:lnTo>
                  <a:lnTo>
                    <a:pt x="1125676" y="44394"/>
                  </a:lnTo>
                  <a:lnTo>
                    <a:pt x="1143372" y="51844"/>
                  </a:lnTo>
                  <a:lnTo>
                    <a:pt x="1164172" y="57122"/>
                  </a:lnTo>
                  <a:lnTo>
                    <a:pt x="1181867" y="61468"/>
                  </a:lnTo>
                  <a:lnTo>
                    <a:pt x="1181867" y="68919"/>
                  </a:lnTo>
                  <a:lnTo>
                    <a:pt x="1152685" y="68919"/>
                  </a:lnTo>
                  <a:lnTo>
                    <a:pt x="1140267" y="62710"/>
                  </a:lnTo>
                  <a:lnTo>
                    <a:pt x="1125676" y="62710"/>
                  </a:lnTo>
                  <a:lnTo>
                    <a:pt x="1108912" y="64883"/>
                  </a:lnTo>
                  <a:lnTo>
                    <a:pt x="1093390" y="69229"/>
                  </a:lnTo>
                  <a:lnTo>
                    <a:pt x="1093390" y="77611"/>
                  </a:lnTo>
                  <a:lnTo>
                    <a:pt x="1113259" y="77611"/>
                  </a:lnTo>
                  <a:lnTo>
                    <a:pt x="1127850" y="74507"/>
                  </a:lnTo>
                  <a:lnTo>
                    <a:pt x="1145545" y="72334"/>
                  </a:lnTo>
                  <a:lnTo>
                    <a:pt x="1167587" y="72334"/>
                  </a:lnTo>
                  <a:lnTo>
                    <a:pt x="1189628" y="72334"/>
                  </a:lnTo>
                  <a:lnTo>
                    <a:pt x="1206392" y="72334"/>
                  </a:lnTo>
                  <a:lnTo>
                    <a:pt x="1220983" y="87235"/>
                  </a:lnTo>
                  <a:lnTo>
                    <a:pt x="1238679" y="97790"/>
                  </a:lnTo>
                  <a:lnTo>
                    <a:pt x="1233401" y="109277"/>
                  </a:lnTo>
                  <a:lnTo>
                    <a:pt x="1222846" y="116728"/>
                  </a:lnTo>
                  <a:lnTo>
                    <a:pt x="1213533" y="122005"/>
                  </a:lnTo>
                  <a:lnTo>
                    <a:pt x="1201115" y="126351"/>
                  </a:lnTo>
                  <a:lnTo>
                    <a:pt x="1182178" y="126351"/>
                  </a:lnTo>
                  <a:lnTo>
                    <a:pt x="1165413" y="131629"/>
                  </a:lnTo>
                  <a:lnTo>
                    <a:pt x="1147718" y="131629"/>
                  </a:lnTo>
                  <a:lnTo>
                    <a:pt x="1127850" y="129456"/>
                  </a:lnTo>
                  <a:lnTo>
                    <a:pt x="1108912" y="127283"/>
                  </a:lnTo>
                  <a:lnTo>
                    <a:pt x="1091527" y="127283"/>
                  </a:lnTo>
                  <a:lnTo>
                    <a:pt x="1076936" y="131629"/>
                  </a:lnTo>
                  <a:lnTo>
                    <a:pt x="1065450" y="142184"/>
                  </a:lnTo>
                  <a:lnTo>
                    <a:pt x="1109223" y="142184"/>
                  </a:lnTo>
                  <a:lnTo>
                    <a:pt x="1122882" y="139080"/>
                  </a:lnTo>
                  <a:lnTo>
                    <a:pt x="1138405" y="136907"/>
                  </a:lnTo>
                  <a:lnTo>
                    <a:pt x="1157342" y="139080"/>
                  </a:lnTo>
                  <a:lnTo>
                    <a:pt x="1169760" y="142184"/>
                  </a:lnTo>
                  <a:lnTo>
                    <a:pt x="1172864" y="155844"/>
                  </a:lnTo>
                  <a:lnTo>
                    <a:pt x="1179073" y="153671"/>
                  </a:lnTo>
                  <a:lnTo>
                    <a:pt x="1187455" y="148393"/>
                  </a:lnTo>
                  <a:lnTo>
                    <a:pt x="1198942" y="144047"/>
                  </a:lnTo>
                  <a:lnTo>
                    <a:pt x="1209497" y="141874"/>
                  </a:lnTo>
                  <a:lnTo>
                    <a:pt x="1211670" y="148083"/>
                  </a:lnTo>
                  <a:lnTo>
                    <a:pt x="1213843" y="151187"/>
                  </a:lnTo>
                  <a:lnTo>
                    <a:pt x="1216016" y="153360"/>
                  </a:lnTo>
                  <a:lnTo>
                    <a:pt x="1219121" y="155533"/>
                  </a:lnTo>
                  <a:lnTo>
                    <a:pt x="1223156" y="158638"/>
                  </a:lnTo>
                  <a:lnTo>
                    <a:pt x="1206392" y="189993"/>
                  </a:lnTo>
                  <a:lnTo>
                    <a:pt x="1213843" y="189993"/>
                  </a:lnTo>
                  <a:lnTo>
                    <a:pt x="1226261" y="182542"/>
                  </a:lnTo>
                  <a:lnTo>
                    <a:pt x="1243025" y="172918"/>
                  </a:lnTo>
                  <a:lnTo>
                    <a:pt x="1262893" y="165468"/>
                  </a:lnTo>
                  <a:lnTo>
                    <a:pt x="1284935" y="158017"/>
                  </a:lnTo>
                  <a:lnTo>
                    <a:pt x="1308839" y="152739"/>
                  </a:lnTo>
                  <a:lnTo>
                    <a:pt x="1329639" y="152739"/>
                  </a:lnTo>
                  <a:lnTo>
                    <a:pt x="1350439" y="154912"/>
                  </a:lnTo>
                  <a:lnTo>
                    <a:pt x="1365030" y="163294"/>
                  </a:lnTo>
                  <a:lnTo>
                    <a:pt x="1373412" y="178196"/>
                  </a:lnTo>
                  <a:lnTo>
                    <a:pt x="1379621" y="178196"/>
                  </a:lnTo>
                  <a:lnTo>
                    <a:pt x="1379621" y="180369"/>
                  </a:lnTo>
                  <a:lnTo>
                    <a:pt x="1379621" y="180369"/>
                  </a:lnTo>
                  <a:lnTo>
                    <a:pt x="1377448" y="182542"/>
                  </a:lnTo>
                  <a:lnTo>
                    <a:pt x="1375275" y="182542"/>
                  </a:lnTo>
                  <a:lnTo>
                    <a:pt x="1375275" y="182542"/>
                  </a:lnTo>
                  <a:lnTo>
                    <a:pt x="1373102" y="182542"/>
                  </a:lnTo>
                  <a:lnTo>
                    <a:pt x="1369997" y="185647"/>
                  </a:lnTo>
                  <a:lnTo>
                    <a:pt x="1364720" y="187820"/>
                  </a:lnTo>
                  <a:lnTo>
                    <a:pt x="1358511" y="189993"/>
                  </a:lnTo>
                  <a:lnTo>
                    <a:pt x="1351060" y="192166"/>
                  </a:lnTo>
                  <a:lnTo>
                    <a:pt x="1345783" y="193097"/>
                  </a:lnTo>
                  <a:lnTo>
                    <a:pt x="1333365" y="213276"/>
                  </a:lnTo>
                  <a:lnTo>
                    <a:pt x="1309460" y="228178"/>
                  </a:lnTo>
                  <a:lnTo>
                    <a:pt x="1282452" y="237801"/>
                  </a:lnTo>
                  <a:lnTo>
                    <a:pt x="1250165" y="243079"/>
                  </a:lnTo>
                  <a:lnTo>
                    <a:pt x="1250165" y="249288"/>
                  </a:lnTo>
                  <a:lnTo>
                    <a:pt x="1250165" y="252392"/>
                  </a:lnTo>
                  <a:lnTo>
                    <a:pt x="1250165" y="254566"/>
                  </a:lnTo>
                  <a:lnTo>
                    <a:pt x="1247992" y="256739"/>
                  </a:lnTo>
                  <a:lnTo>
                    <a:pt x="1250165" y="257670"/>
                  </a:lnTo>
                  <a:lnTo>
                    <a:pt x="1250165" y="259843"/>
                  </a:lnTo>
                  <a:lnTo>
                    <a:pt x="1253270" y="264189"/>
                  </a:lnTo>
                  <a:lnTo>
                    <a:pt x="1258547" y="267294"/>
                  </a:lnTo>
                  <a:lnTo>
                    <a:pt x="1262583" y="269467"/>
                  </a:lnTo>
                  <a:lnTo>
                    <a:pt x="1265687" y="272571"/>
                  </a:lnTo>
                  <a:lnTo>
                    <a:pt x="1269723" y="274745"/>
                  </a:lnTo>
                  <a:lnTo>
                    <a:pt x="1272828" y="280022"/>
                  </a:lnTo>
                  <a:lnTo>
                    <a:pt x="1269723" y="287473"/>
                  </a:lnTo>
                  <a:lnTo>
                    <a:pt x="1265687" y="304237"/>
                  </a:lnTo>
                  <a:lnTo>
                    <a:pt x="1262583" y="324416"/>
                  </a:lnTo>
                  <a:lnTo>
                    <a:pt x="1258547" y="344595"/>
                  </a:lnTo>
                  <a:lnTo>
                    <a:pt x="1258547" y="361359"/>
                  </a:lnTo>
                  <a:lnTo>
                    <a:pt x="1262583" y="359186"/>
                  </a:lnTo>
                  <a:lnTo>
                    <a:pt x="1265687" y="359186"/>
                  </a:lnTo>
                  <a:lnTo>
                    <a:pt x="1267861" y="359186"/>
                  </a:lnTo>
                  <a:lnTo>
                    <a:pt x="1271896" y="359186"/>
                  </a:lnTo>
                  <a:lnTo>
                    <a:pt x="1272828" y="359186"/>
                  </a:lnTo>
                  <a:lnTo>
                    <a:pt x="1279037" y="361359"/>
                  </a:lnTo>
                  <a:lnTo>
                    <a:pt x="1276864" y="366636"/>
                  </a:lnTo>
                  <a:lnTo>
                    <a:pt x="1276864" y="368810"/>
                  </a:lnTo>
                  <a:lnTo>
                    <a:pt x="1276864" y="373156"/>
                  </a:lnTo>
                  <a:lnTo>
                    <a:pt x="1276864" y="374087"/>
                  </a:lnTo>
                  <a:lnTo>
                    <a:pt x="1276864" y="378433"/>
                  </a:lnTo>
                  <a:lnTo>
                    <a:pt x="1279037" y="385884"/>
                  </a:lnTo>
                  <a:lnTo>
                    <a:pt x="1272828" y="385884"/>
                  </a:lnTo>
                  <a:lnTo>
                    <a:pt x="1272828" y="388989"/>
                  </a:lnTo>
                  <a:lnTo>
                    <a:pt x="1269723" y="388057"/>
                  </a:lnTo>
                  <a:lnTo>
                    <a:pt x="1265687" y="383711"/>
                  </a:lnTo>
                  <a:lnTo>
                    <a:pt x="1264756" y="381538"/>
                  </a:lnTo>
                  <a:lnTo>
                    <a:pt x="1260720" y="380607"/>
                  </a:lnTo>
                  <a:lnTo>
                    <a:pt x="1257616" y="378433"/>
                  </a:lnTo>
                  <a:lnTo>
                    <a:pt x="1250165" y="378433"/>
                  </a:lnTo>
                  <a:lnTo>
                    <a:pt x="1246129" y="380607"/>
                  </a:lnTo>
                  <a:lnTo>
                    <a:pt x="1243025" y="381538"/>
                  </a:lnTo>
                  <a:lnTo>
                    <a:pt x="1238989" y="383711"/>
                  </a:lnTo>
                  <a:lnTo>
                    <a:pt x="1236816" y="385884"/>
                  </a:lnTo>
                  <a:lnTo>
                    <a:pt x="1233711" y="388057"/>
                  </a:lnTo>
                  <a:lnTo>
                    <a:pt x="1231538" y="391162"/>
                  </a:lnTo>
                  <a:lnTo>
                    <a:pt x="1229365" y="398612"/>
                  </a:lnTo>
                  <a:lnTo>
                    <a:pt x="1253270" y="406063"/>
                  </a:lnTo>
                  <a:lnTo>
                    <a:pt x="1258547" y="438660"/>
                  </a:lnTo>
                  <a:lnTo>
                    <a:pt x="1253270" y="438660"/>
                  </a:lnTo>
                  <a:lnTo>
                    <a:pt x="1250165" y="438660"/>
                  </a:lnTo>
                  <a:lnTo>
                    <a:pt x="1246129" y="440833"/>
                  </a:lnTo>
                  <a:lnTo>
                    <a:pt x="1243025" y="443006"/>
                  </a:lnTo>
                  <a:lnTo>
                    <a:pt x="1243025" y="450457"/>
                  </a:lnTo>
                  <a:lnTo>
                    <a:pt x="1251407" y="455734"/>
                  </a:lnTo>
                  <a:lnTo>
                    <a:pt x="1257616" y="463185"/>
                  </a:lnTo>
                  <a:lnTo>
                    <a:pt x="1260720" y="472809"/>
                  </a:lnTo>
                  <a:lnTo>
                    <a:pt x="1262893" y="487710"/>
                  </a:lnTo>
                  <a:lnTo>
                    <a:pt x="1253580" y="487710"/>
                  </a:lnTo>
                  <a:lnTo>
                    <a:pt x="1251407" y="487710"/>
                  </a:lnTo>
                  <a:lnTo>
                    <a:pt x="1246129" y="485537"/>
                  </a:lnTo>
                  <a:lnTo>
                    <a:pt x="1243025" y="487710"/>
                  </a:lnTo>
                  <a:lnTo>
                    <a:pt x="1236816" y="487710"/>
                  </a:lnTo>
                  <a:lnTo>
                    <a:pt x="1233711" y="490815"/>
                  </a:lnTo>
                  <a:lnTo>
                    <a:pt x="1229676" y="495161"/>
                  </a:lnTo>
                  <a:lnTo>
                    <a:pt x="1235885" y="498266"/>
                  </a:lnTo>
                  <a:lnTo>
                    <a:pt x="1238989" y="500439"/>
                  </a:lnTo>
                  <a:lnTo>
                    <a:pt x="1241162" y="502612"/>
                  </a:lnTo>
                  <a:lnTo>
                    <a:pt x="1243335" y="503543"/>
                  </a:lnTo>
                  <a:lnTo>
                    <a:pt x="1244267" y="509752"/>
                  </a:lnTo>
                  <a:lnTo>
                    <a:pt x="1246440" y="515030"/>
                  </a:lnTo>
                  <a:lnTo>
                    <a:pt x="1244267" y="517203"/>
                  </a:lnTo>
                  <a:lnTo>
                    <a:pt x="1244267" y="518134"/>
                  </a:lnTo>
                  <a:lnTo>
                    <a:pt x="1244267" y="518134"/>
                  </a:lnTo>
                  <a:lnTo>
                    <a:pt x="1243335" y="520307"/>
                  </a:lnTo>
                  <a:lnTo>
                    <a:pt x="1243335" y="524653"/>
                  </a:lnTo>
                  <a:lnTo>
                    <a:pt x="1228124" y="524653"/>
                  </a:lnTo>
                  <a:lnTo>
                    <a:pt x="1213533" y="527758"/>
                  </a:lnTo>
                  <a:lnTo>
                    <a:pt x="1202046" y="532104"/>
                  </a:lnTo>
                  <a:lnTo>
                    <a:pt x="1206082" y="532104"/>
                  </a:lnTo>
                  <a:lnTo>
                    <a:pt x="1211359" y="535209"/>
                  </a:lnTo>
                  <a:lnTo>
                    <a:pt x="1215395" y="537382"/>
                  </a:lnTo>
                  <a:lnTo>
                    <a:pt x="1218500" y="537382"/>
                  </a:lnTo>
                  <a:lnTo>
                    <a:pt x="1222536" y="539555"/>
                  </a:lnTo>
                  <a:lnTo>
                    <a:pt x="1225640" y="542659"/>
                  </a:lnTo>
                  <a:lnTo>
                    <a:pt x="1228744" y="547937"/>
                  </a:lnTo>
                  <a:lnTo>
                    <a:pt x="1222536" y="557561"/>
                  </a:lnTo>
                  <a:lnTo>
                    <a:pt x="1218500" y="569047"/>
                  </a:lnTo>
                  <a:lnTo>
                    <a:pt x="1213222" y="581775"/>
                  </a:lnTo>
                  <a:lnTo>
                    <a:pt x="1211049" y="576498"/>
                  </a:lnTo>
                  <a:lnTo>
                    <a:pt x="1207945" y="572152"/>
                  </a:lnTo>
                  <a:lnTo>
                    <a:pt x="1205771" y="569979"/>
                  </a:lnTo>
                  <a:lnTo>
                    <a:pt x="1201736" y="569979"/>
                  </a:lnTo>
                  <a:lnTo>
                    <a:pt x="1196458" y="569047"/>
                  </a:lnTo>
                  <a:lnTo>
                    <a:pt x="1189007" y="569047"/>
                  </a:lnTo>
                  <a:lnTo>
                    <a:pt x="1189007" y="572152"/>
                  </a:lnTo>
                  <a:lnTo>
                    <a:pt x="1193043" y="572152"/>
                  </a:lnTo>
                  <a:lnTo>
                    <a:pt x="1205461" y="584880"/>
                  </a:lnTo>
                  <a:lnTo>
                    <a:pt x="1216016" y="599781"/>
                  </a:lnTo>
                  <a:lnTo>
                    <a:pt x="1222225" y="618719"/>
                  </a:lnTo>
                  <a:lnTo>
                    <a:pt x="1225329" y="640760"/>
                  </a:lnTo>
                  <a:lnTo>
                    <a:pt x="1222225" y="640760"/>
                  </a:lnTo>
                  <a:lnTo>
                    <a:pt x="1222225" y="646038"/>
                  </a:lnTo>
                  <a:lnTo>
                    <a:pt x="1193043" y="649142"/>
                  </a:lnTo>
                  <a:lnTo>
                    <a:pt x="1193043" y="628963"/>
                  </a:lnTo>
                  <a:lnTo>
                    <a:pt x="1189007" y="625859"/>
                  </a:lnTo>
                  <a:lnTo>
                    <a:pt x="1185903" y="623686"/>
                  </a:lnTo>
                  <a:lnTo>
                    <a:pt x="1183730" y="621513"/>
                  </a:lnTo>
                  <a:lnTo>
                    <a:pt x="1178452" y="618408"/>
                  </a:lnTo>
                  <a:lnTo>
                    <a:pt x="1172243" y="616235"/>
                  </a:lnTo>
                  <a:lnTo>
                    <a:pt x="1163861" y="621513"/>
                  </a:lnTo>
                  <a:lnTo>
                    <a:pt x="1152375" y="625859"/>
                  </a:lnTo>
                  <a:lnTo>
                    <a:pt x="1139957" y="626790"/>
                  </a:lnTo>
                  <a:lnTo>
                    <a:pt x="1128470" y="631136"/>
                  </a:lnTo>
                  <a:lnTo>
                    <a:pt x="1122262" y="636414"/>
                  </a:lnTo>
                  <a:lnTo>
                    <a:pt x="1128470" y="636414"/>
                  </a:lnTo>
                  <a:lnTo>
                    <a:pt x="1137784" y="636414"/>
                  </a:lnTo>
                  <a:lnTo>
                    <a:pt x="1152375" y="634241"/>
                  </a:lnTo>
                  <a:lnTo>
                    <a:pt x="1169139" y="633309"/>
                  </a:lnTo>
                  <a:lnTo>
                    <a:pt x="1169139" y="640760"/>
                  </a:lnTo>
                  <a:lnTo>
                    <a:pt x="1132506" y="653488"/>
                  </a:lnTo>
                  <a:lnTo>
                    <a:pt x="1132506" y="656593"/>
                  </a:lnTo>
                  <a:lnTo>
                    <a:pt x="1141820" y="656593"/>
                  </a:lnTo>
                  <a:lnTo>
                    <a:pt x="1147097" y="655662"/>
                  </a:lnTo>
                  <a:lnTo>
                    <a:pt x="1154548" y="653488"/>
                  </a:lnTo>
                  <a:lnTo>
                    <a:pt x="1161999" y="651315"/>
                  </a:lnTo>
                  <a:lnTo>
                    <a:pt x="1169449" y="649142"/>
                  </a:lnTo>
                  <a:lnTo>
                    <a:pt x="1171622" y="658766"/>
                  </a:lnTo>
                  <a:lnTo>
                    <a:pt x="1179073" y="663112"/>
                  </a:lnTo>
                  <a:lnTo>
                    <a:pt x="1186524" y="664044"/>
                  </a:lnTo>
                  <a:lnTo>
                    <a:pt x="1198942" y="663112"/>
                  </a:lnTo>
                  <a:lnTo>
                    <a:pt x="1213533" y="663112"/>
                  </a:lnTo>
                  <a:lnTo>
                    <a:pt x="1213533" y="666217"/>
                  </a:lnTo>
                  <a:lnTo>
                    <a:pt x="1209497" y="666217"/>
                  </a:lnTo>
                  <a:lnTo>
                    <a:pt x="1189628" y="685154"/>
                  </a:lnTo>
                  <a:lnTo>
                    <a:pt x="1167587" y="703160"/>
                  </a:lnTo>
                  <a:lnTo>
                    <a:pt x="1145545" y="718061"/>
                  </a:lnTo>
                  <a:lnTo>
                    <a:pt x="1120399" y="730789"/>
                  </a:lnTo>
                  <a:lnTo>
                    <a:pt x="1093390" y="736067"/>
                  </a:lnTo>
                  <a:lnTo>
                    <a:pt x="1062035" y="735136"/>
                  </a:lnTo>
                  <a:lnTo>
                    <a:pt x="1062035" y="740413"/>
                  </a:lnTo>
                  <a:lnTo>
                    <a:pt x="1062035" y="745691"/>
                  </a:lnTo>
                  <a:lnTo>
                    <a:pt x="1059862" y="750037"/>
                  </a:lnTo>
                  <a:lnTo>
                    <a:pt x="1057689" y="750968"/>
                  </a:lnTo>
                  <a:lnTo>
                    <a:pt x="1056757" y="750968"/>
                  </a:lnTo>
                  <a:lnTo>
                    <a:pt x="1054584" y="753142"/>
                  </a:lnTo>
                  <a:lnTo>
                    <a:pt x="1050548" y="755315"/>
                  </a:lnTo>
                  <a:lnTo>
                    <a:pt x="1047444" y="757488"/>
                  </a:lnTo>
                  <a:lnTo>
                    <a:pt x="1045271" y="758419"/>
                  </a:lnTo>
                  <a:lnTo>
                    <a:pt x="1042166" y="762765"/>
                  </a:lnTo>
                  <a:lnTo>
                    <a:pt x="1038131" y="773321"/>
                  </a:lnTo>
                  <a:lnTo>
                    <a:pt x="1035957" y="786980"/>
                  </a:lnTo>
                  <a:lnTo>
                    <a:pt x="1032853" y="795362"/>
                  </a:lnTo>
                  <a:lnTo>
                    <a:pt x="1023540" y="804986"/>
                  </a:lnTo>
                  <a:lnTo>
                    <a:pt x="1008017" y="815541"/>
                  </a:lnTo>
                  <a:lnTo>
                    <a:pt x="987218" y="825165"/>
                  </a:lnTo>
                  <a:lnTo>
                    <a:pt x="969522" y="832616"/>
                  </a:lnTo>
                  <a:lnTo>
                    <a:pt x="952758" y="836962"/>
                  </a:lnTo>
                  <a:lnTo>
                    <a:pt x="952758" y="832616"/>
                  </a:lnTo>
                  <a:lnTo>
                    <a:pt x="952758" y="829511"/>
                  </a:lnTo>
                  <a:lnTo>
                    <a:pt x="950585" y="829511"/>
                  </a:lnTo>
                  <a:lnTo>
                    <a:pt x="950585" y="827338"/>
                  </a:lnTo>
                  <a:lnTo>
                    <a:pt x="949654" y="825165"/>
                  </a:lnTo>
                  <a:lnTo>
                    <a:pt x="947480" y="840066"/>
                  </a:lnTo>
                  <a:lnTo>
                    <a:pt x="942203" y="852795"/>
                  </a:lnTo>
                  <a:lnTo>
                    <a:pt x="938167" y="864281"/>
                  </a:lnTo>
                  <a:lnTo>
                    <a:pt x="932890" y="874836"/>
                  </a:lnTo>
                  <a:lnTo>
                    <a:pt x="928854" y="889738"/>
                  </a:lnTo>
                  <a:lnTo>
                    <a:pt x="932890" y="891911"/>
                  </a:lnTo>
                  <a:lnTo>
                    <a:pt x="932890" y="894084"/>
                  </a:lnTo>
                  <a:lnTo>
                    <a:pt x="935063" y="894084"/>
                  </a:lnTo>
                  <a:lnTo>
                    <a:pt x="935063" y="894084"/>
                  </a:lnTo>
                  <a:lnTo>
                    <a:pt x="935063" y="896257"/>
                  </a:lnTo>
                  <a:lnTo>
                    <a:pt x="932890" y="897188"/>
                  </a:lnTo>
                  <a:lnTo>
                    <a:pt x="928854" y="901535"/>
                  </a:lnTo>
                  <a:lnTo>
                    <a:pt x="925749" y="903708"/>
                  </a:lnTo>
                  <a:lnTo>
                    <a:pt x="922645" y="906812"/>
                  </a:lnTo>
                  <a:lnTo>
                    <a:pt x="918609" y="908985"/>
                  </a:lnTo>
                  <a:lnTo>
                    <a:pt x="916436" y="912090"/>
                  </a:lnTo>
                  <a:lnTo>
                    <a:pt x="913331" y="917367"/>
                  </a:lnTo>
                  <a:lnTo>
                    <a:pt x="905881" y="938478"/>
                  </a:lnTo>
                  <a:lnTo>
                    <a:pt x="900603" y="960519"/>
                  </a:lnTo>
                  <a:lnTo>
                    <a:pt x="898430" y="985976"/>
                  </a:lnTo>
                  <a:lnTo>
                    <a:pt x="894394" y="1010191"/>
                  </a:lnTo>
                  <a:lnTo>
                    <a:pt x="889117" y="1032232"/>
                  </a:lnTo>
                  <a:lnTo>
                    <a:pt x="886012" y="1030059"/>
                  </a:lnTo>
                  <a:lnTo>
                    <a:pt x="886012" y="1030059"/>
                  </a:lnTo>
                  <a:lnTo>
                    <a:pt x="883839" y="1030059"/>
                  </a:lnTo>
                  <a:lnTo>
                    <a:pt x="883839" y="1027886"/>
                  </a:lnTo>
                  <a:lnTo>
                    <a:pt x="881666" y="1027886"/>
                  </a:lnTo>
                  <a:lnTo>
                    <a:pt x="876388" y="1024782"/>
                  </a:lnTo>
                  <a:lnTo>
                    <a:pt x="867075" y="1017331"/>
                  </a:lnTo>
                  <a:lnTo>
                    <a:pt x="852484" y="1005844"/>
                  </a:lnTo>
                  <a:lnTo>
                    <a:pt x="835720" y="996221"/>
                  </a:lnTo>
                  <a:lnTo>
                    <a:pt x="820198" y="985665"/>
                  </a:lnTo>
                  <a:lnTo>
                    <a:pt x="807780" y="976042"/>
                  </a:lnTo>
                  <a:lnTo>
                    <a:pt x="796294" y="970764"/>
                  </a:lnTo>
                  <a:lnTo>
                    <a:pt x="793189" y="968591"/>
                  </a:lnTo>
                  <a:lnTo>
                    <a:pt x="789153" y="928543"/>
                  </a:lnTo>
                  <a:lnTo>
                    <a:pt x="786980" y="924197"/>
                  </a:lnTo>
                  <a:lnTo>
                    <a:pt x="781703" y="921093"/>
                  </a:lnTo>
                  <a:lnTo>
                    <a:pt x="778598" y="918920"/>
                  </a:lnTo>
                  <a:lnTo>
                    <a:pt x="772389" y="914573"/>
                  </a:lnTo>
                  <a:lnTo>
                    <a:pt x="769285" y="911469"/>
                  </a:lnTo>
                  <a:lnTo>
                    <a:pt x="772389" y="909296"/>
                  </a:lnTo>
                  <a:lnTo>
                    <a:pt x="772389" y="907123"/>
                  </a:lnTo>
                  <a:lnTo>
                    <a:pt x="774562" y="906191"/>
                  </a:lnTo>
                  <a:lnTo>
                    <a:pt x="774562" y="906191"/>
                  </a:lnTo>
                  <a:lnTo>
                    <a:pt x="776735" y="901845"/>
                  </a:lnTo>
                  <a:lnTo>
                    <a:pt x="778908" y="898741"/>
                  </a:lnTo>
                  <a:lnTo>
                    <a:pt x="769595" y="898741"/>
                  </a:lnTo>
                  <a:lnTo>
                    <a:pt x="764317" y="898741"/>
                  </a:lnTo>
                  <a:lnTo>
                    <a:pt x="760282" y="898741"/>
                  </a:lnTo>
                  <a:lnTo>
                    <a:pt x="758109" y="896567"/>
                  </a:lnTo>
                  <a:lnTo>
                    <a:pt x="757177" y="893463"/>
                  </a:lnTo>
                  <a:lnTo>
                    <a:pt x="753141" y="887254"/>
                  </a:lnTo>
                  <a:lnTo>
                    <a:pt x="750968" y="884150"/>
                  </a:lnTo>
                  <a:lnTo>
                    <a:pt x="750968" y="879803"/>
                  </a:lnTo>
                  <a:lnTo>
                    <a:pt x="750968" y="878872"/>
                  </a:lnTo>
                  <a:lnTo>
                    <a:pt x="750968" y="874526"/>
                  </a:lnTo>
                  <a:lnTo>
                    <a:pt x="753141" y="871421"/>
                  </a:lnTo>
                  <a:lnTo>
                    <a:pt x="753141" y="867075"/>
                  </a:lnTo>
                  <a:lnTo>
                    <a:pt x="742586" y="867075"/>
                  </a:lnTo>
                  <a:lnTo>
                    <a:pt x="742586" y="861798"/>
                  </a:lnTo>
                  <a:lnTo>
                    <a:pt x="743518" y="856520"/>
                  </a:lnTo>
                  <a:lnTo>
                    <a:pt x="745691" y="854347"/>
                  </a:lnTo>
                  <a:lnTo>
                    <a:pt x="745691" y="850622"/>
                  </a:lnTo>
                  <a:lnTo>
                    <a:pt x="747864" y="847517"/>
                  </a:lnTo>
                  <a:lnTo>
                    <a:pt x="750037" y="842239"/>
                  </a:lnTo>
                  <a:lnTo>
                    <a:pt x="743828" y="842239"/>
                  </a:lnTo>
                  <a:lnTo>
                    <a:pt x="737619" y="842239"/>
                  </a:lnTo>
                  <a:lnTo>
                    <a:pt x="734515" y="840066"/>
                  </a:lnTo>
                  <a:lnTo>
                    <a:pt x="728306" y="837893"/>
                  </a:lnTo>
                  <a:lnTo>
                    <a:pt x="727375" y="810574"/>
                  </a:lnTo>
                  <a:lnTo>
                    <a:pt x="725201" y="785117"/>
                  </a:lnTo>
                  <a:lnTo>
                    <a:pt x="725201" y="760903"/>
                  </a:lnTo>
                  <a:lnTo>
                    <a:pt x="732652" y="736688"/>
                  </a:lnTo>
                  <a:lnTo>
                    <a:pt x="740103" y="726133"/>
                  </a:lnTo>
                  <a:lnTo>
                    <a:pt x="749416" y="718682"/>
                  </a:lnTo>
                  <a:lnTo>
                    <a:pt x="756867" y="712473"/>
                  </a:lnTo>
                  <a:lnTo>
                    <a:pt x="762144" y="704091"/>
                  </a:lnTo>
                  <a:lnTo>
                    <a:pt x="767422" y="692605"/>
                  </a:lnTo>
                  <a:lnTo>
                    <a:pt x="769595" y="672426"/>
                  </a:lnTo>
                  <a:lnTo>
                    <a:pt x="765559" y="672426"/>
                  </a:lnTo>
                  <a:lnTo>
                    <a:pt x="762455" y="676772"/>
                  </a:lnTo>
                  <a:lnTo>
                    <a:pt x="758419" y="677703"/>
                  </a:lnTo>
                  <a:lnTo>
                    <a:pt x="757488" y="677703"/>
                  </a:lnTo>
                  <a:lnTo>
                    <a:pt x="753452" y="677703"/>
                  </a:lnTo>
                  <a:lnTo>
                    <a:pt x="750347" y="676772"/>
                  </a:lnTo>
                  <a:lnTo>
                    <a:pt x="735757" y="672426"/>
                  </a:lnTo>
                  <a:lnTo>
                    <a:pt x="724270" y="664975"/>
                  </a:lnTo>
                  <a:lnTo>
                    <a:pt x="716819" y="654420"/>
                  </a:lnTo>
                  <a:lnTo>
                    <a:pt x="713715" y="635483"/>
                  </a:lnTo>
                  <a:lnTo>
                    <a:pt x="718992" y="635483"/>
                  </a:lnTo>
                  <a:lnTo>
                    <a:pt x="718992" y="632378"/>
                  </a:lnTo>
                  <a:lnTo>
                    <a:pt x="728306" y="637656"/>
                  </a:lnTo>
                  <a:lnTo>
                    <a:pt x="738861" y="645106"/>
                  </a:lnTo>
                  <a:lnTo>
                    <a:pt x="748174" y="648211"/>
                  </a:lnTo>
                  <a:lnTo>
                    <a:pt x="758729" y="648211"/>
                  </a:lnTo>
                  <a:lnTo>
                    <a:pt x="758729" y="647280"/>
                  </a:lnTo>
                  <a:lnTo>
                    <a:pt x="760903" y="645106"/>
                  </a:lnTo>
                  <a:lnTo>
                    <a:pt x="760903" y="645106"/>
                  </a:lnTo>
                  <a:lnTo>
                    <a:pt x="760903" y="642623"/>
                  </a:lnTo>
                  <a:lnTo>
                    <a:pt x="763076" y="639518"/>
                  </a:lnTo>
                  <a:lnTo>
                    <a:pt x="743207" y="624617"/>
                  </a:lnTo>
                  <a:lnTo>
                    <a:pt x="726443" y="603507"/>
                  </a:lnTo>
                  <a:lnTo>
                    <a:pt x="721166" y="605680"/>
                  </a:lnTo>
                  <a:lnTo>
                    <a:pt x="717130" y="607853"/>
                  </a:lnTo>
                  <a:lnTo>
                    <a:pt x="711852" y="610026"/>
                  </a:lnTo>
                  <a:lnTo>
                    <a:pt x="706575" y="610957"/>
                  </a:lnTo>
                  <a:lnTo>
                    <a:pt x="702539" y="607853"/>
                  </a:lnTo>
                  <a:lnTo>
                    <a:pt x="701608" y="605680"/>
                  </a:lnTo>
                  <a:lnTo>
                    <a:pt x="699434" y="602575"/>
                  </a:lnTo>
                  <a:lnTo>
                    <a:pt x="697261" y="600402"/>
                  </a:lnTo>
                  <a:lnTo>
                    <a:pt x="694157" y="595125"/>
                  </a:lnTo>
                  <a:lnTo>
                    <a:pt x="704712" y="583638"/>
                  </a:lnTo>
                  <a:lnTo>
                    <a:pt x="706885" y="567805"/>
                  </a:lnTo>
                  <a:lnTo>
                    <a:pt x="704712" y="546695"/>
                  </a:lnTo>
                  <a:lnTo>
                    <a:pt x="699434" y="524653"/>
                  </a:lnTo>
                  <a:lnTo>
                    <a:pt x="690121" y="501370"/>
                  </a:lnTo>
                  <a:lnTo>
                    <a:pt x="679566" y="479328"/>
                  </a:lnTo>
                  <a:lnTo>
                    <a:pt x="665906" y="459149"/>
                  </a:lnTo>
                  <a:lnTo>
                    <a:pt x="655351" y="440212"/>
                  </a:lnTo>
                  <a:lnTo>
                    <a:pt x="646038" y="425311"/>
                  </a:lnTo>
                  <a:lnTo>
                    <a:pt x="623996" y="410409"/>
                  </a:lnTo>
                  <a:lnTo>
                    <a:pt x="598850" y="405132"/>
                  </a:lnTo>
                  <a:lnTo>
                    <a:pt x="572772" y="405132"/>
                  </a:lnTo>
                  <a:lnTo>
                    <a:pt x="543591" y="405132"/>
                  </a:lnTo>
                  <a:lnTo>
                    <a:pt x="515340" y="407305"/>
                  </a:lnTo>
                  <a:lnTo>
                    <a:pt x="486158" y="405132"/>
                  </a:lnTo>
                  <a:lnTo>
                    <a:pt x="486158" y="399854"/>
                  </a:lnTo>
                  <a:lnTo>
                    <a:pt x="486158" y="395508"/>
                  </a:lnTo>
                  <a:lnTo>
                    <a:pt x="487089" y="394577"/>
                  </a:lnTo>
                  <a:lnTo>
                    <a:pt x="487089" y="392404"/>
                  </a:lnTo>
                  <a:lnTo>
                    <a:pt x="487089" y="390230"/>
                  </a:lnTo>
                  <a:lnTo>
                    <a:pt x="486158" y="388057"/>
                  </a:lnTo>
                  <a:lnTo>
                    <a:pt x="474672" y="382780"/>
                  </a:lnTo>
                  <a:lnTo>
                    <a:pt x="464116" y="379675"/>
                  </a:lnTo>
                  <a:lnTo>
                    <a:pt x="452630" y="372225"/>
                  </a:lnTo>
                  <a:lnTo>
                    <a:pt x="461943" y="372225"/>
                  </a:lnTo>
                  <a:lnTo>
                    <a:pt x="472499" y="367878"/>
                  </a:lnTo>
                  <a:lnTo>
                    <a:pt x="487089" y="364774"/>
                  </a:lnTo>
                  <a:lnTo>
                    <a:pt x="503854" y="362601"/>
                  </a:lnTo>
                  <a:lnTo>
                    <a:pt x="516271" y="358254"/>
                  </a:lnTo>
                  <a:lnTo>
                    <a:pt x="525585" y="350804"/>
                  </a:lnTo>
                  <a:lnTo>
                    <a:pt x="481812" y="350804"/>
                  </a:lnTo>
                  <a:lnTo>
                    <a:pt x="471257" y="347699"/>
                  </a:lnTo>
                  <a:lnTo>
                    <a:pt x="461943" y="347699"/>
                  </a:lnTo>
                  <a:lnTo>
                    <a:pt x="450457" y="345526"/>
                  </a:lnTo>
                  <a:lnTo>
                    <a:pt x="442075" y="343353"/>
                  </a:lnTo>
                  <a:lnTo>
                    <a:pt x="432761" y="340249"/>
                  </a:lnTo>
                  <a:lnTo>
                    <a:pt x="427484" y="330625"/>
                  </a:lnTo>
                  <a:lnTo>
                    <a:pt x="425311" y="315723"/>
                  </a:lnTo>
                  <a:lnTo>
                    <a:pt x="447352" y="312619"/>
                  </a:lnTo>
                  <a:lnTo>
                    <a:pt x="467221" y="305168"/>
                  </a:lnTo>
                  <a:lnTo>
                    <a:pt x="483985" y="297718"/>
                  </a:lnTo>
                  <a:lnTo>
                    <a:pt x="501680" y="290267"/>
                  </a:lnTo>
                  <a:lnTo>
                    <a:pt x="538313" y="290267"/>
                  </a:lnTo>
                  <a:lnTo>
                    <a:pt x="552904" y="241837"/>
                  </a:lnTo>
                  <a:lnTo>
                    <a:pt x="518444" y="241837"/>
                  </a:lnTo>
                  <a:lnTo>
                    <a:pt x="509131" y="229109"/>
                  </a:lnTo>
                  <a:lnTo>
                    <a:pt x="520618" y="221658"/>
                  </a:lnTo>
                  <a:lnTo>
                    <a:pt x="529000" y="214208"/>
                  </a:lnTo>
                  <a:lnTo>
                    <a:pt x="540486" y="208930"/>
                  </a:lnTo>
                  <a:lnTo>
                    <a:pt x="552904" y="204584"/>
                  </a:lnTo>
                  <a:lnTo>
                    <a:pt x="552904" y="191856"/>
                  </a:lnTo>
                  <a:lnTo>
                    <a:pt x="567495" y="184405"/>
                  </a:lnTo>
                  <a:lnTo>
                    <a:pt x="574946" y="176023"/>
                  </a:lnTo>
                  <a:lnTo>
                    <a:pt x="582396" y="164536"/>
                  </a:lnTo>
                  <a:lnTo>
                    <a:pt x="593883" y="157086"/>
                  </a:lnTo>
                  <a:lnTo>
                    <a:pt x="606301" y="151808"/>
                  </a:lnTo>
                  <a:lnTo>
                    <a:pt x="616856" y="151808"/>
                  </a:lnTo>
                  <a:lnTo>
                    <a:pt x="626169" y="154912"/>
                  </a:lnTo>
                  <a:lnTo>
                    <a:pt x="638587" y="153981"/>
                  </a:lnTo>
                  <a:lnTo>
                    <a:pt x="629274" y="149635"/>
                  </a:lnTo>
                  <a:lnTo>
                    <a:pt x="623996" y="147462"/>
                  </a:lnTo>
                  <a:lnTo>
                    <a:pt x="618718" y="146530"/>
                  </a:lnTo>
                  <a:lnTo>
                    <a:pt x="613441" y="140322"/>
                  </a:lnTo>
                  <a:lnTo>
                    <a:pt x="631136" y="137217"/>
                  </a:lnTo>
                  <a:lnTo>
                    <a:pt x="647900" y="131939"/>
                  </a:lnTo>
                  <a:lnTo>
                    <a:pt x="662491" y="127593"/>
                  </a:lnTo>
                  <a:lnTo>
                    <a:pt x="679255" y="124489"/>
                  </a:lnTo>
                  <a:lnTo>
                    <a:pt x="680187" y="131939"/>
                  </a:lnTo>
                  <a:lnTo>
                    <a:pt x="682360" y="135044"/>
                  </a:lnTo>
                  <a:lnTo>
                    <a:pt x="684533" y="140322"/>
                  </a:lnTo>
                  <a:lnTo>
                    <a:pt x="686706" y="144668"/>
                  </a:lnTo>
                  <a:lnTo>
                    <a:pt x="691984" y="146841"/>
                  </a:lnTo>
                  <a:lnTo>
                    <a:pt x="699434" y="147772"/>
                  </a:lnTo>
                  <a:lnTo>
                    <a:pt x="699434" y="142495"/>
                  </a:lnTo>
                  <a:lnTo>
                    <a:pt x="702539" y="137217"/>
                  </a:lnTo>
                  <a:lnTo>
                    <a:pt x="704712" y="129766"/>
                  </a:lnTo>
                  <a:lnTo>
                    <a:pt x="706885" y="124489"/>
                  </a:lnTo>
                  <a:lnTo>
                    <a:pt x="709989" y="129766"/>
                  </a:lnTo>
                  <a:lnTo>
                    <a:pt x="716198" y="135044"/>
                  </a:lnTo>
                  <a:lnTo>
                    <a:pt x="719303" y="139390"/>
                  </a:lnTo>
                  <a:lnTo>
                    <a:pt x="726754" y="142495"/>
                  </a:lnTo>
                  <a:lnTo>
                    <a:pt x="734204" y="144668"/>
                  </a:lnTo>
                  <a:lnTo>
                    <a:pt x="730168" y="120453"/>
                  </a:lnTo>
                  <a:lnTo>
                    <a:pt x="743828" y="117349"/>
                  </a:lnTo>
                  <a:lnTo>
                    <a:pt x="754383" y="113002"/>
                  </a:lnTo>
                  <a:lnTo>
                    <a:pt x="771147" y="117349"/>
                  </a:lnTo>
                  <a:lnTo>
                    <a:pt x="788843" y="124799"/>
                  </a:lnTo>
                  <a:lnTo>
                    <a:pt x="807780" y="135354"/>
                  </a:lnTo>
                  <a:lnTo>
                    <a:pt x="827648" y="144978"/>
                  </a:lnTo>
                  <a:lnTo>
                    <a:pt x="844413" y="152429"/>
                  </a:lnTo>
                  <a:lnTo>
                    <a:pt x="859935" y="157706"/>
                  </a:lnTo>
                  <a:lnTo>
                    <a:pt x="859935" y="154602"/>
                  </a:lnTo>
                  <a:lnTo>
                    <a:pt x="849380" y="144978"/>
                  </a:lnTo>
                  <a:lnTo>
                    <a:pt x="841929" y="137527"/>
                  </a:lnTo>
                  <a:lnTo>
                    <a:pt x="837893" y="127904"/>
                  </a:lnTo>
                  <a:lnTo>
                    <a:pt x="844102" y="117349"/>
                  </a:lnTo>
                  <a:lnTo>
                    <a:pt x="840066" y="113002"/>
                  </a:lnTo>
                  <a:lnTo>
                    <a:pt x="834789" y="107725"/>
                  </a:lnTo>
                  <a:lnTo>
                    <a:pt x="829511" y="103378"/>
                  </a:lnTo>
                  <a:lnTo>
                    <a:pt x="824234" y="100274"/>
                  </a:lnTo>
                  <a:lnTo>
                    <a:pt x="820198" y="95928"/>
                  </a:lnTo>
                  <a:lnTo>
                    <a:pt x="824234" y="87546"/>
                  </a:lnTo>
                  <a:lnTo>
                    <a:pt x="834789" y="90650"/>
                  </a:lnTo>
                  <a:lnTo>
                    <a:pt x="849380" y="92823"/>
                  </a:lnTo>
                  <a:lnTo>
                    <a:pt x="861797" y="90650"/>
                  </a:lnTo>
                  <a:lnTo>
                    <a:pt x="871111" y="83199"/>
                  </a:lnTo>
                  <a:lnTo>
                    <a:pt x="827338" y="83199"/>
                  </a:lnTo>
                  <a:lnTo>
                    <a:pt x="827338" y="80095"/>
                  </a:lnTo>
                  <a:lnTo>
                    <a:pt x="824234" y="80095"/>
                  </a:lnTo>
                  <a:lnTo>
                    <a:pt x="824234" y="75749"/>
                  </a:lnTo>
                  <a:lnTo>
                    <a:pt x="829511" y="72644"/>
                  </a:lnTo>
                  <a:lnTo>
                    <a:pt x="834789" y="68298"/>
                  </a:lnTo>
                  <a:lnTo>
                    <a:pt x="840066" y="65194"/>
                  </a:lnTo>
                  <a:lnTo>
                    <a:pt x="845344" y="60847"/>
                  </a:lnTo>
                  <a:lnTo>
                    <a:pt x="851553" y="59916"/>
                  </a:lnTo>
                  <a:lnTo>
                    <a:pt x="874526" y="63020"/>
                  </a:lnTo>
                  <a:lnTo>
                    <a:pt x="880735" y="46256"/>
                  </a:lnTo>
                  <a:lnTo>
                    <a:pt x="907743" y="50603"/>
                  </a:lnTo>
                  <a:lnTo>
                    <a:pt x="909917" y="50603"/>
                  </a:lnTo>
                  <a:lnTo>
                    <a:pt x="910848" y="46256"/>
                  </a:lnTo>
                  <a:lnTo>
                    <a:pt x="913021" y="45325"/>
                  </a:lnTo>
                  <a:lnTo>
                    <a:pt x="915194" y="40979"/>
                  </a:lnTo>
                  <a:lnTo>
                    <a:pt x="920472" y="38806"/>
                  </a:lnTo>
                  <a:lnTo>
                    <a:pt x="924508" y="45015"/>
                  </a:lnTo>
                  <a:lnTo>
                    <a:pt x="929785" y="50292"/>
                  </a:lnTo>
                  <a:lnTo>
                    <a:pt x="935063" y="55570"/>
                  </a:lnTo>
                  <a:lnTo>
                    <a:pt x="935063" y="45946"/>
                  </a:lnTo>
                  <a:lnTo>
                    <a:pt x="937236" y="45015"/>
                  </a:lnTo>
                  <a:lnTo>
                    <a:pt x="937236" y="42842"/>
                  </a:lnTo>
                  <a:lnTo>
                    <a:pt x="937236" y="40668"/>
                  </a:lnTo>
                  <a:lnTo>
                    <a:pt x="937236" y="38495"/>
                  </a:lnTo>
                  <a:lnTo>
                    <a:pt x="938167" y="35391"/>
                  </a:lnTo>
                  <a:lnTo>
                    <a:pt x="940340" y="33218"/>
                  </a:lnTo>
                  <a:lnTo>
                    <a:pt x="944376" y="31045"/>
                  </a:lnTo>
                  <a:lnTo>
                    <a:pt x="962071" y="22663"/>
                  </a:lnTo>
                  <a:lnTo>
                    <a:pt x="984113" y="20179"/>
                  </a:lnTo>
                  <a:lnTo>
                    <a:pt x="984113" y="20179"/>
                  </a:lnTo>
                  <a:lnTo>
                    <a:pt x="984113" y="20179"/>
                  </a:lnTo>
                  <a:close/>
                  <a:moveTo>
                    <a:pt x="2301024" y="16764"/>
                  </a:moveTo>
                  <a:lnTo>
                    <a:pt x="2311579" y="19869"/>
                  </a:lnTo>
                  <a:lnTo>
                    <a:pt x="2311579" y="27319"/>
                  </a:lnTo>
                  <a:lnTo>
                    <a:pt x="2296057" y="27319"/>
                  </a:lnTo>
                  <a:lnTo>
                    <a:pt x="2301024" y="16764"/>
                  </a:lnTo>
                  <a:lnTo>
                    <a:pt x="2301024" y="16764"/>
                  </a:lnTo>
                  <a:lnTo>
                    <a:pt x="2301024" y="16764"/>
                  </a:lnTo>
                  <a:close/>
                  <a:moveTo>
                    <a:pt x="2792460" y="0"/>
                  </a:moveTo>
                  <a:lnTo>
                    <a:pt x="2797737" y="3104"/>
                  </a:lnTo>
                  <a:lnTo>
                    <a:pt x="2801773" y="7451"/>
                  </a:lnTo>
                  <a:lnTo>
                    <a:pt x="2803946" y="10555"/>
                  </a:lnTo>
                  <a:lnTo>
                    <a:pt x="2804878" y="16764"/>
                  </a:lnTo>
                  <a:lnTo>
                    <a:pt x="2807051" y="19869"/>
                  </a:lnTo>
                  <a:lnTo>
                    <a:pt x="2809224" y="25146"/>
                  </a:lnTo>
                  <a:lnTo>
                    <a:pt x="2812328" y="27319"/>
                  </a:lnTo>
                  <a:lnTo>
                    <a:pt x="2823815" y="32597"/>
                  </a:lnTo>
                  <a:lnTo>
                    <a:pt x="2834370" y="34770"/>
                  </a:lnTo>
                  <a:lnTo>
                    <a:pt x="2841821" y="34770"/>
                  </a:lnTo>
                  <a:lnTo>
                    <a:pt x="2847098" y="39116"/>
                  </a:lnTo>
                  <a:lnTo>
                    <a:pt x="2851134" y="46567"/>
                  </a:lnTo>
                  <a:lnTo>
                    <a:pt x="2853307" y="61468"/>
                  </a:lnTo>
                  <a:lnTo>
                    <a:pt x="2851134" y="62400"/>
                  </a:lnTo>
                  <a:lnTo>
                    <a:pt x="2851134" y="62400"/>
                  </a:lnTo>
                  <a:lnTo>
                    <a:pt x="2851134" y="64573"/>
                  </a:lnTo>
                  <a:lnTo>
                    <a:pt x="2851134" y="66746"/>
                  </a:lnTo>
                  <a:lnTo>
                    <a:pt x="2848961" y="68919"/>
                  </a:lnTo>
                  <a:lnTo>
                    <a:pt x="2825988" y="68919"/>
                  </a:lnTo>
                  <a:lnTo>
                    <a:pt x="2802084" y="68919"/>
                  </a:lnTo>
                  <a:lnTo>
                    <a:pt x="2782215" y="77301"/>
                  </a:lnTo>
                  <a:lnTo>
                    <a:pt x="2778179" y="79474"/>
                  </a:lnTo>
                  <a:lnTo>
                    <a:pt x="2776006" y="83820"/>
                  </a:lnTo>
                  <a:lnTo>
                    <a:pt x="2775075" y="84752"/>
                  </a:lnTo>
                  <a:lnTo>
                    <a:pt x="2772902" y="86925"/>
                  </a:lnTo>
                  <a:lnTo>
                    <a:pt x="2770729" y="89098"/>
                  </a:lnTo>
                  <a:lnTo>
                    <a:pt x="2767624" y="91271"/>
                  </a:lnTo>
                  <a:lnTo>
                    <a:pt x="2761415" y="94376"/>
                  </a:lnTo>
                  <a:lnTo>
                    <a:pt x="2758311" y="89098"/>
                  </a:lnTo>
                  <a:lnTo>
                    <a:pt x="2756137" y="84752"/>
                  </a:lnTo>
                  <a:lnTo>
                    <a:pt x="2753033" y="81647"/>
                  </a:lnTo>
                  <a:lnTo>
                    <a:pt x="2765451" y="49982"/>
                  </a:lnTo>
                  <a:lnTo>
                    <a:pt x="2777869" y="24525"/>
                  </a:lnTo>
                  <a:lnTo>
                    <a:pt x="2792460" y="0"/>
                  </a:lnTo>
                  <a:lnTo>
                    <a:pt x="2792460" y="0"/>
                  </a:lnTo>
                  <a:lnTo>
                    <a:pt x="2792460" y="0"/>
                  </a:lnTo>
                  <a:close/>
                  <a:moveTo>
                    <a:pt x="2665177" y="0"/>
                  </a:moveTo>
                  <a:lnTo>
                    <a:pt x="2674490" y="9624"/>
                  </a:lnTo>
                  <a:lnTo>
                    <a:pt x="2679768" y="20179"/>
                  </a:lnTo>
                  <a:lnTo>
                    <a:pt x="2685046" y="32907"/>
                  </a:lnTo>
                  <a:lnTo>
                    <a:pt x="2675732" y="32907"/>
                  </a:lnTo>
                  <a:lnTo>
                    <a:pt x="2675732" y="27319"/>
                  </a:lnTo>
                  <a:lnTo>
                    <a:pt x="2672628" y="24215"/>
                  </a:lnTo>
                  <a:lnTo>
                    <a:pt x="2668592" y="19869"/>
                  </a:lnTo>
                  <a:lnTo>
                    <a:pt x="2667660" y="14591"/>
                  </a:lnTo>
                  <a:lnTo>
                    <a:pt x="2665487" y="9313"/>
                  </a:lnTo>
                  <a:lnTo>
                    <a:pt x="2665487" y="0"/>
                  </a:lnTo>
                  <a:lnTo>
                    <a:pt x="2665177" y="0"/>
                  </a:lnTo>
                  <a:lnTo>
                    <a:pt x="2665177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8EDCC7AC-818C-4750-B80E-77FEB2AD9A98}"/>
                </a:ext>
              </a:extLst>
            </p:cNvPr>
            <p:cNvSpPr/>
            <p:nvPr/>
          </p:nvSpPr>
          <p:spPr>
            <a:xfrm>
              <a:off x="3709769" y="4075070"/>
              <a:ext cx="34149" cy="15522"/>
            </a:xfrm>
            <a:custGeom>
              <a:avLst/>
              <a:gdLst>
                <a:gd name="connsiteX0" fmla="*/ 13660 w 34149"/>
                <a:gd name="connsiteY0" fmla="*/ 14591 h 15522"/>
                <a:gd name="connsiteX1" fmla="*/ 20800 w 34149"/>
                <a:gd name="connsiteY1" fmla="*/ 16764 h 15522"/>
                <a:gd name="connsiteX2" fmla="*/ 23904 w 34149"/>
                <a:gd name="connsiteY2" fmla="*/ 16764 h 15522"/>
                <a:gd name="connsiteX3" fmla="*/ 28251 w 34149"/>
                <a:gd name="connsiteY3" fmla="*/ 16764 h 15522"/>
                <a:gd name="connsiteX4" fmla="*/ 36633 w 34149"/>
                <a:gd name="connsiteY4" fmla="*/ 16764 h 15522"/>
                <a:gd name="connsiteX5" fmla="*/ 35391 w 34149"/>
                <a:gd name="connsiteY5" fmla="*/ 10555 h 15522"/>
                <a:gd name="connsiteX6" fmla="*/ 35391 w 34149"/>
                <a:gd name="connsiteY6" fmla="*/ 7140 h 15522"/>
                <a:gd name="connsiteX7" fmla="*/ 33528 w 34149"/>
                <a:gd name="connsiteY7" fmla="*/ 3104 h 15522"/>
                <a:gd name="connsiteX8" fmla="*/ 33528 w 34149"/>
                <a:gd name="connsiteY8" fmla="*/ 0 h 15522"/>
                <a:gd name="connsiteX9" fmla="*/ 0 w 34149"/>
                <a:gd name="connsiteY9" fmla="*/ 0 h 15522"/>
                <a:gd name="connsiteX10" fmla="*/ 0 w 34149"/>
                <a:gd name="connsiteY10" fmla="*/ 12418 h 15522"/>
                <a:gd name="connsiteX11" fmla="*/ 7451 w 34149"/>
                <a:gd name="connsiteY11" fmla="*/ 1459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49" h="15522">
                  <a:moveTo>
                    <a:pt x="13660" y="14591"/>
                  </a:moveTo>
                  <a:lnTo>
                    <a:pt x="20800" y="16764"/>
                  </a:lnTo>
                  <a:lnTo>
                    <a:pt x="23904" y="16764"/>
                  </a:lnTo>
                  <a:lnTo>
                    <a:pt x="28251" y="16764"/>
                  </a:lnTo>
                  <a:lnTo>
                    <a:pt x="36633" y="16764"/>
                  </a:lnTo>
                  <a:lnTo>
                    <a:pt x="35391" y="10555"/>
                  </a:lnTo>
                  <a:lnTo>
                    <a:pt x="35391" y="7140"/>
                  </a:lnTo>
                  <a:lnTo>
                    <a:pt x="33528" y="3104"/>
                  </a:lnTo>
                  <a:lnTo>
                    <a:pt x="33528" y="0"/>
                  </a:lnTo>
                  <a:lnTo>
                    <a:pt x="0" y="0"/>
                  </a:lnTo>
                  <a:lnTo>
                    <a:pt x="0" y="12418"/>
                  </a:lnTo>
                  <a:lnTo>
                    <a:pt x="7451" y="1459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29208D0E-82AB-431E-B563-66B7857C8E40}"/>
                </a:ext>
              </a:extLst>
            </p:cNvPr>
            <p:cNvSpPr/>
            <p:nvPr/>
          </p:nvSpPr>
          <p:spPr>
            <a:xfrm>
              <a:off x="3530642" y="4043094"/>
              <a:ext cx="34149" cy="9313"/>
            </a:xfrm>
            <a:custGeom>
              <a:avLst/>
              <a:gdLst>
                <a:gd name="connsiteX0" fmla="*/ 22973 w 34149"/>
                <a:gd name="connsiteY0" fmla="*/ 11797 h 9313"/>
                <a:gd name="connsiteX1" fmla="*/ 32286 w 34149"/>
                <a:gd name="connsiteY1" fmla="*/ 7451 h 9313"/>
                <a:gd name="connsiteX2" fmla="*/ 36633 w 34149"/>
                <a:gd name="connsiteY2" fmla="*/ 7451 h 9313"/>
                <a:gd name="connsiteX3" fmla="*/ 30424 w 34149"/>
                <a:gd name="connsiteY3" fmla="*/ 4346 h 9313"/>
                <a:gd name="connsiteX4" fmla="*/ 22973 w 34149"/>
                <a:gd name="connsiteY4" fmla="*/ 2173 h 9313"/>
                <a:gd name="connsiteX5" fmla="*/ 15833 w 34149"/>
                <a:gd name="connsiteY5" fmla="*/ 0 h 9313"/>
                <a:gd name="connsiteX6" fmla="*/ 12728 w 34149"/>
                <a:gd name="connsiteY6" fmla="*/ 2173 h 9313"/>
                <a:gd name="connsiteX7" fmla="*/ 7451 w 34149"/>
                <a:gd name="connsiteY7" fmla="*/ 4346 h 9313"/>
                <a:gd name="connsiteX8" fmla="*/ 3104 w 34149"/>
                <a:gd name="connsiteY8" fmla="*/ 7451 h 9313"/>
                <a:gd name="connsiteX9" fmla="*/ 0 w 34149"/>
                <a:gd name="connsiteY9" fmla="*/ 7451 h 9313"/>
                <a:gd name="connsiteX10" fmla="*/ 0 w 34149"/>
                <a:gd name="connsiteY10" fmla="*/ 11797 h 9313"/>
                <a:gd name="connsiteX11" fmla="*/ 12728 w 34149"/>
                <a:gd name="connsiteY11" fmla="*/ 11797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149" h="9313">
                  <a:moveTo>
                    <a:pt x="22973" y="11797"/>
                  </a:moveTo>
                  <a:lnTo>
                    <a:pt x="32286" y="7451"/>
                  </a:lnTo>
                  <a:lnTo>
                    <a:pt x="36633" y="7451"/>
                  </a:lnTo>
                  <a:lnTo>
                    <a:pt x="30424" y="4346"/>
                  </a:lnTo>
                  <a:lnTo>
                    <a:pt x="22973" y="2173"/>
                  </a:lnTo>
                  <a:lnTo>
                    <a:pt x="15833" y="0"/>
                  </a:lnTo>
                  <a:lnTo>
                    <a:pt x="12728" y="2173"/>
                  </a:lnTo>
                  <a:lnTo>
                    <a:pt x="7451" y="4346"/>
                  </a:lnTo>
                  <a:lnTo>
                    <a:pt x="3104" y="7451"/>
                  </a:lnTo>
                  <a:lnTo>
                    <a:pt x="0" y="7451"/>
                  </a:lnTo>
                  <a:lnTo>
                    <a:pt x="0" y="11797"/>
                  </a:lnTo>
                  <a:lnTo>
                    <a:pt x="12728" y="1179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318A9569-2A01-489D-A97A-127DFB37E54E}"/>
                </a:ext>
              </a:extLst>
            </p:cNvPr>
            <p:cNvSpPr/>
            <p:nvPr/>
          </p:nvSpPr>
          <p:spPr>
            <a:xfrm>
              <a:off x="3730569" y="4013602"/>
              <a:ext cx="37253" cy="40358"/>
            </a:xfrm>
            <a:custGeom>
              <a:avLst/>
              <a:gdLst>
                <a:gd name="connsiteX0" fmla="*/ 10555 w 37253"/>
                <a:gd name="connsiteY0" fmla="*/ 39116 h 40357"/>
                <a:gd name="connsiteX1" fmla="*/ 14591 w 37253"/>
                <a:gd name="connsiteY1" fmla="*/ 41289 h 40357"/>
                <a:gd name="connsiteX2" fmla="*/ 22042 w 37253"/>
                <a:gd name="connsiteY2" fmla="*/ 41289 h 40357"/>
                <a:gd name="connsiteX3" fmla="*/ 27319 w 37253"/>
                <a:gd name="connsiteY3" fmla="*/ 41289 h 40357"/>
                <a:gd name="connsiteX4" fmla="*/ 29182 w 37253"/>
                <a:gd name="connsiteY4" fmla="*/ 34770 h 40357"/>
                <a:gd name="connsiteX5" fmla="*/ 30424 w 37253"/>
                <a:gd name="connsiteY5" fmla="*/ 31665 h 40357"/>
                <a:gd name="connsiteX6" fmla="*/ 32286 w 37253"/>
                <a:gd name="connsiteY6" fmla="*/ 27630 h 40357"/>
                <a:gd name="connsiteX7" fmla="*/ 34460 w 37253"/>
                <a:gd name="connsiteY7" fmla="*/ 26388 h 40357"/>
                <a:gd name="connsiteX8" fmla="*/ 36633 w 37253"/>
                <a:gd name="connsiteY8" fmla="*/ 24215 h 40357"/>
                <a:gd name="connsiteX9" fmla="*/ 39737 w 37253"/>
                <a:gd name="connsiteY9" fmla="*/ 20179 h 40357"/>
                <a:gd name="connsiteX10" fmla="*/ 32286 w 37253"/>
                <a:gd name="connsiteY10" fmla="*/ 14901 h 40357"/>
                <a:gd name="connsiteX11" fmla="*/ 25146 w 37253"/>
                <a:gd name="connsiteY11" fmla="*/ 7451 h 40357"/>
                <a:gd name="connsiteX12" fmla="*/ 19869 w 37253"/>
                <a:gd name="connsiteY12" fmla="*/ 0 h 40357"/>
                <a:gd name="connsiteX13" fmla="*/ 3104 w 37253"/>
                <a:gd name="connsiteY13" fmla="*/ 0 h 40357"/>
                <a:gd name="connsiteX14" fmla="*/ 3104 w 37253"/>
                <a:gd name="connsiteY14" fmla="*/ 9624 h 40357"/>
                <a:gd name="connsiteX15" fmla="*/ 3104 w 37253"/>
                <a:gd name="connsiteY15" fmla="*/ 16764 h 40357"/>
                <a:gd name="connsiteX16" fmla="*/ 1242 w 37253"/>
                <a:gd name="connsiteY16" fmla="*/ 24215 h 40357"/>
                <a:gd name="connsiteX17" fmla="*/ 0 w 37253"/>
                <a:gd name="connsiteY17" fmla="*/ 29492 h 40357"/>
                <a:gd name="connsiteX18" fmla="*/ 0 w 37253"/>
                <a:gd name="connsiteY18" fmla="*/ 36943 h 40357"/>
                <a:gd name="connsiteX19" fmla="*/ 5278 w 37253"/>
                <a:gd name="connsiteY19" fmla="*/ 39116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7253" h="40357">
                  <a:moveTo>
                    <a:pt x="10555" y="39116"/>
                  </a:moveTo>
                  <a:lnTo>
                    <a:pt x="14591" y="41289"/>
                  </a:lnTo>
                  <a:lnTo>
                    <a:pt x="22042" y="41289"/>
                  </a:lnTo>
                  <a:lnTo>
                    <a:pt x="27319" y="41289"/>
                  </a:lnTo>
                  <a:lnTo>
                    <a:pt x="29182" y="34770"/>
                  </a:lnTo>
                  <a:lnTo>
                    <a:pt x="30424" y="31665"/>
                  </a:lnTo>
                  <a:lnTo>
                    <a:pt x="32286" y="27630"/>
                  </a:lnTo>
                  <a:lnTo>
                    <a:pt x="34460" y="26388"/>
                  </a:lnTo>
                  <a:lnTo>
                    <a:pt x="36633" y="24215"/>
                  </a:lnTo>
                  <a:lnTo>
                    <a:pt x="39737" y="20179"/>
                  </a:lnTo>
                  <a:lnTo>
                    <a:pt x="32286" y="14901"/>
                  </a:lnTo>
                  <a:lnTo>
                    <a:pt x="25146" y="7451"/>
                  </a:lnTo>
                  <a:lnTo>
                    <a:pt x="19869" y="0"/>
                  </a:lnTo>
                  <a:lnTo>
                    <a:pt x="3104" y="0"/>
                  </a:lnTo>
                  <a:lnTo>
                    <a:pt x="3104" y="9624"/>
                  </a:lnTo>
                  <a:lnTo>
                    <a:pt x="3104" y="16764"/>
                  </a:lnTo>
                  <a:lnTo>
                    <a:pt x="1242" y="24215"/>
                  </a:lnTo>
                  <a:lnTo>
                    <a:pt x="0" y="29492"/>
                  </a:lnTo>
                  <a:lnTo>
                    <a:pt x="0" y="36943"/>
                  </a:lnTo>
                  <a:lnTo>
                    <a:pt x="5278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78D225B6-BA5E-49AF-8A0F-A10CED0CB844}"/>
                </a:ext>
              </a:extLst>
            </p:cNvPr>
            <p:cNvSpPr/>
            <p:nvPr/>
          </p:nvSpPr>
          <p:spPr>
            <a:xfrm>
              <a:off x="3457998" y="4104562"/>
              <a:ext cx="170745" cy="90029"/>
            </a:xfrm>
            <a:custGeom>
              <a:avLst/>
              <a:gdLst>
                <a:gd name="connsiteX0" fmla="*/ 170745 w 170745"/>
                <a:gd name="connsiteY0" fmla="*/ 30734 h 90029"/>
                <a:gd name="connsiteX1" fmla="*/ 170745 w 170745"/>
                <a:gd name="connsiteY1" fmla="*/ 29492 h 90029"/>
                <a:gd name="connsiteX2" fmla="*/ 168572 w 170745"/>
                <a:gd name="connsiteY2" fmla="*/ 27630 h 90029"/>
                <a:gd name="connsiteX3" fmla="*/ 165468 w 170745"/>
                <a:gd name="connsiteY3" fmla="*/ 25457 h 90029"/>
                <a:gd name="connsiteX4" fmla="*/ 163294 w 170745"/>
                <a:gd name="connsiteY4" fmla="*/ 25457 h 90029"/>
                <a:gd name="connsiteX5" fmla="*/ 161121 w 170745"/>
                <a:gd name="connsiteY5" fmla="*/ 25457 h 90029"/>
                <a:gd name="connsiteX6" fmla="*/ 159259 w 170745"/>
                <a:gd name="connsiteY6" fmla="*/ 27630 h 90029"/>
                <a:gd name="connsiteX7" fmla="*/ 156154 w 170745"/>
                <a:gd name="connsiteY7" fmla="*/ 30734 h 90029"/>
                <a:gd name="connsiteX8" fmla="*/ 148704 w 170745"/>
                <a:gd name="connsiteY8" fmla="*/ 30734 h 90029"/>
                <a:gd name="connsiteX9" fmla="*/ 143426 w 170745"/>
                <a:gd name="connsiteY9" fmla="*/ 30734 h 90029"/>
                <a:gd name="connsiteX10" fmla="*/ 137217 w 170745"/>
                <a:gd name="connsiteY10" fmla="*/ 29492 h 90029"/>
                <a:gd name="connsiteX11" fmla="*/ 132250 w 170745"/>
                <a:gd name="connsiteY11" fmla="*/ 27630 h 90029"/>
                <a:gd name="connsiteX12" fmla="*/ 128835 w 170745"/>
                <a:gd name="connsiteY12" fmla="*/ 27630 h 90029"/>
                <a:gd name="connsiteX13" fmla="*/ 128835 w 170745"/>
                <a:gd name="connsiteY13" fmla="*/ 23283 h 90029"/>
                <a:gd name="connsiteX14" fmla="*/ 132250 w 170745"/>
                <a:gd name="connsiteY14" fmla="*/ 23283 h 90029"/>
                <a:gd name="connsiteX15" fmla="*/ 132250 w 170745"/>
                <a:gd name="connsiteY15" fmla="*/ 17075 h 90029"/>
                <a:gd name="connsiteX16" fmla="*/ 130077 w 170745"/>
                <a:gd name="connsiteY16" fmla="*/ 12728 h 90029"/>
                <a:gd name="connsiteX17" fmla="*/ 130077 w 170745"/>
                <a:gd name="connsiteY17" fmla="*/ 9624 h 90029"/>
                <a:gd name="connsiteX18" fmla="*/ 128835 w 170745"/>
                <a:gd name="connsiteY18" fmla="*/ 5278 h 90029"/>
                <a:gd name="connsiteX19" fmla="*/ 126972 w 170745"/>
                <a:gd name="connsiteY19" fmla="*/ 3104 h 90029"/>
                <a:gd name="connsiteX20" fmla="*/ 124799 w 170745"/>
                <a:gd name="connsiteY20" fmla="*/ 0 h 90029"/>
                <a:gd name="connsiteX21" fmla="*/ 117659 w 170745"/>
                <a:gd name="connsiteY21" fmla="*/ 0 h 90029"/>
                <a:gd name="connsiteX22" fmla="*/ 112381 w 170745"/>
                <a:gd name="connsiteY22" fmla="*/ 0 h 90029"/>
                <a:gd name="connsiteX23" fmla="*/ 109277 w 170745"/>
                <a:gd name="connsiteY23" fmla="*/ 2173 h 90029"/>
                <a:gd name="connsiteX24" fmla="*/ 104931 w 170745"/>
                <a:gd name="connsiteY24" fmla="*/ 3104 h 90029"/>
                <a:gd name="connsiteX25" fmla="*/ 107104 w 170745"/>
                <a:gd name="connsiteY25" fmla="*/ 17075 h 90029"/>
                <a:gd name="connsiteX26" fmla="*/ 109277 w 170745"/>
                <a:gd name="connsiteY26" fmla="*/ 22352 h 90029"/>
                <a:gd name="connsiteX27" fmla="*/ 112381 w 170745"/>
                <a:gd name="connsiteY27" fmla="*/ 29492 h 90029"/>
                <a:gd name="connsiteX28" fmla="*/ 115486 w 170745"/>
                <a:gd name="connsiteY28" fmla="*/ 38185 h 90029"/>
                <a:gd name="connsiteX29" fmla="*/ 95617 w 170745"/>
                <a:gd name="connsiteY29" fmla="*/ 36943 h 90029"/>
                <a:gd name="connsiteX30" fmla="*/ 80095 w 170745"/>
                <a:gd name="connsiteY30" fmla="*/ 30734 h 90029"/>
                <a:gd name="connsiteX31" fmla="*/ 65504 w 170745"/>
                <a:gd name="connsiteY31" fmla="*/ 23283 h 90029"/>
                <a:gd name="connsiteX32" fmla="*/ 48740 w 170745"/>
                <a:gd name="connsiteY32" fmla="*/ 17075 h 90029"/>
                <a:gd name="connsiteX33" fmla="*/ 28871 w 170745"/>
                <a:gd name="connsiteY33" fmla="*/ 10555 h 90029"/>
                <a:gd name="connsiteX34" fmla="*/ 27009 w 170745"/>
                <a:gd name="connsiteY34" fmla="*/ 12728 h 90029"/>
                <a:gd name="connsiteX35" fmla="*/ 24836 w 170745"/>
                <a:gd name="connsiteY35" fmla="*/ 12728 h 90029"/>
                <a:gd name="connsiteX36" fmla="*/ 22663 w 170745"/>
                <a:gd name="connsiteY36" fmla="*/ 14901 h 90029"/>
                <a:gd name="connsiteX37" fmla="*/ 19558 w 170745"/>
                <a:gd name="connsiteY37" fmla="*/ 14901 h 90029"/>
                <a:gd name="connsiteX38" fmla="*/ 21731 w 170745"/>
                <a:gd name="connsiteY38" fmla="*/ 18006 h 90029"/>
                <a:gd name="connsiteX39" fmla="*/ 22663 w 170745"/>
                <a:gd name="connsiteY39" fmla="*/ 20179 h 90029"/>
                <a:gd name="connsiteX40" fmla="*/ 22663 w 170745"/>
                <a:gd name="connsiteY40" fmla="*/ 22352 h 90029"/>
                <a:gd name="connsiteX41" fmla="*/ 24836 w 170745"/>
                <a:gd name="connsiteY41" fmla="*/ 23283 h 90029"/>
                <a:gd name="connsiteX42" fmla="*/ 27009 w 170745"/>
                <a:gd name="connsiteY42" fmla="*/ 25457 h 90029"/>
                <a:gd name="connsiteX43" fmla="*/ 28871 w 170745"/>
                <a:gd name="connsiteY43" fmla="*/ 27630 h 90029"/>
                <a:gd name="connsiteX44" fmla="*/ 24836 w 170745"/>
                <a:gd name="connsiteY44" fmla="*/ 29492 h 90029"/>
                <a:gd name="connsiteX45" fmla="*/ 21731 w 170745"/>
                <a:gd name="connsiteY45" fmla="*/ 29492 h 90029"/>
                <a:gd name="connsiteX46" fmla="*/ 17695 w 170745"/>
                <a:gd name="connsiteY46" fmla="*/ 30734 h 90029"/>
                <a:gd name="connsiteX47" fmla="*/ 12418 w 170745"/>
                <a:gd name="connsiteY47" fmla="*/ 30734 h 90029"/>
                <a:gd name="connsiteX48" fmla="*/ 12418 w 170745"/>
                <a:gd name="connsiteY48" fmla="*/ 34770 h 90029"/>
                <a:gd name="connsiteX49" fmla="*/ 15522 w 170745"/>
                <a:gd name="connsiteY49" fmla="*/ 34770 h 90029"/>
                <a:gd name="connsiteX50" fmla="*/ 14280 w 170745"/>
                <a:gd name="connsiteY50" fmla="*/ 40047 h 90029"/>
                <a:gd name="connsiteX51" fmla="*/ 10245 w 170745"/>
                <a:gd name="connsiteY51" fmla="*/ 42221 h 90029"/>
                <a:gd name="connsiteX52" fmla="*/ 9313 w 170745"/>
                <a:gd name="connsiteY52" fmla="*/ 44394 h 90029"/>
                <a:gd name="connsiteX53" fmla="*/ 4967 w 170745"/>
                <a:gd name="connsiteY53" fmla="*/ 45636 h 90029"/>
                <a:gd name="connsiteX54" fmla="*/ 0 w 170745"/>
                <a:gd name="connsiteY54" fmla="*/ 47498 h 90029"/>
                <a:gd name="connsiteX55" fmla="*/ 0 w 170745"/>
                <a:gd name="connsiteY55" fmla="*/ 51844 h 90029"/>
                <a:gd name="connsiteX56" fmla="*/ 4967 w 170745"/>
                <a:gd name="connsiteY56" fmla="*/ 51844 h 90029"/>
                <a:gd name="connsiteX57" fmla="*/ 15522 w 170745"/>
                <a:gd name="connsiteY57" fmla="*/ 57122 h 90029"/>
                <a:gd name="connsiteX58" fmla="*/ 32286 w 170745"/>
                <a:gd name="connsiteY58" fmla="*/ 59295 h 90029"/>
                <a:gd name="connsiteX59" fmla="*/ 46567 w 170745"/>
                <a:gd name="connsiteY59" fmla="*/ 57122 h 90029"/>
                <a:gd name="connsiteX60" fmla="*/ 59295 w 170745"/>
                <a:gd name="connsiteY60" fmla="*/ 51844 h 90029"/>
                <a:gd name="connsiteX61" fmla="*/ 80095 w 170745"/>
                <a:gd name="connsiteY61" fmla="*/ 51844 h 90029"/>
                <a:gd name="connsiteX62" fmla="*/ 77922 w 170745"/>
                <a:gd name="connsiteY62" fmla="*/ 57122 h 90029"/>
                <a:gd name="connsiteX63" fmla="*/ 73886 w 170745"/>
                <a:gd name="connsiteY63" fmla="*/ 62400 h 90029"/>
                <a:gd name="connsiteX64" fmla="*/ 70782 w 170745"/>
                <a:gd name="connsiteY64" fmla="*/ 67677 h 90029"/>
                <a:gd name="connsiteX65" fmla="*/ 65504 w 170745"/>
                <a:gd name="connsiteY65" fmla="*/ 72023 h 90029"/>
                <a:gd name="connsiteX66" fmla="*/ 59295 w 170745"/>
                <a:gd name="connsiteY66" fmla="*/ 75128 h 90029"/>
                <a:gd name="connsiteX67" fmla="*/ 61158 w 170745"/>
                <a:gd name="connsiteY67" fmla="*/ 81337 h 90029"/>
                <a:gd name="connsiteX68" fmla="*/ 61158 w 170745"/>
                <a:gd name="connsiteY68" fmla="*/ 84752 h 90029"/>
                <a:gd name="connsiteX69" fmla="*/ 63331 w 170745"/>
                <a:gd name="connsiteY69" fmla="*/ 88787 h 90029"/>
                <a:gd name="connsiteX70" fmla="*/ 65504 w 170745"/>
                <a:gd name="connsiteY70" fmla="*/ 91892 h 90029"/>
                <a:gd name="connsiteX71" fmla="*/ 81026 w 170745"/>
                <a:gd name="connsiteY71" fmla="*/ 86614 h 90029"/>
                <a:gd name="connsiteX72" fmla="*/ 92513 w 170745"/>
                <a:gd name="connsiteY72" fmla="*/ 77301 h 90029"/>
                <a:gd name="connsiteX73" fmla="*/ 104931 w 170745"/>
                <a:gd name="connsiteY73" fmla="*/ 67677 h 90029"/>
                <a:gd name="connsiteX74" fmla="*/ 115486 w 170745"/>
                <a:gd name="connsiteY74" fmla="*/ 60226 h 90029"/>
                <a:gd name="connsiteX75" fmla="*/ 130077 w 170745"/>
                <a:gd name="connsiteY75" fmla="*/ 57122 h 90029"/>
                <a:gd name="connsiteX76" fmla="*/ 144668 w 170745"/>
                <a:gd name="connsiteY76" fmla="*/ 57122 h 90029"/>
                <a:gd name="connsiteX77" fmla="*/ 158017 w 170745"/>
                <a:gd name="connsiteY77" fmla="*/ 57122 h 90029"/>
                <a:gd name="connsiteX78" fmla="*/ 168572 w 170745"/>
                <a:gd name="connsiteY78" fmla="*/ 51844 h 90029"/>
                <a:gd name="connsiteX79" fmla="*/ 170745 w 170745"/>
                <a:gd name="connsiteY79" fmla="*/ 47498 h 90029"/>
                <a:gd name="connsiteX80" fmla="*/ 170745 w 170745"/>
                <a:gd name="connsiteY80" fmla="*/ 45636 h 90029"/>
                <a:gd name="connsiteX81" fmla="*/ 170745 w 170745"/>
                <a:gd name="connsiteY81" fmla="*/ 44394 h 90029"/>
                <a:gd name="connsiteX82" fmla="*/ 170745 w 170745"/>
                <a:gd name="connsiteY82" fmla="*/ 42221 h 90029"/>
                <a:gd name="connsiteX83" fmla="*/ 172608 w 170745"/>
                <a:gd name="connsiteY83" fmla="*/ 38185 h 90029"/>
                <a:gd name="connsiteX84" fmla="*/ 172608 w 170745"/>
                <a:gd name="connsiteY84" fmla="*/ 34770 h 90029"/>
                <a:gd name="connsiteX85" fmla="*/ 170745 w 170745"/>
                <a:gd name="connsiteY85" fmla="*/ 32907 h 900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</a:cxnLst>
              <a:rect l="l" t="t" r="r" b="b"/>
              <a:pathLst>
                <a:path w="170745" h="90029">
                  <a:moveTo>
                    <a:pt x="170745" y="30734"/>
                  </a:moveTo>
                  <a:lnTo>
                    <a:pt x="170745" y="29492"/>
                  </a:lnTo>
                  <a:lnTo>
                    <a:pt x="168572" y="27630"/>
                  </a:lnTo>
                  <a:lnTo>
                    <a:pt x="165468" y="25457"/>
                  </a:lnTo>
                  <a:lnTo>
                    <a:pt x="163294" y="25457"/>
                  </a:lnTo>
                  <a:lnTo>
                    <a:pt x="161121" y="25457"/>
                  </a:lnTo>
                  <a:lnTo>
                    <a:pt x="159259" y="27630"/>
                  </a:lnTo>
                  <a:lnTo>
                    <a:pt x="156154" y="30734"/>
                  </a:lnTo>
                  <a:lnTo>
                    <a:pt x="148704" y="30734"/>
                  </a:lnTo>
                  <a:lnTo>
                    <a:pt x="143426" y="30734"/>
                  </a:lnTo>
                  <a:lnTo>
                    <a:pt x="137217" y="29492"/>
                  </a:lnTo>
                  <a:lnTo>
                    <a:pt x="132250" y="27630"/>
                  </a:lnTo>
                  <a:lnTo>
                    <a:pt x="128835" y="27630"/>
                  </a:lnTo>
                  <a:lnTo>
                    <a:pt x="128835" y="23283"/>
                  </a:lnTo>
                  <a:lnTo>
                    <a:pt x="132250" y="23283"/>
                  </a:lnTo>
                  <a:lnTo>
                    <a:pt x="132250" y="17075"/>
                  </a:lnTo>
                  <a:lnTo>
                    <a:pt x="130077" y="12728"/>
                  </a:lnTo>
                  <a:lnTo>
                    <a:pt x="130077" y="9624"/>
                  </a:lnTo>
                  <a:lnTo>
                    <a:pt x="128835" y="5278"/>
                  </a:lnTo>
                  <a:lnTo>
                    <a:pt x="126972" y="3104"/>
                  </a:lnTo>
                  <a:lnTo>
                    <a:pt x="124799" y="0"/>
                  </a:lnTo>
                  <a:lnTo>
                    <a:pt x="117659" y="0"/>
                  </a:lnTo>
                  <a:lnTo>
                    <a:pt x="112381" y="0"/>
                  </a:lnTo>
                  <a:lnTo>
                    <a:pt x="109277" y="2173"/>
                  </a:lnTo>
                  <a:lnTo>
                    <a:pt x="104931" y="3104"/>
                  </a:lnTo>
                  <a:lnTo>
                    <a:pt x="107104" y="17075"/>
                  </a:lnTo>
                  <a:lnTo>
                    <a:pt x="109277" y="22352"/>
                  </a:lnTo>
                  <a:lnTo>
                    <a:pt x="112381" y="29492"/>
                  </a:lnTo>
                  <a:lnTo>
                    <a:pt x="115486" y="38185"/>
                  </a:lnTo>
                  <a:lnTo>
                    <a:pt x="95617" y="36943"/>
                  </a:lnTo>
                  <a:lnTo>
                    <a:pt x="80095" y="30734"/>
                  </a:lnTo>
                  <a:lnTo>
                    <a:pt x="65504" y="23283"/>
                  </a:lnTo>
                  <a:lnTo>
                    <a:pt x="48740" y="17075"/>
                  </a:lnTo>
                  <a:lnTo>
                    <a:pt x="28871" y="10555"/>
                  </a:lnTo>
                  <a:lnTo>
                    <a:pt x="27009" y="12728"/>
                  </a:lnTo>
                  <a:lnTo>
                    <a:pt x="24836" y="12728"/>
                  </a:lnTo>
                  <a:lnTo>
                    <a:pt x="22663" y="14901"/>
                  </a:lnTo>
                  <a:lnTo>
                    <a:pt x="19558" y="14901"/>
                  </a:lnTo>
                  <a:lnTo>
                    <a:pt x="21731" y="18006"/>
                  </a:lnTo>
                  <a:lnTo>
                    <a:pt x="22663" y="20179"/>
                  </a:lnTo>
                  <a:lnTo>
                    <a:pt x="22663" y="22352"/>
                  </a:lnTo>
                  <a:lnTo>
                    <a:pt x="24836" y="23283"/>
                  </a:lnTo>
                  <a:lnTo>
                    <a:pt x="27009" y="25457"/>
                  </a:lnTo>
                  <a:lnTo>
                    <a:pt x="28871" y="27630"/>
                  </a:lnTo>
                  <a:lnTo>
                    <a:pt x="24836" y="29492"/>
                  </a:lnTo>
                  <a:lnTo>
                    <a:pt x="21731" y="29492"/>
                  </a:lnTo>
                  <a:lnTo>
                    <a:pt x="17695" y="30734"/>
                  </a:lnTo>
                  <a:lnTo>
                    <a:pt x="12418" y="30734"/>
                  </a:lnTo>
                  <a:lnTo>
                    <a:pt x="12418" y="34770"/>
                  </a:lnTo>
                  <a:lnTo>
                    <a:pt x="15522" y="34770"/>
                  </a:lnTo>
                  <a:lnTo>
                    <a:pt x="14280" y="40047"/>
                  </a:lnTo>
                  <a:lnTo>
                    <a:pt x="10245" y="42221"/>
                  </a:lnTo>
                  <a:lnTo>
                    <a:pt x="9313" y="44394"/>
                  </a:lnTo>
                  <a:lnTo>
                    <a:pt x="4967" y="45636"/>
                  </a:lnTo>
                  <a:lnTo>
                    <a:pt x="0" y="47498"/>
                  </a:lnTo>
                  <a:lnTo>
                    <a:pt x="0" y="51844"/>
                  </a:lnTo>
                  <a:lnTo>
                    <a:pt x="4967" y="51844"/>
                  </a:lnTo>
                  <a:lnTo>
                    <a:pt x="15522" y="57122"/>
                  </a:lnTo>
                  <a:lnTo>
                    <a:pt x="32286" y="59295"/>
                  </a:lnTo>
                  <a:lnTo>
                    <a:pt x="46567" y="57122"/>
                  </a:lnTo>
                  <a:lnTo>
                    <a:pt x="59295" y="51844"/>
                  </a:lnTo>
                  <a:lnTo>
                    <a:pt x="80095" y="51844"/>
                  </a:lnTo>
                  <a:lnTo>
                    <a:pt x="77922" y="57122"/>
                  </a:lnTo>
                  <a:lnTo>
                    <a:pt x="73886" y="62400"/>
                  </a:lnTo>
                  <a:lnTo>
                    <a:pt x="70782" y="67677"/>
                  </a:lnTo>
                  <a:lnTo>
                    <a:pt x="65504" y="72023"/>
                  </a:lnTo>
                  <a:lnTo>
                    <a:pt x="59295" y="75128"/>
                  </a:lnTo>
                  <a:lnTo>
                    <a:pt x="61158" y="81337"/>
                  </a:lnTo>
                  <a:lnTo>
                    <a:pt x="61158" y="84752"/>
                  </a:lnTo>
                  <a:lnTo>
                    <a:pt x="63331" y="88787"/>
                  </a:lnTo>
                  <a:lnTo>
                    <a:pt x="65504" y="91892"/>
                  </a:lnTo>
                  <a:lnTo>
                    <a:pt x="81026" y="86614"/>
                  </a:lnTo>
                  <a:lnTo>
                    <a:pt x="92513" y="77301"/>
                  </a:lnTo>
                  <a:lnTo>
                    <a:pt x="104931" y="67677"/>
                  </a:lnTo>
                  <a:lnTo>
                    <a:pt x="115486" y="60226"/>
                  </a:lnTo>
                  <a:lnTo>
                    <a:pt x="130077" y="57122"/>
                  </a:lnTo>
                  <a:lnTo>
                    <a:pt x="144668" y="57122"/>
                  </a:lnTo>
                  <a:lnTo>
                    <a:pt x="158017" y="57122"/>
                  </a:lnTo>
                  <a:lnTo>
                    <a:pt x="168572" y="51844"/>
                  </a:lnTo>
                  <a:lnTo>
                    <a:pt x="170745" y="47498"/>
                  </a:lnTo>
                  <a:lnTo>
                    <a:pt x="170745" y="45636"/>
                  </a:lnTo>
                  <a:lnTo>
                    <a:pt x="170745" y="44394"/>
                  </a:lnTo>
                  <a:lnTo>
                    <a:pt x="170745" y="42221"/>
                  </a:lnTo>
                  <a:lnTo>
                    <a:pt x="172608" y="38185"/>
                  </a:lnTo>
                  <a:lnTo>
                    <a:pt x="172608" y="34770"/>
                  </a:lnTo>
                  <a:lnTo>
                    <a:pt x="170745" y="3290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E45F471B-C553-49DD-B6BB-60A5EA2425B7}"/>
                </a:ext>
              </a:extLst>
            </p:cNvPr>
            <p:cNvSpPr/>
            <p:nvPr/>
          </p:nvSpPr>
          <p:spPr>
            <a:xfrm>
              <a:off x="3317366" y="4178759"/>
              <a:ext cx="139701" cy="152118"/>
            </a:xfrm>
            <a:custGeom>
              <a:avLst/>
              <a:gdLst>
                <a:gd name="connsiteX0" fmla="*/ 133181 w 139700"/>
                <a:gd name="connsiteY0" fmla="*/ 30424 h 152118"/>
                <a:gd name="connsiteX1" fmla="*/ 129145 w 139700"/>
                <a:gd name="connsiteY1" fmla="*/ 22042 h 152118"/>
                <a:gd name="connsiteX2" fmla="*/ 126041 w 139700"/>
                <a:gd name="connsiteY2" fmla="*/ 14591 h 152118"/>
                <a:gd name="connsiteX3" fmla="*/ 109277 w 139700"/>
                <a:gd name="connsiteY3" fmla="*/ 14591 h 152118"/>
                <a:gd name="connsiteX4" fmla="*/ 94686 w 139700"/>
                <a:gd name="connsiteY4" fmla="*/ 14591 h 152118"/>
                <a:gd name="connsiteX5" fmla="*/ 76991 w 139700"/>
                <a:gd name="connsiteY5" fmla="*/ 14591 h 152118"/>
                <a:gd name="connsiteX6" fmla="*/ 76991 w 139700"/>
                <a:gd name="connsiteY6" fmla="*/ 931 h 152118"/>
                <a:gd name="connsiteX7" fmla="*/ 62400 w 139700"/>
                <a:gd name="connsiteY7" fmla="*/ 0 h 152118"/>
                <a:gd name="connsiteX8" fmla="*/ 50913 w 139700"/>
                <a:gd name="connsiteY8" fmla="*/ 931 h 152118"/>
                <a:gd name="connsiteX9" fmla="*/ 42531 w 139700"/>
                <a:gd name="connsiteY9" fmla="*/ 5278 h 152118"/>
                <a:gd name="connsiteX10" fmla="*/ 31045 w 139700"/>
                <a:gd name="connsiteY10" fmla="*/ 7140 h 152118"/>
                <a:gd name="connsiteX11" fmla="*/ 16454 w 139700"/>
                <a:gd name="connsiteY11" fmla="*/ 10555 h 152118"/>
                <a:gd name="connsiteX12" fmla="*/ 18627 w 139700"/>
                <a:gd name="connsiteY12" fmla="*/ 17695 h 152118"/>
                <a:gd name="connsiteX13" fmla="*/ 20800 w 139700"/>
                <a:gd name="connsiteY13" fmla="*/ 25146 h 152118"/>
                <a:gd name="connsiteX14" fmla="*/ 21731 w 139700"/>
                <a:gd name="connsiteY14" fmla="*/ 29492 h 152118"/>
                <a:gd name="connsiteX15" fmla="*/ 23904 w 139700"/>
                <a:gd name="connsiteY15" fmla="*/ 34770 h 152118"/>
                <a:gd name="connsiteX16" fmla="*/ 29182 w 139700"/>
                <a:gd name="connsiteY16" fmla="*/ 37874 h 152118"/>
                <a:gd name="connsiteX17" fmla="*/ 21731 w 139700"/>
                <a:gd name="connsiteY17" fmla="*/ 60227 h 152118"/>
                <a:gd name="connsiteX18" fmla="*/ 13349 w 139700"/>
                <a:gd name="connsiteY18" fmla="*/ 80095 h 152118"/>
                <a:gd name="connsiteX19" fmla="*/ 0 w 139700"/>
                <a:gd name="connsiteY19" fmla="*/ 94996 h 152118"/>
                <a:gd name="connsiteX20" fmla="*/ 0 w 139700"/>
                <a:gd name="connsiteY20" fmla="*/ 106793 h 152118"/>
                <a:gd name="connsiteX21" fmla="*/ 6209 w 139700"/>
                <a:gd name="connsiteY21" fmla="*/ 106793 h 152118"/>
                <a:gd name="connsiteX22" fmla="*/ 7140 w 139700"/>
                <a:gd name="connsiteY22" fmla="*/ 106793 h 152118"/>
                <a:gd name="connsiteX23" fmla="*/ 9313 w 139700"/>
                <a:gd name="connsiteY23" fmla="*/ 106793 h 152118"/>
                <a:gd name="connsiteX24" fmla="*/ 11486 w 139700"/>
                <a:gd name="connsiteY24" fmla="*/ 106793 h 152118"/>
                <a:gd name="connsiteX25" fmla="*/ 13349 w 139700"/>
                <a:gd name="connsiteY25" fmla="*/ 106793 h 152118"/>
                <a:gd name="connsiteX26" fmla="*/ 16454 w 139700"/>
                <a:gd name="connsiteY26" fmla="*/ 109898 h 152118"/>
                <a:gd name="connsiteX27" fmla="*/ 18627 w 139700"/>
                <a:gd name="connsiteY27" fmla="*/ 112071 h 152118"/>
                <a:gd name="connsiteX28" fmla="*/ 18627 w 139700"/>
                <a:gd name="connsiteY28" fmla="*/ 114244 h 152118"/>
                <a:gd name="connsiteX29" fmla="*/ 20800 w 139700"/>
                <a:gd name="connsiteY29" fmla="*/ 116107 h 152118"/>
                <a:gd name="connsiteX30" fmla="*/ 20800 w 139700"/>
                <a:gd name="connsiteY30" fmla="*/ 117349 h 152118"/>
                <a:gd name="connsiteX31" fmla="*/ 20800 w 139700"/>
                <a:gd name="connsiteY31" fmla="*/ 123557 h 152118"/>
                <a:gd name="connsiteX32" fmla="*/ 33218 w 139700"/>
                <a:gd name="connsiteY32" fmla="*/ 123557 h 152118"/>
                <a:gd name="connsiteX33" fmla="*/ 33218 w 139700"/>
                <a:gd name="connsiteY33" fmla="*/ 126662 h 152118"/>
                <a:gd name="connsiteX34" fmla="*/ 31045 w 139700"/>
                <a:gd name="connsiteY34" fmla="*/ 131008 h 152118"/>
                <a:gd name="connsiteX35" fmla="*/ 31045 w 139700"/>
                <a:gd name="connsiteY35" fmla="*/ 131939 h 152118"/>
                <a:gd name="connsiteX36" fmla="*/ 31045 w 139700"/>
                <a:gd name="connsiteY36" fmla="*/ 134113 h 152118"/>
                <a:gd name="connsiteX37" fmla="*/ 29182 w 139700"/>
                <a:gd name="connsiteY37" fmla="*/ 136286 h 152118"/>
                <a:gd name="connsiteX38" fmla="*/ 31045 w 139700"/>
                <a:gd name="connsiteY38" fmla="*/ 139390 h 152118"/>
                <a:gd name="connsiteX39" fmla="*/ 31045 w 139700"/>
                <a:gd name="connsiteY39" fmla="*/ 143736 h 152118"/>
                <a:gd name="connsiteX40" fmla="*/ 33218 w 139700"/>
                <a:gd name="connsiteY40" fmla="*/ 145910 h 152118"/>
                <a:gd name="connsiteX41" fmla="*/ 35391 w 139700"/>
                <a:gd name="connsiteY41" fmla="*/ 149014 h 152118"/>
                <a:gd name="connsiteX42" fmla="*/ 36322 w 139700"/>
                <a:gd name="connsiteY42" fmla="*/ 152118 h 152118"/>
                <a:gd name="connsiteX43" fmla="*/ 54949 w 139700"/>
                <a:gd name="connsiteY43" fmla="*/ 146841 h 152118"/>
                <a:gd name="connsiteX44" fmla="*/ 69540 w 139700"/>
                <a:gd name="connsiteY44" fmla="*/ 141563 h 152118"/>
                <a:gd name="connsiteX45" fmla="*/ 85373 w 139700"/>
                <a:gd name="connsiteY45" fmla="*/ 139390 h 152118"/>
                <a:gd name="connsiteX46" fmla="*/ 82268 w 139700"/>
                <a:gd name="connsiteY46" fmla="*/ 123557 h 152118"/>
                <a:gd name="connsiteX47" fmla="*/ 84131 w 139700"/>
                <a:gd name="connsiteY47" fmla="*/ 106793 h 152118"/>
                <a:gd name="connsiteX48" fmla="*/ 91582 w 139700"/>
                <a:gd name="connsiteY48" fmla="*/ 91892 h 152118"/>
                <a:gd name="connsiteX49" fmla="*/ 99964 w 139700"/>
                <a:gd name="connsiteY49" fmla="*/ 74817 h 152118"/>
                <a:gd name="connsiteX50" fmla="*/ 114554 w 139700"/>
                <a:gd name="connsiteY50" fmla="*/ 69540 h 152118"/>
                <a:gd name="connsiteX51" fmla="*/ 129145 w 139700"/>
                <a:gd name="connsiteY51" fmla="*/ 64262 h 152118"/>
                <a:gd name="connsiteX52" fmla="*/ 140632 w 139700"/>
                <a:gd name="connsiteY52" fmla="*/ 50603 h 152118"/>
                <a:gd name="connsiteX53" fmla="*/ 140632 w 139700"/>
                <a:gd name="connsiteY53" fmla="*/ 47498 h 152118"/>
                <a:gd name="connsiteX54" fmla="*/ 136286 w 139700"/>
                <a:gd name="connsiteY54" fmla="*/ 40048 h 15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139700" h="152118">
                  <a:moveTo>
                    <a:pt x="133181" y="30424"/>
                  </a:moveTo>
                  <a:lnTo>
                    <a:pt x="129145" y="22042"/>
                  </a:lnTo>
                  <a:lnTo>
                    <a:pt x="126041" y="14591"/>
                  </a:lnTo>
                  <a:lnTo>
                    <a:pt x="109277" y="14591"/>
                  </a:lnTo>
                  <a:lnTo>
                    <a:pt x="94686" y="14591"/>
                  </a:lnTo>
                  <a:lnTo>
                    <a:pt x="76991" y="14591"/>
                  </a:lnTo>
                  <a:lnTo>
                    <a:pt x="76991" y="931"/>
                  </a:lnTo>
                  <a:lnTo>
                    <a:pt x="62400" y="0"/>
                  </a:lnTo>
                  <a:lnTo>
                    <a:pt x="50913" y="931"/>
                  </a:lnTo>
                  <a:lnTo>
                    <a:pt x="42531" y="5278"/>
                  </a:lnTo>
                  <a:lnTo>
                    <a:pt x="31045" y="7140"/>
                  </a:lnTo>
                  <a:lnTo>
                    <a:pt x="16454" y="10555"/>
                  </a:lnTo>
                  <a:lnTo>
                    <a:pt x="18627" y="17695"/>
                  </a:lnTo>
                  <a:lnTo>
                    <a:pt x="20800" y="25146"/>
                  </a:lnTo>
                  <a:lnTo>
                    <a:pt x="21731" y="29492"/>
                  </a:lnTo>
                  <a:lnTo>
                    <a:pt x="23904" y="34770"/>
                  </a:lnTo>
                  <a:lnTo>
                    <a:pt x="29182" y="37874"/>
                  </a:lnTo>
                  <a:lnTo>
                    <a:pt x="21731" y="60227"/>
                  </a:lnTo>
                  <a:lnTo>
                    <a:pt x="13349" y="80095"/>
                  </a:lnTo>
                  <a:lnTo>
                    <a:pt x="0" y="94996"/>
                  </a:lnTo>
                  <a:lnTo>
                    <a:pt x="0" y="106793"/>
                  </a:lnTo>
                  <a:lnTo>
                    <a:pt x="6209" y="106793"/>
                  </a:lnTo>
                  <a:lnTo>
                    <a:pt x="7140" y="106793"/>
                  </a:lnTo>
                  <a:lnTo>
                    <a:pt x="9313" y="106793"/>
                  </a:lnTo>
                  <a:lnTo>
                    <a:pt x="11486" y="106793"/>
                  </a:lnTo>
                  <a:lnTo>
                    <a:pt x="13349" y="106793"/>
                  </a:lnTo>
                  <a:lnTo>
                    <a:pt x="16454" y="109898"/>
                  </a:lnTo>
                  <a:lnTo>
                    <a:pt x="18627" y="112071"/>
                  </a:lnTo>
                  <a:lnTo>
                    <a:pt x="18627" y="114244"/>
                  </a:lnTo>
                  <a:lnTo>
                    <a:pt x="20800" y="116107"/>
                  </a:lnTo>
                  <a:lnTo>
                    <a:pt x="20800" y="117349"/>
                  </a:lnTo>
                  <a:lnTo>
                    <a:pt x="20800" y="123557"/>
                  </a:lnTo>
                  <a:lnTo>
                    <a:pt x="33218" y="123557"/>
                  </a:lnTo>
                  <a:lnTo>
                    <a:pt x="33218" y="126662"/>
                  </a:lnTo>
                  <a:lnTo>
                    <a:pt x="31045" y="131008"/>
                  </a:lnTo>
                  <a:lnTo>
                    <a:pt x="31045" y="131939"/>
                  </a:lnTo>
                  <a:lnTo>
                    <a:pt x="31045" y="134113"/>
                  </a:lnTo>
                  <a:lnTo>
                    <a:pt x="29182" y="136286"/>
                  </a:lnTo>
                  <a:lnTo>
                    <a:pt x="31045" y="139390"/>
                  </a:lnTo>
                  <a:lnTo>
                    <a:pt x="31045" y="143736"/>
                  </a:lnTo>
                  <a:lnTo>
                    <a:pt x="33218" y="145910"/>
                  </a:lnTo>
                  <a:lnTo>
                    <a:pt x="35391" y="149014"/>
                  </a:lnTo>
                  <a:lnTo>
                    <a:pt x="36322" y="152118"/>
                  </a:lnTo>
                  <a:lnTo>
                    <a:pt x="54949" y="146841"/>
                  </a:lnTo>
                  <a:lnTo>
                    <a:pt x="69540" y="141563"/>
                  </a:lnTo>
                  <a:lnTo>
                    <a:pt x="85373" y="139390"/>
                  </a:lnTo>
                  <a:lnTo>
                    <a:pt x="82268" y="123557"/>
                  </a:lnTo>
                  <a:lnTo>
                    <a:pt x="84131" y="106793"/>
                  </a:lnTo>
                  <a:lnTo>
                    <a:pt x="91582" y="91892"/>
                  </a:lnTo>
                  <a:lnTo>
                    <a:pt x="99964" y="74817"/>
                  </a:lnTo>
                  <a:lnTo>
                    <a:pt x="114554" y="69540"/>
                  </a:lnTo>
                  <a:lnTo>
                    <a:pt x="129145" y="64262"/>
                  </a:lnTo>
                  <a:lnTo>
                    <a:pt x="140632" y="50603"/>
                  </a:lnTo>
                  <a:lnTo>
                    <a:pt x="140632" y="47498"/>
                  </a:lnTo>
                  <a:lnTo>
                    <a:pt x="136286" y="4004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3C237FB5-0578-4D94-89B2-DFA14D58D8A7}"/>
                </a:ext>
              </a:extLst>
            </p:cNvPr>
            <p:cNvSpPr/>
            <p:nvPr/>
          </p:nvSpPr>
          <p:spPr>
            <a:xfrm>
              <a:off x="3770306" y="4054891"/>
              <a:ext cx="24836" cy="12418"/>
            </a:xfrm>
            <a:custGeom>
              <a:avLst/>
              <a:gdLst>
                <a:gd name="connsiteX0" fmla="*/ 3104 w 24835"/>
                <a:gd name="connsiteY0" fmla="*/ 12728 h 12417"/>
                <a:gd name="connsiteX1" fmla="*/ 27009 w 24835"/>
                <a:gd name="connsiteY1" fmla="*/ 7451 h 12417"/>
                <a:gd name="connsiteX2" fmla="*/ 27009 w 24835"/>
                <a:gd name="connsiteY2" fmla="*/ 0 h 12417"/>
                <a:gd name="connsiteX3" fmla="*/ 21731 w 24835"/>
                <a:gd name="connsiteY3" fmla="*/ 0 h 12417"/>
                <a:gd name="connsiteX4" fmla="*/ 17695 w 24835"/>
                <a:gd name="connsiteY4" fmla="*/ 0 h 12417"/>
                <a:gd name="connsiteX5" fmla="*/ 14591 w 24835"/>
                <a:gd name="connsiteY5" fmla="*/ 0 h 12417"/>
                <a:gd name="connsiteX6" fmla="*/ 12418 w 24835"/>
                <a:gd name="connsiteY6" fmla="*/ 0 h 12417"/>
                <a:gd name="connsiteX7" fmla="*/ 9313 w 24835"/>
                <a:gd name="connsiteY7" fmla="*/ 0 h 12417"/>
                <a:gd name="connsiteX8" fmla="*/ 5278 w 24835"/>
                <a:gd name="connsiteY8" fmla="*/ 0 h 12417"/>
                <a:gd name="connsiteX9" fmla="*/ 0 w 24835"/>
                <a:gd name="connsiteY9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35" h="12417">
                  <a:moveTo>
                    <a:pt x="3104" y="12728"/>
                  </a:moveTo>
                  <a:lnTo>
                    <a:pt x="27009" y="7451"/>
                  </a:lnTo>
                  <a:lnTo>
                    <a:pt x="27009" y="0"/>
                  </a:lnTo>
                  <a:lnTo>
                    <a:pt x="21731" y="0"/>
                  </a:lnTo>
                  <a:lnTo>
                    <a:pt x="17695" y="0"/>
                  </a:lnTo>
                  <a:lnTo>
                    <a:pt x="14591" y="0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527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xmlns="" id="{3152FB34-E045-432C-B74B-00A4CA6A8DA4}"/>
                </a:ext>
              </a:extLst>
            </p:cNvPr>
            <p:cNvSpPr/>
            <p:nvPr/>
          </p:nvSpPr>
          <p:spPr>
            <a:xfrm>
              <a:off x="3430679" y="4132192"/>
              <a:ext cx="12418" cy="6209"/>
            </a:xfrm>
            <a:custGeom>
              <a:avLst/>
              <a:gdLst>
                <a:gd name="connsiteX0" fmla="*/ 7451 w 12417"/>
                <a:gd name="connsiteY0" fmla="*/ 1863 h 6208"/>
                <a:gd name="connsiteX1" fmla="*/ 3104 w 12417"/>
                <a:gd name="connsiteY1" fmla="*/ 0 h 6208"/>
                <a:gd name="connsiteX2" fmla="*/ 0 w 12417"/>
                <a:gd name="connsiteY2" fmla="*/ 0 h 6208"/>
                <a:gd name="connsiteX3" fmla="*/ 0 w 12417"/>
                <a:gd name="connsiteY3" fmla="*/ 7140 h 6208"/>
                <a:gd name="connsiteX4" fmla="*/ 12728 w 12417"/>
                <a:gd name="connsiteY4" fmla="*/ 7140 h 6208"/>
                <a:gd name="connsiteX5" fmla="*/ 10555 w 12417"/>
                <a:gd name="connsiteY5" fmla="*/ 3104 h 6208"/>
                <a:gd name="connsiteX6" fmla="*/ 8382 w 12417"/>
                <a:gd name="connsiteY6" fmla="*/ 1863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417" h="6208">
                  <a:moveTo>
                    <a:pt x="7451" y="1863"/>
                  </a:moveTo>
                  <a:lnTo>
                    <a:pt x="3104" y="0"/>
                  </a:lnTo>
                  <a:lnTo>
                    <a:pt x="0" y="0"/>
                  </a:lnTo>
                  <a:lnTo>
                    <a:pt x="0" y="7140"/>
                  </a:lnTo>
                  <a:lnTo>
                    <a:pt x="12728" y="7140"/>
                  </a:lnTo>
                  <a:lnTo>
                    <a:pt x="10555" y="3104"/>
                  </a:lnTo>
                  <a:lnTo>
                    <a:pt x="8382" y="186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81207626-8A50-4297-B706-FB3B992278BB}"/>
                </a:ext>
              </a:extLst>
            </p:cNvPr>
            <p:cNvSpPr/>
            <p:nvPr/>
          </p:nvSpPr>
          <p:spPr>
            <a:xfrm>
              <a:off x="3367348" y="4082210"/>
              <a:ext cx="96238" cy="58985"/>
            </a:xfrm>
            <a:custGeom>
              <a:avLst/>
              <a:gdLst>
                <a:gd name="connsiteX0" fmla="*/ 24836 w 96238"/>
                <a:gd name="connsiteY0" fmla="*/ 60537 h 58984"/>
                <a:gd name="connsiteX1" fmla="*/ 35391 w 96238"/>
                <a:gd name="connsiteY1" fmla="*/ 60537 h 58984"/>
                <a:gd name="connsiteX2" fmla="*/ 48740 w 96238"/>
                <a:gd name="connsiteY2" fmla="*/ 57122 h 58984"/>
                <a:gd name="connsiteX3" fmla="*/ 54018 w 96238"/>
                <a:gd name="connsiteY3" fmla="*/ 47809 h 58984"/>
                <a:gd name="connsiteX4" fmla="*/ 56191 w 96238"/>
                <a:gd name="connsiteY4" fmla="*/ 29803 h 58984"/>
                <a:gd name="connsiteX5" fmla="*/ 59295 w 96238"/>
                <a:gd name="connsiteY5" fmla="*/ 32907 h 58984"/>
                <a:gd name="connsiteX6" fmla="*/ 61468 w 96238"/>
                <a:gd name="connsiteY6" fmla="*/ 35080 h 58984"/>
                <a:gd name="connsiteX7" fmla="*/ 64573 w 96238"/>
                <a:gd name="connsiteY7" fmla="*/ 37253 h 58984"/>
                <a:gd name="connsiteX8" fmla="*/ 68608 w 96238"/>
                <a:gd name="connsiteY8" fmla="*/ 39427 h 58984"/>
                <a:gd name="connsiteX9" fmla="*/ 76059 w 96238"/>
                <a:gd name="connsiteY9" fmla="*/ 42531 h 58984"/>
                <a:gd name="connsiteX10" fmla="*/ 79164 w 96238"/>
                <a:gd name="connsiteY10" fmla="*/ 37253 h 58984"/>
                <a:gd name="connsiteX11" fmla="*/ 85373 w 96238"/>
                <a:gd name="connsiteY11" fmla="*/ 32907 h 58984"/>
                <a:gd name="connsiteX12" fmla="*/ 90650 w 96238"/>
                <a:gd name="connsiteY12" fmla="*/ 29803 h 58984"/>
                <a:gd name="connsiteX13" fmla="*/ 95617 w 96238"/>
                <a:gd name="connsiteY13" fmla="*/ 25457 h 58984"/>
                <a:gd name="connsiteX14" fmla="*/ 95617 w 96238"/>
                <a:gd name="connsiteY14" fmla="*/ 22352 h 58984"/>
                <a:gd name="connsiteX15" fmla="*/ 97790 w 96238"/>
                <a:gd name="connsiteY15" fmla="*/ 18006 h 58984"/>
                <a:gd name="connsiteX16" fmla="*/ 95617 w 96238"/>
                <a:gd name="connsiteY16" fmla="*/ 12728 h 58984"/>
                <a:gd name="connsiteX17" fmla="*/ 95617 w 96238"/>
                <a:gd name="connsiteY17" fmla="*/ 7451 h 58984"/>
                <a:gd name="connsiteX18" fmla="*/ 95617 w 96238"/>
                <a:gd name="connsiteY18" fmla="*/ 0 h 58984"/>
                <a:gd name="connsiteX19" fmla="*/ 66435 w 96238"/>
                <a:gd name="connsiteY19" fmla="*/ 7451 h 58984"/>
                <a:gd name="connsiteX20" fmla="*/ 41600 w 96238"/>
                <a:gd name="connsiteY20" fmla="*/ 18006 h 58984"/>
                <a:gd name="connsiteX21" fmla="*/ 19558 w 96238"/>
                <a:gd name="connsiteY21" fmla="*/ 31976 h 58984"/>
                <a:gd name="connsiteX22" fmla="*/ 0 w 96238"/>
                <a:gd name="connsiteY22" fmla="*/ 45636 h 58984"/>
                <a:gd name="connsiteX23" fmla="*/ 0 w 96238"/>
                <a:gd name="connsiteY23" fmla="*/ 60537 h 58984"/>
                <a:gd name="connsiteX24" fmla="*/ 13349 w 96238"/>
                <a:gd name="connsiteY24" fmla="*/ 60537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96238" h="58984">
                  <a:moveTo>
                    <a:pt x="24836" y="60537"/>
                  </a:moveTo>
                  <a:lnTo>
                    <a:pt x="35391" y="60537"/>
                  </a:lnTo>
                  <a:lnTo>
                    <a:pt x="48740" y="57122"/>
                  </a:lnTo>
                  <a:lnTo>
                    <a:pt x="54018" y="47809"/>
                  </a:lnTo>
                  <a:lnTo>
                    <a:pt x="56191" y="29803"/>
                  </a:lnTo>
                  <a:lnTo>
                    <a:pt x="59295" y="32907"/>
                  </a:lnTo>
                  <a:lnTo>
                    <a:pt x="61468" y="35080"/>
                  </a:lnTo>
                  <a:lnTo>
                    <a:pt x="64573" y="37253"/>
                  </a:lnTo>
                  <a:lnTo>
                    <a:pt x="68608" y="39427"/>
                  </a:lnTo>
                  <a:lnTo>
                    <a:pt x="76059" y="42531"/>
                  </a:lnTo>
                  <a:lnTo>
                    <a:pt x="79164" y="37253"/>
                  </a:lnTo>
                  <a:lnTo>
                    <a:pt x="85373" y="32907"/>
                  </a:lnTo>
                  <a:lnTo>
                    <a:pt x="90650" y="29803"/>
                  </a:lnTo>
                  <a:lnTo>
                    <a:pt x="95617" y="25457"/>
                  </a:lnTo>
                  <a:lnTo>
                    <a:pt x="95617" y="22352"/>
                  </a:lnTo>
                  <a:lnTo>
                    <a:pt x="97790" y="18006"/>
                  </a:lnTo>
                  <a:lnTo>
                    <a:pt x="95617" y="12728"/>
                  </a:lnTo>
                  <a:lnTo>
                    <a:pt x="95617" y="7451"/>
                  </a:lnTo>
                  <a:lnTo>
                    <a:pt x="95617" y="0"/>
                  </a:lnTo>
                  <a:lnTo>
                    <a:pt x="66435" y="7451"/>
                  </a:lnTo>
                  <a:lnTo>
                    <a:pt x="41600" y="18006"/>
                  </a:lnTo>
                  <a:lnTo>
                    <a:pt x="19558" y="31976"/>
                  </a:lnTo>
                  <a:lnTo>
                    <a:pt x="0" y="45636"/>
                  </a:lnTo>
                  <a:lnTo>
                    <a:pt x="0" y="60537"/>
                  </a:lnTo>
                  <a:lnTo>
                    <a:pt x="13349" y="6053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EEAC81DB-A1E4-4D36-9F3A-47CBB27AA2E1}"/>
                </a:ext>
              </a:extLst>
            </p:cNvPr>
            <p:cNvSpPr/>
            <p:nvPr/>
          </p:nvSpPr>
          <p:spPr>
            <a:xfrm>
              <a:off x="3502702" y="4062342"/>
              <a:ext cx="43462" cy="27940"/>
            </a:xfrm>
            <a:custGeom>
              <a:avLst/>
              <a:gdLst>
                <a:gd name="connsiteX0" fmla="*/ 4036 w 43462"/>
                <a:gd name="connsiteY0" fmla="*/ 25146 h 27940"/>
                <a:gd name="connsiteX1" fmla="*/ 7140 w 43462"/>
                <a:gd name="connsiteY1" fmla="*/ 29492 h 27940"/>
                <a:gd name="connsiteX2" fmla="*/ 13349 w 43462"/>
                <a:gd name="connsiteY2" fmla="*/ 30734 h 27940"/>
                <a:gd name="connsiteX3" fmla="*/ 16454 w 43462"/>
                <a:gd name="connsiteY3" fmla="*/ 30734 h 27940"/>
                <a:gd name="connsiteX4" fmla="*/ 21731 w 43462"/>
                <a:gd name="connsiteY4" fmla="*/ 29492 h 27940"/>
                <a:gd name="connsiteX5" fmla="*/ 27940 w 43462"/>
                <a:gd name="connsiteY5" fmla="*/ 25146 h 27940"/>
                <a:gd name="connsiteX6" fmla="*/ 33218 w 43462"/>
                <a:gd name="connsiteY6" fmla="*/ 19869 h 27940"/>
                <a:gd name="connsiteX7" fmla="*/ 36322 w 43462"/>
                <a:gd name="connsiteY7" fmla="*/ 15833 h 27940"/>
                <a:gd name="connsiteX8" fmla="*/ 40668 w 43462"/>
                <a:gd name="connsiteY8" fmla="*/ 10555 h 27940"/>
                <a:gd name="connsiteX9" fmla="*/ 43773 w 43462"/>
                <a:gd name="connsiteY9" fmla="*/ 5278 h 27940"/>
                <a:gd name="connsiteX10" fmla="*/ 38495 w 43462"/>
                <a:gd name="connsiteY10" fmla="*/ 3104 h 27940"/>
                <a:gd name="connsiteX11" fmla="*/ 31045 w 43462"/>
                <a:gd name="connsiteY11" fmla="*/ 931 h 27940"/>
                <a:gd name="connsiteX12" fmla="*/ 23904 w 43462"/>
                <a:gd name="connsiteY12" fmla="*/ 931 h 27940"/>
                <a:gd name="connsiteX13" fmla="*/ 14591 w 43462"/>
                <a:gd name="connsiteY13" fmla="*/ 0 h 27940"/>
                <a:gd name="connsiteX14" fmla="*/ 7140 w 43462"/>
                <a:gd name="connsiteY14" fmla="*/ 7451 h 27940"/>
                <a:gd name="connsiteX15" fmla="*/ 0 w 43462"/>
                <a:gd name="connsiteY15" fmla="*/ 12728 h 27940"/>
                <a:gd name="connsiteX16" fmla="*/ 0 w 43462"/>
                <a:gd name="connsiteY16" fmla="*/ 18006 h 27940"/>
                <a:gd name="connsiteX17" fmla="*/ 1863 w 43462"/>
                <a:gd name="connsiteY17" fmla="*/ 22042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3462" h="27940">
                  <a:moveTo>
                    <a:pt x="4036" y="25146"/>
                  </a:moveTo>
                  <a:lnTo>
                    <a:pt x="7140" y="29492"/>
                  </a:lnTo>
                  <a:lnTo>
                    <a:pt x="13349" y="30734"/>
                  </a:lnTo>
                  <a:lnTo>
                    <a:pt x="16454" y="30734"/>
                  </a:lnTo>
                  <a:lnTo>
                    <a:pt x="21731" y="29492"/>
                  </a:lnTo>
                  <a:lnTo>
                    <a:pt x="27940" y="25146"/>
                  </a:lnTo>
                  <a:lnTo>
                    <a:pt x="33218" y="19869"/>
                  </a:lnTo>
                  <a:lnTo>
                    <a:pt x="36322" y="15833"/>
                  </a:lnTo>
                  <a:lnTo>
                    <a:pt x="40668" y="10555"/>
                  </a:lnTo>
                  <a:lnTo>
                    <a:pt x="43773" y="5278"/>
                  </a:lnTo>
                  <a:lnTo>
                    <a:pt x="38495" y="3104"/>
                  </a:lnTo>
                  <a:lnTo>
                    <a:pt x="31045" y="931"/>
                  </a:lnTo>
                  <a:lnTo>
                    <a:pt x="23904" y="931"/>
                  </a:lnTo>
                  <a:lnTo>
                    <a:pt x="14591" y="0"/>
                  </a:lnTo>
                  <a:lnTo>
                    <a:pt x="7140" y="7451"/>
                  </a:lnTo>
                  <a:lnTo>
                    <a:pt x="0" y="12728"/>
                  </a:lnTo>
                  <a:lnTo>
                    <a:pt x="0" y="18006"/>
                  </a:lnTo>
                  <a:lnTo>
                    <a:pt x="1863" y="2204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xmlns="" id="{F96CC8F2-40B2-4E9C-9B15-05B07B853755}"/>
                </a:ext>
              </a:extLst>
            </p:cNvPr>
            <p:cNvSpPr/>
            <p:nvPr/>
          </p:nvSpPr>
          <p:spPr>
            <a:xfrm>
              <a:off x="5862400" y="4041231"/>
              <a:ext cx="260774" cy="310446"/>
            </a:xfrm>
            <a:custGeom>
              <a:avLst/>
              <a:gdLst>
                <a:gd name="connsiteX0" fmla="*/ 16454 w 260774"/>
                <a:gd name="connsiteY0" fmla="*/ 264189 h 310445"/>
                <a:gd name="connsiteX1" fmla="*/ 24836 w 260774"/>
                <a:gd name="connsiteY1" fmla="*/ 273813 h 310445"/>
                <a:gd name="connsiteX2" fmla="*/ 34149 w 260774"/>
                <a:gd name="connsiteY2" fmla="*/ 286541 h 310445"/>
                <a:gd name="connsiteX3" fmla="*/ 39427 w 260774"/>
                <a:gd name="connsiteY3" fmla="*/ 301443 h 310445"/>
                <a:gd name="connsiteX4" fmla="*/ 56191 w 260774"/>
                <a:gd name="connsiteY4" fmla="*/ 304547 h 310445"/>
                <a:gd name="connsiteX5" fmla="*/ 70782 w 260774"/>
                <a:gd name="connsiteY5" fmla="*/ 310756 h 310445"/>
                <a:gd name="connsiteX6" fmla="*/ 74818 w 260774"/>
                <a:gd name="connsiteY6" fmla="*/ 301443 h 310445"/>
                <a:gd name="connsiteX7" fmla="*/ 80095 w 260774"/>
                <a:gd name="connsiteY7" fmla="*/ 301443 h 310445"/>
                <a:gd name="connsiteX8" fmla="*/ 80095 w 260774"/>
                <a:gd name="connsiteY8" fmla="*/ 297097 h 310445"/>
                <a:gd name="connsiteX9" fmla="*/ 68609 w 260774"/>
                <a:gd name="connsiteY9" fmla="*/ 288715 h 310445"/>
                <a:gd name="connsiteX10" fmla="*/ 60226 w 260774"/>
                <a:gd name="connsiteY10" fmla="*/ 276918 h 310445"/>
                <a:gd name="connsiteX11" fmla="*/ 53086 w 260774"/>
                <a:gd name="connsiteY11" fmla="*/ 266362 h 310445"/>
                <a:gd name="connsiteX12" fmla="*/ 50913 w 260774"/>
                <a:gd name="connsiteY12" fmla="*/ 257049 h 310445"/>
                <a:gd name="connsiteX13" fmla="*/ 56191 w 260774"/>
                <a:gd name="connsiteY13" fmla="*/ 229419 h 310445"/>
                <a:gd name="connsiteX14" fmla="*/ 67677 w 260774"/>
                <a:gd name="connsiteY14" fmla="*/ 199927 h 310445"/>
                <a:gd name="connsiteX15" fmla="*/ 83199 w 260774"/>
                <a:gd name="connsiteY15" fmla="*/ 170124 h 310445"/>
                <a:gd name="connsiteX16" fmla="*/ 104000 w 260774"/>
                <a:gd name="connsiteY16" fmla="*/ 140632 h 310445"/>
                <a:gd name="connsiteX17" fmla="*/ 124799 w 260774"/>
                <a:gd name="connsiteY17" fmla="*/ 115175 h 310445"/>
                <a:gd name="connsiteX18" fmla="*/ 145599 w 260774"/>
                <a:gd name="connsiteY18" fmla="*/ 92823 h 310445"/>
                <a:gd name="connsiteX19" fmla="*/ 163295 w 260774"/>
                <a:gd name="connsiteY19" fmla="*/ 78232 h 310445"/>
                <a:gd name="connsiteX20" fmla="*/ 180059 w 260774"/>
                <a:gd name="connsiteY20" fmla="*/ 70782 h 310445"/>
                <a:gd name="connsiteX21" fmla="*/ 197754 w 260774"/>
                <a:gd name="connsiteY21" fmla="*/ 63331 h 310445"/>
                <a:gd name="connsiteX22" fmla="*/ 217623 w 260774"/>
                <a:gd name="connsiteY22" fmla="*/ 55880 h 310445"/>
                <a:gd name="connsiteX23" fmla="*/ 234076 w 260774"/>
                <a:gd name="connsiteY23" fmla="*/ 46256 h 310445"/>
                <a:gd name="connsiteX24" fmla="*/ 248667 w 260774"/>
                <a:gd name="connsiteY24" fmla="*/ 35701 h 310445"/>
                <a:gd name="connsiteX25" fmla="*/ 260154 w 260774"/>
                <a:gd name="connsiteY25" fmla="*/ 21110 h 310445"/>
                <a:gd name="connsiteX26" fmla="*/ 261395 w 260774"/>
                <a:gd name="connsiteY26" fmla="*/ 18937 h 310445"/>
                <a:gd name="connsiteX27" fmla="*/ 261395 w 260774"/>
                <a:gd name="connsiteY27" fmla="*/ 16764 h 310445"/>
                <a:gd name="connsiteX28" fmla="*/ 263258 w 260774"/>
                <a:gd name="connsiteY28" fmla="*/ 13660 h 310445"/>
                <a:gd name="connsiteX29" fmla="*/ 260154 w 260774"/>
                <a:gd name="connsiteY29" fmla="*/ 9313 h 310445"/>
                <a:gd name="connsiteX30" fmla="*/ 258291 w 260774"/>
                <a:gd name="connsiteY30" fmla="*/ 6209 h 310445"/>
                <a:gd name="connsiteX31" fmla="*/ 253945 w 260774"/>
                <a:gd name="connsiteY31" fmla="*/ 1863 h 310445"/>
                <a:gd name="connsiteX32" fmla="*/ 236249 w 260774"/>
                <a:gd name="connsiteY32" fmla="*/ 0 h 310445"/>
                <a:gd name="connsiteX33" fmla="*/ 223832 w 260774"/>
                <a:gd name="connsiteY33" fmla="*/ 4036 h 310445"/>
                <a:gd name="connsiteX34" fmla="*/ 216381 w 260774"/>
                <a:gd name="connsiteY34" fmla="*/ 7140 h 310445"/>
                <a:gd name="connsiteX35" fmla="*/ 210172 w 260774"/>
                <a:gd name="connsiteY35" fmla="*/ 11486 h 310445"/>
                <a:gd name="connsiteX36" fmla="*/ 205205 w 260774"/>
                <a:gd name="connsiteY36" fmla="*/ 18937 h 310445"/>
                <a:gd name="connsiteX37" fmla="*/ 197754 w 260774"/>
                <a:gd name="connsiteY37" fmla="*/ 24215 h 310445"/>
                <a:gd name="connsiteX38" fmla="*/ 187199 w 260774"/>
                <a:gd name="connsiteY38" fmla="*/ 29492 h 310445"/>
                <a:gd name="connsiteX39" fmla="*/ 153981 w 260774"/>
                <a:gd name="connsiteY39" fmla="*/ 29492 h 310445"/>
                <a:gd name="connsiteX40" fmla="*/ 134113 w 260774"/>
                <a:gd name="connsiteY40" fmla="*/ 39116 h 310445"/>
                <a:gd name="connsiteX41" fmla="*/ 110208 w 260774"/>
                <a:gd name="connsiteY41" fmla="*/ 51844 h 310445"/>
                <a:gd name="connsiteX42" fmla="*/ 87235 w 260774"/>
                <a:gd name="connsiteY42" fmla="*/ 68609 h 310445"/>
                <a:gd name="connsiteX43" fmla="*/ 68609 w 260774"/>
                <a:gd name="connsiteY43" fmla="*/ 85683 h 310445"/>
                <a:gd name="connsiteX44" fmla="*/ 54017 w 260774"/>
                <a:gd name="connsiteY44" fmla="*/ 101516 h 310445"/>
                <a:gd name="connsiteX45" fmla="*/ 53086 w 260774"/>
                <a:gd name="connsiteY45" fmla="*/ 107725 h 310445"/>
                <a:gd name="connsiteX46" fmla="*/ 53086 w 260774"/>
                <a:gd name="connsiteY46" fmla="*/ 110829 h 310445"/>
                <a:gd name="connsiteX47" fmla="*/ 53086 w 260774"/>
                <a:gd name="connsiteY47" fmla="*/ 116107 h 310445"/>
                <a:gd name="connsiteX48" fmla="*/ 54017 w 260774"/>
                <a:gd name="connsiteY48" fmla="*/ 118280 h 310445"/>
                <a:gd name="connsiteX49" fmla="*/ 54017 w 260774"/>
                <a:gd name="connsiteY49" fmla="*/ 122626 h 310445"/>
                <a:gd name="connsiteX50" fmla="*/ 56191 w 260774"/>
                <a:gd name="connsiteY50" fmla="*/ 127904 h 310445"/>
                <a:gd name="connsiteX51" fmla="*/ 54017 w 260774"/>
                <a:gd name="connsiteY51" fmla="*/ 131008 h 310445"/>
                <a:gd name="connsiteX52" fmla="*/ 48740 w 260774"/>
                <a:gd name="connsiteY52" fmla="*/ 144668 h 310445"/>
                <a:gd name="connsiteX53" fmla="*/ 39427 w 260774"/>
                <a:gd name="connsiteY53" fmla="*/ 153360 h 310445"/>
                <a:gd name="connsiteX54" fmla="*/ 31045 w 260774"/>
                <a:gd name="connsiteY54" fmla="*/ 162674 h 310445"/>
                <a:gd name="connsiteX55" fmla="*/ 31045 w 260774"/>
                <a:gd name="connsiteY55" fmla="*/ 164847 h 310445"/>
                <a:gd name="connsiteX56" fmla="*/ 31045 w 260774"/>
                <a:gd name="connsiteY56" fmla="*/ 167020 h 310445"/>
                <a:gd name="connsiteX57" fmla="*/ 32286 w 260774"/>
                <a:gd name="connsiteY57" fmla="*/ 167020 h 310445"/>
                <a:gd name="connsiteX58" fmla="*/ 32286 w 260774"/>
                <a:gd name="connsiteY58" fmla="*/ 167951 h 310445"/>
                <a:gd name="connsiteX59" fmla="*/ 36322 w 260774"/>
                <a:gd name="connsiteY59" fmla="*/ 170124 h 310445"/>
                <a:gd name="connsiteX60" fmla="*/ 39427 w 260774"/>
                <a:gd name="connsiteY60" fmla="*/ 172297 h 310445"/>
                <a:gd name="connsiteX61" fmla="*/ 34149 w 260774"/>
                <a:gd name="connsiteY61" fmla="*/ 182853 h 310445"/>
                <a:gd name="connsiteX62" fmla="*/ 27009 w 260774"/>
                <a:gd name="connsiteY62" fmla="*/ 190303 h 310445"/>
                <a:gd name="connsiteX63" fmla="*/ 19558 w 260774"/>
                <a:gd name="connsiteY63" fmla="*/ 195581 h 310445"/>
                <a:gd name="connsiteX64" fmla="*/ 14591 w 260774"/>
                <a:gd name="connsiteY64" fmla="*/ 205205 h 310445"/>
                <a:gd name="connsiteX65" fmla="*/ 12418 w 260774"/>
                <a:gd name="connsiteY65" fmla="*/ 212345 h 310445"/>
                <a:gd name="connsiteX66" fmla="*/ 14591 w 260774"/>
                <a:gd name="connsiteY66" fmla="*/ 219796 h 310445"/>
                <a:gd name="connsiteX67" fmla="*/ 16454 w 260774"/>
                <a:gd name="connsiteY67" fmla="*/ 224142 h 310445"/>
                <a:gd name="connsiteX68" fmla="*/ 16454 w 260774"/>
                <a:gd name="connsiteY68" fmla="*/ 229419 h 310445"/>
                <a:gd name="connsiteX69" fmla="*/ 10245 w 260774"/>
                <a:gd name="connsiteY69" fmla="*/ 232524 h 310445"/>
                <a:gd name="connsiteX70" fmla="*/ 0 w 260774"/>
                <a:gd name="connsiteY70" fmla="*/ 239975 h 310445"/>
                <a:gd name="connsiteX71" fmla="*/ 7140 w 260774"/>
                <a:gd name="connsiteY71" fmla="*/ 254876 h 3104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260774" h="310445">
                  <a:moveTo>
                    <a:pt x="16454" y="264189"/>
                  </a:moveTo>
                  <a:lnTo>
                    <a:pt x="24836" y="273813"/>
                  </a:lnTo>
                  <a:lnTo>
                    <a:pt x="34149" y="286541"/>
                  </a:lnTo>
                  <a:lnTo>
                    <a:pt x="39427" y="301443"/>
                  </a:lnTo>
                  <a:lnTo>
                    <a:pt x="56191" y="304547"/>
                  </a:lnTo>
                  <a:lnTo>
                    <a:pt x="70782" y="310756"/>
                  </a:lnTo>
                  <a:lnTo>
                    <a:pt x="74818" y="301443"/>
                  </a:lnTo>
                  <a:lnTo>
                    <a:pt x="80095" y="301443"/>
                  </a:lnTo>
                  <a:lnTo>
                    <a:pt x="80095" y="297097"/>
                  </a:lnTo>
                  <a:lnTo>
                    <a:pt x="68609" y="288715"/>
                  </a:lnTo>
                  <a:lnTo>
                    <a:pt x="60226" y="276918"/>
                  </a:lnTo>
                  <a:lnTo>
                    <a:pt x="53086" y="266362"/>
                  </a:lnTo>
                  <a:lnTo>
                    <a:pt x="50913" y="257049"/>
                  </a:lnTo>
                  <a:lnTo>
                    <a:pt x="56191" y="229419"/>
                  </a:lnTo>
                  <a:lnTo>
                    <a:pt x="67677" y="199927"/>
                  </a:lnTo>
                  <a:lnTo>
                    <a:pt x="83199" y="170124"/>
                  </a:lnTo>
                  <a:lnTo>
                    <a:pt x="104000" y="140632"/>
                  </a:lnTo>
                  <a:lnTo>
                    <a:pt x="124799" y="115175"/>
                  </a:lnTo>
                  <a:lnTo>
                    <a:pt x="145599" y="92823"/>
                  </a:lnTo>
                  <a:lnTo>
                    <a:pt x="163295" y="78232"/>
                  </a:lnTo>
                  <a:lnTo>
                    <a:pt x="180059" y="70782"/>
                  </a:lnTo>
                  <a:lnTo>
                    <a:pt x="197754" y="63331"/>
                  </a:lnTo>
                  <a:lnTo>
                    <a:pt x="217623" y="55880"/>
                  </a:lnTo>
                  <a:lnTo>
                    <a:pt x="234076" y="46256"/>
                  </a:lnTo>
                  <a:lnTo>
                    <a:pt x="248667" y="35701"/>
                  </a:lnTo>
                  <a:lnTo>
                    <a:pt x="260154" y="21110"/>
                  </a:lnTo>
                  <a:lnTo>
                    <a:pt x="261395" y="18937"/>
                  </a:lnTo>
                  <a:lnTo>
                    <a:pt x="261395" y="16764"/>
                  </a:lnTo>
                  <a:lnTo>
                    <a:pt x="263258" y="13660"/>
                  </a:lnTo>
                  <a:lnTo>
                    <a:pt x="260154" y="9313"/>
                  </a:lnTo>
                  <a:lnTo>
                    <a:pt x="258291" y="6209"/>
                  </a:lnTo>
                  <a:lnTo>
                    <a:pt x="253945" y="1863"/>
                  </a:lnTo>
                  <a:lnTo>
                    <a:pt x="236249" y="0"/>
                  </a:lnTo>
                  <a:lnTo>
                    <a:pt x="223832" y="4036"/>
                  </a:lnTo>
                  <a:lnTo>
                    <a:pt x="216381" y="7140"/>
                  </a:lnTo>
                  <a:lnTo>
                    <a:pt x="210172" y="11486"/>
                  </a:lnTo>
                  <a:lnTo>
                    <a:pt x="205205" y="18937"/>
                  </a:lnTo>
                  <a:lnTo>
                    <a:pt x="197754" y="24215"/>
                  </a:lnTo>
                  <a:lnTo>
                    <a:pt x="187199" y="29492"/>
                  </a:lnTo>
                  <a:lnTo>
                    <a:pt x="153981" y="29492"/>
                  </a:lnTo>
                  <a:lnTo>
                    <a:pt x="134113" y="39116"/>
                  </a:lnTo>
                  <a:lnTo>
                    <a:pt x="110208" y="51844"/>
                  </a:lnTo>
                  <a:lnTo>
                    <a:pt x="87235" y="68609"/>
                  </a:lnTo>
                  <a:lnTo>
                    <a:pt x="68609" y="85683"/>
                  </a:lnTo>
                  <a:lnTo>
                    <a:pt x="54017" y="101516"/>
                  </a:lnTo>
                  <a:lnTo>
                    <a:pt x="53086" y="107725"/>
                  </a:lnTo>
                  <a:lnTo>
                    <a:pt x="53086" y="110829"/>
                  </a:lnTo>
                  <a:lnTo>
                    <a:pt x="53086" y="116107"/>
                  </a:lnTo>
                  <a:lnTo>
                    <a:pt x="54017" y="118280"/>
                  </a:lnTo>
                  <a:lnTo>
                    <a:pt x="54017" y="122626"/>
                  </a:lnTo>
                  <a:lnTo>
                    <a:pt x="56191" y="127904"/>
                  </a:lnTo>
                  <a:lnTo>
                    <a:pt x="54017" y="131008"/>
                  </a:lnTo>
                  <a:lnTo>
                    <a:pt x="48740" y="144668"/>
                  </a:lnTo>
                  <a:lnTo>
                    <a:pt x="39427" y="153360"/>
                  </a:lnTo>
                  <a:lnTo>
                    <a:pt x="31045" y="162674"/>
                  </a:lnTo>
                  <a:lnTo>
                    <a:pt x="31045" y="164847"/>
                  </a:lnTo>
                  <a:lnTo>
                    <a:pt x="31045" y="167020"/>
                  </a:lnTo>
                  <a:lnTo>
                    <a:pt x="32286" y="167020"/>
                  </a:lnTo>
                  <a:lnTo>
                    <a:pt x="32286" y="167951"/>
                  </a:lnTo>
                  <a:lnTo>
                    <a:pt x="36322" y="170124"/>
                  </a:lnTo>
                  <a:lnTo>
                    <a:pt x="39427" y="172297"/>
                  </a:lnTo>
                  <a:lnTo>
                    <a:pt x="34149" y="182853"/>
                  </a:lnTo>
                  <a:lnTo>
                    <a:pt x="27009" y="190303"/>
                  </a:lnTo>
                  <a:lnTo>
                    <a:pt x="19558" y="195581"/>
                  </a:lnTo>
                  <a:lnTo>
                    <a:pt x="14591" y="205205"/>
                  </a:lnTo>
                  <a:lnTo>
                    <a:pt x="12418" y="212345"/>
                  </a:lnTo>
                  <a:lnTo>
                    <a:pt x="14591" y="219796"/>
                  </a:lnTo>
                  <a:lnTo>
                    <a:pt x="16454" y="224142"/>
                  </a:lnTo>
                  <a:lnTo>
                    <a:pt x="16454" y="229419"/>
                  </a:lnTo>
                  <a:lnTo>
                    <a:pt x="10245" y="232524"/>
                  </a:lnTo>
                  <a:lnTo>
                    <a:pt x="0" y="239975"/>
                  </a:lnTo>
                  <a:lnTo>
                    <a:pt x="7140" y="25487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xmlns="" id="{244B5066-1C8C-4DD3-89D1-CD064A4DEABF}"/>
                </a:ext>
              </a:extLst>
            </p:cNvPr>
            <p:cNvSpPr/>
            <p:nvPr/>
          </p:nvSpPr>
          <p:spPr>
            <a:xfrm>
              <a:off x="7125604" y="4179690"/>
              <a:ext cx="15522" cy="12418"/>
            </a:xfrm>
            <a:custGeom>
              <a:avLst/>
              <a:gdLst>
                <a:gd name="connsiteX0" fmla="*/ 0 w 15522"/>
                <a:gd name="connsiteY0" fmla="*/ 13660 h 12417"/>
                <a:gd name="connsiteX1" fmla="*/ 16454 w 15522"/>
                <a:gd name="connsiteY1" fmla="*/ 13660 h 12417"/>
                <a:gd name="connsiteX2" fmla="*/ 16454 w 15522"/>
                <a:gd name="connsiteY2" fmla="*/ 6209 h 12417"/>
                <a:gd name="connsiteX3" fmla="*/ 4036 w 15522"/>
                <a:gd name="connsiteY3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22" h="12417">
                  <a:moveTo>
                    <a:pt x="0" y="13660"/>
                  </a:moveTo>
                  <a:lnTo>
                    <a:pt x="16454" y="13660"/>
                  </a:lnTo>
                  <a:lnTo>
                    <a:pt x="16454" y="6209"/>
                  </a:lnTo>
                  <a:lnTo>
                    <a:pt x="4036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xmlns="" id="{2B420584-DE68-470D-9F19-5924771E16E0}"/>
                </a:ext>
              </a:extLst>
            </p:cNvPr>
            <p:cNvSpPr/>
            <p:nvPr/>
          </p:nvSpPr>
          <p:spPr>
            <a:xfrm>
              <a:off x="3826497" y="4062342"/>
              <a:ext cx="15522" cy="6209"/>
            </a:xfrm>
            <a:custGeom>
              <a:avLst/>
              <a:gdLst>
                <a:gd name="connsiteX0" fmla="*/ 0 w 15522"/>
                <a:gd name="connsiteY0" fmla="*/ 0 h 6208"/>
                <a:gd name="connsiteX1" fmla="*/ 16764 w 15522"/>
                <a:gd name="connsiteY1" fmla="*/ 0 h 6208"/>
                <a:gd name="connsiteX2" fmla="*/ 16764 w 15522"/>
                <a:gd name="connsiteY2" fmla="*/ 8382 h 6208"/>
                <a:gd name="connsiteX3" fmla="*/ 0 w 15522"/>
                <a:gd name="connsiteY3" fmla="*/ 8382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22" h="6208">
                  <a:moveTo>
                    <a:pt x="0" y="0"/>
                  </a:moveTo>
                  <a:lnTo>
                    <a:pt x="16764" y="0"/>
                  </a:lnTo>
                  <a:lnTo>
                    <a:pt x="16764" y="8382"/>
                  </a:lnTo>
                  <a:lnTo>
                    <a:pt x="0" y="838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xmlns="" id="{B8FFCA09-5C47-4D32-A33A-C1A19513E9CE}"/>
                </a:ext>
              </a:extLst>
            </p:cNvPr>
            <p:cNvSpPr/>
            <p:nvPr/>
          </p:nvSpPr>
          <p:spPr>
            <a:xfrm>
              <a:off x="7212839" y="4119464"/>
              <a:ext cx="71403" cy="49671"/>
            </a:xfrm>
            <a:custGeom>
              <a:avLst/>
              <a:gdLst>
                <a:gd name="connsiteX0" fmla="*/ 27009 w 71402"/>
                <a:gd name="connsiteY0" fmla="*/ 37874 h 49671"/>
                <a:gd name="connsiteX1" fmla="*/ 49050 w 71402"/>
                <a:gd name="connsiteY1" fmla="*/ 45325 h 49671"/>
                <a:gd name="connsiteX2" fmla="*/ 72955 w 71402"/>
                <a:gd name="connsiteY2" fmla="*/ 49671 h 49671"/>
                <a:gd name="connsiteX3" fmla="*/ 68919 w 71402"/>
                <a:gd name="connsiteY3" fmla="*/ 32597 h 49671"/>
                <a:gd name="connsiteX4" fmla="*/ 61468 w 71402"/>
                <a:gd name="connsiteY4" fmla="*/ 19869 h 49671"/>
                <a:gd name="connsiteX5" fmla="*/ 51224 w 71402"/>
                <a:gd name="connsiteY5" fmla="*/ 10555 h 49671"/>
                <a:gd name="connsiteX6" fmla="*/ 36632 w 71402"/>
                <a:gd name="connsiteY6" fmla="*/ 5278 h 49671"/>
                <a:gd name="connsiteX7" fmla="*/ 19868 w 71402"/>
                <a:gd name="connsiteY7" fmla="*/ 2173 h 49671"/>
                <a:gd name="connsiteX8" fmla="*/ 3104 w 71402"/>
                <a:gd name="connsiteY8" fmla="*/ 0 h 49671"/>
                <a:gd name="connsiteX9" fmla="*/ 3104 w 71402"/>
                <a:gd name="connsiteY9" fmla="*/ 3104 h 49671"/>
                <a:gd name="connsiteX10" fmla="*/ 3104 w 71402"/>
                <a:gd name="connsiteY10" fmla="*/ 7451 h 49671"/>
                <a:gd name="connsiteX11" fmla="*/ 2173 w 71402"/>
                <a:gd name="connsiteY11" fmla="*/ 8382 h 49671"/>
                <a:gd name="connsiteX12" fmla="*/ 2173 w 71402"/>
                <a:gd name="connsiteY12" fmla="*/ 10555 h 49671"/>
                <a:gd name="connsiteX13" fmla="*/ 0 w 71402"/>
                <a:gd name="connsiteY13" fmla="*/ 12728 h 49671"/>
                <a:gd name="connsiteX14" fmla="*/ 10555 w 71402"/>
                <a:gd name="connsiteY14" fmla="*/ 27319 h 496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71402" h="49671">
                  <a:moveTo>
                    <a:pt x="27009" y="37874"/>
                  </a:moveTo>
                  <a:lnTo>
                    <a:pt x="49050" y="45325"/>
                  </a:lnTo>
                  <a:lnTo>
                    <a:pt x="72955" y="49671"/>
                  </a:lnTo>
                  <a:lnTo>
                    <a:pt x="68919" y="32597"/>
                  </a:lnTo>
                  <a:lnTo>
                    <a:pt x="61468" y="19869"/>
                  </a:lnTo>
                  <a:lnTo>
                    <a:pt x="51224" y="10555"/>
                  </a:lnTo>
                  <a:lnTo>
                    <a:pt x="36632" y="5278"/>
                  </a:lnTo>
                  <a:lnTo>
                    <a:pt x="19868" y="2173"/>
                  </a:lnTo>
                  <a:lnTo>
                    <a:pt x="3104" y="0"/>
                  </a:lnTo>
                  <a:lnTo>
                    <a:pt x="3104" y="3104"/>
                  </a:lnTo>
                  <a:lnTo>
                    <a:pt x="3104" y="7451"/>
                  </a:lnTo>
                  <a:lnTo>
                    <a:pt x="2173" y="8382"/>
                  </a:lnTo>
                  <a:lnTo>
                    <a:pt x="2173" y="10555"/>
                  </a:lnTo>
                  <a:lnTo>
                    <a:pt x="0" y="12728"/>
                  </a:lnTo>
                  <a:lnTo>
                    <a:pt x="10555" y="273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xmlns="" id="{F188E24A-5282-4BBF-BCA4-7516D664E0FB}"/>
                </a:ext>
              </a:extLst>
            </p:cNvPr>
            <p:cNvSpPr/>
            <p:nvPr/>
          </p:nvSpPr>
          <p:spPr>
            <a:xfrm>
              <a:off x="7085867" y="4082210"/>
              <a:ext cx="108656" cy="80716"/>
            </a:xfrm>
            <a:custGeom>
              <a:avLst/>
              <a:gdLst>
                <a:gd name="connsiteX0" fmla="*/ 14591 w 108656"/>
                <a:gd name="connsiteY0" fmla="*/ 72023 h 80715"/>
                <a:gd name="connsiteX1" fmla="*/ 27009 w 108656"/>
                <a:gd name="connsiteY1" fmla="*/ 82579 h 80715"/>
                <a:gd name="connsiteX2" fmla="*/ 32286 w 108656"/>
                <a:gd name="connsiteY2" fmla="*/ 81647 h 80715"/>
                <a:gd name="connsiteX3" fmla="*/ 43773 w 108656"/>
                <a:gd name="connsiteY3" fmla="*/ 79474 h 80715"/>
                <a:gd name="connsiteX4" fmla="*/ 58364 w 108656"/>
                <a:gd name="connsiteY4" fmla="*/ 77301 h 80715"/>
                <a:gd name="connsiteX5" fmla="*/ 76059 w 108656"/>
                <a:gd name="connsiteY5" fmla="*/ 75128 h 80715"/>
                <a:gd name="connsiteX6" fmla="*/ 93754 w 108656"/>
                <a:gd name="connsiteY6" fmla="*/ 74197 h 80715"/>
                <a:gd name="connsiteX7" fmla="*/ 107414 w 108656"/>
                <a:gd name="connsiteY7" fmla="*/ 74197 h 80715"/>
                <a:gd name="connsiteX8" fmla="*/ 108346 w 108656"/>
                <a:gd name="connsiteY8" fmla="*/ 72023 h 80715"/>
                <a:gd name="connsiteX9" fmla="*/ 110519 w 108656"/>
                <a:gd name="connsiteY9" fmla="*/ 72023 h 80715"/>
                <a:gd name="connsiteX10" fmla="*/ 110519 w 108656"/>
                <a:gd name="connsiteY10" fmla="*/ 69850 h 80715"/>
                <a:gd name="connsiteX11" fmla="*/ 110519 w 108656"/>
                <a:gd name="connsiteY11" fmla="*/ 12728 h 80715"/>
                <a:gd name="connsiteX12" fmla="*/ 95928 w 108656"/>
                <a:gd name="connsiteY12" fmla="*/ 20179 h 80715"/>
                <a:gd name="connsiteX13" fmla="*/ 83199 w 108656"/>
                <a:gd name="connsiteY13" fmla="*/ 27630 h 80715"/>
                <a:gd name="connsiteX14" fmla="*/ 66746 w 108656"/>
                <a:gd name="connsiteY14" fmla="*/ 32907 h 80715"/>
                <a:gd name="connsiteX15" fmla="*/ 66746 w 108656"/>
                <a:gd name="connsiteY15" fmla="*/ 20179 h 80715"/>
                <a:gd name="connsiteX16" fmla="*/ 66746 w 108656"/>
                <a:gd name="connsiteY16" fmla="*/ 9624 h 80715"/>
                <a:gd name="connsiteX17" fmla="*/ 63641 w 108656"/>
                <a:gd name="connsiteY17" fmla="*/ 0 h 80715"/>
                <a:gd name="connsiteX18" fmla="*/ 54018 w 108656"/>
                <a:gd name="connsiteY18" fmla="*/ 0 h 80715"/>
                <a:gd name="connsiteX19" fmla="*/ 39737 w 108656"/>
                <a:gd name="connsiteY19" fmla="*/ 2173 h 80715"/>
                <a:gd name="connsiteX20" fmla="*/ 25146 w 108656"/>
                <a:gd name="connsiteY20" fmla="*/ 7451 h 80715"/>
                <a:gd name="connsiteX21" fmla="*/ 15522 w 108656"/>
                <a:gd name="connsiteY21" fmla="*/ 12728 h 80715"/>
                <a:gd name="connsiteX22" fmla="*/ 8382 w 108656"/>
                <a:gd name="connsiteY22" fmla="*/ 17075 h 80715"/>
                <a:gd name="connsiteX23" fmla="*/ 7451 w 108656"/>
                <a:gd name="connsiteY23" fmla="*/ 20179 h 80715"/>
                <a:gd name="connsiteX24" fmla="*/ 5277 w 108656"/>
                <a:gd name="connsiteY24" fmla="*/ 24525 h 80715"/>
                <a:gd name="connsiteX25" fmla="*/ 3104 w 108656"/>
                <a:gd name="connsiteY25" fmla="*/ 27630 h 80715"/>
                <a:gd name="connsiteX26" fmla="*/ 931 w 108656"/>
                <a:gd name="connsiteY26" fmla="*/ 31976 h 80715"/>
                <a:gd name="connsiteX27" fmla="*/ 0 w 108656"/>
                <a:gd name="connsiteY27" fmla="*/ 37253 h 80715"/>
                <a:gd name="connsiteX28" fmla="*/ 5277 w 108656"/>
                <a:gd name="connsiteY28" fmla="*/ 57122 h 8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8656" h="80715">
                  <a:moveTo>
                    <a:pt x="14591" y="72023"/>
                  </a:moveTo>
                  <a:lnTo>
                    <a:pt x="27009" y="82579"/>
                  </a:lnTo>
                  <a:lnTo>
                    <a:pt x="32286" y="81647"/>
                  </a:lnTo>
                  <a:lnTo>
                    <a:pt x="43773" y="79474"/>
                  </a:lnTo>
                  <a:lnTo>
                    <a:pt x="58364" y="77301"/>
                  </a:lnTo>
                  <a:lnTo>
                    <a:pt x="76059" y="75128"/>
                  </a:lnTo>
                  <a:lnTo>
                    <a:pt x="93754" y="74197"/>
                  </a:lnTo>
                  <a:lnTo>
                    <a:pt x="107414" y="74197"/>
                  </a:lnTo>
                  <a:lnTo>
                    <a:pt x="108346" y="72023"/>
                  </a:lnTo>
                  <a:lnTo>
                    <a:pt x="110519" y="72023"/>
                  </a:lnTo>
                  <a:lnTo>
                    <a:pt x="110519" y="69850"/>
                  </a:lnTo>
                  <a:lnTo>
                    <a:pt x="110519" y="12728"/>
                  </a:lnTo>
                  <a:lnTo>
                    <a:pt x="95928" y="20179"/>
                  </a:lnTo>
                  <a:lnTo>
                    <a:pt x="83199" y="27630"/>
                  </a:lnTo>
                  <a:lnTo>
                    <a:pt x="66746" y="32907"/>
                  </a:lnTo>
                  <a:lnTo>
                    <a:pt x="66746" y="20179"/>
                  </a:lnTo>
                  <a:lnTo>
                    <a:pt x="66746" y="9624"/>
                  </a:lnTo>
                  <a:lnTo>
                    <a:pt x="63641" y="0"/>
                  </a:lnTo>
                  <a:lnTo>
                    <a:pt x="54018" y="0"/>
                  </a:lnTo>
                  <a:lnTo>
                    <a:pt x="39737" y="2173"/>
                  </a:lnTo>
                  <a:lnTo>
                    <a:pt x="25146" y="7451"/>
                  </a:lnTo>
                  <a:lnTo>
                    <a:pt x="15522" y="12728"/>
                  </a:lnTo>
                  <a:lnTo>
                    <a:pt x="8382" y="17075"/>
                  </a:lnTo>
                  <a:lnTo>
                    <a:pt x="7451" y="20179"/>
                  </a:lnTo>
                  <a:lnTo>
                    <a:pt x="5277" y="24525"/>
                  </a:lnTo>
                  <a:lnTo>
                    <a:pt x="3104" y="27630"/>
                  </a:lnTo>
                  <a:lnTo>
                    <a:pt x="931" y="31976"/>
                  </a:lnTo>
                  <a:lnTo>
                    <a:pt x="0" y="37253"/>
                  </a:lnTo>
                  <a:lnTo>
                    <a:pt x="5277" y="5712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xmlns="" id="{F23468A2-3E5F-4066-8501-ED0084179807}"/>
                </a:ext>
              </a:extLst>
            </p:cNvPr>
            <p:cNvSpPr/>
            <p:nvPr/>
          </p:nvSpPr>
          <p:spPr>
            <a:xfrm>
              <a:off x="4090065" y="4082210"/>
              <a:ext cx="12418" cy="9313"/>
            </a:xfrm>
            <a:custGeom>
              <a:avLst/>
              <a:gdLst>
                <a:gd name="connsiteX0" fmla="*/ 4036 w 12417"/>
                <a:gd name="connsiteY0" fmla="*/ 9624 h 9313"/>
                <a:gd name="connsiteX1" fmla="*/ 7140 w 12417"/>
                <a:gd name="connsiteY1" fmla="*/ 9624 h 9313"/>
                <a:gd name="connsiteX2" fmla="*/ 12418 w 12417"/>
                <a:gd name="connsiteY2" fmla="*/ 9624 h 9313"/>
                <a:gd name="connsiteX3" fmla="*/ 12418 w 12417"/>
                <a:gd name="connsiteY3" fmla="*/ 5278 h 9313"/>
                <a:gd name="connsiteX4" fmla="*/ 0 w 12417"/>
                <a:gd name="connsiteY4" fmla="*/ 0 h 9313"/>
                <a:gd name="connsiteX5" fmla="*/ 0 w 12417"/>
                <a:gd name="connsiteY5" fmla="*/ 5278 h 9313"/>
                <a:gd name="connsiteX6" fmla="*/ 0 w 12417"/>
                <a:gd name="connsiteY6" fmla="*/ 7451 h 9313"/>
                <a:gd name="connsiteX7" fmla="*/ 1863 w 12417"/>
                <a:gd name="connsiteY7" fmla="*/ 9624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17" h="9313">
                  <a:moveTo>
                    <a:pt x="4036" y="9624"/>
                  </a:moveTo>
                  <a:lnTo>
                    <a:pt x="7140" y="9624"/>
                  </a:lnTo>
                  <a:lnTo>
                    <a:pt x="12418" y="9624"/>
                  </a:lnTo>
                  <a:lnTo>
                    <a:pt x="12418" y="5278"/>
                  </a:lnTo>
                  <a:lnTo>
                    <a:pt x="0" y="0"/>
                  </a:lnTo>
                  <a:lnTo>
                    <a:pt x="0" y="5278"/>
                  </a:lnTo>
                  <a:lnTo>
                    <a:pt x="0" y="7451"/>
                  </a:lnTo>
                  <a:lnTo>
                    <a:pt x="1863" y="962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xmlns="" id="{1BEDC64C-6EC1-4D42-A779-876C9E091F08}"/>
                </a:ext>
              </a:extLst>
            </p:cNvPr>
            <p:cNvSpPr/>
            <p:nvPr/>
          </p:nvSpPr>
          <p:spPr>
            <a:xfrm>
              <a:off x="6122554" y="4209183"/>
              <a:ext cx="12418" cy="12418"/>
            </a:xfrm>
            <a:custGeom>
              <a:avLst/>
              <a:gdLst>
                <a:gd name="connsiteX0" fmla="*/ 1242 w 12417"/>
                <a:gd name="connsiteY0" fmla="*/ 4346 h 12417"/>
                <a:gd name="connsiteX1" fmla="*/ 0 w 12417"/>
                <a:gd name="connsiteY1" fmla="*/ 6519 h 12417"/>
                <a:gd name="connsiteX2" fmla="*/ 0 w 12417"/>
                <a:gd name="connsiteY2" fmla="*/ 9624 h 12417"/>
                <a:gd name="connsiteX3" fmla="*/ 0 w 12417"/>
                <a:gd name="connsiteY3" fmla="*/ 14901 h 12417"/>
                <a:gd name="connsiteX4" fmla="*/ 3104 w 12417"/>
                <a:gd name="connsiteY4" fmla="*/ 14901 h 12417"/>
                <a:gd name="connsiteX5" fmla="*/ 5278 w 12417"/>
                <a:gd name="connsiteY5" fmla="*/ 14901 h 12417"/>
                <a:gd name="connsiteX6" fmla="*/ 7451 w 12417"/>
                <a:gd name="connsiteY6" fmla="*/ 14901 h 12417"/>
                <a:gd name="connsiteX7" fmla="*/ 8382 w 12417"/>
                <a:gd name="connsiteY7" fmla="*/ 13970 h 12417"/>
                <a:gd name="connsiteX8" fmla="*/ 10555 w 12417"/>
                <a:gd name="connsiteY8" fmla="*/ 11797 h 12417"/>
                <a:gd name="connsiteX9" fmla="*/ 14591 w 12417"/>
                <a:gd name="connsiteY9" fmla="*/ 11797 h 12417"/>
                <a:gd name="connsiteX10" fmla="*/ 14591 w 12417"/>
                <a:gd name="connsiteY10" fmla="*/ 4346 h 12417"/>
                <a:gd name="connsiteX11" fmla="*/ 3104 w 12417"/>
                <a:gd name="connsiteY11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7" h="12417">
                  <a:moveTo>
                    <a:pt x="1242" y="4346"/>
                  </a:moveTo>
                  <a:lnTo>
                    <a:pt x="0" y="6519"/>
                  </a:lnTo>
                  <a:lnTo>
                    <a:pt x="0" y="9624"/>
                  </a:lnTo>
                  <a:lnTo>
                    <a:pt x="0" y="14901"/>
                  </a:lnTo>
                  <a:lnTo>
                    <a:pt x="3104" y="14901"/>
                  </a:lnTo>
                  <a:lnTo>
                    <a:pt x="5278" y="14901"/>
                  </a:lnTo>
                  <a:lnTo>
                    <a:pt x="7451" y="14901"/>
                  </a:lnTo>
                  <a:lnTo>
                    <a:pt x="8382" y="13970"/>
                  </a:lnTo>
                  <a:lnTo>
                    <a:pt x="10555" y="11797"/>
                  </a:lnTo>
                  <a:lnTo>
                    <a:pt x="14591" y="11797"/>
                  </a:lnTo>
                  <a:lnTo>
                    <a:pt x="14591" y="4346"/>
                  </a:lnTo>
                  <a:lnTo>
                    <a:pt x="3104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xmlns="" id="{24374C7F-4991-4CB0-A601-36380C318AE9}"/>
                </a:ext>
              </a:extLst>
            </p:cNvPr>
            <p:cNvSpPr/>
            <p:nvPr/>
          </p:nvSpPr>
          <p:spPr>
            <a:xfrm>
              <a:off x="4937582" y="4135296"/>
              <a:ext cx="15522" cy="6209"/>
            </a:xfrm>
            <a:custGeom>
              <a:avLst/>
              <a:gdLst>
                <a:gd name="connsiteX0" fmla="*/ 5277 w 15522"/>
                <a:gd name="connsiteY0" fmla="*/ 6209 h 6208"/>
                <a:gd name="connsiteX1" fmla="*/ 7451 w 15522"/>
                <a:gd name="connsiteY1" fmla="*/ 6209 h 6208"/>
                <a:gd name="connsiteX2" fmla="*/ 8382 w 15522"/>
                <a:gd name="connsiteY2" fmla="*/ 6209 h 6208"/>
                <a:gd name="connsiteX3" fmla="*/ 12418 w 15522"/>
                <a:gd name="connsiteY3" fmla="*/ 4036 h 6208"/>
                <a:gd name="connsiteX4" fmla="*/ 15522 w 15522"/>
                <a:gd name="connsiteY4" fmla="*/ 4036 h 6208"/>
                <a:gd name="connsiteX5" fmla="*/ 15522 w 15522"/>
                <a:gd name="connsiteY5" fmla="*/ 0 h 6208"/>
                <a:gd name="connsiteX6" fmla="*/ 0 w 15522"/>
                <a:gd name="connsiteY6" fmla="*/ 0 h 6208"/>
                <a:gd name="connsiteX7" fmla="*/ 3104 w 15522"/>
                <a:gd name="connsiteY7" fmla="*/ 4036 h 6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5522" h="6208">
                  <a:moveTo>
                    <a:pt x="5277" y="6209"/>
                  </a:moveTo>
                  <a:lnTo>
                    <a:pt x="7451" y="6209"/>
                  </a:lnTo>
                  <a:lnTo>
                    <a:pt x="8382" y="6209"/>
                  </a:lnTo>
                  <a:lnTo>
                    <a:pt x="12418" y="4036"/>
                  </a:lnTo>
                  <a:lnTo>
                    <a:pt x="15522" y="4036"/>
                  </a:lnTo>
                  <a:lnTo>
                    <a:pt x="15522" y="0"/>
                  </a:lnTo>
                  <a:lnTo>
                    <a:pt x="0" y="0"/>
                  </a:lnTo>
                  <a:lnTo>
                    <a:pt x="3104" y="403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xmlns="" id="{81E06329-F699-4E47-9597-6B85CD553637}"/>
                </a:ext>
              </a:extLst>
            </p:cNvPr>
            <p:cNvSpPr/>
            <p:nvPr/>
          </p:nvSpPr>
          <p:spPr>
            <a:xfrm>
              <a:off x="5256410" y="5105129"/>
              <a:ext cx="12418" cy="24836"/>
            </a:xfrm>
            <a:custGeom>
              <a:avLst/>
              <a:gdLst>
                <a:gd name="connsiteX0" fmla="*/ 9313 w 12417"/>
                <a:gd name="connsiteY0" fmla="*/ 22352 h 24835"/>
                <a:gd name="connsiteX1" fmla="*/ 10245 w 12417"/>
                <a:gd name="connsiteY1" fmla="*/ 18006 h 24835"/>
                <a:gd name="connsiteX2" fmla="*/ 10245 w 12417"/>
                <a:gd name="connsiteY2" fmla="*/ 12728 h 24835"/>
                <a:gd name="connsiteX3" fmla="*/ 10245 w 12417"/>
                <a:gd name="connsiteY3" fmla="*/ 7451 h 24835"/>
                <a:gd name="connsiteX4" fmla="*/ 12418 w 12417"/>
                <a:gd name="connsiteY4" fmla="*/ 0 h 24835"/>
                <a:gd name="connsiteX5" fmla="*/ 3104 w 12417"/>
                <a:gd name="connsiteY5" fmla="*/ 0 h 24835"/>
                <a:gd name="connsiteX6" fmla="*/ 2173 w 12417"/>
                <a:gd name="connsiteY6" fmla="*/ 5588 h 24835"/>
                <a:gd name="connsiteX7" fmla="*/ 2173 w 12417"/>
                <a:gd name="connsiteY7" fmla="*/ 12728 h 24835"/>
                <a:gd name="connsiteX8" fmla="*/ 0 w 12417"/>
                <a:gd name="connsiteY8" fmla="*/ 20179 h 24835"/>
                <a:gd name="connsiteX9" fmla="*/ 0 w 12417"/>
                <a:gd name="connsiteY9" fmla="*/ 27630 h 24835"/>
                <a:gd name="connsiteX10" fmla="*/ 7140 w 12417"/>
                <a:gd name="connsiteY10" fmla="*/ 27630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2417" h="24835">
                  <a:moveTo>
                    <a:pt x="9313" y="22352"/>
                  </a:moveTo>
                  <a:lnTo>
                    <a:pt x="10245" y="18006"/>
                  </a:lnTo>
                  <a:lnTo>
                    <a:pt x="10245" y="12728"/>
                  </a:lnTo>
                  <a:lnTo>
                    <a:pt x="10245" y="7451"/>
                  </a:lnTo>
                  <a:lnTo>
                    <a:pt x="12418" y="0"/>
                  </a:lnTo>
                  <a:lnTo>
                    <a:pt x="3104" y="0"/>
                  </a:lnTo>
                  <a:lnTo>
                    <a:pt x="2173" y="5588"/>
                  </a:lnTo>
                  <a:lnTo>
                    <a:pt x="2173" y="12728"/>
                  </a:lnTo>
                  <a:lnTo>
                    <a:pt x="0" y="20179"/>
                  </a:lnTo>
                  <a:lnTo>
                    <a:pt x="0" y="27630"/>
                  </a:lnTo>
                  <a:lnTo>
                    <a:pt x="7140" y="2763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xmlns="" id="{CD631A56-1804-40F7-8203-B9AFE97A4BC7}"/>
                </a:ext>
              </a:extLst>
            </p:cNvPr>
            <p:cNvSpPr/>
            <p:nvPr/>
          </p:nvSpPr>
          <p:spPr>
            <a:xfrm>
              <a:off x="3850401" y="4200801"/>
              <a:ext cx="406684" cy="447042"/>
            </a:xfrm>
            <a:custGeom>
              <a:avLst/>
              <a:gdLst>
                <a:gd name="connsiteX0" fmla="*/ 395818 w 406683"/>
                <a:gd name="connsiteY0" fmla="*/ 287783 h 447041"/>
                <a:gd name="connsiteX1" fmla="*/ 392714 w 406683"/>
                <a:gd name="connsiteY1" fmla="*/ 285610 h 447041"/>
                <a:gd name="connsiteX2" fmla="*/ 387436 w 406683"/>
                <a:gd name="connsiteY2" fmla="*/ 283437 h 447041"/>
                <a:gd name="connsiteX3" fmla="*/ 383401 w 406683"/>
                <a:gd name="connsiteY3" fmla="*/ 282506 h 447041"/>
                <a:gd name="connsiteX4" fmla="*/ 381227 w 406683"/>
                <a:gd name="connsiteY4" fmla="*/ 280333 h 447041"/>
                <a:gd name="connsiteX5" fmla="*/ 381227 w 406683"/>
                <a:gd name="connsiteY5" fmla="*/ 278159 h 447041"/>
                <a:gd name="connsiteX6" fmla="*/ 381227 w 406683"/>
                <a:gd name="connsiteY6" fmla="*/ 275986 h 447041"/>
                <a:gd name="connsiteX7" fmla="*/ 383401 w 406683"/>
                <a:gd name="connsiteY7" fmla="*/ 275055 h 447041"/>
                <a:gd name="connsiteX8" fmla="*/ 381227 w 406683"/>
                <a:gd name="connsiteY8" fmla="*/ 270709 h 447041"/>
                <a:gd name="connsiteX9" fmla="*/ 379986 w 406683"/>
                <a:gd name="connsiteY9" fmla="*/ 268846 h 447041"/>
                <a:gd name="connsiteX10" fmla="*/ 375950 w 406683"/>
                <a:gd name="connsiteY10" fmla="*/ 265431 h 447041"/>
                <a:gd name="connsiteX11" fmla="*/ 372845 w 406683"/>
                <a:gd name="connsiteY11" fmla="*/ 263568 h 447041"/>
                <a:gd name="connsiteX12" fmla="*/ 366636 w 406683"/>
                <a:gd name="connsiteY12" fmla="*/ 261395 h 447041"/>
                <a:gd name="connsiteX13" fmla="*/ 363532 w 406683"/>
                <a:gd name="connsiteY13" fmla="*/ 258291 h 447041"/>
                <a:gd name="connsiteX14" fmla="*/ 359186 w 406683"/>
                <a:gd name="connsiteY14" fmla="*/ 256118 h 447041"/>
                <a:gd name="connsiteX15" fmla="*/ 358254 w 406683"/>
                <a:gd name="connsiteY15" fmla="*/ 253945 h 447041"/>
                <a:gd name="connsiteX16" fmla="*/ 358254 w 406683"/>
                <a:gd name="connsiteY16" fmla="*/ 252703 h 447041"/>
                <a:gd name="connsiteX17" fmla="*/ 356081 w 406683"/>
                <a:gd name="connsiteY17" fmla="*/ 250840 h 447041"/>
                <a:gd name="connsiteX18" fmla="*/ 356081 w 406683"/>
                <a:gd name="connsiteY18" fmla="*/ 248667 h 447041"/>
                <a:gd name="connsiteX19" fmla="*/ 356081 w 406683"/>
                <a:gd name="connsiteY19" fmla="*/ 243389 h 447041"/>
                <a:gd name="connsiteX20" fmla="*/ 341490 w 406683"/>
                <a:gd name="connsiteY20" fmla="*/ 238112 h 447041"/>
                <a:gd name="connsiteX21" fmla="*/ 330004 w 406683"/>
                <a:gd name="connsiteY21" fmla="*/ 228488 h 447041"/>
                <a:gd name="connsiteX22" fmla="*/ 322864 w 406683"/>
                <a:gd name="connsiteY22" fmla="*/ 215760 h 447041"/>
                <a:gd name="connsiteX23" fmla="*/ 325037 w 406683"/>
                <a:gd name="connsiteY23" fmla="*/ 211724 h 447041"/>
                <a:gd name="connsiteX24" fmla="*/ 326899 w 406683"/>
                <a:gd name="connsiteY24" fmla="*/ 206446 h 447041"/>
                <a:gd name="connsiteX25" fmla="*/ 330004 w 406683"/>
                <a:gd name="connsiteY25" fmla="*/ 203032 h 447041"/>
                <a:gd name="connsiteX26" fmla="*/ 336523 w 406683"/>
                <a:gd name="connsiteY26" fmla="*/ 195581 h 447041"/>
                <a:gd name="connsiteX27" fmla="*/ 326899 w 406683"/>
                <a:gd name="connsiteY27" fmla="*/ 184094 h 447041"/>
                <a:gd name="connsiteX28" fmla="*/ 319759 w 406683"/>
                <a:gd name="connsiteY28" fmla="*/ 171366 h 447041"/>
                <a:gd name="connsiteX29" fmla="*/ 310446 w 406683"/>
                <a:gd name="connsiteY29" fmla="*/ 158638 h 447041"/>
                <a:gd name="connsiteX30" fmla="*/ 302995 w 406683"/>
                <a:gd name="connsiteY30" fmla="*/ 147151 h 447041"/>
                <a:gd name="connsiteX31" fmla="*/ 290577 w 406683"/>
                <a:gd name="connsiteY31" fmla="*/ 139701 h 447041"/>
                <a:gd name="connsiteX32" fmla="*/ 275986 w 406683"/>
                <a:gd name="connsiteY32" fmla="*/ 134423 h 447041"/>
                <a:gd name="connsiteX33" fmla="*/ 275986 w 406683"/>
                <a:gd name="connsiteY33" fmla="*/ 121695 h 447041"/>
                <a:gd name="connsiteX34" fmla="*/ 259222 w 406683"/>
                <a:gd name="connsiteY34" fmla="*/ 106793 h 447041"/>
                <a:gd name="connsiteX35" fmla="*/ 244631 w 406683"/>
                <a:gd name="connsiteY35" fmla="*/ 90029 h 447041"/>
                <a:gd name="connsiteX36" fmla="*/ 226936 w 406683"/>
                <a:gd name="connsiteY36" fmla="*/ 77301 h 447041"/>
                <a:gd name="connsiteX37" fmla="*/ 222900 w 406683"/>
                <a:gd name="connsiteY37" fmla="*/ 75128 h 447041"/>
                <a:gd name="connsiteX38" fmla="*/ 219796 w 406683"/>
                <a:gd name="connsiteY38" fmla="*/ 75128 h 447041"/>
                <a:gd name="connsiteX39" fmla="*/ 214518 w 406683"/>
                <a:gd name="connsiteY39" fmla="*/ 75128 h 447041"/>
                <a:gd name="connsiteX40" fmla="*/ 209240 w 406683"/>
                <a:gd name="connsiteY40" fmla="*/ 75128 h 447041"/>
                <a:gd name="connsiteX41" fmla="*/ 203032 w 406683"/>
                <a:gd name="connsiteY41" fmla="*/ 75128 h 447041"/>
                <a:gd name="connsiteX42" fmla="*/ 199927 w 406683"/>
                <a:gd name="connsiteY42" fmla="*/ 72955 h 447041"/>
                <a:gd name="connsiteX43" fmla="*/ 192787 w 406683"/>
                <a:gd name="connsiteY43" fmla="*/ 64573 h 447041"/>
                <a:gd name="connsiteX44" fmla="*/ 187509 w 406683"/>
                <a:gd name="connsiteY44" fmla="*/ 50913 h 447041"/>
                <a:gd name="connsiteX45" fmla="*/ 180059 w 406683"/>
                <a:gd name="connsiteY45" fmla="*/ 36012 h 447041"/>
                <a:gd name="connsiteX46" fmla="*/ 172918 w 406683"/>
                <a:gd name="connsiteY46" fmla="*/ 23283 h 447041"/>
                <a:gd name="connsiteX47" fmla="*/ 166709 w 406683"/>
                <a:gd name="connsiteY47" fmla="*/ 22352 h 447041"/>
                <a:gd name="connsiteX48" fmla="*/ 161432 w 406683"/>
                <a:gd name="connsiteY48" fmla="*/ 20179 h 447041"/>
                <a:gd name="connsiteX49" fmla="*/ 156154 w 406683"/>
                <a:gd name="connsiteY49" fmla="*/ 18006 h 447041"/>
                <a:gd name="connsiteX50" fmla="*/ 152118 w 406683"/>
                <a:gd name="connsiteY50" fmla="*/ 15833 h 447041"/>
                <a:gd name="connsiteX51" fmla="*/ 146841 w 406683"/>
                <a:gd name="connsiteY51" fmla="*/ 12728 h 447041"/>
                <a:gd name="connsiteX52" fmla="*/ 141563 w 406683"/>
                <a:gd name="connsiteY52" fmla="*/ 12728 h 447041"/>
                <a:gd name="connsiteX53" fmla="*/ 137527 w 406683"/>
                <a:gd name="connsiteY53" fmla="*/ 14901 h 447041"/>
                <a:gd name="connsiteX54" fmla="*/ 136596 w 406683"/>
                <a:gd name="connsiteY54" fmla="*/ 14901 h 447041"/>
                <a:gd name="connsiteX55" fmla="*/ 132250 w 406683"/>
                <a:gd name="connsiteY55" fmla="*/ 15833 h 447041"/>
                <a:gd name="connsiteX56" fmla="*/ 136596 w 406683"/>
                <a:gd name="connsiteY56" fmla="*/ 28561 h 447041"/>
                <a:gd name="connsiteX57" fmla="*/ 139701 w 406683"/>
                <a:gd name="connsiteY57" fmla="*/ 38185 h 447041"/>
                <a:gd name="connsiteX58" fmla="*/ 141563 w 406683"/>
                <a:gd name="connsiteY58" fmla="*/ 49671 h 447041"/>
                <a:gd name="connsiteX59" fmla="*/ 143736 w 406683"/>
                <a:gd name="connsiteY59" fmla="*/ 65504 h 447041"/>
                <a:gd name="connsiteX60" fmla="*/ 154291 w 406683"/>
                <a:gd name="connsiteY60" fmla="*/ 62400 h 447041"/>
                <a:gd name="connsiteX61" fmla="*/ 161432 w 406683"/>
                <a:gd name="connsiteY61" fmla="*/ 57122 h 447041"/>
                <a:gd name="connsiteX62" fmla="*/ 166709 w 406683"/>
                <a:gd name="connsiteY62" fmla="*/ 52776 h 447041"/>
                <a:gd name="connsiteX63" fmla="*/ 176023 w 406683"/>
                <a:gd name="connsiteY63" fmla="*/ 49671 h 447041"/>
                <a:gd name="connsiteX64" fmla="*/ 176023 w 406683"/>
                <a:gd name="connsiteY64" fmla="*/ 52776 h 447041"/>
                <a:gd name="connsiteX65" fmla="*/ 180059 w 406683"/>
                <a:gd name="connsiteY65" fmla="*/ 52776 h 447041"/>
                <a:gd name="connsiteX66" fmla="*/ 176023 w 406683"/>
                <a:gd name="connsiteY66" fmla="*/ 54949 h 447041"/>
                <a:gd name="connsiteX67" fmla="*/ 172918 w 406683"/>
                <a:gd name="connsiteY67" fmla="*/ 58053 h 447041"/>
                <a:gd name="connsiteX68" fmla="*/ 166709 w 406683"/>
                <a:gd name="connsiteY68" fmla="*/ 60226 h 447041"/>
                <a:gd name="connsiteX69" fmla="*/ 163605 w 406683"/>
                <a:gd name="connsiteY69" fmla="*/ 62400 h 447041"/>
                <a:gd name="connsiteX70" fmla="*/ 159259 w 406683"/>
                <a:gd name="connsiteY70" fmla="*/ 65504 h 447041"/>
                <a:gd name="connsiteX71" fmla="*/ 158327 w 406683"/>
                <a:gd name="connsiteY71" fmla="*/ 69850 h 447041"/>
                <a:gd name="connsiteX72" fmla="*/ 156154 w 406683"/>
                <a:gd name="connsiteY72" fmla="*/ 75128 h 447041"/>
                <a:gd name="connsiteX73" fmla="*/ 154291 w 406683"/>
                <a:gd name="connsiteY73" fmla="*/ 80405 h 447041"/>
                <a:gd name="connsiteX74" fmla="*/ 152118 w 406683"/>
                <a:gd name="connsiteY74" fmla="*/ 84752 h 447041"/>
                <a:gd name="connsiteX75" fmla="*/ 150877 w 406683"/>
                <a:gd name="connsiteY75" fmla="*/ 86614 h 447041"/>
                <a:gd name="connsiteX76" fmla="*/ 149014 w 406683"/>
                <a:gd name="connsiteY76" fmla="*/ 87856 h 447041"/>
                <a:gd name="connsiteX77" fmla="*/ 146841 w 406683"/>
                <a:gd name="connsiteY77" fmla="*/ 87856 h 447041"/>
                <a:gd name="connsiteX78" fmla="*/ 143736 w 406683"/>
                <a:gd name="connsiteY78" fmla="*/ 90029 h 447041"/>
                <a:gd name="connsiteX79" fmla="*/ 143736 w 406683"/>
                <a:gd name="connsiteY79" fmla="*/ 82579 h 447041"/>
                <a:gd name="connsiteX80" fmla="*/ 141563 w 406683"/>
                <a:gd name="connsiteY80" fmla="*/ 69850 h 447041"/>
                <a:gd name="connsiteX81" fmla="*/ 139701 w 406683"/>
                <a:gd name="connsiteY81" fmla="*/ 58053 h 447041"/>
                <a:gd name="connsiteX82" fmla="*/ 139701 w 406683"/>
                <a:gd name="connsiteY82" fmla="*/ 52776 h 447041"/>
                <a:gd name="connsiteX83" fmla="*/ 126972 w 406683"/>
                <a:gd name="connsiteY83" fmla="*/ 49671 h 447041"/>
                <a:gd name="connsiteX84" fmla="*/ 119832 w 406683"/>
                <a:gd name="connsiteY84" fmla="*/ 38185 h 447041"/>
                <a:gd name="connsiteX85" fmla="*/ 112381 w 406683"/>
                <a:gd name="connsiteY85" fmla="*/ 25457 h 447041"/>
                <a:gd name="connsiteX86" fmla="*/ 107414 w 406683"/>
                <a:gd name="connsiteY86" fmla="*/ 12728 h 447041"/>
                <a:gd name="connsiteX87" fmla="*/ 80095 w 406683"/>
                <a:gd name="connsiteY87" fmla="*/ 12728 h 447041"/>
                <a:gd name="connsiteX88" fmla="*/ 80095 w 406683"/>
                <a:gd name="connsiteY88" fmla="*/ 57122 h 447041"/>
                <a:gd name="connsiteX89" fmla="*/ 73886 w 406683"/>
                <a:gd name="connsiteY89" fmla="*/ 57122 h 447041"/>
                <a:gd name="connsiteX90" fmla="*/ 70782 w 406683"/>
                <a:gd name="connsiteY90" fmla="*/ 54949 h 447041"/>
                <a:gd name="connsiteX91" fmla="*/ 66746 w 406683"/>
                <a:gd name="connsiteY91" fmla="*/ 54949 h 447041"/>
                <a:gd name="connsiteX92" fmla="*/ 63641 w 406683"/>
                <a:gd name="connsiteY92" fmla="*/ 52776 h 447041"/>
                <a:gd name="connsiteX93" fmla="*/ 56191 w 406683"/>
                <a:gd name="connsiteY93" fmla="*/ 38185 h 447041"/>
                <a:gd name="connsiteX94" fmla="*/ 54328 w 406683"/>
                <a:gd name="connsiteY94" fmla="*/ 22352 h 447041"/>
                <a:gd name="connsiteX95" fmla="*/ 56191 w 406683"/>
                <a:gd name="connsiteY95" fmla="*/ 3104 h 447041"/>
                <a:gd name="connsiteX96" fmla="*/ 52155 w 406683"/>
                <a:gd name="connsiteY96" fmla="*/ 3104 h 447041"/>
                <a:gd name="connsiteX97" fmla="*/ 52155 w 406683"/>
                <a:gd name="connsiteY97" fmla="*/ 0 h 447041"/>
                <a:gd name="connsiteX98" fmla="*/ 22973 w 406683"/>
                <a:gd name="connsiteY98" fmla="*/ 3104 h 447041"/>
                <a:gd name="connsiteX99" fmla="*/ 19869 w 406683"/>
                <a:gd name="connsiteY99" fmla="*/ 28561 h 447041"/>
                <a:gd name="connsiteX100" fmla="*/ 16764 w 406683"/>
                <a:gd name="connsiteY100" fmla="*/ 54949 h 447041"/>
                <a:gd name="connsiteX101" fmla="*/ 9313 w 406683"/>
                <a:gd name="connsiteY101" fmla="*/ 79474 h 447041"/>
                <a:gd name="connsiteX102" fmla="*/ 0 w 406683"/>
                <a:gd name="connsiteY102" fmla="*/ 97480 h 447041"/>
                <a:gd name="connsiteX103" fmla="*/ 3104 w 406683"/>
                <a:gd name="connsiteY103" fmla="*/ 104620 h 447041"/>
                <a:gd name="connsiteX104" fmla="*/ 7451 w 406683"/>
                <a:gd name="connsiteY104" fmla="*/ 109898 h 447041"/>
                <a:gd name="connsiteX105" fmla="*/ 12418 w 406683"/>
                <a:gd name="connsiteY105" fmla="*/ 114244 h 447041"/>
                <a:gd name="connsiteX106" fmla="*/ 19869 w 406683"/>
                <a:gd name="connsiteY106" fmla="*/ 116417 h 447041"/>
                <a:gd name="connsiteX107" fmla="*/ 27009 w 406683"/>
                <a:gd name="connsiteY107" fmla="*/ 117349 h 447041"/>
                <a:gd name="connsiteX108" fmla="*/ 27009 w 406683"/>
                <a:gd name="connsiteY108" fmla="*/ 121695 h 447041"/>
                <a:gd name="connsiteX109" fmla="*/ 27009 w 406683"/>
                <a:gd name="connsiteY109" fmla="*/ 123868 h 447041"/>
                <a:gd name="connsiteX110" fmla="*/ 25146 w 406683"/>
                <a:gd name="connsiteY110" fmla="*/ 123868 h 447041"/>
                <a:gd name="connsiteX111" fmla="*/ 25146 w 406683"/>
                <a:gd name="connsiteY111" fmla="*/ 124799 h 447041"/>
                <a:gd name="connsiteX112" fmla="*/ 22973 w 406683"/>
                <a:gd name="connsiteY112" fmla="*/ 126972 h 447041"/>
                <a:gd name="connsiteX113" fmla="*/ 30113 w 406683"/>
                <a:gd name="connsiteY113" fmla="*/ 141874 h 447041"/>
                <a:gd name="connsiteX114" fmla="*/ 41600 w 406683"/>
                <a:gd name="connsiteY114" fmla="*/ 151187 h 447041"/>
                <a:gd name="connsiteX115" fmla="*/ 56191 w 406683"/>
                <a:gd name="connsiteY115" fmla="*/ 156465 h 447041"/>
                <a:gd name="connsiteX116" fmla="*/ 72955 w 406683"/>
                <a:gd name="connsiteY116" fmla="*/ 161742 h 447041"/>
                <a:gd name="connsiteX117" fmla="*/ 90650 w 406683"/>
                <a:gd name="connsiteY117" fmla="*/ 166089 h 447041"/>
                <a:gd name="connsiteX118" fmla="*/ 107414 w 406683"/>
                <a:gd name="connsiteY118" fmla="*/ 171366 h 447041"/>
                <a:gd name="connsiteX119" fmla="*/ 119832 w 406683"/>
                <a:gd name="connsiteY119" fmla="*/ 178817 h 447041"/>
                <a:gd name="connsiteX120" fmla="*/ 132250 w 406683"/>
                <a:gd name="connsiteY120" fmla="*/ 174471 h 447041"/>
                <a:gd name="connsiteX121" fmla="*/ 139701 w 406683"/>
                <a:gd name="connsiteY121" fmla="*/ 169193 h 447041"/>
                <a:gd name="connsiteX122" fmla="*/ 144668 w 406683"/>
                <a:gd name="connsiteY122" fmla="*/ 163915 h 447041"/>
                <a:gd name="connsiteX123" fmla="*/ 150877 w 406683"/>
                <a:gd name="connsiteY123" fmla="*/ 158638 h 447041"/>
                <a:gd name="connsiteX124" fmla="*/ 159259 w 406683"/>
                <a:gd name="connsiteY124" fmla="*/ 154602 h 447041"/>
                <a:gd name="connsiteX125" fmla="*/ 168882 w 406683"/>
                <a:gd name="connsiteY125" fmla="*/ 156465 h 447041"/>
                <a:gd name="connsiteX126" fmla="*/ 178196 w 406683"/>
                <a:gd name="connsiteY126" fmla="*/ 163915 h 447041"/>
                <a:gd name="connsiteX127" fmla="*/ 188441 w 406683"/>
                <a:gd name="connsiteY127" fmla="*/ 171366 h 447041"/>
                <a:gd name="connsiteX128" fmla="*/ 203032 w 406683"/>
                <a:gd name="connsiteY128" fmla="*/ 174471 h 447041"/>
                <a:gd name="connsiteX129" fmla="*/ 212345 w 406683"/>
                <a:gd name="connsiteY129" fmla="*/ 218864 h 447041"/>
                <a:gd name="connsiteX130" fmla="*/ 219796 w 406683"/>
                <a:gd name="connsiteY130" fmla="*/ 228488 h 447041"/>
                <a:gd name="connsiteX131" fmla="*/ 230040 w 406683"/>
                <a:gd name="connsiteY131" fmla="*/ 235939 h 447041"/>
                <a:gd name="connsiteX132" fmla="*/ 239664 w 406683"/>
                <a:gd name="connsiteY132" fmla="*/ 243389 h 447041"/>
                <a:gd name="connsiteX133" fmla="*/ 246804 w 406683"/>
                <a:gd name="connsiteY133" fmla="*/ 256118 h 447041"/>
                <a:gd name="connsiteX134" fmla="*/ 248977 w 406683"/>
                <a:gd name="connsiteY134" fmla="*/ 265431 h 447041"/>
                <a:gd name="connsiteX135" fmla="*/ 246804 w 406683"/>
                <a:gd name="connsiteY135" fmla="*/ 278159 h 447041"/>
                <a:gd name="connsiteX136" fmla="*/ 243700 w 406683"/>
                <a:gd name="connsiteY136" fmla="*/ 295234 h 447041"/>
                <a:gd name="connsiteX137" fmla="*/ 237491 w 406683"/>
                <a:gd name="connsiteY137" fmla="*/ 311998 h 447041"/>
                <a:gd name="connsiteX138" fmla="*/ 232213 w 406683"/>
                <a:gd name="connsiteY138" fmla="*/ 326899 h 447041"/>
                <a:gd name="connsiteX139" fmla="*/ 226936 w 406683"/>
                <a:gd name="connsiteY139" fmla="*/ 337455 h 447041"/>
                <a:gd name="connsiteX140" fmla="*/ 209240 w 406683"/>
                <a:gd name="connsiteY140" fmla="*/ 342732 h 447041"/>
                <a:gd name="connsiteX141" fmla="*/ 188441 w 406683"/>
                <a:gd name="connsiteY141" fmla="*/ 348010 h 447041"/>
                <a:gd name="connsiteX142" fmla="*/ 172918 w 406683"/>
                <a:gd name="connsiteY142" fmla="*/ 354529 h 447041"/>
                <a:gd name="connsiteX143" fmla="*/ 172918 w 406683"/>
                <a:gd name="connsiteY143" fmla="*/ 361669 h 447041"/>
                <a:gd name="connsiteX144" fmla="*/ 172918 w 406683"/>
                <a:gd name="connsiteY144" fmla="*/ 367257 h 447041"/>
                <a:gd name="connsiteX145" fmla="*/ 173850 w 406683"/>
                <a:gd name="connsiteY145" fmla="*/ 372535 h 447041"/>
                <a:gd name="connsiteX146" fmla="*/ 176023 w 406683"/>
                <a:gd name="connsiteY146" fmla="*/ 377813 h 447041"/>
                <a:gd name="connsiteX147" fmla="*/ 197754 w 406683"/>
                <a:gd name="connsiteY147" fmla="*/ 376571 h 447041"/>
                <a:gd name="connsiteX148" fmla="*/ 216691 w 406683"/>
                <a:gd name="connsiteY148" fmla="*/ 370362 h 447041"/>
                <a:gd name="connsiteX149" fmla="*/ 232213 w 406683"/>
                <a:gd name="connsiteY149" fmla="*/ 361669 h 447041"/>
                <a:gd name="connsiteX150" fmla="*/ 243700 w 406683"/>
                <a:gd name="connsiteY150" fmla="*/ 372535 h 447041"/>
                <a:gd name="connsiteX151" fmla="*/ 254255 w 406683"/>
                <a:gd name="connsiteY151" fmla="*/ 387126 h 447041"/>
                <a:gd name="connsiteX152" fmla="*/ 261395 w 406683"/>
                <a:gd name="connsiteY152" fmla="*/ 402027 h 447041"/>
                <a:gd name="connsiteX153" fmla="*/ 268846 w 406683"/>
                <a:gd name="connsiteY153" fmla="*/ 418791 h 447041"/>
                <a:gd name="connsiteX154" fmla="*/ 280022 w 406683"/>
                <a:gd name="connsiteY154" fmla="*/ 429657 h 447041"/>
                <a:gd name="connsiteX155" fmla="*/ 292750 w 406683"/>
                <a:gd name="connsiteY155" fmla="*/ 436797 h 447041"/>
                <a:gd name="connsiteX156" fmla="*/ 310446 w 406683"/>
                <a:gd name="connsiteY156" fmla="*/ 441143 h 447041"/>
                <a:gd name="connsiteX157" fmla="*/ 326899 w 406683"/>
                <a:gd name="connsiteY157" fmla="*/ 444248 h 447041"/>
                <a:gd name="connsiteX158" fmla="*/ 339628 w 406683"/>
                <a:gd name="connsiteY158" fmla="*/ 449526 h 447041"/>
                <a:gd name="connsiteX159" fmla="*/ 343663 w 406683"/>
                <a:gd name="connsiteY159" fmla="*/ 449526 h 447041"/>
                <a:gd name="connsiteX160" fmla="*/ 336523 w 406683"/>
                <a:gd name="connsiteY160" fmla="*/ 433693 h 447041"/>
                <a:gd name="connsiteX161" fmla="*/ 326899 w 406683"/>
                <a:gd name="connsiteY161" fmla="*/ 420964 h 447041"/>
                <a:gd name="connsiteX162" fmla="*/ 316655 w 406683"/>
                <a:gd name="connsiteY162" fmla="*/ 406374 h 447041"/>
                <a:gd name="connsiteX163" fmla="*/ 319759 w 406683"/>
                <a:gd name="connsiteY163" fmla="*/ 406374 h 447041"/>
                <a:gd name="connsiteX164" fmla="*/ 322864 w 406683"/>
                <a:gd name="connsiteY164" fmla="*/ 407305 h 447041"/>
                <a:gd name="connsiteX165" fmla="*/ 330004 w 406683"/>
                <a:gd name="connsiteY165" fmla="*/ 411651 h 447041"/>
                <a:gd name="connsiteX166" fmla="*/ 339628 w 406683"/>
                <a:gd name="connsiteY166" fmla="*/ 416929 h 447041"/>
                <a:gd name="connsiteX167" fmla="*/ 348941 w 406683"/>
                <a:gd name="connsiteY167" fmla="*/ 422206 h 447041"/>
                <a:gd name="connsiteX168" fmla="*/ 356081 w 406683"/>
                <a:gd name="connsiteY168" fmla="*/ 426242 h 447041"/>
                <a:gd name="connsiteX169" fmla="*/ 359186 w 406683"/>
                <a:gd name="connsiteY169" fmla="*/ 424379 h 447041"/>
                <a:gd name="connsiteX170" fmla="*/ 361359 w 406683"/>
                <a:gd name="connsiteY170" fmla="*/ 422206 h 447041"/>
                <a:gd name="connsiteX171" fmla="*/ 363532 w 406683"/>
                <a:gd name="connsiteY171" fmla="*/ 420964 h 447041"/>
                <a:gd name="connsiteX172" fmla="*/ 363532 w 406683"/>
                <a:gd name="connsiteY172" fmla="*/ 418791 h 447041"/>
                <a:gd name="connsiteX173" fmla="*/ 365395 w 406683"/>
                <a:gd name="connsiteY173" fmla="*/ 416929 h 447041"/>
                <a:gd name="connsiteX174" fmla="*/ 366636 w 406683"/>
                <a:gd name="connsiteY174" fmla="*/ 414756 h 447041"/>
                <a:gd name="connsiteX175" fmla="*/ 365395 w 406683"/>
                <a:gd name="connsiteY175" fmla="*/ 394577 h 447041"/>
                <a:gd name="connsiteX176" fmla="*/ 359186 w 406683"/>
                <a:gd name="connsiteY176" fmla="*/ 379675 h 447041"/>
                <a:gd name="connsiteX177" fmla="*/ 352045 w 406683"/>
                <a:gd name="connsiteY177" fmla="*/ 365084 h 447041"/>
                <a:gd name="connsiteX178" fmla="*/ 339628 w 406683"/>
                <a:gd name="connsiteY178" fmla="*/ 365084 h 447041"/>
                <a:gd name="connsiteX179" fmla="*/ 332177 w 406683"/>
                <a:gd name="connsiteY179" fmla="*/ 333108 h 447041"/>
                <a:gd name="connsiteX180" fmla="*/ 322864 w 406683"/>
                <a:gd name="connsiteY180" fmla="*/ 304547 h 447041"/>
                <a:gd name="connsiteX181" fmla="*/ 329073 w 406683"/>
                <a:gd name="connsiteY181" fmla="*/ 302685 h 447041"/>
                <a:gd name="connsiteX182" fmla="*/ 334350 w 406683"/>
                <a:gd name="connsiteY182" fmla="*/ 302685 h 447041"/>
                <a:gd name="connsiteX183" fmla="*/ 339628 w 406683"/>
                <a:gd name="connsiteY183" fmla="*/ 300512 h 447041"/>
                <a:gd name="connsiteX184" fmla="*/ 346768 w 406683"/>
                <a:gd name="connsiteY184" fmla="*/ 300512 h 447041"/>
                <a:gd name="connsiteX185" fmla="*/ 352045 w 406683"/>
                <a:gd name="connsiteY185" fmla="*/ 313240 h 447041"/>
                <a:gd name="connsiteX186" fmla="*/ 359186 w 406683"/>
                <a:gd name="connsiteY186" fmla="*/ 322553 h 447041"/>
                <a:gd name="connsiteX187" fmla="*/ 368810 w 406683"/>
                <a:gd name="connsiteY187" fmla="*/ 332177 h 447041"/>
                <a:gd name="connsiteX188" fmla="*/ 375950 w 406683"/>
                <a:gd name="connsiteY188" fmla="*/ 340559 h 447041"/>
                <a:gd name="connsiteX189" fmla="*/ 383401 w 406683"/>
                <a:gd name="connsiteY189" fmla="*/ 340559 h 447041"/>
                <a:gd name="connsiteX190" fmla="*/ 388368 w 406683"/>
                <a:gd name="connsiteY190" fmla="*/ 339628 h 447041"/>
                <a:gd name="connsiteX191" fmla="*/ 394577 w 406683"/>
                <a:gd name="connsiteY191" fmla="*/ 339628 h 447041"/>
                <a:gd name="connsiteX192" fmla="*/ 399854 w 406683"/>
                <a:gd name="connsiteY192" fmla="*/ 337455 h 447041"/>
                <a:gd name="connsiteX193" fmla="*/ 407305 w 406683"/>
                <a:gd name="connsiteY193" fmla="*/ 287783 h 447041"/>
                <a:gd name="connsiteX194" fmla="*/ 402027 w 406683"/>
                <a:gd name="connsiteY194" fmla="*/ 287783 h 447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</a:cxnLst>
              <a:rect l="l" t="t" r="r" b="b"/>
              <a:pathLst>
                <a:path w="406683" h="447041">
                  <a:moveTo>
                    <a:pt x="395818" y="287783"/>
                  </a:moveTo>
                  <a:lnTo>
                    <a:pt x="392714" y="285610"/>
                  </a:lnTo>
                  <a:lnTo>
                    <a:pt x="387436" y="283437"/>
                  </a:lnTo>
                  <a:lnTo>
                    <a:pt x="383401" y="282506"/>
                  </a:lnTo>
                  <a:lnTo>
                    <a:pt x="381227" y="280333"/>
                  </a:lnTo>
                  <a:lnTo>
                    <a:pt x="381227" y="278159"/>
                  </a:lnTo>
                  <a:lnTo>
                    <a:pt x="381227" y="275986"/>
                  </a:lnTo>
                  <a:lnTo>
                    <a:pt x="383401" y="275055"/>
                  </a:lnTo>
                  <a:lnTo>
                    <a:pt x="381227" y="270709"/>
                  </a:lnTo>
                  <a:lnTo>
                    <a:pt x="379986" y="268846"/>
                  </a:lnTo>
                  <a:lnTo>
                    <a:pt x="375950" y="265431"/>
                  </a:lnTo>
                  <a:lnTo>
                    <a:pt x="372845" y="263568"/>
                  </a:lnTo>
                  <a:lnTo>
                    <a:pt x="366636" y="261395"/>
                  </a:lnTo>
                  <a:lnTo>
                    <a:pt x="363532" y="258291"/>
                  </a:lnTo>
                  <a:lnTo>
                    <a:pt x="359186" y="256118"/>
                  </a:lnTo>
                  <a:lnTo>
                    <a:pt x="358254" y="253945"/>
                  </a:lnTo>
                  <a:lnTo>
                    <a:pt x="358254" y="252703"/>
                  </a:lnTo>
                  <a:lnTo>
                    <a:pt x="356081" y="250840"/>
                  </a:lnTo>
                  <a:lnTo>
                    <a:pt x="356081" y="248667"/>
                  </a:lnTo>
                  <a:lnTo>
                    <a:pt x="356081" y="243389"/>
                  </a:lnTo>
                  <a:lnTo>
                    <a:pt x="341490" y="238112"/>
                  </a:lnTo>
                  <a:lnTo>
                    <a:pt x="330004" y="228488"/>
                  </a:lnTo>
                  <a:lnTo>
                    <a:pt x="322864" y="215760"/>
                  </a:lnTo>
                  <a:lnTo>
                    <a:pt x="325037" y="211724"/>
                  </a:lnTo>
                  <a:lnTo>
                    <a:pt x="326899" y="206446"/>
                  </a:lnTo>
                  <a:lnTo>
                    <a:pt x="330004" y="203032"/>
                  </a:lnTo>
                  <a:lnTo>
                    <a:pt x="336523" y="195581"/>
                  </a:lnTo>
                  <a:lnTo>
                    <a:pt x="326899" y="184094"/>
                  </a:lnTo>
                  <a:lnTo>
                    <a:pt x="319759" y="171366"/>
                  </a:lnTo>
                  <a:lnTo>
                    <a:pt x="310446" y="158638"/>
                  </a:lnTo>
                  <a:lnTo>
                    <a:pt x="302995" y="147151"/>
                  </a:lnTo>
                  <a:lnTo>
                    <a:pt x="290577" y="139701"/>
                  </a:lnTo>
                  <a:lnTo>
                    <a:pt x="275986" y="134423"/>
                  </a:lnTo>
                  <a:lnTo>
                    <a:pt x="275986" y="121695"/>
                  </a:lnTo>
                  <a:lnTo>
                    <a:pt x="259222" y="106793"/>
                  </a:lnTo>
                  <a:lnTo>
                    <a:pt x="244631" y="90029"/>
                  </a:lnTo>
                  <a:lnTo>
                    <a:pt x="226936" y="77301"/>
                  </a:lnTo>
                  <a:lnTo>
                    <a:pt x="222900" y="75128"/>
                  </a:lnTo>
                  <a:lnTo>
                    <a:pt x="219796" y="75128"/>
                  </a:lnTo>
                  <a:lnTo>
                    <a:pt x="214518" y="75128"/>
                  </a:lnTo>
                  <a:lnTo>
                    <a:pt x="209240" y="75128"/>
                  </a:lnTo>
                  <a:lnTo>
                    <a:pt x="203032" y="75128"/>
                  </a:lnTo>
                  <a:lnTo>
                    <a:pt x="199927" y="72955"/>
                  </a:lnTo>
                  <a:lnTo>
                    <a:pt x="192787" y="64573"/>
                  </a:lnTo>
                  <a:lnTo>
                    <a:pt x="187509" y="50913"/>
                  </a:lnTo>
                  <a:lnTo>
                    <a:pt x="180059" y="36012"/>
                  </a:lnTo>
                  <a:lnTo>
                    <a:pt x="172918" y="23283"/>
                  </a:lnTo>
                  <a:lnTo>
                    <a:pt x="166709" y="22352"/>
                  </a:lnTo>
                  <a:lnTo>
                    <a:pt x="161432" y="20179"/>
                  </a:lnTo>
                  <a:lnTo>
                    <a:pt x="156154" y="18006"/>
                  </a:lnTo>
                  <a:lnTo>
                    <a:pt x="152118" y="15833"/>
                  </a:lnTo>
                  <a:lnTo>
                    <a:pt x="146841" y="12728"/>
                  </a:lnTo>
                  <a:lnTo>
                    <a:pt x="141563" y="12728"/>
                  </a:lnTo>
                  <a:lnTo>
                    <a:pt x="137527" y="14901"/>
                  </a:lnTo>
                  <a:lnTo>
                    <a:pt x="136596" y="14901"/>
                  </a:lnTo>
                  <a:lnTo>
                    <a:pt x="132250" y="15833"/>
                  </a:lnTo>
                  <a:lnTo>
                    <a:pt x="136596" y="28561"/>
                  </a:lnTo>
                  <a:lnTo>
                    <a:pt x="139701" y="38185"/>
                  </a:lnTo>
                  <a:lnTo>
                    <a:pt x="141563" y="49671"/>
                  </a:lnTo>
                  <a:lnTo>
                    <a:pt x="143736" y="65504"/>
                  </a:lnTo>
                  <a:lnTo>
                    <a:pt x="154291" y="62400"/>
                  </a:lnTo>
                  <a:lnTo>
                    <a:pt x="161432" y="57122"/>
                  </a:lnTo>
                  <a:lnTo>
                    <a:pt x="166709" y="52776"/>
                  </a:lnTo>
                  <a:lnTo>
                    <a:pt x="176023" y="49671"/>
                  </a:lnTo>
                  <a:lnTo>
                    <a:pt x="176023" y="52776"/>
                  </a:lnTo>
                  <a:lnTo>
                    <a:pt x="180059" y="52776"/>
                  </a:lnTo>
                  <a:lnTo>
                    <a:pt x="176023" y="54949"/>
                  </a:lnTo>
                  <a:lnTo>
                    <a:pt x="172918" y="58053"/>
                  </a:lnTo>
                  <a:lnTo>
                    <a:pt x="166709" y="60226"/>
                  </a:lnTo>
                  <a:lnTo>
                    <a:pt x="163605" y="62400"/>
                  </a:lnTo>
                  <a:lnTo>
                    <a:pt x="159259" y="65504"/>
                  </a:lnTo>
                  <a:lnTo>
                    <a:pt x="158327" y="69850"/>
                  </a:lnTo>
                  <a:lnTo>
                    <a:pt x="156154" y="75128"/>
                  </a:lnTo>
                  <a:lnTo>
                    <a:pt x="154291" y="80405"/>
                  </a:lnTo>
                  <a:lnTo>
                    <a:pt x="152118" y="84752"/>
                  </a:lnTo>
                  <a:lnTo>
                    <a:pt x="150877" y="86614"/>
                  </a:lnTo>
                  <a:lnTo>
                    <a:pt x="149014" y="87856"/>
                  </a:lnTo>
                  <a:lnTo>
                    <a:pt x="146841" y="87856"/>
                  </a:lnTo>
                  <a:lnTo>
                    <a:pt x="143736" y="90029"/>
                  </a:lnTo>
                  <a:lnTo>
                    <a:pt x="143736" y="82579"/>
                  </a:lnTo>
                  <a:lnTo>
                    <a:pt x="141563" y="69850"/>
                  </a:lnTo>
                  <a:lnTo>
                    <a:pt x="139701" y="58053"/>
                  </a:lnTo>
                  <a:lnTo>
                    <a:pt x="139701" y="52776"/>
                  </a:lnTo>
                  <a:lnTo>
                    <a:pt x="126972" y="49671"/>
                  </a:lnTo>
                  <a:lnTo>
                    <a:pt x="119832" y="38185"/>
                  </a:lnTo>
                  <a:lnTo>
                    <a:pt x="112381" y="25457"/>
                  </a:lnTo>
                  <a:lnTo>
                    <a:pt x="107414" y="12728"/>
                  </a:lnTo>
                  <a:lnTo>
                    <a:pt x="80095" y="12728"/>
                  </a:lnTo>
                  <a:lnTo>
                    <a:pt x="80095" y="57122"/>
                  </a:lnTo>
                  <a:lnTo>
                    <a:pt x="73886" y="57122"/>
                  </a:lnTo>
                  <a:lnTo>
                    <a:pt x="70782" y="54949"/>
                  </a:lnTo>
                  <a:lnTo>
                    <a:pt x="66746" y="54949"/>
                  </a:lnTo>
                  <a:lnTo>
                    <a:pt x="63641" y="52776"/>
                  </a:lnTo>
                  <a:lnTo>
                    <a:pt x="56191" y="38185"/>
                  </a:lnTo>
                  <a:lnTo>
                    <a:pt x="54328" y="22352"/>
                  </a:lnTo>
                  <a:lnTo>
                    <a:pt x="56191" y="3104"/>
                  </a:lnTo>
                  <a:lnTo>
                    <a:pt x="52155" y="3104"/>
                  </a:lnTo>
                  <a:lnTo>
                    <a:pt x="52155" y="0"/>
                  </a:lnTo>
                  <a:lnTo>
                    <a:pt x="22973" y="3104"/>
                  </a:lnTo>
                  <a:lnTo>
                    <a:pt x="19869" y="28561"/>
                  </a:lnTo>
                  <a:lnTo>
                    <a:pt x="16764" y="54949"/>
                  </a:lnTo>
                  <a:lnTo>
                    <a:pt x="9313" y="79474"/>
                  </a:lnTo>
                  <a:lnTo>
                    <a:pt x="0" y="97480"/>
                  </a:lnTo>
                  <a:lnTo>
                    <a:pt x="3104" y="104620"/>
                  </a:lnTo>
                  <a:lnTo>
                    <a:pt x="7451" y="109898"/>
                  </a:lnTo>
                  <a:lnTo>
                    <a:pt x="12418" y="114244"/>
                  </a:lnTo>
                  <a:lnTo>
                    <a:pt x="19869" y="116417"/>
                  </a:lnTo>
                  <a:lnTo>
                    <a:pt x="27009" y="117349"/>
                  </a:lnTo>
                  <a:lnTo>
                    <a:pt x="27009" y="121695"/>
                  </a:lnTo>
                  <a:lnTo>
                    <a:pt x="27009" y="123868"/>
                  </a:lnTo>
                  <a:lnTo>
                    <a:pt x="25146" y="123868"/>
                  </a:lnTo>
                  <a:lnTo>
                    <a:pt x="25146" y="124799"/>
                  </a:lnTo>
                  <a:lnTo>
                    <a:pt x="22973" y="126972"/>
                  </a:lnTo>
                  <a:lnTo>
                    <a:pt x="30113" y="141874"/>
                  </a:lnTo>
                  <a:lnTo>
                    <a:pt x="41600" y="151187"/>
                  </a:lnTo>
                  <a:lnTo>
                    <a:pt x="56191" y="156465"/>
                  </a:lnTo>
                  <a:lnTo>
                    <a:pt x="72955" y="161742"/>
                  </a:lnTo>
                  <a:lnTo>
                    <a:pt x="90650" y="166089"/>
                  </a:lnTo>
                  <a:lnTo>
                    <a:pt x="107414" y="171366"/>
                  </a:lnTo>
                  <a:lnTo>
                    <a:pt x="119832" y="178817"/>
                  </a:lnTo>
                  <a:lnTo>
                    <a:pt x="132250" y="174471"/>
                  </a:lnTo>
                  <a:lnTo>
                    <a:pt x="139701" y="169193"/>
                  </a:lnTo>
                  <a:lnTo>
                    <a:pt x="144668" y="163915"/>
                  </a:lnTo>
                  <a:lnTo>
                    <a:pt x="150877" y="158638"/>
                  </a:lnTo>
                  <a:lnTo>
                    <a:pt x="159259" y="154602"/>
                  </a:lnTo>
                  <a:lnTo>
                    <a:pt x="168882" y="156465"/>
                  </a:lnTo>
                  <a:lnTo>
                    <a:pt x="178196" y="163915"/>
                  </a:lnTo>
                  <a:lnTo>
                    <a:pt x="188441" y="171366"/>
                  </a:lnTo>
                  <a:lnTo>
                    <a:pt x="203032" y="174471"/>
                  </a:lnTo>
                  <a:lnTo>
                    <a:pt x="212345" y="218864"/>
                  </a:lnTo>
                  <a:lnTo>
                    <a:pt x="219796" y="228488"/>
                  </a:lnTo>
                  <a:lnTo>
                    <a:pt x="230040" y="235939"/>
                  </a:lnTo>
                  <a:lnTo>
                    <a:pt x="239664" y="243389"/>
                  </a:lnTo>
                  <a:lnTo>
                    <a:pt x="246804" y="256118"/>
                  </a:lnTo>
                  <a:lnTo>
                    <a:pt x="248977" y="265431"/>
                  </a:lnTo>
                  <a:lnTo>
                    <a:pt x="246804" y="278159"/>
                  </a:lnTo>
                  <a:lnTo>
                    <a:pt x="243700" y="295234"/>
                  </a:lnTo>
                  <a:lnTo>
                    <a:pt x="237491" y="311998"/>
                  </a:lnTo>
                  <a:lnTo>
                    <a:pt x="232213" y="326899"/>
                  </a:lnTo>
                  <a:lnTo>
                    <a:pt x="226936" y="337455"/>
                  </a:lnTo>
                  <a:lnTo>
                    <a:pt x="209240" y="342732"/>
                  </a:lnTo>
                  <a:lnTo>
                    <a:pt x="188441" y="348010"/>
                  </a:lnTo>
                  <a:lnTo>
                    <a:pt x="172918" y="354529"/>
                  </a:lnTo>
                  <a:lnTo>
                    <a:pt x="172918" y="361669"/>
                  </a:lnTo>
                  <a:lnTo>
                    <a:pt x="172918" y="367257"/>
                  </a:lnTo>
                  <a:lnTo>
                    <a:pt x="173850" y="372535"/>
                  </a:lnTo>
                  <a:lnTo>
                    <a:pt x="176023" y="377813"/>
                  </a:lnTo>
                  <a:lnTo>
                    <a:pt x="197754" y="376571"/>
                  </a:lnTo>
                  <a:lnTo>
                    <a:pt x="216691" y="370362"/>
                  </a:lnTo>
                  <a:lnTo>
                    <a:pt x="232213" y="361669"/>
                  </a:lnTo>
                  <a:lnTo>
                    <a:pt x="243700" y="372535"/>
                  </a:lnTo>
                  <a:lnTo>
                    <a:pt x="254255" y="387126"/>
                  </a:lnTo>
                  <a:lnTo>
                    <a:pt x="261395" y="402027"/>
                  </a:lnTo>
                  <a:lnTo>
                    <a:pt x="268846" y="418791"/>
                  </a:lnTo>
                  <a:lnTo>
                    <a:pt x="280022" y="429657"/>
                  </a:lnTo>
                  <a:lnTo>
                    <a:pt x="292750" y="436797"/>
                  </a:lnTo>
                  <a:lnTo>
                    <a:pt x="310446" y="441143"/>
                  </a:lnTo>
                  <a:lnTo>
                    <a:pt x="326899" y="444248"/>
                  </a:lnTo>
                  <a:lnTo>
                    <a:pt x="339628" y="449526"/>
                  </a:lnTo>
                  <a:lnTo>
                    <a:pt x="343663" y="449526"/>
                  </a:lnTo>
                  <a:lnTo>
                    <a:pt x="336523" y="433693"/>
                  </a:lnTo>
                  <a:lnTo>
                    <a:pt x="326899" y="420964"/>
                  </a:lnTo>
                  <a:lnTo>
                    <a:pt x="316655" y="406374"/>
                  </a:lnTo>
                  <a:lnTo>
                    <a:pt x="319759" y="406374"/>
                  </a:lnTo>
                  <a:lnTo>
                    <a:pt x="322864" y="407305"/>
                  </a:lnTo>
                  <a:lnTo>
                    <a:pt x="330004" y="411651"/>
                  </a:lnTo>
                  <a:lnTo>
                    <a:pt x="339628" y="416929"/>
                  </a:lnTo>
                  <a:lnTo>
                    <a:pt x="348941" y="422206"/>
                  </a:lnTo>
                  <a:lnTo>
                    <a:pt x="356081" y="426242"/>
                  </a:lnTo>
                  <a:lnTo>
                    <a:pt x="359186" y="424379"/>
                  </a:lnTo>
                  <a:lnTo>
                    <a:pt x="361359" y="422206"/>
                  </a:lnTo>
                  <a:lnTo>
                    <a:pt x="363532" y="420964"/>
                  </a:lnTo>
                  <a:lnTo>
                    <a:pt x="363532" y="418791"/>
                  </a:lnTo>
                  <a:lnTo>
                    <a:pt x="365395" y="416929"/>
                  </a:lnTo>
                  <a:lnTo>
                    <a:pt x="366636" y="414756"/>
                  </a:lnTo>
                  <a:lnTo>
                    <a:pt x="365395" y="394577"/>
                  </a:lnTo>
                  <a:lnTo>
                    <a:pt x="359186" y="379675"/>
                  </a:lnTo>
                  <a:lnTo>
                    <a:pt x="352045" y="365084"/>
                  </a:lnTo>
                  <a:lnTo>
                    <a:pt x="339628" y="365084"/>
                  </a:lnTo>
                  <a:lnTo>
                    <a:pt x="332177" y="333108"/>
                  </a:lnTo>
                  <a:lnTo>
                    <a:pt x="322864" y="304547"/>
                  </a:lnTo>
                  <a:lnTo>
                    <a:pt x="329073" y="302685"/>
                  </a:lnTo>
                  <a:lnTo>
                    <a:pt x="334350" y="302685"/>
                  </a:lnTo>
                  <a:lnTo>
                    <a:pt x="339628" y="300512"/>
                  </a:lnTo>
                  <a:lnTo>
                    <a:pt x="346768" y="300512"/>
                  </a:lnTo>
                  <a:lnTo>
                    <a:pt x="352045" y="313240"/>
                  </a:lnTo>
                  <a:lnTo>
                    <a:pt x="359186" y="322553"/>
                  </a:lnTo>
                  <a:lnTo>
                    <a:pt x="368810" y="332177"/>
                  </a:lnTo>
                  <a:lnTo>
                    <a:pt x="375950" y="340559"/>
                  </a:lnTo>
                  <a:lnTo>
                    <a:pt x="383401" y="340559"/>
                  </a:lnTo>
                  <a:lnTo>
                    <a:pt x="388368" y="339628"/>
                  </a:lnTo>
                  <a:lnTo>
                    <a:pt x="394577" y="339628"/>
                  </a:lnTo>
                  <a:lnTo>
                    <a:pt x="399854" y="337455"/>
                  </a:lnTo>
                  <a:lnTo>
                    <a:pt x="407305" y="287783"/>
                  </a:lnTo>
                  <a:lnTo>
                    <a:pt x="402027" y="2877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xmlns="" id="{B34602E8-4CD0-46C4-8636-62A3ED6DEDF9}"/>
                </a:ext>
              </a:extLst>
            </p:cNvPr>
            <p:cNvSpPr/>
            <p:nvPr/>
          </p:nvSpPr>
          <p:spPr>
            <a:xfrm>
              <a:off x="5463788" y="5234275"/>
              <a:ext cx="43462" cy="15522"/>
            </a:xfrm>
            <a:custGeom>
              <a:avLst/>
              <a:gdLst>
                <a:gd name="connsiteX0" fmla="*/ 24836 w 43462"/>
                <a:gd name="connsiteY0" fmla="*/ 7451 h 15522"/>
                <a:gd name="connsiteX1" fmla="*/ 14591 w 43462"/>
                <a:gd name="connsiteY1" fmla="*/ 3415 h 15522"/>
                <a:gd name="connsiteX2" fmla="*/ 4967 w 43462"/>
                <a:gd name="connsiteY2" fmla="*/ 0 h 15522"/>
                <a:gd name="connsiteX3" fmla="*/ 3104 w 43462"/>
                <a:gd name="connsiteY3" fmla="*/ 3415 h 15522"/>
                <a:gd name="connsiteX4" fmla="*/ 3104 w 43462"/>
                <a:gd name="connsiteY4" fmla="*/ 5278 h 15522"/>
                <a:gd name="connsiteX5" fmla="*/ 1863 w 43462"/>
                <a:gd name="connsiteY5" fmla="*/ 7451 h 15522"/>
                <a:gd name="connsiteX6" fmla="*/ 0 w 43462"/>
                <a:gd name="connsiteY6" fmla="*/ 8692 h 15522"/>
                <a:gd name="connsiteX7" fmla="*/ 0 w 43462"/>
                <a:gd name="connsiteY7" fmla="*/ 12728 h 15522"/>
                <a:gd name="connsiteX8" fmla="*/ 7140 w 43462"/>
                <a:gd name="connsiteY8" fmla="*/ 12728 h 15522"/>
                <a:gd name="connsiteX9" fmla="*/ 10245 w 43462"/>
                <a:gd name="connsiteY9" fmla="*/ 14901 h 15522"/>
                <a:gd name="connsiteX10" fmla="*/ 12418 w 43462"/>
                <a:gd name="connsiteY10" fmla="*/ 14901 h 15522"/>
                <a:gd name="connsiteX11" fmla="*/ 15522 w 43462"/>
                <a:gd name="connsiteY11" fmla="*/ 15833 h 15522"/>
                <a:gd name="connsiteX12" fmla="*/ 44704 w 43462"/>
                <a:gd name="connsiteY12" fmla="*/ 15833 h 15522"/>
                <a:gd name="connsiteX13" fmla="*/ 37253 w 43462"/>
                <a:gd name="connsiteY13" fmla="*/ 10555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3462" h="15522">
                  <a:moveTo>
                    <a:pt x="24836" y="7451"/>
                  </a:moveTo>
                  <a:lnTo>
                    <a:pt x="14591" y="3415"/>
                  </a:lnTo>
                  <a:lnTo>
                    <a:pt x="4967" y="0"/>
                  </a:lnTo>
                  <a:lnTo>
                    <a:pt x="3104" y="3415"/>
                  </a:lnTo>
                  <a:lnTo>
                    <a:pt x="3104" y="5278"/>
                  </a:lnTo>
                  <a:lnTo>
                    <a:pt x="1863" y="7451"/>
                  </a:lnTo>
                  <a:lnTo>
                    <a:pt x="0" y="8692"/>
                  </a:lnTo>
                  <a:lnTo>
                    <a:pt x="0" y="12728"/>
                  </a:lnTo>
                  <a:lnTo>
                    <a:pt x="7140" y="12728"/>
                  </a:lnTo>
                  <a:lnTo>
                    <a:pt x="10245" y="14901"/>
                  </a:lnTo>
                  <a:lnTo>
                    <a:pt x="12418" y="14901"/>
                  </a:lnTo>
                  <a:lnTo>
                    <a:pt x="15522" y="15833"/>
                  </a:lnTo>
                  <a:lnTo>
                    <a:pt x="44704" y="15833"/>
                  </a:lnTo>
                  <a:lnTo>
                    <a:pt x="37253" y="1055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xmlns="" id="{F4F4B4FA-5B09-4867-89A3-28254972FFB6}"/>
                </a:ext>
              </a:extLst>
            </p:cNvPr>
            <p:cNvSpPr/>
            <p:nvPr/>
          </p:nvSpPr>
          <p:spPr>
            <a:xfrm>
              <a:off x="5144029" y="5162562"/>
              <a:ext cx="24836" cy="9313"/>
            </a:xfrm>
            <a:custGeom>
              <a:avLst/>
              <a:gdLst>
                <a:gd name="connsiteX0" fmla="*/ 4967 w 24835"/>
                <a:gd name="connsiteY0" fmla="*/ 10555 h 9313"/>
                <a:gd name="connsiteX1" fmla="*/ 10245 w 24835"/>
                <a:gd name="connsiteY1" fmla="*/ 10555 h 9313"/>
                <a:gd name="connsiteX2" fmla="*/ 14280 w 24835"/>
                <a:gd name="connsiteY2" fmla="*/ 8382 h 9313"/>
                <a:gd name="connsiteX3" fmla="*/ 17695 w 24835"/>
                <a:gd name="connsiteY3" fmla="*/ 7140 h 9313"/>
                <a:gd name="connsiteX4" fmla="*/ 19558 w 24835"/>
                <a:gd name="connsiteY4" fmla="*/ 5278 h 9313"/>
                <a:gd name="connsiteX5" fmla="*/ 24836 w 24835"/>
                <a:gd name="connsiteY5" fmla="*/ 3104 h 9313"/>
                <a:gd name="connsiteX6" fmla="*/ 24836 w 24835"/>
                <a:gd name="connsiteY6" fmla="*/ 0 h 9313"/>
                <a:gd name="connsiteX7" fmla="*/ 0 w 24835"/>
                <a:gd name="connsiteY7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835" h="9313">
                  <a:moveTo>
                    <a:pt x="4967" y="10555"/>
                  </a:moveTo>
                  <a:lnTo>
                    <a:pt x="10245" y="10555"/>
                  </a:lnTo>
                  <a:lnTo>
                    <a:pt x="14280" y="8382"/>
                  </a:lnTo>
                  <a:lnTo>
                    <a:pt x="17695" y="7140"/>
                  </a:lnTo>
                  <a:lnTo>
                    <a:pt x="19558" y="5278"/>
                  </a:lnTo>
                  <a:lnTo>
                    <a:pt x="24836" y="3104"/>
                  </a:lnTo>
                  <a:lnTo>
                    <a:pt x="24836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xmlns="" id="{8242F29E-ECD2-43FA-AE54-604B5213D51B}"/>
                </a:ext>
              </a:extLst>
            </p:cNvPr>
            <p:cNvSpPr/>
            <p:nvPr/>
          </p:nvSpPr>
          <p:spPr>
            <a:xfrm>
              <a:off x="5247097" y="5141141"/>
              <a:ext cx="24836" cy="40358"/>
            </a:xfrm>
            <a:custGeom>
              <a:avLst/>
              <a:gdLst>
                <a:gd name="connsiteX0" fmla="*/ 21731 w 24835"/>
                <a:gd name="connsiteY0" fmla="*/ 0 h 40357"/>
                <a:gd name="connsiteX1" fmla="*/ 14591 w 24835"/>
                <a:gd name="connsiteY1" fmla="*/ 0 h 40357"/>
                <a:gd name="connsiteX2" fmla="*/ 9313 w 24835"/>
                <a:gd name="connsiteY2" fmla="*/ 0 h 40357"/>
                <a:gd name="connsiteX3" fmla="*/ 4967 w 24835"/>
                <a:gd name="connsiteY3" fmla="*/ 2173 h 40357"/>
                <a:gd name="connsiteX4" fmla="*/ 1863 w 24835"/>
                <a:gd name="connsiteY4" fmla="*/ 4346 h 40357"/>
                <a:gd name="connsiteX5" fmla="*/ 0 w 24835"/>
                <a:gd name="connsiteY5" fmla="*/ 11797 h 40357"/>
                <a:gd name="connsiteX6" fmla="*/ 0 w 24835"/>
                <a:gd name="connsiteY6" fmla="*/ 26698 h 40357"/>
                <a:gd name="connsiteX7" fmla="*/ 1863 w 24835"/>
                <a:gd name="connsiteY7" fmla="*/ 41289 h 40357"/>
                <a:gd name="connsiteX8" fmla="*/ 7140 w 24835"/>
                <a:gd name="connsiteY8" fmla="*/ 39116 h 40357"/>
                <a:gd name="connsiteX9" fmla="*/ 11487 w 24835"/>
                <a:gd name="connsiteY9" fmla="*/ 39116 h 40357"/>
                <a:gd name="connsiteX10" fmla="*/ 14591 w 24835"/>
                <a:gd name="connsiteY10" fmla="*/ 39116 h 40357"/>
                <a:gd name="connsiteX11" fmla="*/ 16454 w 24835"/>
                <a:gd name="connsiteY11" fmla="*/ 37253 h 40357"/>
                <a:gd name="connsiteX12" fmla="*/ 26078 w 24835"/>
                <a:gd name="connsiteY12" fmla="*/ 37253 h 40357"/>
                <a:gd name="connsiteX13" fmla="*/ 23904 w 24835"/>
                <a:gd name="connsiteY13" fmla="*/ 17075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835" h="40357">
                  <a:moveTo>
                    <a:pt x="21731" y="0"/>
                  </a:moveTo>
                  <a:lnTo>
                    <a:pt x="14591" y="0"/>
                  </a:lnTo>
                  <a:lnTo>
                    <a:pt x="9313" y="0"/>
                  </a:lnTo>
                  <a:lnTo>
                    <a:pt x="4967" y="2173"/>
                  </a:lnTo>
                  <a:lnTo>
                    <a:pt x="1863" y="4346"/>
                  </a:lnTo>
                  <a:lnTo>
                    <a:pt x="0" y="11797"/>
                  </a:lnTo>
                  <a:lnTo>
                    <a:pt x="0" y="26698"/>
                  </a:lnTo>
                  <a:lnTo>
                    <a:pt x="1863" y="41289"/>
                  </a:lnTo>
                  <a:lnTo>
                    <a:pt x="7140" y="39116"/>
                  </a:lnTo>
                  <a:lnTo>
                    <a:pt x="11487" y="39116"/>
                  </a:lnTo>
                  <a:lnTo>
                    <a:pt x="14591" y="39116"/>
                  </a:lnTo>
                  <a:lnTo>
                    <a:pt x="16454" y="37253"/>
                  </a:lnTo>
                  <a:lnTo>
                    <a:pt x="26078" y="37253"/>
                  </a:lnTo>
                  <a:lnTo>
                    <a:pt x="23904" y="1707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xmlns="" id="{5F3D4EDB-DA06-47DF-BE76-6219EA39A6D3}"/>
                </a:ext>
              </a:extLst>
            </p:cNvPr>
            <p:cNvSpPr/>
            <p:nvPr/>
          </p:nvSpPr>
          <p:spPr>
            <a:xfrm>
              <a:off x="5592933" y="5239552"/>
              <a:ext cx="34149" cy="21731"/>
            </a:xfrm>
            <a:custGeom>
              <a:avLst/>
              <a:gdLst>
                <a:gd name="connsiteX0" fmla="*/ 21731 w 34149"/>
                <a:gd name="connsiteY0" fmla="*/ 3415 h 21731"/>
                <a:gd name="connsiteX1" fmla="*/ 14591 w 34149"/>
                <a:gd name="connsiteY1" fmla="*/ 5278 h 21731"/>
                <a:gd name="connsiteX2" fmla="*/ 7140 w 34149"/>
                <a:gd name="connsiteY2" fmla="*/ 9624 h 21731"/>
                <a:gd name="connsiteX3" fmla="*/ 0 w 34149"/>
                <a:gd name="connsiteY3" fmla="*/ 10555 h 21731"/>
                <a:gd name="connsiteX4" fmla="*/ 3104 w 34149"/>
                <a:gd name="connsiteY4" fmla="*/ 24525 h 21731"/>
                <a:gd name="connsiteX5" fmla="*/ 7140 w 34149"/>
                <a:gd name="connsiteY5" fmla="*/ 22352 h 21731"/>
                <a:gd name="connsiteX6" fmla="*/ 10245 w 34149"/>
                <a:gd name="connsiteY6" fmla="*/ 22352 h 21731"/>
                <a:gd name="connsiteX7" fmla="*/ 12418 w 34149"/>
                <a:gd name="connsiteY7" fmla="*/ 22352 h 21731"/>
                <a:gd name="connsiteX8" fmla="*/ 12418 w 34149"/>
                <a:gd name="connsiteY8" fmla="*/ 20179 h 21731"/>
                <a:gd name="connsiteX9" fmla="*/ 15522 w 34149"/>
                <a:gd name="connsiteY9" fmla="*/ 20179 h 21731"/>
                <a:gd name="connsiteX10" fmla="*/ 21731 w 34149"/>
                <a:gd name="connsiteY10" fmla="*/ 17075 h 21731"/>
                <a:gd name="connsiteX11" fmla="*/ 24836 w 34149"/>
                <a:gd name="connsiteY11" fmla="*/ 12728 h 21731"/>
                <a:gd name="connsiteX12" fmla="*/ 29182 w 34149"/>
                <a:gd name="connsiteY12" fmla="*/ 9624 h 21731"/>
                <a:gd name="connsiteX13" fmla="*/ 32286 w 34149"/>
                <a:gd name="connsiteY13" fmla="*/ 5278 h 21731"/>
                <a:gd name="connsiteX14" fmla="*/ 36322 w 34149"/>
                <a:gd name="connsiteY14" fmla="*/ 0 h 21731"/>
                <a:gd name="connsiteX15" fmla="*/ 27009 w 34149"/>
                <a:gd name="connsiteY15" fmla="*/ 0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149" h="21731">
                  <a:moveTo>
                    <a:pt x="21731" y="3415"/>
                  </a:moveTo>
                  <a:lnTo>
                    <a:pt x="14591" y="5278"/>
                  </a:lnTo>
                  <a:lnTo>
                    <a:pt x="7140" y="9624"/>
                  </a:lnTo>
                  <a:lnTo>
                    <a:pt x="0" y="10555"/>
                  </a:lnTo>
                  <a:lnTo>
                    <a:pt x="3104" y="24525"/>
                  </a:lnTo>
                  <a:lnTo>
                    <a:pt x="7140" y="22352"/>
                  </a:lnTo>
                  <a:lnTo>
                    <a:pt x="10245" y="22352"/>
                  </a:lnTo>
                  <a:lnTo>
                    <a:pt x="12418" y="22352"/>
                  </a:lnTo>
                  <a:lnTo>
                    <a:pt x="12418" y="20179"/>
                  </a:lnTo>
                  <a:lnTo>
                    <a:pt x="15522" y="20179"/>
                  </a:lnTo>
                  <a:lnTo>
                    <a:pt x="21731" y="17075"/>
                  </a:lnTo>
                  <a:lnTo>
                    <a:pt x="24836" y="12728"/>
                  </a:lnTo>
                  <a:lnTo>
                    <a:pt x="29182" y="9624"/>
                  </a:lnTo>
                  <a:lnTo>
                    <a:pt x="32286" y="5278"/>
                  </a:lnTo>
                  <a:lnTo>
                    <a:pt x="36322" y="0"/>
                  </a:lnTo>
                  <a:lnTo>
                    <a:pt x="27009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xmlns="" id="{2CEBB5E3-060C-474B-91FD-88699422A04B}"/>
                </a:ext>
              </a:extLst>
            </p:cNvPr>
            <p:cNvSpPr/>
            <p:nvPr/>
          </p:nvSpPr>
          <p:spPr>
            <a:xfrm>
              <a:off x="3690211" y="4196454"/>
              <a:ext cx="74507" cy="99343"/>
            </a:xfrm>
            <a:custGeom>
              <a:avLst/>
              <a:gdLst>
                <a:gd name="connsiteX0" fmla="*/ 60226 w 74506"/>
                <a:gd name="connsiteY0" fmla="*/ 0 h 99342"/>
                <a:gd name="connsiteX1" fmla="*/ 43462 w 74506"/>
                <a:gd name="connsiteY1" fmla="*/ 0 h 99342"/>
                <a:gd name="connsiteX2" fmla="*/ 23904 w 74506"/>
                <a:gd name="connsiteY2" fmla="*/ 2173 h 99342"/>
                <a:gd name="connsiteX3" fmla="*/ 4036 w 74506"/>
                <a:gd name="connsiteY3" fmla="*/ 4346 h 99342"/>
                <a:gd name="connsiteX4" fmla="*/ 4967 w 74506"/>
                <a:gd name="connsiteY4" fmla="*/ 11797 h 99342"/>
                <a:gd name="connsiteX5" fmla="*/ 7140 w 74506"/>
                <a:gd name="connsiteY5" fmla="*/ 14901 h 99342"/>
                <a:gd name="connsiteX6" fmla="*/ 11176 w 74506"/>
                <a:gd name="connsiteY6" fmla="*/ 19248 h 99342"/>
                <a:gd name="connsiteX7" fmla="*/ 14281 w 74506"/>
                <a:gd name="connsiteY7" fmla="*/ 20179 h 99342"/>
                <a:gd name="connsiteX8" fmla="*/ 18627 w 74506"/>
                <a:gd name="connsiteY8" fmla="*/ 22352 h 99342"/>
                <a:gd name="connsiteX9" fmla="*/ 23904 w 74506"/>
                <a:gd name="connsiteY9" fmla="*/ 24525 h 99342"/>
                <a:gd name="connsiteX10" fmla="*/ 18627 w 74506"/>
                <a:gd name="connsiteY10" fmla="*/ 31976 h 99342"/>
                <a:gd name="connsiteX11" fmla="*/ 11176 w 74506"/>
                <a:gd name="connsiteY11" fmla="*/ 37253 h 99342"/>
                <a:gd name="connsiteX12" fmla="*/ 4036 w 74506"/>
                <a:gd name="connsiteY12" fmla="*/ 40358 h 99342"/>
                <a:gd name="connsiteX13" fmla="*/ 0 w 74506"/>
                <a:gd name="connsiteY13" fmla="*/ 74197 h 99342"/>
                <a:gd name="connsiteX14" fmla="*/ 23904 w 74506"/>
                <a:gd name="connsiteY14" fmla="*/ 77301 h 99342"/>
                <a:gd name="connsiteX15" fmla="*/ 23904 w 74506"/>
                <a:gd name="connsiteY15" fmla="*/ 89098 h 99342"/>
                <a:gd name="connsiteX16" fmla="*/ 31045 w 74506"/>
                <a:gd name="connsiteY16" fmla="*/ 92202 h 99342"/>
                <a:gd name="connsiteX17" fmla="*/ 38495 w 74506"/>
                <a:gd name="connsiteY17" fmla="*/ 98411 h 99342"/>
                <a:gd name="connsiteX18" fmla="*/ 43462 w 74506"/>
                <a:gd name="connsiteY18" fmla="*/ 101826 h 99342"/>
                <a:gd name="connsiteX19" fmla="*/ 48740 w 74506"/>
                <a:gd name="connsiteY19" fmla="*/ 99653 h 99342"/>
                <a:gd name="connsiteX20" fmla="*/ 50913 w 74506"/>
                <a:gd name="connsiteY20" fmla="*/ 96549 h 99342"/>
                <a:gd name="connsiteX21" fmla="*/ 53086 w 74506"/>
                <a:gd name="connsiteY21" fmla="*/ 94376 h 99342"/>
                <a:gd name="connsiteX22" fmla="*/ 53086 w 74506"/>
                <a:gd name="connsiteY22" fmla="*/ 92202 h 99342"/>
                <a:gd name="connsiteX23" fmla="*/ 53086 w 74506"/>
                <a:gd name="connsiteY23" fmla="*/ 89098 h 99342"/>
                <a:gd name="connsiteX24" fmla="*/ 53086 w 74506"/>
                <a:gd name="connsiteY24" fmla="*/ 84752 h 99342"/>
                <a:gd name="connsiteX25" fmla="*/ 56191 w 74506"/>
                <a:gd name="connsiteY25" fmla="*/ 81647 h 99342"/>
                <a:gd name="connsiteX26" fmla="*/ 67677 w 74506"/>
                <a:gd name="connsiteY26" fmla="*/ 84752 h 99342"/>
                <a:gd name="connsiteX27" fmla="*/ 72644 w 74506"/>
                <a:gd name="connsiteY27" fmla="*/ 77301 h 99342"/>
                <a:gd name="connsiteX28" fmla="*/ 76991 w 74506"/>
                <a:gd name="connsiteY28" fmla="*/ 77301 h 99342"/>
                <a:gd name="connsiteX29" fmla="*/ 69540 w 74506"/>
                <a:gd name="connsiteY29" fmla="*/ 37253 h 99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74506" h="99342">
                  <a:moveTo>
                    <a:pt x="60226" y="0"/>
                  </a:moveTo>
                  <a:lnTo>
                    <a:pt x="43462" y="0"/>
                  </a:lnTo>
                  <a:lnTo>
                    <a:pt x="23904" y="2173"/>
                  </a:lnTo>
                  <a:lnTo>
                    <a:pt x="4036" y="4346"/>
                  </a:lnTo>
                  <a:lnTo>
                    <a:pt x="4967" y="11797"/>
                  </a:lnTo>
                  <a:lnTo>
                    <a:pt x="7140" y="14901"/>
                  </a:lnTo>
                  <a:lnTo>
                    <a:pt x="11176" y="19248"/>
                  </a:lnTo>
                  <a:lnTo>
                    <a:pt x="14281" y="20179"/>
                  </a:lnTo>
                  <a:lnTo>
                    <a:pt x="18627" y="22352"/>
                  </a:lnTo>
                  <a:lnTo>
                    <a:pt x="23904" y="24525"/>
                  </a:lnTo>
                  <a:lnTo>
                    <a:pt x="18627" y="31976"/>
                  </a:lnTo>
                  <a:lnTo>
                    <a:pt x="11176" y="37253"/>
                  </a:lnTo>
                  <a:lnTo>
                    <a:pt x="4036" y="40358"/>
                  </a:lnTo>
                  <a:lnTo>
                    <a:pt x="0" y="74197"/>
                  </a:lnTo>
                  <a:lnTo>
                    <a:pt x="23904" y="77301"/>
                  </a:lnTo>
                  <a:lnTo>
                    <a:pt x="23904" y="89098"/>
                  </a:lnTo>
                  <a:lnTo>
                    <a:pt x="31045" y="92202"/>
                  </a:lnTo>
                  <a:lnTo>
                    <a:pt x="38495" y="98411"/>
                  </a:lnTo>
                  <a:lnTo>
                    <a:pt x="43462" y="101826"/>
                  </a:lnTo>
                  <a:lnTo>
                    <a:pt x="48740" y="99653"/>
                  </a:lnTo>
                  <a:lnTo>
                    <a:pt x="50913" y="96549"/>
                  </a:lnTo>
                  <a:lnTo>
                    <a:pt x="53086" y="94376"/>
                  </a:lnTo>
                  <a:lnTo>
                    <a:pt x="53086" y="92202"/>
                  </a:lnTo>
                  <a:lnTo>
                    <a:pt x="53086" y="89098"/>
                  </a:lnTo>
                  <a:lnTo>
                    <a:pt x="53086" y="84752"/>
                  </a:lnTo>
                  <a:lnTo>
                    <a:pt x="56191" y="81647"/>
                  </a:lnTo>
                  <a:lnTo>
                    <a:pt x="67677" y="84752"/>
                  </a:lnTo>
                  <a:lnTo>
                    <a:pt x="72644" y="77301"/>
                  </a:lnTo>
                  <a:lnTo>
                    <a:pt x="76991" y="77301"/>
                  </a:lnTo>
                  <a:lnTo>
                    <a:pt x="69540" y="3725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xmlns="" id="{96C49A8D-8256-45D2-BA1A-C5DDF5D3E271}"/>
                </a:ext>
              </a:extLst>
            </p:cNvPr>
            <p:cNvSpPr/>
            <p:nvPr/>
          </p:nvSpPr>
          <p:spPr>
            <a:xfrm>
              <a:off x="3753542" y="4135296"/>
              <a:ext cx="40358" cy="34149"/>
            </a:xfrm>
            <a:custGeom>
              <a:avLst/>
              <a:gdLst>
                <a:gd name="connsiteX0" fmla="*/ 22042 w 40357"/>
                <a:gd name="connsiteY0" fmla="*/ 36012 h 34149"/>
                <a:gd name="connsiteX1" fmla="*/ 27009 w 40357"/>
                <a:gd name="connsiteY1" fmla="*/ 31665 h 34149"/>
                <a:gd name="connsiteX2" fmla="*/ 31355 w 40357"/>
                <a:gd name="connsiteY2" fmla="*/ 29492 h 34149"/>
                <a:gd name="connsiteX3" fmla="*/ 34460 w 40357"/>
                <a:gd name="connsiteY3" fmla="*/ 28561 h 34149"/>
                <a:gd name="connsiteX4" fmla="*/ 40668 w 40357"/>
                <a:gd name="connsiteY4" fmla="*/ 24215 h 34149"/>
                <a:gd name="connsiteX5" fmla="*/ 36633 w 40357"/>
                <a:gd name="connsiteY5" fmla="*/ 0 h 34149"/>
                <a:gd name="connsiteX6" fmla="*/ 23904 w 40357"/>
                <a:gd name="connsiteY6" fmla="*/ 2173 h 34149"/>
                <a:gd name="connsiteX7" fmla="*/ 16764 w 40357"/>
                <a:gd name="connsiteY7" fmla="*/ 6209 h 34149"/>
                <a:gd name="connsiteX8" fmla="*/ 9313 w 40357"/>
                <a:gd name="connsiteY8" fmla="*/ 11486 h 34149"/>
                <a:gd name="connsiteX9" fmla="*/ 0 w 40357"/>
                <a:gd name="connsiteY9" fmla="*/ 16764 h 34149"/>
                <a:gd name="connsiteX10" fmla="*/ 0 w 40357"/>
                <a:gd name="connsiteY10" fmla="*/ 24215 h 34149"/>
                <a:gd name="connsiteX11" fmla="*/ 2173 w 40357"/>
                <a:gd name="connsiteY11" fmla="*/ 26388 h 34149"/>
                <a:gd name="connsiteX12" fmla="*/ 2173 w 40357"/>
                <a:gd name="connsiteY12" fmla="*/ 28561 h 34149"/>
                <a:gd name="connsiteX13" fmla="*/ 4346 w 40357"/>
                <a:gd name="connsiteY13" fmla="*/ 28561 h 34149"/>
                <a:gd name="connsiteX14" fmla="*/ 4346 w 40357"/>
                <a:gd name="connsiteY14" fmla="*/ 29492 h 34149"/>
                <a:gd name="connsiteX15" fmla="*/ 4346 w 40357"/>
                <a:gd name="connsiteY15" fmla="*/ 33839 h 34149"/>
                <a:gd name="connsiteX16" fmla="*/ 9313 w 40357"/>
                <a:gd name="connsiteY16" fmla="*/ 33839 h 34149"/>
                <a:gd name="connsiteX17" fmla="*/ 11487 w 40357"/>
                <a:gd name="connsiteY17" fmla="*/ 33839 h 34149"/>
                <a:gd name="connsiteX18" fmla="*/ 13660 w 40357"/>
                <a:gd name="connsiteY18" fmla="*/ 36012 h 34149"/>
                <a:gd name="connsiteX19" fmla="*/ 14591 w 40357"/>
                <a:gd name="connsiteY19" fmla="*/ 36012 h 34149"/>
                <a:gd name="connsiteX20" fmla="*/ 16764 w 40357"/>
                <a:gd name="connsiteY20" fmla="*/ 36943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0357" h="34149">
                  <a:moveTo>
                    <a:pt x="22042" y="36012"/>
                  </a:moveTo>
                  <a:lnTo>
                    <a:pt x="27009" y="31665"/>
                  </a:lnTo>
                  <a:lnTo>
                    <a:pt x="31355" y="29492"/>
                  </a:lnTo>
                  <a:lnTo>
                    <a:pt x="34460" y="28561"/>
                  </a:lnTo>
                  <a:lnTo>
                    <a:pt x="40668" y="24215"/>
                  </a:lnTo>
                  <a:lnTo>
                    <a:pt x="36633" y="0"/>
                  </a:lnTo>
                  <a:lnTo>
                    <a:pt x="23904" y="2173"/>
                  </a:lnTo>
                  <a:lnTo>
                    <a:pt x="16764" y="6209"/>
                  </a:lnTo>
                  <a:lnTo>
                    <a:pt x="9313" y="11486"/>
                  </a:lnTo>
                  <a:lnTo>
                    <a:pt x="0" y="16764"/>
                  </a:lnTo>
                  <a:lnTo>
                    <a:pt x="0" y="24215"/>
                  </a:lnTo>
                  <a:lnTo>
                    <a:pt x="2173" y="26388"/>
                  </a:lnTo>
                  <a:lnTo>
                    <a:pt x="2173" y="28561"/>
                  </a:lnTo>
                  <a:lnTo>
                    <a:pt x="4346" y="28561"/>
                  </a:lnTo>
                  <a:lnTo>
                    <a:pt x="4346" y="29492"/>
                  </a:lnTo>
                  <a:lnTo>
                    <a:pt x="4346" y="33839"/>
                  </a:lnTo>
                  <a:lnTo>
                    <a:pt x="9313" y="33839"/>
                  </a:lnTo>
                  <a:lnTo>
                    <a:pt x="11487" y="33839"/>
                  </a:lnTo>
                  <a:lnTo>
                    <a:pt x="13660" y="36012"/>
                  </a:lnTo>
                  <a:lnTo>
                    <a:pt x="14591" y="36012"/>
                  </a:lnTo>
                  <a:lnTo>
                    <a:pt x="16764" y="3694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xmlns="" id="{6E6F6073-18D9-483E-970D-B436FE0B0291}"/>
                </a:ext>
              </a:extLst>
            </p:cNvPr>
            <p:cNvSpPr/>
            <p:nvPr/>
          </p:nvSpPr>
          <p:spPr>
            <a:xfrm>
              <a:off x="3770306" y="4179690"/>
              <a:ext cx="55880" cy="96238"/>
            </a:xfrm>
            <a:custGeom>
              <a:avLst/>
              <a:gdLst>
                <a:gd name="connsiteX0" fmla="*/ 54018 w 55880"/>
                <a:gd name="connsiteY0" fmla="*/ 13660 h 96238"/>
                <a:gd name="connsiteX1" fmla="*/ 53086 w 55880"/>
                <a:gd name="connsiteY1" fmla="*/ 9624 h 96238"/>
                <a:gd name="connsiteX2" fmla="*/ 43773 w 55880"/>
                <a:gd name="connsiteY2" fmla="*/ 6209 h 96238"/>
                <a:gd name="connsiteX3" fmla="*/ 31045 w 55880"/>
                <a:gd name="connsiteY3" fmla="*/ 4346 h 96238"/>
                <a:gd name="connsiteX4" fmla="*/ 16454 w 55880"/>
                <a:gd name="connsiteY4" fmla="*/ 2173 h 96238"/>
                <a:gd name="connsiteX5" fmla="*/ 3104 w 55880"/>
                <a:gd name="connsiteY5" fmla="*/ 0 h 96238"/>
                <a:gd name="connsiteX6" fmla="*/ 0 w 55880"/>
                <a:gd name="connsiteY6" fmla="*/ 16764 h 96238"/>
                <a:gd name="connsiteX7" fmla="*/ 2173 w 55880"/>
                <a:gd name="connsiteY7" fmla="*/ 31665 h 96238"/>
                <a:gd name="connsiteX8" fmla="*/ 3104 w 55880"/>
                <a:gd name="connsiteY8" fmla="*/ 48740 h 96238"/>
                <a:gd name="connsiteX9" fmla="*/ 7140 w 55880"/>
                <a:gd name="connsiteY9" fmla="*/ 63331 h 96238"/>
                <a:gd name="connsiteX10" fmla="*/ 7140 w 55880"/>
                <a:gd name="connsiteY10" fmla="*/ 76059 h 96238"/>
                <a:gd name="connsiteX11" fmla="*/ 3104 w 55880"/>
                <a:gd name="connsiteY11" fmla="*/ 86614 h 96238"/>
                <a:gd name="connsiteX12" fmla="*/ 7140 w 55880"/>
                <a:gd name="connsiteY12" fmla="*/ 98411 h 96238"/>
                <a:gd name="connsiteX13" fmla="*/ 14591 w 55880"/>
                <a:gd name="connsiteY13" fmla="*/ 98411 h 96238"/>
                <a:gd name="connsiteX14" fmla="*/ 19869 w 55880"/>
                <a:gd name="connsiteY14" fmla="*/ 98411 h 96238"/>
                <a:gd name="connsiteX15" fmla="*/ 23904 w 55880"/>
                <a:gd name="connsiteY15" fmla="*/ 96238 h 96238"/>
                <a:gd name="connsiteX16" fmla="*/ 27009 w 55880"/>
                <a:gd name="connsiteY16" fmla="*/ 94065 h 96238"/>
                <a:gd name="connsiteX17" fmla="*/ 31045 w 55880"/>
                <a:gd name="connsiteY17" fmla="*/ 88788 h 96238"/>
                <a:gd name="connsiteX18" fmla="*/ 32286 w 55880"/>
                <a:gd name="connsiteY18" fmla="*/ 81337 h 96238"/>
                <a:gd name="connsiteX19" fmla="*/ 34460 w 55880"/>
                <a:gd name="connsiteY19" fmla="*/ 70782 h 96238"/>
                <a:gd name="connsiteX20" fmla="*/ 32286 w 55880"/>
                <a:gd name="connsiteY20" fmla="*/ 61468 h 96238"/>
                <a:gd name="connsiteX21" fmla="*/ 34460 w 55880"/>
                <a:gd name="connsiteY21" fmla="*/ 57122 h 96238"/>
                <a:gd name="connsiteX22" fmla="*/ 38495 w 55880"/>
                <a:gd name="connsiteY22" fmla="*/ 56191 h 96238"/>
                <a:gd name="connsiteX23" fmla="*/ 39427 w 55880"/>
                <a:gd name="connsiteY23" fmla="*/ 54018 h 96238"/>
                <a:gd name="connsiteX24" fmla="*/ 43773 w 55880"/>
                <a:gd name="connsiteY24" fmla="*/ 51844 h 96238"/>
                <a:gd name="connsiteX25" fmla="*/ 46877 w 55880"/>
                <a:gd name="connsiteY25" fmla="*/ 49671 h 96238"/>
                <a:gd name="connsiteX26" fmla="*/ 50913 w 55880"/>
                <a:gd name="connsiteY26" fmla="*/ 46567 h 96238"/>
                <a:gd name="connsiteX27" fmla="*/ 53086 w 55880"/>
                <a:gd name="connsiteY27" fmla="*/ 41289 h 96238"/>
                <a:gd name="connsiteX28" fmla="*/ 54018 w 55880"/>
                <a:gd name="connsiteY28" fmla="*/ 36943 h 96238"/>
                <a:gd name="connsiteX29" fmla="*/ 56191 w 55880"/>
                <a:gd name="connsiteY29" fmla="*/ 33839 h 96238"/>
                <a:gd name="connsiteX30" fmla="*/ 56191 w 55880"/>
                <a:gd name="connsiteY30" fmla="*/ 26388 h 96238"/>
                <a:gd name="connsiteX31" fmla="*/ 54018 w 55880"/>
                <a:gd name="connsiteY31" fmla="*/ 18937 h 96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55880" h="96238">
                  <a:moveTo>
                    <a:pt x="54018" y="13660"/>
                  </a:moveTo>
                  <a:lnTo>
                    <a:pt x="53086" y="9624"/>
                  </a:lnTo>
                  <a:lnTo>
                    <a:pt x="43773" y="6209"/>
                  </a:lnTo>
                  <a:lnTo>
                    <a:pt x="31045" y="4346"/>
                  </a:lnTo>
                  <a:lnTo>
                    <a:pt x="16454" y="2173"/>
                  </a:lnTo>
                  <a:lnTo>
                    <a:pt x="3104" y="0"/>
                  </a:lnTo>
                  <a:lnTo>
                    <a:pt x="0" y="16764"/>
                  </a:lnTo>
                  <a:lnTo>
                    <a:pt x="2173" y="31665"/>
                  </a:lnTo>
                  <a:lnTo>
                    <a:pt x="3104" y="48740"/>
                  </a:lnTo>
                  <a:lnTo>
                    <a:pt x="7140" y="63331"/>
                  </a:lnTo>
                  <a:lnTo>
                    <a:pt x="7140" y="76059"/>
                  </a:lnTo>
                  <a:lnTo>
                    <a:pt x="3104" y="86614"/>
                  </a:lnTo>
                  <a:lnTo>
                    <a:pt x="7140" y="98411"/>
                  </a:lnTo>
                  <a:lnTo>
                    <a:pt x="14591" y="98411"/>
                  </a:lnTo>
                  <a:lnTo>
                    <a:pt x="19869" y="98411"/>
                  </a:lnTo>
                  <a:lnTo>
                    <a:pt x="23904" y="96238"/>
                  </a:lnTo>
                  <a:lnTo>
                    <a:pt x="27009" y="94065"/>
                  </a:lnTo>
                  <a:lnTo>
                    <a:pt x="31045" y="88788"/>
                  </a:lnTo>
                  <a:lnTo>
                    <a:pt x="32286" y="81337"/>
                  </a:lnTo>
                  <a:lnTo>
                    <a:pt x="34460" y="70782"/>
                  </a:lnTo>
                  <a:lnTo>
                    <a:pt x="32286" y="61468"/>
                  </a:lnTo>
                  <a:lnTo>
                    <a:pt x="34460" y="57122"/>
                  </a:lnTo>
                  <a:lnTo>
                    <a:pt x="38495" y="56191"/>
                  </a:lnTo>
                  <a:lnTo>
                    <a:pt x="39427" y="54018"/>
                  </a:lnTo>
                  <a:lnTo>
                    <a:pt x="43773" y="51844"/>
                  </a:lnTo>
                  <a:lnTo>
                    <a:pt x="46877" y="49671"/>
                  </a:lnTo>
                  <a:lnTo>
                    <a:pt x="50913" y="46567"/>
                  </a:lnTo>
                  <a:lnTo>
                    <a:pt x="53086" y="41289"/>
                  </a:lnTo>
                  <a:lnTo>
                    <a:pt x="54018" y="36943"/>
                  </a:lnTo>
                  <a:lnTo>
                    <a:pt x="56191" y="33839"/>
                  </a:lnTo>
                  <a:lnTo>
                    <a:pt x="56191" y="26388"/>
                  </a:lnTo>
                  <a:lnTo>
                    <a:pt x="54018" y="1893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xmlns="" id="{7982D651-94C6-483B-BA91-5F2E8013B00D}"/>
                </a:ext>
              </a:extLst>
            </p:cNvPr>
            <p:cNvSpPr/>
            <p:nvPr/>
          </p:nvSpPr>
          <p:spPr>
            <a:xfrm>
              <a:off x="3630606" y="4070724"/>
              <a:ext cx="21731" cy="27940"/>
            </a:xfrm>
            <a:custGeom>
              <a:avLst/>
              <a:gdLst>
                <a:gd name="connsiteX0" fmla="*/ 22973 w 21731"/>
                <a:gd name="connsiteY0" fmla="*/ 28561 h 27940"/>
                <a:gd name="connsiteX1" fmla="*/ 22042 w 21731"/>
                <a:gd name="connsiteY1" fmla="*/ 21110 h 27940"/>
                <a:gd name="connsiteX2" fmla="*/ 17695 w 21731"/>
                <a:gd name="connsiteY2" fmla="*/ 13660 h 27940"/>
                <a:gd name="connsiteX3" fmla="*/ 14591 w 21731"/>
                <a:gd name="connsiteY3" fmla="*/ 7451 h 27940"/>
                <a:gd name="connsiteX4" fmla="*/ 7451 w 21731"/>
                <a:gd name="connsiteY4" fmla="*/ 4346 h 27940"/>
                <a:gd name="connsiteX5" fmla="*/ 0 w 21731"/>
                <a:gd name="connsiteY5" fmla="*/ 0 h 27940"/>
                <a:gd name="connsiteX6" fmla="*/ 1242 w 21731"/>
                <a:gd name="connsiteY6" fmla="*/ 7451 h 27940"/>
                <a:gd name="connsiteX7" fmla="*/ 3104 w 21731"/>
                <a:gd name="connsiteY7" fmla="*/ 13660 h 27940"/>
                <a:gd name="connsiteX8" fmla="*/ 5278 w 21731"/>
                <a:gd name="connsiteY8" fmla="*/ 16764 h 27940"/>
                <a:gd name="connsiteX9" fmla="*/ 7451 w 21731"/>
                <a:gd name="connsiteY9" fmla="*/ 21110 h 27940"/>
                <a:gd name="connsiteX10" fmla="*/ 12728 w 21731"/>
                <a:gd name="connsiteY10" fmla="*/ 24215 h 27940"/>
                <a:gd name="connsiteX11" fmla="*/ 12728 w 21731"/>
                <a:gd name="connsiteY11" fmla="*/ 28561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731" h="27940">
                  <a:moveTo>
                    <a:pt x="22973" y="28561"/>
                  </a:moveTo>
                  <a:lnTo>
                    <a:pt x="22042" y="21110"/>
                  </a:lnTo>
                  <a:lnTo>
                    <a:pt x="17695" y="13660"/>
                  </a:lnTo>
                  <a:lnTo>
                    <a:pt x="14591" y="7451"/>
                  </a:lnTo>
                  <a:lnTo>
                    <a:pt x="7451" y="4346"/>
                  </a:lnTo>
                  <a:lnTo>
                    <a:pt x="0" y="0"/>
                  </a:lnTo>
                  <a:lnTo>
                    <a:pt x="1242" y="7451"/>
                  </a:lnTo>
                  <a:lnTo>
                    <a:pt x="3104" y="13660"/>
                  </a:lnTo>
                  <a:lnTo>
                    <a:pt x="5278" y="16764"/>
                  </a:lnTo>
                  <a:lnTo>
                    <a:pt x="7451" y="21110"/>
                  </a:lnTo>
                  <a:lnTo>
                    <a:pt x="12728" y="24215"/>
                  </a:lnTo>
                  <a:lnTo>
                    <a:pt x="12728" y="285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xmlns="" id="{D9DEDE31-A4C4-414E-8A74-9983964929D7}"/>
                </a:ext>
              </a:extLst>
            </p:cNvPr>
            <p:cNvSpPr/>
            <p:nvPr/>
          </p:nvSpPr>
          <p:spPr>
            <a:xfrm>
              <a:off x="3646438" y="4107667"/>
              <a:ext cx="86925" cy="68298"/>
            </a:xfrm>
            <a:custGeom>
              <a:avLst/>
              <a:gdLst>
                <a:gd name="connsiteX0" fmla="*/ 50913 w 86924"/>
                <a:gd name="connsiteY0" fmla="*/ 44394 h 68298"/>
                <a:gd name="connsiteX1" fmla="*/ 54949 w 86924"/>
                <a:gd name="connsiteY1" fmla="*/ 48740 h 68298"/>
                <a:gd name="connsiteX2" fmla="*/ 54949 w 86924"/>
                <a:gd name="connsiteY2" fmla="*/ 51844 h 68298"/>
                <a:gd name="connsiteX3" fmla="*/ 54949 w 86924"/>
                <a:gd name="connsiteY3" fmla="*/ 57122 h 68298"/>
                <a:gd name="connsiteX4" fmla="*/ 56191 w 86924"/>
                <a:gd name="connsiteY4" fmla="*/ 61468 h 68298"/>
                <a:gd name="connsiteX5" fmla="*/ 60226 w 86924"/>
                <a:gd name="connsiteY5" fmla="*/ 64573 h 68298"/>
                <a:gd name="connsiteX6" fmla="*/ 62400 w 86924"/>
                <a:gd name="connsiteY6" fmla="*/ 66746 h 68298"/>
                <a:gd name="connsiteX7" fmla="*/ 63331 w 86924"/>
                <a:gd name="connsiteY7" fmla="*/ 66746 h 68298"/>
                <a:gd name="connsiteX8" fmla="*/ 63331 w 86924"/>
                <a:gd name="connsiteY8" fmla="*/ 68919 h 68298"/>
                <a:gd name="connsiteX9" fmla="*/ 67677 w 86924"/>
                <a:gd name="connsiteY9" fmla="*/ 68919 h 68298"/>
                <a:gd name="connsiteX10" fmla="*/ 70782 w 86924"/>
                <a:gd name="connsiteY10" fmla="*/ 64573 h 68298"/>
                <a:gd name="connsiteX11" fmla="*/ 74817 w 86924"/>
                <a:gd name="connsiteY11" fmla="*/ 63641 h 68298"/>
                <a:gd name="connsiteX12" fmla="*/ 80095 w 86924"/>
                <a:gd name="connsiteY12" fmla="*/ 61468 h 68298"/>
                <a:gd name="connsiteX13" fmla="*/ 82268 w 86924"/>
                <a:gd name="connsiteY13" fmla="*/ 48740 h 68298"/>
                <a:gd name="connsiteX14" fmla="*/ 84131 w 86924"/>
                <a:gd name="connsiteY14" fmla="*/ 31665 h 68298"/>
                <a:gd name="connsiteX15" fmla="*/ 87235 w 86924"/>
                <a:gd name="connsiteY15" fmla="*/ 20179 h 68298"/>
                <a:gd name="connsiteX16" fmla="*/ 87235 w 86924"/>
                <a:gd name="connsiteY16" fmla="*/ 14901 h 68298"/>
                <a:gd name="connsiteX17" fmla="*/ 87235 w 86924"/>
                <a:gd name="connsiteY17" fmla="*/ 9624 h 68298"/>
                <a:gd name="connsiteX18" fmla="*/ 85373 w 86924"/>
                <a:gd name="connsiteY18" fmla="*/ 7451 h 68298"/>
                <a:gd name="connsiteX19" fmla="*/ 84131 w 86924"/>
                <a:gd name="connsiteY19" fmla="*/ 4346 h 68298"/>
                <a:gd name="connsiteX20" fmla="*/ 82268 w 86924"/>
                <a:gd name="connsiteY20" fmla="*/ 2173 h 68298"/>
                <a:gd name="connsiteX21" fmla="*/ 80095 w 86924"/>
                <a:gd name="connsiteY21" fmla="*/ 2173 h 68298"/>
                <a:gd name="connsiteX22" fmla="*/ 77922 w 86924"/>
                <a:gd name="connsiteY22" fmla="*/ 0 h 68298"/>
                <a:gd name="connsiteX23" fmla="*/ 76991 w 86924"/>
                <a:gd name="connsiteY23" fmla="*/ 0 h 68298"/>
                <a:gd name="connsiteX24" fmla="*/ 70782 w 86924"/>
                <a:gd name="connsiteY24" fmla="*/ 0 h 68298"/>
                <a:gd name="connsiteX25" fmla="*/ 70782 w 86924"/>
                <a:gd name="connsiteY25" fmla="*/ 11797 h 68298"/>
                <a:gd name="connsiteX26" fmla="*/ 58053 w 86924"/>
                <a:gd name="connsiteY26" fmla="*/ 11797 h 68298"/>
                <a:gd name="connsiteX27" fmla="*/ 43773 w 86924"/>
                <a:gd name="connsiteY27" fmla="*/ 13970 h 68298"/>
                <a:gd name="connsiteX28" fmla="*/ 31045 w 86924"/>
                <a:gd name="connsiteY28" fmla="*/ 14901 h 68298"/>
                <a:gd name="connsiteX29" fmla="*/ 20800 w 86924"/>
                <a:gd name="connsiteY29" fmla="*/ 11797 h 68298"/>
                <a:gd name="connsiteX30" fmla="*/ 14591 w 86924"/>
                <a:gd name="connsiteY30" fmla="*/ 13970 h 68298"/>
                <a:gd name="connsiteX31" fmla="*/ 11487 w 86924"/>
                <a:gd name="connsiteY31" fmla="*/ 13970 h 68298"/>
                <a:gd name="connsiteX32" fmla="*/ 9313 w 86924"/>
                <a:gd name="connsiteY32" fmla="*/ 13970 h 68298"/>
                <a:gd name="connsiteX33" fmla="*/ 7140 w 86924"/>
                <a:gd name="connsiteY33" fmla="*/ 13970 h 68298"/>
                <a:gd name="connsiteX34" fmla="*/ 7140 w 86924"/>
                <a:gd name="connsiteY34" fmla="*/ 14901 h 68298"/>
                <a:gd name="connsiteX35" fmla="*/ 6209 w 86924"/>
                <a:gd name="connsiteY35" fmla="*/ 17075 h 68298"/>
                <a:gd name="connsiteX36" fmla="*/ 4036 w 86924"/>
                <a:gd name="connsiteY36" fmla="*/ 20179 h 68298"/>
                <a:gd name="connsiteX37" fmla="*/ 0 w 86924"/>
                <a:gd name="connsiteY37" fmla="*/ 20179 h 68298"/>
                <a:gd name="connsiteX38" fmla="*/ 7140 w 86924"/>
                <a:gd name="connsiteY38" fmla="*/ 31665 h 68298"/>
                <a:gd name="connsiteX39" fmla="*/ 16454 w 86924"/>
                <a:gd name="connsiteY39" fmla="*/ 36943 h 68298"/>
                <a:gd name="connsiteX40" fmla="*/ 26077 w 86924"/>
                <a:gd name="connsiteY40" fmla="*/ 39116 h 68298"/>
                <a:gd name="connsiteX41" fmla="*/ 34149 w 86924"/>
                <a:gd name="connsiteY41" fmla="*/ 36943 h 68298"/>
                <a:gd name="connsiteX42" fmla="*/ 43773 w 86924"/>
                <a:gd name="connsiteY42" fmla="*/ 39116 h 6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86924" h="68298">
                  <a:moveTo>
                    <a:pt x="50913" y="44394"/>
                  </a:moveTo>
                  <a:lnTo>
                    <a:pt x="54949" y="48740"/>
                  </a:lnTo>
                  <a:lnTo>
                    <a:pt x="54949" y="51844"/>
                  </a:lnTo>
                  <a:lnTo>
                    <a:pt x="54949" y="57122"/>
                  </a:lnTo>
                  <a:lnTo>
                    <a:pt x="56191" y="61468"/>
                  </a:lnTo>
                  <a:lnTo>
                    <a:pt x="60226" y="64573"/>
                  </a:lnTo>
                  <a:lnTo>
                    <a:pt x="62400" y="66746"/>
                  </a:lnTo>
                  <a:lnTo>
                    <a:pt x="63331" y="66746"/>
                  </a:lnTo>
                  <a:lnTo>
                    <a:pt x="63331" y="68919"/>
                  </a:lnTo>
                  <a:lnTo>
                    <a:pt x="67677" y="68919"/>
                  </a:lnTo>
                  <a:lnTo>
                    <a:pt x="70782" y="64573"/>
                  </a:lnTo>
                  <a:lnTo>
                    <a:pt x="74817" y="63641"/>
                  </a:lnTo>
                  <a:lnTo>
                    <a:pt x="80095" y="61468"/>
                  </a:lnTo>
                  <a:lnTo>
                    <a:pt x="82268" y="48740"/>
                  </a:lnTo>
                  <a:lnTo>
                    <a:pt x="84131" y="31665"/>
                  </a:lnTo>
                  <a:lnTo>
                    <a:pt x="87235" y="20179"/>
                  </a:lnTo>
                  <a:lnTo>
                    <a:pt x="87235" y="14901"/>
                  </a:lnTo>
                  <a:lnTo>
                    <a:pt x="87235" y="9624"/>
                  </a:lnTo>
                  <a:lnTo>
                    <a:pt x="85373" y="7451"/>
                  </a:lnTo>
                  <a:lnTo>
                    <a:pt x="84131" y="4346"/>
                  </a:lnTo>
                  <a:lnTo>
                    <a:pt x="82268" y="2173"/>
                  </a:lnTo>
                  <a:lnTo>
                    <a:pt x="80095" y="2173"/>
                  </a:lnTo>
                  <a:lnTo>
                    <a:pt x="77922" y="0"/>
                  </a:lnTo>
                  <a:lnTo>
                    <a:pt x="76991" y="0"/>
                  </a:lnTo>
                  <a:lnTo>
                    <a:pt x="70782" y="0"/>
                  </a:lnTo>
                  <a:lnTo>
                    <a:pt x="70782" y="11797"/>
                  </a:lnTo>
                  <a:lnTo>
                    <a:pt x="58053" y="11797"/>
                  </a:lnTo>
                  <a:lnTo>
                    <a:pt x="43773" y="13970"/>
                  </a:lnTo>
                  <a:lnTo>
                    <a:pt x="31045" y="14901"/>
                  </a:lnTo>
                  <a:lnTo>
                    <a:pt x="20800" y="11797"/>
                  </a:lnTo>
                  <a:lnTo>
                    <a:pt x="14591" y="13970"/>
                  </a:lnTo>
                  <a:lnTo>
                    <a:pt x="11487" y="13970"/>
                  </a:lnTo>
                  <a:lnTo>
                    <a:pt x="9313" y="13970"/>
                  </a:lnTo>
                  <a:lnTo>
                    <a:pt x="7140" y="13970"/>
                  </a:lnTo>
                  <a:lnTo>
                    <a:pt x="7140" y="14901"/>
                  </a:lnTo>
                  <a:lnTo>
                    <a:pt x="6209" y="17075"/>
                  </a:lnTo>
                  <a:lnTo>
                    <a:pt x="4036" y="20179"/>
                  </a:lnTo>
                  <a:lnTo>
                    <a:pt x="0" y="20179"/>
                  </a:lnTo>
                  <a:lnTo>
                    <a:pt x="7140" y="31665"/>
                  </a:lnTo>
                  <a:lnTo>
                    <a:pt x="16454" y="36943"/>
                  </a:lnTo>
                  <a:lnTo>
                    <a:pt x="26077" y="39116"/>
                  </a:lnTo>
                  <a:lnTo>
                    <a:pt x="34149" y="36943"/>
                  </a:lnTo>
                  <a:lnTo>
                    <a:pt x="43773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xmlns="" id="{68700F52-122C-4034-8228-3C59A0DF0530}"/>
                </a:ext>
              </a:extLst>
            </p:cNvPr>
            <p:cNvSpPr/>
            <p:nvPr/>
          </p:nvSpPr>
          <p:spPr>
            <a:xfrm>
              <a:off x="3750438" y="4075070"/>
              <a:ext cx="235939" cy="102447"/>
            </a:xfrm>
            <a:custGeom>
              <a:avLst/>
              <a:gdLst>
                <a:gd name="connsiteX0" fmla="*/ 97790 w 235938"/>
                <a:gd name="connsiteY0" fmla="*/ 86614 h 102447"/>
                <a:gd name="connsiteX1" fmla="*/ 97790 w 235938"/>
                <a:gd name="connsiteY1" fmla="*/ 88787 h 102447"/>
                <a:gd name="connsiteX2" fmla="*/ 97790 w 235938"/>
                <a:gd name="connsiteY2" fmla="*/ 89719 h 102447"/>
                <a:gd name="connsiteX3" fmla="*/ 99964 w 235938"/>
                <a:gd name="connsiteY3" fmla="*/ 91892 h 102447"/>
                <a:gd name="connsiteX4" fmla="*/ 103068 w 235938"/>
                <a:gd name="connsiteY4" fmla="*/ 94065 h 102447"/>
                <a:gd name="connsiteX5" fmla="*/ 107414 w 235938"/>
                <a:gd name="connsiteY5" fmla="*/ 96238 h 102447"/>
                <a:gd name="connsiteX6" fmla="*/ 110519 w 235938"/>
                <a:gd name="connsiteY6" fmla="*/ 96238 h 102447"/>
                <a:gd name="connsiteX7" fmla="*/ 112381 w 235938"/>
                <a:gd name="connsiteY7" fmla="*/ 94065 h 102447"/>
                <a:gd name="connsiteX8" fmla="*/ 114554 w 235938"/>
                <a:gd name="connsiteY8" fmla="*/ 89719 h 102447"/>
                <a:gd name="connsiteX9" fmla="*/ 116728 w 235938"/>
                <a:gd name="connsiteY9" fmla="*/ 84441 h 102447"/>
                <a:gd name="connsiteX10" fmla="*/ 119832 w 235938"/>
                <a:gd name="connsiteY10" fmla="*/ 91892 h 102447"/>
                <a:gd name="connsiteX11" fmla="*/ 122937 w 235938"/>
                <a:gd name="connsiteY11" fmla="*/ 99343 h 102447"/>
                <a:gd name="connsiteX12" fmla="*/ 126972 w 235938"/>
                <a:gd name="connsiteY12" fmla="*/ 104620 h 102447"/>
                <a:gd name="connsiteX13" fmla="*/ 136596 w 235938"/>
                <a:gd name="connsiteY13" fmla="*/ 104620 h 102447"/>
                <a:gd name="connsiteX14" fmla="*/ 137527 w 235938"/>
                <a:gd name="connsiteY14" fmla="*/ 101516 h 102447"/>
                <a:gd name="connsiteX15" fmla="*/ 139701 w 235938"/>
                <a:gd name="connsiteY15" fmla="*/ 97170 h 102447"/>
                <a:gd name="connsiteX16" fmla="*/ 143736 w 235938"/>
                <a:gd name="connsiteY16" fmla="*/ 94065 h 102447"/>
                <a:gd name="connsiteX17" fmla="*/ 143736 w 235938"/>
                <a:gd name="connsiteY17" fmla="*/ 89719 h 102447"/>
                <a:gd name="connsiteX18" fmla="*/ 146841 w 235938"/>
                <a:gd name="connsiteY18" fmla="*/ 94065 h 102447"/>
                <a:gd name="connsiteX19" fmla="*/ 149014 w 235938"/>
                <a:gd name="connsiteY19" fmla="*/ 99343 h 102447"/>
                <a:gd name="connsiteX20" fmla="*/ 152118 w 235938"/>
                <a:gd name="connsiteY20" fmla="*/ 104620 h 102447"/>
                <a:gd name="connsiteX21" fmla="*/ 158327 w 235938"/>
                <a:gd name="connsiteY21" fmla="*/ 104620 h 102447"/>
                <a:gd name="connsiteX22" fmla="*/ 163605 w 235938"/>
                <a:gd name="connsiteY22" fmla="*/ 104620 h 102447"/>
                <a:gd name="connsiteX23" fmla="*/ 166709 w 235938"/>
                <a:gd name="connsiteY23" fmla="*/ 103689 h 102447"/>
                <a:gd name="connsiteX24" fmla="*/ 172918 w 235938"/>
                <a:gd name="connsiteY24" fmla="*/ 101516 h 102447"/>
                <a:gd name="connsiteX25" fmla="*/ 178196 w 235938"/>
                <a:gd name="connsiteY25" fmla="*/ 101516 h 102447"/>
                <a:gd name="connsiteX26" fmla="*/ 183163 w 235938"/>
                <a:gd name="connsiteY26" fmla="*/ 99343 h 102447"/>
                <a:gd name="connsiteX27" fmla="*/ 185336 w 235938"/>
                <a:gd name="connsiteY27" fmla="*/ 97170 h 102447"/>
                <a:gd name="connsiteX28" fmla="*/ 188441 w 235938"/>
                <a:gd name="connsiteY28" fmla="*/ 97170 h 102447"/>
                <a:gd name="connsiteX29" fmla="*/ 190614 w 235938"/>
                <a:gd name="connsiteY29" fmla="*/ 96238 h 102447"/>
                <a:gd name="connsiteX30" fmla="*/ 192787 w 235938"/>
                <a:gd name="connsiteY30" fmla="*/ 91892 h 102447"/>
                <a:gd name="connsiteX31" fmla="*/ 195891 w 235938"/>
                <a:gd name="connsiteY31" fmla="*/ 89719 h 102447"/>
                <a:gd name="connsiteX32" fmla="*/ 199927 w 235938"/>
                <a:gd name="connsiteY32" fmla="*/ 89719 h 102447"/>
                <a:gd name="connsiteX33" fmla="*/ 209240 w 235938"/>
                <a:gd name="connsiteY33" fmla="*/ 91892 h 102447"/>
                <a:gd name="connsiteX34" fmla="*/ 221969 w 235938"/>
                <a:gd name="connsiteY34" fmla="*/ 94065 h 102447"/>
                <a:gd name="connsiteX35" fmla="*/ 232213 w 235938"/>
                <a:gd name="connsiteY35" fmla="*/ 94065 h 102447"/>
                <a:gd name="connsiteX36" fmla="*/ 236560 w 235938"/>
                <a:gd name="connsiteY36" fmla="*/ 81337 h 102447"/>
                <a:gd name="connsiteX37" fmla="*/ 236560 w 235938"/>
                <a:gd name="connsiteY37" fmla="*/ 76991 h 102447"/>
                <a:gd name="connsiteX38" fmla="*/ 236560 w 235938"/>
                <a:gd name="connsiteY38" fmla="*/ 73886 h 102447"/>
                <a:gd name="connsiteX39" fmla="*/ 236560 w 235938"/>
                <a:gd name="connsiteY39" fmla="*/ 71713 h 102447"/>
                <a:gd name="connsiteX40" fmla="*/ 234387 w 235938"/>
                <a:gd name="connsiteY40" fmla="*/ 67677 h 102447"/>
                <a:gd name="connsiteX41" fmla="*/ 232213 w 235938"/>
                <a:gd name="connsiteY41" fmla="*/ 62400 h 102447"/>
                <a:gd name="connsiteX42" fmla="*/ 232213 w 235938"/>
                <a:gd name="connsiteY42" fmla="*/ 57122 h 102447"/>
                <a:gd name="connsiteX43" fmla="*/ 209240 w 235938"/>
                <a:gd name="connsiteY43" fmla="*/ 54949 h 102447"/>
                <a:gd name="connsiteX44" fmla="*/ 181300 w 235938"/>
                <a:gd name="connsiteY44" fmla="*/ 57122 h 102447"/>
                <a:gd name="connsiteX45" fmla="*/ 156154 w 235938"/>
                <a:gd name="connsiteY45" fmla="*/ 57122 h 102447"/>
                <a:gd name="connsiteX46" fmla="*/ 130077 w 235938"/>
                <a:gd name="connsiteY46" fmla="*/ 57122 h 102447"/>
                <a:gd name="connsiteX47" fmla="*/ 107414 w 235938"/>
                <a:gd name="connsiteY47" fmla="*/ 51844 h 102447"/>
                <a:gd name="connsiteX48" fmla="*/ 87546 w 235938"/>
                <a:gd name="connsiteY48" fmla="*/ 40047 h 102447"/>
                <a:gd name="connsiteX49" fmla="*/ 87546 w 235938"/>
                <a:gd name="connsiteY49" fmla="*/ 36943 h 102447"/>
                <a:gd name="connsiteX50" fmla="*/ 87546 w 235938"/>
                <a:gd name="connsiteY50" fmla="*/ 31665 h 102447"/>
                <a:gd name="connsiteX51" fmla="*/ 87546 w 235938"/>
                <a:gd name="connsiteY51" fmla="*/ 27319 h 102447"/>
                <a:gd name="connsiteX52" fmla="*/ 85373 w 235938"/>
                <a:gd name="connsiteY52" fmla="*/ 22042 h 102447"/>
                <a:gd name="connsiteX53" fmla="*/ 83199 w 235938"/>
                <a:gd name="connsiteY53" fmla="*/ 16764 h 102447"/>
                <a:gd name="connsiteX54" fmla="*/ 83199 w 235938"/>
                <a:gd name="connsiteY54" fmla="*/ 12418 h 102447"/>
                <a:gd name="connsiteX55" fmla="*/ 65504 w 235938"/>
                <a:gd name="connsiteY55" fmla="*/ 14591 h 102447"/>
                <a:gd name="connsiteX56" fmla="*/ 54328 w 235938"/>
                <a:gd name="connsiteY56" fmla="*/ 14591 h 102447"/>
                <a:gd name="connsiteX57" fmla="*/ 46877 w 235938"/>
                <a:gd name="connsiteY57" fmla="*/ 10555 h 102447"/>
                <a:gd name="connsiteX58" fmla="*/ 43773 w 235938"/>
                <a:gd name="connsiteY58" fmla="*/ 0 h 102447"/>
                <a:gd name="connsiteX59" fmla="*/ 37564 w 235938"/>
                <a:gd name="connsiteY59" fmla="*/ 0 h 102447"/>
                <a:gd name="connsiteX60" fmla="*/ 34460 w 235938"/>
                <a:gd name="connsiteY60" fmla="*/ 1863 h 102447"/>
                <a:gd name="connsiteX61" fmla="*/ 30113 w 235938"/>
                <a:gd name="connsiteY61" fmla="*/ 1863 h 102447"/>
                <a:gd name="connsiteX62" fmla="*/ 27009 w 235938"/>
                <a:gd name="connsiteY62" fmla="*/ 3104 h 102447"/>
                <a:gd name="connsiteX63" fmla="*/ 16764 w 235938"/>
                <a:gd name="connsiteY63" fmla="*/ 5278 h 102447"/>
                <a:gd name="connsiteX64" fmla="*/ 7451 w 235938"/>
                <a:gd name="connsiteY64" fmla="*/ 5278 h 102447"/>
                <a:gd name="connsiteX65" fmla="*/ 0 w 235938"/>
                <a:gd name="connsiteY65" fmla="*/ 7140 h 102447"/>
                <a:gd name="connsiteX66" fmla="*/ 0 w 235938"/>
                <a:gd name="connsiteY66" fmla="*/ 12418 h 102447"/>
                <a:gd name="connsiteX67" fmla="*/ 2173 w 235938"/>
                <a:gd name="connsiteY67" fmla="*/ 14591 h 102447"/>
                <a:gd name="connsiteX68" fmla="*/ 2173 w 235938"/>
                <a:gd name="connsiteY68" fmla="*/ 16764 h 102447"/>
                <a:gd name="connsiteX69" fmla="*/ 2173 w 235938"/>
                <a:gd name="connsiteY69" fmla="*/ 18006 h 102447"/>
                <a:gd name="connsiteX70" fmla="*/ 3104 w 235938"/>
                <a:gd name="connsiteY70" fmla="*/ 19869 h 102447"/>
                <a:gd name="connsiteX71" fmla="*/ 17695 w 235938"/>
                <a:gd name="connsiteY71" fmla="*/ 25146 h 102447"/>
                <a:gd name="connsiteX72" fmla="*/ 34460 w 235938"/>
                <a:gd name="connsiteY72" fmla="*/ 31665 h 102447"/>
                <a:gd name="connsiteX73" fmla="*/ 52155 w 235938"/>
                <a:gd name="connsiteY73" fmla="*/ 32597 h 102447"/>
                <a:gd name="connsiteX74" fmla="*/ 52155 w 235938"/>
                <a:gd name="connsiteY74" fmla="*/ 44394 h 102447"/>
                <a:gd name="connsiteX75" fmla="*/ 56191 w 235938"/>
                <a:gd name="connsiteY75" fmla="*/ 52776 h 102447"/>
                <a:gd name="connsiteX76" fmla="*/ 59295 w 235938"/>
                <a:gd name="connsiteY76" fmla="*/ 58985 h 102447"/>
                <a:gd name="connsiteX77" fmla="*/ 61468 w 235938"/>
                <a:gd name="connsiteY77" fmla="*/ 66435 h 102447"/>
                <a:gd name="connsiteX78" fmla="*/ 59295 w 235938"/>
                <a:gd name="connsiteY78" fmla="*/ 76991 h 102447"/>
                <a:gd name="connsiteX79" fmla="*/ 61468 w 235938"/>
                <a:gd name="connsiteY79" fmla="*/ 79164 h 102447"/>
                <a:gd name="connsiteX80" fmla="*/ 65504 w 235938"/>
                <a:gd name="connsiteY80" fmla="*/ 81337 h 102447"/>
                <a:gd name="connsiteX81" fmla="*/ 66746 w 235938"/>
                <a:gd name="connsiteY81" fmla="*/ 82268 h 102447"/>
                <a:gd name="connsiteX82" fmla="*/ 70782 w 235938"/>
                <a:gd name="connsiteY82" fmla="*/ 84441 h 102447"/>
                <a:gd name="connsiteX83" fmla="*/ 72955 w 235938"/>
                <a:gd name="connsiteY83" fmla="*/ 84441 h 102447"/>
                <a:gd name="connsiteX84" fmla="*/ 73886 w 235938"/>
                <a:gd name="connsiteY84" fmla="*/ 86614 h 102447"/>
                <a:gd name="connsiteX85" fmla="*/ 80095 w 235938"/>
                <a:gd name="connsiteY85" fmla="*/ 84441 h 102447"/>
                <a:gd name="connsiteX86" fmla="*/ 83199 w 235938"/>
                <a:gd name="connsiteY86" fmla="*/ 84441 h 102447"/>
                <a:gd name="connsiteX87" fmla="*/ 88477 w 235938"/>
                <a:gd name="connsiteY87" fmla="*/ 82268 h 102447"/>
                <a:gd name="connsiteX88" fmla="*/ 92823 w 235938"/>
                <a:gd name="connsiteY88" fmla="*/ 82268 h 102447"/>
                <a:gd name="connsiteX89" fmla="*/ 94686 w 235938"/>
                <a:gd name="connsiteY89" fmla="*/ 81337 h 102447"/>
                <a:gd name="connsiteX90" fmla="*/ 95928 w 235938"/>
                <a:gd name="connsiteY90" fmla="*/ 81337 h 102447"/>
                <a:gd name="connsiteX91" fmla="*/ 97790 w 235938"/>
                <a:gd name="connsiteY91" fmla="*/ 82268 h 102447"/>
                <a:gd name="connsiteX92" fmla="*/ 97790 w 235938"/>
                <a:gd name="connsiteY92" fmla="*/ 84441 h 1024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35938" h="102447">
                  <a:moveTo>
                    <a:pt x="97790" y="86614"/>
                  </a:moveTo>
                  <a:lnTo>
                    <a:pt x="97790" y="88787"/>
                  </a:lnTo>
                  <a:lnTo>
                    <a:pt x="97790" y="89719"/>
                  </a:lnTo>
                  <a:lnTo>
                    <a:pt x="99964" y="91892"/>
                  </a:lnTo>
                  <a:lnTo>
                    <a:pt x="103068" y="94065"/>
                  </a:lnTo>
                  <a:lnTo>
                    <a:pt x="107414" y="96238"/>
                  </a:lnTo>
                  <a:lnTo>
                    <a:pt x="110519" y="96238"/>
                  </a:lnTo>
                  <a:lnTo>
                    <a:pt x="112381" y="94065"/>
                  </a:lnTo>
                  <a:lnTo>
                    <a:pt x="114554" y="89719"/>
                  </a:lnTo>
                  <a:lnTo>
                    <a:pt x="116728" y="84441"/>
                  </a:lnTo>
                  <a:lnTo>
                    <a:pt x="119832" y="91892"/>
                  </a:lnTo>
                  <a:lnTo>
                    <a:pt x="122937" y="99343"/>
                  </a:lnTo>
                  <a:lnTo>
                    <a:pt x="126972" y="104620"/>
                  </a:lnTo>
                  <a:lnTo>
                    <a:pt x="136596" y="104620"/>
                  </a:lnTo>
                  <a:lnTo>
                    <a:pt x="137527" y="101516"/>
                  </a:lnTo>
                  <a:lnTo>
                    <a:pt x="139701" y="97170"/>
                  </a:lnTo>
                  <a:lnTo>
                    <a:pt x="143736" y="94065"/>
                  </a:lnTo>
                  <a:lnTo>
                    <a:pt x="143736" y="89719"/>
                  </a:lnTo>
                  <a:lnTo>
                    <a:pt x="146841" y="94065"/>
                  </a:lnTo>
                  <a:lnTo>
                    <a:pt x="149014" y="99343"/>
                  </a:lnTo>
                  <a:lnTo>
                    <a:pt x="152118" y="104620"/>
                  </a:lnTo>
                  <a:lnTo>
                    <a:pt x="158327" y="104620"/>
                  </a:lnTo>
                  <a:lnTo>
                    <a:pt x="163605" y="104620"/>
                  </a:lnTo>
                  <a:lnTo>
                    <a:pt x="166709" y="103689"/>
                  </a:lnTo>
                  <a:lnTo>
                    <a:pt x="172918" y="101516"/>
                  </a:lnTo>
                  <a:lnTo>
                    <a:pt x="178196" y="101516"/>
                  </a:lnTo>
                  <a:lnTo>
                    <a:pt x="183163" y="99343"/>
                  </a:lnTo>
                  <a:lnTo>
                    <a:pt x="185336" y="97170"/>
                  </a:lnTo>
                  <a:lnTo>
                    <a:pt x="188441" y="97170"/>
                  </a:lnTo>
                  <a:lnTo>
                    <a:pt x="190614" y="96238"/>
                  </a:lnTo>
                  <a:lnTo>
                    <a:pt x="192787" y="91892"/>
                  </a:lnTo>
                  <a:lnTo>
                    <a:pt x="195891" y="89719"/>
                  </a:lnTo>
                  <a:lnTo>
                    <a:pt x="199927" y="89719"/>
                  </a:lnTo>
                  <a:lnTo>
                    <a:pt x="209240" y="91892"/>
                  </a:lnTo>
                  <a:lnTo>
                    <a:pt x="221969" y="94065"/>
                  </a:lnTo>
                  <a:lnTo>
                    <a:pt x="232213" y="94065"/>
                  </a:lnTo>
                  <a:lnTo>
                    <a:pt x="236560" y="81337"/>
                  </a:lnTo>
                  <a:lnTo>
                    <a:pt x="236560" y="76991"/>
                  </a:lnTo>
                  <a:lnTo>
                    <a:pt x="236560" y="73886"/>
                  </a:lnTo>
                  <a:lnTo>
                    <a:pt x="236560" y="71713"/>
                  </a:lnTo>
                  <a:lnTo>
                    <a:pt x="234387" y="67677"/>
                  </a:lnTo>
                  <a:lnTo>
                    <a:pt x="232213" y="62400"/>
                  </a:lnTo>
                  <a:lnTo>
                    <a:pt x="232213" y="57122"/>
                  </a:lnTo>
                  <a:lnTo>
                    <a:pt x="209240" y="54949"/>
                  </a:lnTo>
                  <a:lnTo>
                    <a:pt x="181300" y="57122"/>
                  </a:lnTo>
                  <a:lnTo>
                    <a:pt x="156154" y="57122"/>
                  </a:lnTo>
                  <a:lnTo>
                    <a:pt x="130077" y="57122"/>
                  </a:lnTo>
                  <a:lnTo>
                    <a:pt x="107414" y="51844"/>
                  </a:lnTo>
                  <a:lnTo>
                    <a:pt x="87546" y="40047"/>
                  </a:lnTo>
                  <a:lnTo>
                    <a:pt x="87546" y="36943"/>
                  </a:lnTo>
                  <a:lnTo>
                    <a:pt x="87546" y="31665"/>
                  </a:lnTo>
                  <a:lnTo>
                    <a:pt x="87546" y="27319"/>
                  </a:lnTo>
                  <a:lnTo>
                    <a:pt x="85373" y="22042"/>
                  </a:lnTo>
                  <a:lnTo>
                    <a:pt x="83199" y="16764"/>
                  </a:lnTo>
                  <a:lnTo>
                    <a:pt x="83199" y="12418"/>
                  </a:lnTo>
                  <a:lnTo>
                    <a:pt x="65504" y="14591"/>
                  </a:lnTo>
                  <a:lnTo>
                    <a:pt x="54328" y="14591"/>
                  </a:lnTo>
                  <a:lnTo>
                    <a:pt x="46877" y="10555"/>
                  </a:lnTo>
                  <a:lnTo>
                    <a:pt x="43773" y="0"/>
                  </a:lnTo>
                  <a:lnTo>
                    <a:pt x="37564" y="0"/>
                  </a:lnTo>
                  <a:lnTo>
                    <a:pt x="34460" y="1863"/>
                  </a:lnTo>
                  <a:lnTo>
                    <a:pt x="30113" y="1863"/>
                  </a:lnTo>
                  <a:lnTo>
                    <a:pt x="27009" y="3104"/>
                  </a:lnTo>
                  <a:lnTo>
                    <a:pt x="16764" y="5278"/>
                  </a:lnTo>
                  <a:lnTo>
                    <a:pt x="7451" y="5278"/>
                  </a:lnTo>
                  <a:lnTo>
                    <a:pt x="0" y="7140"/>
                  </a:lnTo>
                  <a:lnTo>
                    <a:pt x="0" y="12418"/>
                  </a:lnTo>
                  <a:lnTo>
                    <a:pt x="2173" y="14591"/>
                  </a:lnTo>
                  <a:lnTo>
                    <a:pt x="2173" y="16764"/>
                  </a:lnTo>
                  <a:lnTo>
                    <a:pt x="2173" y="18006"/>
                  </a:lnTo>
                  <a:lnTo>
                    <a:pt x="3104" y="19869"/>
                  </a:lnTo>
                  <a:lnTo>
                    <a:pt x="17695" y="25146"/>
                  </a:lnTo>
                  <a:lnTo>
                    <a:pt x="34460" y="31665"/>
                  </a:lnTo>
                  <a:lnTo>
                    <a:pt x="52155" y="32597"/>
                  </a:lnTo>
                  <a:lnTo>
                    <a:pt x="52155" y="44394"/>
                  </a:lnTo>
                  <a:lnTo>
                    <a:pt x="56191" y="52776"/>
                  </a:lnTo>
                  <a:lnTo>
                    <a:pt x="59295" y="58985"/>
                  </a:lnTo>
                  <a:lnTo>
                    <a:pt x="61468" y="66435"/>
                  </a:lnTo>
                  <a:lnTo>
                    <a:pt x="59295" y="76991"/>
                  </a:lnTo>
                  <a:lnTo>
                    <a:pt x="61468" y="79164"/>
                  </a:lnTo>
                  <a:lnTo>
                    <a:pt x="65504" y="81337"/>
                  </a:lnTo>
                  <a:lnTo>
                    <a:pt x="66746" y="82268"/>
                  </a:lnTo>
                  <a:lnTo>
                    <a:pt x="70782" y="84441"/>
                  </a:lnTo>
                  <a:lnTo>
                    <a:pt x="72955" y="84441"/>
                  </a:lnTo>
                  <a:lnTo>
                    <a:pt x="73886" y="86614"/>
                  </a:lnTo>
                  <a:lnTo>
                    <a:pt x="80095" y="84441"/>
                  </a:lnTo>
                  <a:lnTo>
                    <a:pt x="83199" y="84441"/>
                  </a:lnTo>
                  <a:lnTo>
                    <a:pt x="88477" y="82268"/>
                  </a:lnTo>
                  <a:lnTo>
                    <a:pt x="92823" y="82268"/>
                  </a:lnTo>
                  <a:lnTo>
                    <a:pt x="94686" y="81337"/>
                  </a:lnTo>
                  <a:lnTo>
                    <a:pt x="95928" y="81337"/>
                  </a:lnTo>
                  <a:lnTo>
                    <a:pt x="97790" y="82268"/>
                  </a:lnTo>
                  <a:lnTo>
                    <a:pt x="97790" y="8444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xmlns="" id="{673F8F07-2DD7-46C9-BA0F-32E69B5044C6}"/>
                </a:ext>
              </a:extLst>
            </p:cNvPr>
            <p:cNvSpPr/>
            <p:nvPr/>
          </p:nvSpPr>
          <p:spPr>
            <a:xfrm>
              <a:off x="6856448" y="5409987"/>
              <a:ext cx="24836" cy="58985"/>
            </a:xfrm>
            <a:custGeom>
              <a:avLst/>
              <a:gdLst>
                <a:gd name="connsiteX0" fmla="*/ 5277 w 24835"/>
                <a:gd name="connsiteY0" fmla="*/ 50913 h 58984"/>
                <a:gd name="connsiteX1" fmla="*/ 12418 w 24835"/>
                <a:gd name="connsiteY1" fmla="*/ 60227 h 58984"/>
                <a:gd name="connsiteX2" fmla="*/ 27009 w 24835"/>
                <a:gd name="connsiteY2" fmla="*/ 23283 h 58984"/>
                <a:gd name="connsiteX3" fmla="*/ 27009 w 24835"/>
                <a:gd name="connsiteY3" fmla="*/ 15833 h 58984"/>
                <a:gd name="connsiteX4" fmla="*/ 27009 w 24835"/>
                <a:gd name="connsiteY4" fmla="*/ 10555 h 58984"/>
                <a:gd name="connsiteX5" fmla="*/ 25146 w 24835"/>
                <a:gd name="connsiteY5" fmla="*/ 7451 h 58984"/>
                <a:gd name="connsiteX6" fmla="*/ 22973 w 24835"/>
                <a:gd name="connsiteY6" fmla="*/ 3104 h 58984"/>
                <a:gd name="connsiteX7" fmla="*/ 19869 w 24835"/>
                <a:gd name="connsiteY7" fmla="*/ 0 h 58984"/>
                <a:gd name="connsiteX8" fmla="*/ 0 w 24835"/>
                <a:gd name="connsiteY8" fmla="*/ 27630 h 58984"/>
                <a:gd name="connsiteX9" fmla="*/ 2173 w 24835"/>
                <a:gd name="connsiteY9" fmla="*/ 42531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835" h="58984">
                  <a:moveTo>
                    <a:pt x="5277" y="50913"/>
                  </a:moveTo>
                  <a:lnTo>
                    <a:pt x="12418" y="60227"/>
                  </a:lnTo>
                  <a:lnTo>
                    <a:pt x="27009" y="23283"/>
                  </a:lnTo>
                  <a:lnTo>
                    <a:pt x="27009" y="15833"/>
                  </a:lnTo>
                  <a:lnTo>
                    <a:pt x="27009" y="10555"/>
                  </a:lnTo>
                  <a:lnTo>
                    <a:pt x="25146" y="7451"/>
                  </a:lnTo>
                  <a:lnTo>
                    <a:pt x="22973" y="3104"/>
                  </a:lnTo>
                  <a:lnTo>
                    <a:pt x="19869" y="0"/>
                  </a:lnTo>
                  <a:lnTo>
                    <a:pt x="0" y="27630"/>
                  </a:lnTo>
                  <a:lnTo>
                    <a:pt x="2173" y="425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xmlns="" id="{F467FD9B-F645-477A-8D11-0E89397A445D}"/>
                </a:ext>
              </a:extLst>
            </p:cNvPr>
            <p:cNvSpPr/>
            <p:nvPr/>
          </p:nvSpPr>
          <p:spPr>
            <a:xfrm>
              <a:off x="6876316" y="5644063"/>
              <a:ext cx="68298" cy="65194"/>
            </a:xfrm>
            <a:custGeom>
              <a:avLst/>
              <a:gdLst>
                <a:gd name="connsiteX0" fmla="*/ 43773 w 68298"/>
                <a:gd name="connsiteY0" fmla="*/ 12418 h 65193"/>
                <a:gd name="connsiteX1" fmla="*/ 31355 w 68298"/>
                <a:gd name="connsiteY1" fmla="*/ 19868 h 65193"/>
                <a:gd name="connsiteX2" fmla="*/ 17695 w 68298"/>
                <a:gd name="connsiteY2" fmla="*/ 24215 h 65193"/>
                <a:gd name="connsiteX3" fmla="*/ 3104 w 68298"/>
                <a:gd name="connsiteY3" fmla="*/ 29492 h 65193"/>
                <a:gd name="connsiteX4" fmla="*/ 3104 w 68298"/>
                <a:gd name="connsiteY4" fmla="*/ 33838 h 65193"/>
                <a:gd name="connsiteX5" fmla="*/ 2173 w 68298"/>
                <a:gd name="connsiteY5" fmla="*/ 33838 h 65193"/>
                <a:gd name="connsiteX6" fmla="*/ 2173 w 68298"/>
                <a:gd name="connsiteY6" fmla="*/ 34770 h 65193"/>
                <a:gd name="connsiteX7" fmla="*/ 0 w 68298"/>
                <a:gd name="connsiteY7" fmla="*/ 36943 h 65193"/>
                <a:gd name="connsiteX8" fmla="*/ 0 w 68298"/>
                <a:gd name="connsiteY8" fmla="*/ 46567 h 65193"/>
                <a:gd name="connsiteX9" fmla="*/ 7140 w 68298"/>
                <a:gd name="connsiteY9" fmla="*/ 42221 h 65193"/>
                <a:gd name="connsiteX10" fmla="*/ 14591 w 68298"/>
                <a:gd name="connsiteY10" fmla="*/ 40979 h 65193"/>
                <a:gd name="connsiteX11" fmla="*/ 21731 w 68298"/>
                <a:gd name="connsiteY11" fmla="*/ 36943 h 65193"/>
                <a:gd name="connsiteX12" fmla="*/ 27009 w 68298"/>
                <a:gd name="connsiteY12" fmla="*/ 33838 h 65193"/>
                <a:gd name="connsiteX13" fmla="*/ 31355 w 68298"/>
                <a:gd name="connsiteY13" fmla="*/ 40979 h 65193"/>
                <a:gd name="connsiteX14" fmla="*/ 32286 w 68298"/>
                <a:gd name="connsiteY14" fmla="*/ 46567 h 65193"/>
                <a:gd name="connsiteX15" fmla="*/ 34459 w 68298"/>
                <a:gd name="connsiteY15" fmla="*/ 51844 h 65193"/>
                <a:gd name="connsiteX16" fmla="*/ 36322 w 68298"/>
                <a:gd name="connsiteY16" fmla="*/ 55880 h 65193"/>
                <a:gd name="connsiteX17" fmla="*/ 41600 w 68298"/>
                <a:gd name="connsiteY17" fmla="*/ 58985 h 65193"/>
                <a:gd name="connsiteX18" fmla="*/ 46877 w 68298"/>
                <a:gd name="connsiteY18" fmla="*/ 61158 h 65193"/>
                <a:gd name="connsiteX19" fmla="*/ 46877 w 68298"/>
                <a:gd name="connsiteY19" fmla="*/ 66435 h 65193"/>
                <a:gd name="connsiteX20" fmla="*/ 56191 w 68298"/>
                <a:gd name="connsiteY20" fmla="*/ 66435 h 65193"/>
                <a:gd name="connsiteX21" fmla="*/ 56191 w 68298"/>
                <a:gd name="connsiteY21" fmla="*/ 61158 h 65193"/>
                <a:gd name="connsiteX22" fmla="*/ 56191 w 68298"/>
                <a:gd name="connsiteY22" fmla="*/ 58985 h 65193"/>
                <a:gd name="connsiteX23" fmla="*/ 56191 w 68298"/>
                <a:gd name="connsiteY23" fmla="*/ 57122 h 65193"/>
                <a:gd name="connsiteX24" fmla="*/ 58364 w 68298"/>
                <a:gd name="connsiteY24" fmla="*/ 55880 h 65193"/>
                <a:gd name="connsiteX25" fmla="*/ 56191 w 68298"/>
                <a:gd name="connsiteY25" fmla="*/ 53707 h 65193"/>
                <a:gd name="connsiteX26" fmla="*/ 54018 w 68298"/>
                <a:gd name="connsiteY26" fmla="*/ 51844 h 65193"/>
                <a:gd name="connsiteX27" fmla="*/ 53086 w 68298"/>
                <a:gd name="connsiteY27" fmla="*/ 49671 h 65193"/>
                <a:gd name="connsiteX28" fmla="*/ 53086 w 68298"/>
                <a:gd name="connsiteY28" fmla="*/ 46567 h 65193"/>
                <a:gd name="connsiteX29" fmla="*/ 54018 w 68298"/>
                <a:gd name="connsiteY29" fmla="*/ 48429 h 65193"/>
                <a:gd name="connsiteX30" fmla="*/ 56191 w 68298"/>
                <a:gd name="connsiteY30" fmla="*/ 48429 h 65193"/>
                <a:gd name="connsiteX31" fmla="*/ 58364 w 68298"/>
                <a:gd name="connsiteY31" fmla="*/ 48429 h 65193"/>
                <a:gd name="connsiteX32" fmla="*/ 58364 w 68298"/>
                <a:gd name="connsiteY32" fmla="*/ 49671 h 65193"/>
                <a:gd name="connsiteX33" fmla="*/ 60227 w 68298"/>
                <a:gd name="connsiteY33" fmla="*/ 53707 h 65193"/>
                <a:gd name="connsiteX34" fmla="*/ 63641 w 68298"/>
                <a:gd name="connsiteY34" fmla="*/ 51844 h 65193"/>
                <a:gd name="connsiteX35" fmla="*/ 65504 w 68298"/>
                <a:gd name="connsiteY35" fmla="*/ 51844 h 65193"/>
                <a:gd name="connsiteX36" fmla="*/ 65504 w 68298"/>
                <a:gd name="connsiteY36" fmla="*/ 49671 h 65193"/>
                <a:gd name="connsiteX37" fmla="*/ 67677 w 68298"/>
                <a:gd name="connsiteY37" fmla="*/ 49671 h 65193"/>
                <a:gd name="connsiteX38" fmla="*/ 67677 w 68298"/>
                <a:gd name="connsiteY38" fmla="*/ 46567 h 65193"/>
                <a:gd name="connsiteX39" fmla="*/ 68608 w 68298"/>
                <a:gd name="connsiteY39" fmla="*/ 42221 h 65193"/>
                <a:gd name="connsiteX40" fmla="*/ 70781 w 68298"/>
                <a:gd name="connsiteY40" fmla="*/ 42221 h 65193"/>
                <a:gd name="connsiteX41" fmla="*/ 70781 w 68298"/>
                <a:gd name="connsiteY41" fmla="*/ 40979 h 65193"/>
                <a:gd name="connsiteX42" fmla="*/ 68608 w 68298"/>
                <a:gd name="connsiteY42" fmla="*/ 40979 h 65193"/>
                <a:gd name="connsiteX43" fmla="*/ 67677 w 68298"/>
                <a:gd name="connsiteY43" fmla="*/ 36943 h 65193"/>
                <a:gd name="connsiteX44" fmla="*/ 67677 w 68298"/>
                <a:gd name="connsiteY44" fmla="*/ 19868 h 65193"/>
                <a:gd name="connsiteX45" fmla="*/ 61468 w 68298"/>
                <a:gd name="connsiteY45" fmla="*/ 9313 h 65193"/>
                <a:gd name="connsiteX46" fmla="*/ 53086 w 68298"/>
                <a:gd name="connsiteY46" fmla="*/ 0 h 6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68298" h="65193">
                  <a:moveTo>
                    <a:pt x="43773" y="12418"/>
                  </a:moveTo>
                  <a:lnTo>
                    <a:pt x="31355" y="19868"/>
                  </a:lnTo>
                  <a:lnTo>
                    <a:pt x="17695" y="24215"/>
                  </a:lnTo>
                  <a:lnTo>
                    <a:pt x="3104" y="29492"/>
                  </a:lnTo>
                  <a:lnTo>
                    <a:pt x="3104" y="33838"/>
                  </a:lnTo>
                  <a:lnTo>
                    <a:pt x="2173" y="33838"/>
                  </a:lnTo>
                  <a:lnTo>
                    <a:pt x="2173" y="34770"/>
                  </a:lnTo>
                  <a:lnTo>
                    <a:pt x="0" y="36943"/>
                  </a:lnTo>
                  <a:lnTo>
                    <a:pt x="0" y="46567"/>
                  </a:lnTo>
                  <a:lnTo>
                    <a:pt x="7140" y="42221"/>
                  </a:lnTo>
                  <a:lnTo>
                    <a:pt x="14591" y="40979"/>
                  </a:lnTo>
                  <a:lnTo>
                    <a:pt x="21731" y="36943"/>
                  </a:lnTo>
                  <a:lnTo>
                    <a:pt x="27009" y="33838"/>
                  </a:lnTo>
                  <a:lnTo>
                    <a:pt x="31355" y="40979"/>
                  </a:lnTo>
                  <a:lnTo>
                    <a:pt x="32286" y="46567"/>
                  </a:lnTo>
                  <a:lnTo>
                    <a:pt x="34459" y="51844"/>
                  </a:lnTo>
                  <a:lnTo>
                    <a:pt x="36322" y="55880"/>
                  </a:lnTo>
                  <a:lnTo>
                    <a:pt x="41600" y="58985"/>
                  </a:lnTo>
                  <a:lnTo>
                    <a:pt x="46877" y="61158"/>
                  </a:lnTo>
                  <a:lnTo>
                    <a:pt x="46877" y="66435"/>
                  </a:lnTo>
                  <a:lnTo>
                    <a:pt x="56191" y="66435"/>
                  </a:lnTo>
                  <a:lnTo>
                    <a:pt x="56191" y="61158"/>
                  </a:lnTo>
                  <a:lnTo>
                    <a:pt x="56191" y="58985"/>
                  </a:lnTo>
                  <a:lnTo>
                    <a:pt x="56191" y="57122"/>
                  </a:lnTo>
                  <a:lnTo>
                    <a:pt x="58364" y="55880"/>
                  </a:lnTo>
                  <a:lnTo>
                    <a:pt x="56191" y="53707"/>
                  </a:lnTo>
                  <a:lnTo>
                    <a:pt x="54018" y="51844"/>
                  </a:lnTo>
                  <a:lnTo>
                    <a:pt x="53086" y="49671"/>
                  </a:lnTo>
                  <a:lnTo>
                    <a:pt x="53086" y="46567"/>
                  </a:lnTo>
                  <a:lnTo>
                    <a:pt x="54018" y="48429"/>
                  </a:lnTo>
                  <a:lnTo>
                    <a:pt x="56191" y="48429"/>
                  </a:lnTo>
                  <a:lnTo>
                    <a:pt x="58364" y="48429"/>
                  </a:lnTo>
                  <a:lnTo>
                    <a:pt x="58364" y="49671"/>
                  </a:lnTo>
                  <a:lnTo>
                    <a:pt x="60227" y="53707"/>
                  </a:lnTo>
                  <a:lnTo>
                    <a:pt x="63641" y="51844"/>
                  </a:lnTo>
                  <a:lnTo>
                    <a:pt x="65504" y="51844"/>
                  </a:lnTo>
                  <a:lnTo>
                    <a:pt x="65504" y="49671"/>
                  </a:lnTo>
                  <a:lnTo>
                    <a:pt x="67677" y="49671"/>
                  </a:lnTo>
                  <a:lnTo>
                    <a:pt x="67677" y="46567"/>
                  </a:lnTo>
                  <a:lnTo>
                    <a:pt x="68608" y="42221"/>
                  </a:lnTo>
                  <a:lnTo>
                    <a:pt x="70781" y="42221"/>
                  </a:lnTo>
                  <a:lnTo>
                    <a:pt x="70781" y="40979"/>
                  </a:lnTo>
                  <a:lnTo>
                    <a:pt x="68608" y="40979"/>
                  </a:lnTo>
                  <a:lnTo>
                    <a:pt x="67677" y="36943"/>
                  </a:lnTo>
                  <a:lnTo>
                    <a:pt x="67677" y="19868"/>
                  </a:lnTo>
                  <a:lnTo>
                    <a:pt x="61468" y="9313"/>
                  </a:lnTo>
                  <a:lnTo>
                    <a:pt x="53086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xmlns="" id="{9ED79C78-80DF-4333-B21F-223A9CB1B854}"/>
                </a:ext>
              </a:extLst>
            </p:cNvPr>
            <p:cNvSpPr/>
            <p:nvPr/>
          </p:nvSpPr>
          <p:spPr>
            <a:xfrm>
              <a:off x="6851170" y="5514917"/>
              <a:ext cx="83820" cy="139701"/>
            </a:xfrm>
            <a:custGeom>
              <a:avLst/>
              <a:gdLst>
                <a:gd name="connsiteX0" fmla="*/ 7450 w 83820"/>
                <a:gd name="connsiteY0" fmla="*/ 76991 h 139700"/>
                <a:gd name="connsiteX1" fmla="*/ 12728 w 83820"/>
                <a:gd name="connsiteY1" fmla="*/ 90961 h 139700"/>
                <a:gd name="connsiteX2" fmla="*/ 14591 w 83820"/>
                <a:gd name="connsiteY2" fmla="*/ 91892 h 139700"/>
                <a:gd name="connsiteX3" fmla="*/ 14591 w 83820"/>
                <a:gd name="connsiteY3" fmla="*/ 94065 h 139700"/>
                <a:gd name="connsiteX4" fmla="*/ 15833 w 83820"/>
                <a:gd name="connsiteY4" fmla="*/ 96238 h 139700"/>
                <a:gd name="connsiteX5" fmla="*/ 17695 w 83820"/>
                <a:gd name="connsiteY5" fmla="*/ 98411 h 139700"/>
                <a:gd name="connsiteX6" fmla="*/ 17695 w 83820"/>
                <a:gd name="connsiteY6" fmla="*/ 91892 h 139700"/>
                <a:gd name="connsiteX7" fmla="*/ 19868 w 83820"/>
                <a:gd name="connsiteY7" fmla="*/ 86614 h 139700"/>
                <a:gd name="connsiteX8" fmla="*/ 22042 w 83820"/>
                <a:gd name="connsiteY8" fmla="*/ 81337 h 139700"/>
                <a:gd name="connsiteX9" fmla="*/ 22042 w 83820"/>
                <a:gd name="connsiteY9" fmla="*/ 73886 h 139700"/>
                <a:gd name="connsiteX10" fmla="*/ 42841 w 83820"/>
                <a:gd name="connsiteY10" fmla="*/ 83510 h 139700"/>
                <a:gd name="connsiteX11" fmla="*/ 61468 w 83820"/>
                <a:gd name="connsiteY11" fmla="*/ 98411 h 139700"/>
                <a:gd name="connsiteX12" fmla="*/ 64572 w 83820"/>
                <a:gd name="connsiteY12" fmla="*/ 98411 h 139700"/>
                <a:gd name="connsiteX13" fmla="*/ 63641 w 83820"/>
                <a:gd name="connsiteY13" fmla="*/ 101516 h 139700"/>
                <a:gd name="connsiteX14" fmla="*/ 61468 w 83820"/>
                <a:gd name="connsiteY14" fmla="*/ 103689 h 139700"/>
                <a:gd name="connsiteX15" fmla="*/ 61468 w 83820"/>
                <a:gd name="connsiteY15" fmla="*/ 105862 h 139700"/>
                <a:gd name="connsiteX16" fmla="*/ 59605 w 83820"/>
                <a:gd name="connsiteY16" fmla="*/ 106793 h 139700"/>
                <a:gd name="connsiteX17" fmla="*/ 57432 w 83820"/>
                <a:gd name="connsiteY17" fmla="*/ 111140 h 139700"/>
                <a:gd name="connsiteX18" fmla="*/ 57432 w 83820"/>
                <a:gd name="connsiteY18" fmla="*/ 114244 h 139700"/>
                <a:gd name="connsiteX19" fmla="*/ 45015 w 83820"/>
                <a:gd name="connsiteY19" fmla="*/ 114244 h 139700"/>
                <a:gd name="connsiteX20" fmla="*/ 45015 w 83820"/>
                <a:gd name="connsiteY20" fmla="*/ 101516 h 139700"/>
                <a:gd name="connsiteX21" fmla="*/ 37564 w 83820"/>
                <a:gd name="connsiteY21" fmla="*/ 101516 h 139700"/>
                <a:gd name="connsiteX22" fmla="*/ 32286 w 83820"/>
                <a:gd name="connsiteY22" fmla="*/ 103689 h 139700"/>
                <a:gd name="connsiteX23" fmla="*/ 28250 w 83820"/>
                <a:gd name="connsiteY23" fmla="*/ 103689 h 139700"/>
                <a:gd name="connsiteX24" fmla="*/ 27319 w 83820"/>
                <a:gd name="connsiteY24" fmla="*/ 105862 h 139700"/>
                <a:gd name="connsiteX25" fmla="*/ 27319 w 83820"/>
                <a:gd name="connsiteY25" fmla="*/ 106793 h 139700"/>
                <a:gd name="connsiteX26" fmla="*/ 25146 w 83820"/>
                <a:gd name="connsiteY26" fmla="*/ 111140 h 139700"/>
                <a:gd name="connsiteX27" fmla="*/ 25146 w 83820"/>
                <a:gd name="connsiteY27" fmla="*/ 116417 h 139700"/>
                <a:gd name="connsiteX28" fmla="*/ 25146 w 83820"/>
                <a:gd name="connsiteY28" fmla="*/ 121695 h 139700"/>
                <a:gd name="connsiteX29" fmla="*/ 30423 w 83820"/>
                <a:gd name="connsiteY29" fmla="*/ 123558 h 139700"/>
                <a:gd name="connsiteX30" fmla="*/ 32286 w 83820"/>
                <a:gd name="connsiteY30" fmla="*/ 123558 h 139700"/>
                <a:gd name="connsiteX31" fmla="*/ 34459 w 83820"/>
                <a:gd name="connsiteY31" fmla="*/ 125731 h 139700"/>
                <a:gd name="connsiteX32" fmla="*/ 34459 w 83820"/>
                <a:gd name="connsiteY32" fmla="*/ 127904 h 139700"/>
                <a:gd name="connsiteX33" fmla="*/ 34459 w 83820"/>
                <a:gd name="connsiteY33" fmla="*/ 129146 h 139700"/>
                <a:gd name="connsiteX34" fmla="*/ 34459 w 83820"/>
                <a:gd name="connsiteY34" fmla="*/ 131008 h 139700"/>
                <a:gd name="connsiteX35" fmla="*/ 34459 w 83820"/>
                <a:gd name="connsiteY35" fmla="*/ 134423 h 139700"/>
                <a:gd name="connsiteX36" fmla="*/ 37564 w 83820"/>
                <a:gd name="connsiteY36" fmla="*/ 138459 h 139700"/>
                <a:gd name="connsiteX37" fmla="*/ 37564 w 83820"/>
                <a:gd name="connsiteY37" fmla="*/ 141563 h 139700"/>
                <a:gd name="connsiteX38" fmla="*/ 42841 w 83820"/>
                <a:gd name="connsiteY38" fmla="*/ 138459 h 139700"/>
                <a:gd name="connsiteX39" fmla="*/ 49050 w 83820"/>
                <a:gd name="connsiteY39" fmla="*/ 136286 h 139700"/>
                <a:gd name="connsiteX40" fmla="*/ 52155 w 83820"/>
                <a:gd name="connsiteY40" fmla="*/ 131008 h 139700"/>
                <a:gd name="connsiteX41" fmla="*/ 54328 w 83820"/>
                <a:gd name="connsiteY41" fmla="*/ 125731 h 139700"/>
                <a:gd name="connsiteX42" fmla="*/ 57432 w 83820"/>
                <a:gd name="connsiteY42" fmla="*/ 118280 h 139700"/>
                <a:gd name="connsiteX43" fmla="*/ 59605 w 83820"/>
                <a:gd name="connsiteY43" fmla="*/ 120453 h 139700"/>
                <a:gd name="connsiteX44" fmla="*/ 61468 w 83820"/>
                <a:gd name="connsiteY44" fmla="*/ 120453 h 139700"/>
                <a:gd name="connsiteX45" fmla="*/ 63641 w 83820"/>
                <a:gd name="connsiteY45" fmla="*/ 120453 h 139700"/>
                <a:gd name="connsiteX46" fmla="*/ 63641 w 83820"/>
                <a:gd name="connsiteY46" fmla="*/ 121695 h 139700"/>
                <a:gd name="connsiteX47" fmla="*/ 64572 w 83820"/>
                <a:gd name="connsiteY47" fmla="*/ 125731 h 139700"/>
                <a:gd name="connsiteX48" fmla="*/ 70781 w 83820"/>
                <a:gd name="connsiteY48" fmla="*/ 123558 h 139700"/>
                <a:gd name="connsiteX49" fmla="*/ 74196 w 83820"/>
                <a:gd name="connsiteY49" fmla="*/ 123558 h 139700"/>
                <a:gd name="connsiteX50" fmla="*/ 74196 w 83820"/>
                <a:gd name="connsiteY50" fmla="*/ 121695 h 139700"/>
                <a:gd name="connsiteX51" fmla="*/ 74196 w 83820"/>
                <a:gd name="connsiteY51" fmla="*/ 120453 h 139700"/>
                <a:gd name="connsiteX52" fmla="*/ 74196 w 83820"/>
                <a:gd name="connsiteY52" fmla="*/ 118280 h 139700"/>
                <a:gd name="connsiteX53" fmla="*/ 76059 w 83820"/>
                <a:gd name="connsiteY53" fmla="*/ 118280 h 139700"/>
                <a:gd name="connsiteX54" fmla="*/ 79164 w 83820"/>
                <a:gd name="connsiteY54" fmla="*/ 116417 h 139700"/>
                <a:gd name="connsiteX55" fmla="*/ 85373 w 83820"/>
                <a:gd name="connsiteY55" fmla="*/ 114244 h 139700"/>
                <a:gd name="connsiteX56" fmla="*/ 78232 w 83820"/>
                <a:gd name="connsiteY56" fmla="*/ 101516 h 139700"/>
                <a:gd name="connsiteX57" fmla="*/ 68919 w 83820"/>
                <a:gd name="connsiteY57" fmla="*/ 91892 h 139700"/>
                <a:gd name="connsiteX58" fmla="*/ 61468 w 83820"/>
                <a:gd name="connsiteY58" fmla="*/ 83510 h 139700"/>
                <a:gd name="connsiteX59" fmla="*/ 57432 w 83820"/>
                <a:gd name="connsiteY59" fmla="*/ 69850 h 139700"/>
                <a:gd name="connsiteX60" fmla="*/ 49982 w 83820"/>
                <a:gd name="connsiteY60" fmla="*/ 68609 h 139700"/>
                <a:gd name="connsiteX61" fmla="*/ 46877 w 83820"/>
                <a:gd name="connsiteY61" fmla="*/ 66435 h 139700"/>
                <a:gd name="connsiteX62" fmla="*/ 42841 w 83820"/>
                <a:gd name="connsiteY62" fmla="*/ 64573 h 139700"/>
                <a:gd name="connsiteX63" fmla="*/ 39737 w 83820"/>
                <a:gd name="connsiteY63" fmla="*/ 64573 h 139700"/>
                <a:gd name="connsiteX64" fmla="*/ 35391 w 83820"/>
                <a:gd name="connsiteY64" fmla="*/ 64573 h 139700"/>
                <a:gd name="connsiteX65" fmla="*/ 28250 w 83820"/>
                <a:gd name="connsiteY65" fmla="*/ 64573 h 139700"/>
                <a:gd name="connsiteX66" fmla="*/ 28250 w 83820"/>
                <a:gd name="connsiteY66" fmla="*/ 61158 h 139700"/>
                <a:gd name="connsiteX67" fmla="*/ 25146 w 83820"/>
                <a:gd name="connsiteY67" fmla="*/ 61158 h 139700"/>
                <a:gd name="connsiteX68" fmla="*/ 27319 w 83820"/>
                <a:gd name="connsiteY68" fmla="*/ 42221 h 139700"/>
                <a:gd name="connsiteX69" fmla="*/ 30423 w 83820"/>
                <a:gd name="connsiteY69" fmla="*/ 31666 h 139700"/>
                <a:gd name="connsiteX70" fmla="*/ 32286 w 83820"/>
                <a:gd name="connsiteY70" fmla="*/ 18937 h 139700"/>
                <a:gd name="connsiteX71" fmla="*/ 32286 w 83820"/>
                <a:gd name="connsiteY71" fmla="*/ 0 h 139700"/>
                <a:gd name="connsiteX72" fmla="*/ 25146 w 83820"/>
                <a:gd name="connsiteY72" fmla="*/ 0 h 139700"/>
                <a:gd name="connsiteX73" fmla="*/ 19868 w 83820"/>
                <a:gd name="connsiteY73" fmla="*/ 0 h 139700"/>
                <a:gd name="connsiteX74" fmla="*/ 14591 w 83820"/>
                <a:gd name="connsiteY74" fmla="*/ 1863 h 139700"/>
                <a:gd name="connsiteX75" fmla="*/ 8382 w 83820"/>
                <a:gd name="connsiteY75" fmla="*/ 4036 h 139700"/>
                <a:gd name="connsiteX76" fmla="*/ 1241 w 83820"/>
                <a:gd name="connsiteY76" fmla="*/ 22042 h 139700"/>
                <a:gd name="connsiteX77" fmla="*/ 0 w 83820"/>
                <a:gd name="connsiteY77" fmla="*/ 40048 h 139700"/>
                <a:gd name="connsiteX78" fmla="*/ 1241 w 83820"/>
                <a:gd name="connsiteY78" fmla="*/ 61158 h 139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83820" h="139700">
                  <a:moveTo>
                    <a:pt x="7450" y="76991"/>
                  </a:moveTo>
                  <a:lnTo>
                    <a:pt x="12728" y="90961"/>
                  </a:lnTo>
                  <a:lnTo>
                    <a:pt x="14591" y="91892"/>
                  </a:lnTo>
                  <a:lnTo>
                    <a:pt x="14591" y="94065"/>
                  </a:lnTo>
                  <a:lnTo>
                    <a:pt x="15833" y="96238"/>
                  </a:lnTo>
                  <a:lnTo>
                    <a:pt x="17695" y="98411"/>
                  </a:lnTo>
                  <a:lnTo>
                    <a:pt x="17695" y="91892"/>
                  </a:lnTo>
                  <a:lnTo>
                    <a:pt x="19868" y="86614"/>
                  </a:lnTo>
                  <a:lnTo>
                    <a:pt x="22042" y="81337"/>
                  </a:lnTo>
                  <a:lnTo>
                    <a:pt x="22042" y="73886"/>
                  </a:lnTo>
                  <a:lnTo>
                    <a:pt x="42841" y="83510"/>
                  </a:lnTo>
                  <a:lnTo>
                    <a:pt x="61468" y="98411"/>
                  </a:lnTo>
                  <a:lnTo>
                    <a:pt x="64572" y="98411"/>
                  </a:lnTo>
                  <a:lnTo>
                    <a:pt x="63641" y="101516"/>
                  </a:lnTo>
                  <a:lnTo>
                    <a:pt x="61468" y="103689"/>
                  </a:lnTo>
                  <a:lnTo>
                    <a:pt x="61468" y="105862"/>
                  </a:lnTo>
                  <a:lnTo>
                    <a:pt x="59605" y="106793"/>
                  </a:lnTo>
                  <a:lnTo>
                    <a:pt x="57432" y="111140"/>
                  </a:lnTo>
                  <a:lnTo>
                    <a:pt x="57432" y="114244"/>
                  </a:lnTo>
                  <a:lnTo>
                    <a:pt x="45015" y="114244"/>
                  </a:lnTo>
                  <a:lnTo>
                    <a:pt x="45015" y="101516"/>
                  </a:lnTo>
                  <a:lnTo>
                    <a:pt x="37564" y="101516"/>
                  </a:lnTo>
                  <a:lnTo>
                    <a:pt x="32286" y="103689"/>
                  </a:lnTo>
                  <a:lnTo>
                    <a:pt x="28250" y="103689"/>
                  </a:lnTo>
                  <a:lnTo>
                    <a:pt x="27319" y="105862"/>
                  </a:lnTo>
                  <a:lnTo>
                    <a:pt x="27319" y="106793"/>
                  </a:lnTo>
                  <a:lnTo>
                    <a:pt x="25146" y="111140"/>
                  </a:lnTo>
                  <a:lnTo>
                    <a:pt x="25146" y="116417"/>
                  </a:lnTo>
                  <a:lnTo>
                    <a:pt x="25146" y="121695"/>
                  </a:lnTo>
                  <a:lnTo>
                    <a:pt x="30423" y="123558"/>
                  </a:lnTo>
                  <a:lnTo>
                    <a:pt x="32286" y="123558"/>
                  </a:lnTo>
                  <a:lnTo>
                    <a:pt x="34459" y="125731"/>
                  </a:lnTo>
                  <a:lnTo>
                    <a:pt x="34459" y="127904"/>
                  </a:lnTo>
                  <a:lnTo>
                    <a:pt x="34459" y="129146"/>
                  </a:lnTo>
                  <a:lnTo>
                    <a:pt x="34459" y="131008"/>
                  </a:lnTo>
                  <a:lnTo>
                    <a:pt x="34459" y="134423"/>
                  </a:lnTo>
                  <a:lnTo>
                    <a:pt x="37564" y="138459"/>
                  </a:lnTo>
                  <a:lnTo>
                    <a:pt x="37564" y="141563"/>
                  </a:lnTo>
                  <a:lnTo>
                    <a:pt x="42841" y="138459"/>
                  </a:lnTo>
                  <a:lnTo>
                    <a:pt x="49050" y="136286"/>
                  </a:lnTo>
                  <a:lnTo>
                    <a:pt x="52155" y="131008"/>
                  </a:lnTo>
                  <a:lnTo>
                    <a:pt x="54328" y="125731"/>
                  </a:lnTo>
                  <a:lnTo>
                    <a:pt x="57432" y="118280"/>
                  </a:lnTo>
                  <a:lnTo>
                    <a:pt x="59605" y="120453"/>
                  </a:lnTo>
                  <a:lnTo>
                    <a:pt x="61468" y="120453"/>
                  </a:lnTo>
                  <a:lnTo>
                    <a:pt x="63641" y="120453"/>
                  </a:lnTo>
                  <a:lnTo>
                    <a:pt x="63641" y="121695"/>
                  </a:lnTo>
                  <a:lnTo>
                    <a:pt x="64572" y="125731"/>
                  </a:lnTo>
                  <a:lnTo>
                    <a:pt x="70781" y="123558"/>
                  </a:lnTo>
                  <a:lnTo>
                    <a:pt x="74196" y="123558"/>
                  </a:lnTo>
                  <a:lnTo>
                    <a:pt x="74196" y="121695"/>
                  </a:lnTo>
                  <a:lnTo>
                    <a:pt x="74196" y="120453"/>
                  </a:lnTo>
                  <a:lnTo>
                    <a:pt x="74196" y="118280"/>
                  </a:lnTo>
                  <a:lnTo>
                    <a:pt x="76059" y="118280"/>
                  </a:lnTo>
                  <a:lnTo>
                    <a:pt x="79164" y="116417"/>
                  </a:lnTo>
                  <a:lnTo>
                    <a:pt x="85373" y="114244"/>
                  </a:lnTo>
                  <a:lnTo>
                    <a:pt x="78232" y="101516"/>
                  </a:lnTo>
                  <a:lnTo>
                    <a:pt x="68919" y="91892"/>
                  </a:lnTo>
                  <a:lnTo>
                    <a:pt x="61468" y="83510"/>
                  </a:lnTo>
                  <a:lnTo>
                    <a:pt x="57432" y="69850"/>
                  </a:lnTo>
                  <a:lnTo>
                    <a:pt x="49982" y="68609"/>
                  </a:lnTo>
                  <a:lnTo>
                    <a:pt x="46877" y="66435"/>
                  </a:lnTo>
                  <a:lnTo>
                    <a:pt x="42841" y="64573"/>
                  </a:lnTo>
                  <a:lnTo>
                    <a:pt x="39737" y="64573"/>
                  </a:lnTo>
                  <a:lnTo>
                    <a:pt x="35391" y="64573"/>
                  </a:lnTo>
                  <a:lnTo>
                    <a:pt x="28250" y="64573"/>
                  </a:lnTo>
                  <a:lnTo>
                    <a:pt x="28250" y="61158"/>
                  </a:lnTo>
                  <a:lnTo>
                    <a:pt x="25146" y="61158"/>
                  </a:lnTo>
                  <a:lnTo>
                    <a:pt x="27319" y="42221"/>
                  </a:lnTo>
                  <a:lnTo>
                    <a:pt x="30423" y="31666"/>
                  </a:lnTo>
                  <a:lnTo>
                    <a:pt x="32286" y="18937"/>
                  </a:lnTo>
                  <a:lnTo>
                    <a:pt x="32286" y="0"/>
                  </a:lnTo>
                  <a:lnTo>
                    <a:pt x="25146" y="0"/>
                  </a:lnTo>
                  <a:lnTo>
                    <a:pt x="19868" y="0"/>
                  </a:lnTo>
                  <a:lnTo>
                    <a:pt x="14591" y="1863"/>
                  </a:lnTo>
                  <a:lnTo>
                    <a:pt x="8382" y="4036"/>
                  </a:lnTo>
                  <a:lnTo>
                    <a:pt x="1241" y="22042"/>
                  </a:lnTo>
                  <a:lnTo>
                    <a:pt x="0" y="40048"/>
                  </a:lnTo>
                  <a:lnTo>
                    <a:pt x="1241" y="6115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xmlns="" id="{94A6BD9C-2D44-4A16-B41D-14DC536F6F65}"/>
                </a:ext>
              </a:extLst>
            </p:cNvPr>
            <p:cNvSpPr/>
            <p:nvPr/>
          </p:nvSpPr>
          <p:spPr>
            <a:xfrm>
              <a:off x="6849307" y="5908563"/>
              <a:ext cx="46567" cy="15522"/>
            </a:xfrm>
            <a:custGeom>
              <a:avLst/>
              <a:gdLst>
                <a:gd name="connsiteX0" fmla="*/ 39427 w 46566"/>
                <a:gd name="connsiteY0" fmla="*/ 12728 h 15522"/>
                <a:gd name="connsiteX1" fmla="*/ 46878 w 46566"/>
                <a:gd name="connsiteY1" fmla="*/ 12728 h 15522"/>
                <a:gd name="connsiteX2" fmla="*/ 44704 w 46566"/>
                <a:gd name="connsiteY2" fmla="*/ 9313 h 15522"/>
                <a:gd name="connsiteX3" fmla="*/ 44704 w 46566"/>
                <a:gd name="connsiteY3" fmla="*/ 5277 h 15522"/>
                <a:gd name="connsiteX4" fmla="*/ 44704 w 46566"/>
                <a:gd name="connsiteY4" fmla="*/ 3104 h 15522"/>
                <a:gd name="connsiteX5" fmla="*/ 43773 w 46566"/>
                <a:gd name="connsiteY5" fmla="*/ 3104 h 15522"/>
                <a:gd name="connsiteX6" fmla="*/ 39427 w 46566"/>
                <a:gd name="connsiteY6" fmla="*/ 0 h 15522"/>
                <a:gd name="connsiteX7" fmla="*/ 30113 w 46566"/>
                <a:gd name="connsiteY7" fmla="*/ 5277 h 15522"/>
                <a:gd name="connsiteX8" fmla="*/ 21731 w 46566"/>
                <a:gd name="connsiteY8" fmla="*/ 5277 h 15522"/>
                <a:gd name="connsiteX9" fmla="*/ 12418 w 46566"/>
                <a:gd name="connsiteY9" fmla="*/ 5277 h 15522"/>
                <a:gd name="connsiteX10" fmla="*/ 3104 w 46566"/>
                <a:gd name="connsiteY10" fmla="*/ 9313 h 15522"/>
                <a:gd name="connsiteX11" fmla="*/ 1863 w 46566"/>
                <a:gd name="connsiteY11" fmla="*/ 10555 h 15522"/>
                <a:gd name="connsiteX12" fmla="*/ 0 w 46566"/>
                <a:gd name="connsiteY12" fmla="*/ 10555 h 15522"/>
                <a:gd name="connsiteX13" fmla="*/ 0 w 46566"/>
                <a:gd name="connsiteY13" fmla="*/ 12728 h 15522"/>
                <a:gd name="connsiteX14" fmla="*/ 12418 w 46566"/>
                <a:gd name="connsiteY14" fmla="*/ 16764 h 15522"/>
                <a:gd name="connsiteX15" fmla="*/ 27009 w 46566"/>
                <a:gd name="connsiteY15" fmla="*/ 16764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566" h="15522">
                  <a:moveTo>
                    <a:pt x="39427" y="12728"/>
                  </a:moveTo>
                  <a:lnTo>
                    <a:pt x="46878" y="12728"/>
                  </a:lnTo>
                  <a:lnTo>
                    <a:pt x="44704" y="9313"/>
                  </a:lnTo>
                  <a:lnTo>
                    <a:pt x="44704" y="5277"/>
                  </a:lnTo>
                  <a:lnTo>
                    <a:pt x="44704" y="3104"/>
                  </a:lnTo>
                  <a:lnTo>
                    <a:pt x="43773" y="3104"/>
                  </a:lnTo>
                  <a:lnTo>
                    <a:pt x="39427" y="0"/>
                  </a:lnTo>
                  <a:lnTo>
                    <a:pt x="30113" y="5277"/>
                  </a:lnTo>
                  <a:lnTo>
                    <a:pt x="21731" y="5277"/>
                  </a:lnTo>
                  <a:lnTo>
                    <a:pt x="12418" y="5277"/>
                  </a:lnTo>
                  <a:lnTo>
                    <a:pt x="3104" y="9313"/>
                  </a:lnTo>
                  <a:lnTo>
                    <a:pt x="1863" y="10555"/>
                  </a:lnTo>
                  <a:lnTo>
                    <a:pt x="0" y="10555"/>
                  </a:lnTo>
                  <a:lnTo>
                    <a:pt x="0" y="12728"/>
                  </a:lnTo>
                  <a:lnTo>
                    <a:pt x="12418" y="16764"/>
                  </a:lnTo>
                  <a:lnTo>
                    <a:pt x="27009" y="1676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xmlns="" id="{B9CD0953-F8C6-42CF-8048-0F0B2DEBB235}"/>
                </a:ext>
              </a:extLst>
            </p:cNvPr>
            <p:cNvSpPr/>
            <p:nvPr/>
          </p:nvSpPr>
          <p:spPr>
            <a:xfrm>
              <a:off x="6900220" y="5913840"/>
              <a:ext cx="55880" cy="31045"/>
            </a:xfrm>
            <a:custGeom>
              <a:avLst/>
              <a:gdLst>
                <a:gd name="connsiteX0" fmla="*/ 5278 w 55880"/>
                <a:gd name="connsiteY0" fmla="*/ 29492 h 31044"/>
                <a:gd name="connsiteX1" fmla="*/ 7451 w 55880"/>
                <a:gd name="connsiteY1" fmla="*/ 29492 h 31044"/>
                <a:gd name="connsiteX2" fmla="*/ 8382 w 55880"/>
                <a:gd name="connsiteY2" fmla="*/ 31666 h 31044"/>
                <a:gd name="connsiteX3" fmla="*/ 12418 w 55880"/>
                <a:gd name="connsiteY3" fmla="*/ 31666 h 31044"/>
                <a:gd name="connsiteX4" fmla="*/ 25146 w 55880"/>
                <a:gd name="connsiteY4" fmla="*/ 22042 h 31044"/>
                <a:gd name="connsiteX5" fmla="*/ 39737 w 55880"/>
                <a:gd name="connsiteY5" fmla="*/ 12728 h 31044"/>
                <a:gd name="connsiteX6" fmla="*/ 52155 w 55880"/>
                <a:gd name="connsiteY6" fmla="*/ 4036 h 31044"/>
                <a:gd name="connsiteX7" fmla="*/ 56191 w 55880"/>
                <a:gd name="connsiteY7" fmla="*/ 4036 h 31044"/>
                <a:gd name="connsiteX8" fmla="*/ 56191 w 55880"/>
                <a:gd name="connsiteY8" fmla="*/ 0 h 31044"/>
                <a:gd name="connsiteX9" fmla="*/ 36322 w 55880"/>
                <a:gd name="connsiteY9" fmla="*/ 0 h 31044"/>
                <a:gd name="connsiteX10" fmla="*/ 17696 w 55880"/>
                <a:gd name="connsiteY10" fmla="*/ 12728 h 31044"/>
                <a:gd name="connsiteX11" fmla="*/ 0 w 55880"/>
                <a:gd name="connsiteY11" fmla="*/ 24215 h 31044"/>
                <a:gd name="connsiteX12" fmla="*/ 0 w 55880"/>
                <a:gd name="connsiteY12" fmla="*/ 27319 h 31044"/>
                <a:gd name="connsiteX13" fmla="*/ 3104 w 55880"/>
                <a:gd name="connsiteY13" fmla="*/ 27319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5880" h="31044">
                  <a:moveTo>
                    <a:pt x="5278" y="29492"/>
                  </a:moveTo>
                  <a:lnTo>
                    <a:pt x="7451" y="29492"/>
                  </a:lnTo>
                  <a:lnTo>
                    <a:pt x="8382" y="31666"/>
                  </a:lnTo>
                  <a:lnTo>
                    <a:pt x="12418" y="31666"/>
                  </a:lnTo>
                  <a:lnTo>
                    <a:pt x="25146" y="22042"/>
                  </a:lnTo>
                  <a:lnTo>
                    <a:pt x="39737" y="12728"/>
                  </a:lnTo>
                  <a:lnTo>
                    <a:pt x="52155" y="4036"/>
                  </a:lnTo>
                  <a:lnTo>
                    <a:pt x="56191" y="4036"/>
                  </a:lnTo>
                  <a:lnTo>
                    <a:pt x="56191" y="0"/>
                  </a:lnTo>
                  <a:lnTo>
                    <a:pt x="36322" y="0"/>
                  </a:lnTo>
                  <a:lnTo>
                    <a:pt x="17696" y="12728"/>
                  </a:lnTo>
                  <a:lnTo>
                    <a:pt x="0" y="24215"/>
                  </a:lnTo>
                  <a:lnTo>
                    <a:pt x="0" y="27319"/>
                  </a:lnTo>
                  <a:lnTo>
                    <a:pt x="3104" y="273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xmlns="" id="{7C5471A5-6F09-4059-867D-A32B8CD431B2}"/>
                </a:ext>
              </a:extLst>
            </p:cNvPr>
            <p:cNvSpPr/>
            <p:nvPr/>
          </p:nvSpPr>
          <p:spPr>
            <a:xfrm>
              <a:off x="6939958" y="5274633"/>
              <a:ext cx="15522" cy="12418"/>
            </a:xfrm>
            <a:custGeom>
              <a:avLst/>
              <a:gdLst>
                <a:gd name="connsiteX0" fmla="*/ 16453 w 15522"/>
                <a:gd name="connsiteY0" fmla="*/ 0 h 12417"/>
                <a:gd name="connsiteX1" fmla="*/ 4036 w 15522"/>
                <a:gd name="connsiteY1" fmla="*/ 0 h 12417"/>
                <a:gd name="connsiteX2" fmla="*/ 4036 w 15522"/>
                <a:gd name="connsiteY2" fmla="*/ 4346 h 12417"/>
                <a:gd name="connsiteX3" fmla="*/ 0 w 15522"/>
                <a:gd name="connsiteY3" fmla="*/ 4346 h 12417"/>
                <a:gd name="connsiteX4" fmla="*/ 0 w 15522"/>
                <a:gd name="connsiteY4" fmla="*/ 12728 h 12417"/>
                <a:gd name="connsiteX5" fmla="*/ 16453 w 15522"/>
                <a:gd name="connsiteY5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522" h="12417">
                  <a:moveTo>
                    <a:pt x="16453" y="0"/>
                  </a:moveTo>
                  <a:lnTo>
                    <a:pt x="4036" y="0"/>
                  </a:lnTo>
                  <a:lnTo>
                    <a:pt x="4036" y="4346"/>
                  </a:lnTo>
                  <a:lnTo>
                    <a:pt x="0" y="4346"/>
                  </a:lnTo>
                  <a:lnTo>
                    <a:pt x="0" y="12728"/>
                  </a:lnTo>
                  <a:lnTo>
                    <a:pt x="1645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xmlns="" id="{3EDA6F10-99F4-40A2-8988-5068C6F7C509}"/>
                </a:ext>
              </a:extLst>
            </p:cNvPr>
            <p:cNvSpPr/>
            <p:nvPr/>
          </p:nvSpPr>
          <p:spPr>
            <a:xfrm>
              <a:off x="6808639" y="5623884"/>
              <a:ext cx="40358" cy="46567"/>
            </a:xfrm>
            <a:custGeom>
              <a:avLst/>
              <a:gdLst>
                <a:gd name="connsiteX0" fmla="*/ 21731 w 40357"/>
                <a:gd name="connsiteY0" fmla="*/ 31666 h 46566"/>
                <a:gd name="connsiteX1" fmla="*/ 29182 w 40357"/>
                <a:gd name="connsiteY1" fmla="*/ 22042 h 46566"/>
                <a:gd name="connsiteX2" fmla="*/ 40668 w 40357"/>
                <a:gd name="connsiteY2" fmla="*/ 12728 h 46566"/>
                <a:gd name="connsiteX3" fmla="*/ 38495 w 40357"/>
                <a:gd name="connsiteY3" fmla="*/ 9313 h 46566"/>
                <a:gd name="connsiteX4" fmla="*/ 38495 w 40357"/>
                <a:gd name="connsiteY4" fmla="*/ 5278 h 46566"/>
                <a:gd name="connsiteX5" fmla="*/ 38495 w 40357"/>
                <a:gd name="connsiteY5" fmla="*/ 4036 h 46566"/>
                <a:gd name="connsiteX6" fmla="*/ 36322 w 40357"/>
                <a:gd name="connsiteY6" fmla="*/ 4036 h 46566"/>
                <a:gd name="connsiteX7" fmla="*/ 35391 w 40357"/>
                <a:gd name="connsiteY7" fmla="*/ 4036 h 46566"/>
                <a:gd name="connsiteX8" fmla="*/ 31045 w 40357"/>
                <a:gd name="connsiteY8" fmla="*/ 0 h 46566"/>
                <a:gd name="connsiteX9" fmla="*/ 23905 w 40357"/>
                <a:gd name="connsiteY9" fmla="*/ 16764 h 46566"/>
                <a:gd name="connsiteX10" fmla="*/ 11487 w 40357"/>
                <a:gd name="connsiteY10" fmla="*/ 29492 h 46566"/>
                <a:gd name="connsiteX11" fmla="*/ 0 w 40357"/>
                <a:gd name="connsiteY11" fmla="*/ 42221 h 46566"/>
                <a:gd name="connsiteX12" fmla="*/ 0 w 40357"/>
                <a:gd name="connsiteY12" fmla="*/ 46567 h 46566"/>
                <a:gd name="connsiteX13" fmla="*/ 13349 w 40357"/>
                <a:gd name="connsiteY13" fmla="*/ 39116 h 4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0357" h="46566">
                  <a:moveTo>
                    <a:pt x="21731" y="31666"/>
                  </a:moveTo>
                  <a:lnTo>
                    <a:pt x="29182" y="22042"/>
                  </a:lnTo>
                  <a:lnTo>
                    <a:pt x="40668" y="12728"/>
                  </a:lnTo>
                  <a:lnTo>
                    <a:pt x="38495" y="9313"/>
                  </a:lnTo>
                  <a:lnTo>
                    <a:pt x="38495" y="5278"/>
                  </a:lnTo>
                  <a:lnTo>
                    <a:pt x="38495" y="4036"/>
                  </a:lnTo>
                  <a:lnTo>
                    <a:pt x="36322" y="4036"/>
                  </a:lnTo>
                  <a:lnTo>
                    <a:pt x="35391" y="4036"/>
                  </a:lnTo>
                  <a:lnTo>
                    <a:pt x="31045" y="0"/>
                  </a:lnTo>
                  <a:lnTo>
                    <a:pt x="23905" y="16764"/>
                  </a:lnTo>
                  <a:lnTo>
                    <a:pt x="11487" y="29492"/>
                  </a:lnTo>
                  <a:lnTo>
                    <a:pt x="0" y="42221"/>
                  </a:lnTo>
                  <a:lnTo>
                    <a:pt x="0" y="46567"/>
                  </a:lnTo>
                  <a:lnTo>
                    <a:pt x="13349" y="3911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xmlns="" id="{13D4750C-CA5A-456D-BEA5-64EAF69052C1}"/>
                </a:ext>
              </a:extLst>
            </p:cNvPr>
            <p:cNvSpPr/>
            <p:nvPr/>
          </p:nvSpPr>
          <p:spPr>
            <a:xfrm>
              <a:off x="4168919" y="5514917"/>
              <a:ext cx="24836" cy="12418"/>
            </a:xfrm>
            <a:custGeom>
              <a:avLst/>
              <a:gdLst>
                <a:gd name="connsiteX0" fmla="*/ 27009 w 24835"/>
                <a:gd name="connsiteY0" fmla="*/ 4036 h 12417"/>
                <a:gd name="connsiteX1" fmla="*/ 21731 w 24835"/>
                <a:gd name="connsiteY1" fmla="*/ 1863 h 12417"/>
                <a:gd name="connsiteX2" fmla="*/ 14591 w 24835"/>
                <a:gd name="connsiteY2" fmla="*/ 1863 h 12417"/>
                <a:gd name="connsiteX3" fmla="*/ 7140 w 24835"/>
                <a:gd name="connsiteY3" fmla="*/ 0 h 12417"/>
                <a:gd name="connsiteX4" fmla="*/ 0 w 24835"/>
                <a:gd name="connsiteY4" fmla="*/ 0 h 12417"/>
                <a:gd name="connsiteX5" fmla="*/ 0 w 24835"/>
                <a:gd name="connsiteY5" fmla="*/ 12728 h 12417"/>
                <a:gd name="connsiteX6" fmla="*/ 27009 w 24835"/>
                <a:gd name="connsiteY6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4835" h="12417">
                  <a:moveTo>
                    <a:pt x="27009" y="4036"/>
                  </a:moveTo>
                  <a:lnTo>
                    <a:pt x="21731" y="1863"/>
                  </a:lnTo>
                  <a:lnTo>
                    <a:pt x="14591" y="1863"/>
                  </a:lnTo>
                  <a:lnTo>
                    <a:pt x="7140" y="0"/>
                  </a:lnTo>
                  <a:lnTo>
                    <a:pt x="0" y="0"/>
                  </a:lnTo>
                  <a:lnTo>
                    <a:pt x="0" y="12728"/>
                  </a:lnTo>
                  <a:lnTo>
                    <a:pt x="27009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xmlns="" id="{30CE455D-B1F0-41C5-91A2-57765BA72BF3}"/>
                </a:ext>
              </a:extLst>
            </p:cNvPr>
            <p:cNvSpPr/>
            <p:nvPr/>
          </p:nvSpPr>
          <p:spPr>
            <a:xfrm>
              <a:off x="2808235" y="5420542"/>
              <a:ext cx="27940" cy="15522"/>
            </a:xfrm>
            <a:custGeom>
              <a:avLst/>
              <a:gdLst>
                <a:gd name="connsiteX0" fmla="*/ 16764 w 27940"/>
                <a:gd name="connsiteY0" fmla="*/ 2173 h 15522"/>
                <a:gd name="connsiteX1" fmla="*/ 13660 w 27940"/>
                <a:gd name="connsiteY1" fmla="*/ 2173 h 15522"/>
                <a:gd name="connsiteX2" fmla="*/ 6209 w 27940"/>
                <a:gd name="connsiteY2" fmla="*/ 2173 h 15522"/>
                <a:gd name="connsiteX3" fmla="*/ 0 w 27940"/>
                <a:gd name="connsiteY3" fmla="*/ 0 h 15522"/>
                <a:gd name="connsiteX4" fmla="*/ 0 w 27940"/>
                <a:gd name="connsiteY4" fmla="*/ 17075 h 15522"/>
                <a:gd name="connsiteX5" fmla="*/ 7451 w 27940"/>
                <a:gd name="connsiteY5" fmla="*/ 17075 h 15522"/>
                <a:gd name="connsiteX6" fmla="*/ 13660 w 27940"/>
                <a:gd name="connsiteY6" fmla="*/ 17075 h 15522"/>
                <a:gd name="connsiteX7" fmla="*/ 18937 w 27940"/>
                <a:gd name="connsiteY7" fmla="*/ 14901 h 15522"/>
                <a:gd name="connsiteX8" fmla="*/ 24215 w 27940"/>
                <a:gd name="connsiteY8" fmla="*/ 12728 h 15522"/>
                <a:gd name="connsiteX9" fmla="*/ 28251 w 27940"/>
                <a:gd name="connsiteY9" fmla="*/ 12728 h 15522"/>
                <a:gd name="connsiteX10" fmla="*/ 28251 w 27940"/>
                <a:gd name="connsiteY10" fmla="*/ 5278 h 15522"/>
                <a:gd name="connsiteX11" fmla="*/ 22042 w 27940"/>
                <a:gd name="connsiteY11" fmla="*/ 4346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940" h="15522">
                  <a:moveTo>
                    <a:pt x="16764" y="2173"/>
                  </a:moveTo>
                  <a:lnTo>
                    <a:pt x="13660" y="2173"/>
                  </a:lnTo>
                  <a:lnTo>
                    <a:pt x="6209" y="2173"/>
                  </a:lnTo>
                  <a:lnTo>
                    <a:pt x="0" y="0"/>
                  </a:lnTo>
                  <a:lnTo>
                    <a:pt x="0" y="17075"/>
                  </a:lnTo>
                  <a:lnTo>
                    <a:pt x="7451" y="17075"/>
                  </a:lnTo>
                  <a:lnTo>
                    <a:pt x="13660" y="17075"/>
                  </a:lnTo>
                  <a:lnTo>
                    <a:pt x="18937" y="14901"/>
                  </a:lnTo>
                  <a:lnTo>
                    <a:pt x="24215" y="12728"/>
                  </a:lnTo>
                  <a:lnTo>
                    <a:pt x="28251" y="12728"/>
                  </a:lnTo>
                  <a:lnTo>
                    <a:pt x="28251" y="5278"/>
                  </a:lnTo>
                  <a:lnTo>
                    <a:pt x="22042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xmlns="" id="{2DA88359-3E04-4AA1-A2A8-0C953CD172A4}"/>
                </a:ext>
              </a:extLst>
            </p:cNvPr>
            <p:cNvSpPr/>
            <p:nvPr/>
          </p:nvSpPr>
          <p:spPr>
            <a:xfrm>
              <a:off x="4066782" y="5047076"/>
              <a:ext cx="12418" cy="15522"/>
            </a:xfrm>
            <a:custGeom>
              <a:avLst/>
              <a:gdLst>
                <a:gd name="connsiteX0" fmla="*/ 6209 w 12417"/>
                <a:gd name="connsiteY0" fmla="*/ 17075 h 15522"/>
                <a:gd name="connsiteX1" fmla="*/ 7140 w 12417"/>
                <a:gd name="connsiteY1" fmla="*/ 11487 h 15522"/>
                <a:gd name="connsiteX2" fmla="*/ 7140 w 12417"/>
                <a:gd name="connsiteY2" fmla="*/ 9624 h 15522"/>
                <a:gd name="connsiteX3" fmla="*/ 9313 w 12417"/>
                <a:gd name="connsiteY3" fmla="*/ 6209 h 15522"/>
                <a:gd name="connsiteX4" fmla="*/ 11487 w 12417"/>
                <a:gd name="connsiteY4" fmla="*/ 4346 h 15522"/>
                <a:gd name="connsiteX5" fmla="*/ 12418 w 12417"/>
                <a:gd name="connsiteY5" fmla="*/ 0 h 15522"/>
                <a:gd name="connsiteX6" fmla="*/ 9313 w 12417"/>
                <a:gd name="connsiteY6" fmla="*/ 0 h 15522"/>
                <a:gd name="connsiteX7" fmla="*/ 7140 w 12417"/>
                <a:gd name="connsiteY7" fmla="*/ 4346 h 15522"/>
                <a:gd name="connsiteX8" fmla="*/ 4036 w 12417"/>
                <a:gd name="connsiteY8" fmla="*/ 7451 h 15522"/>
                <a:gd name="connsiteX9" fmla="*/ 2173 w 12417"/>
                <a:gd name="connsiteY9" fmla="*/ 9624 h 15522"/>
                <a:gd name="connsiteX10" fmla="*/ 0 w 12417"/>
                <a:gd name="connsiteY10" fmla="*/ 11487 h 15522"/>
                <a:gd name="connsiteX11" fmla="*/ 0 w 12417"/>
                <a:gd name="connsiteY11" fmla="*/ 13660 h 15522"/>
                <a:gd name="connsiteX12" fmla="*/ 2173 w 12417"/>
                <a:gd name="connsiteY12" fmla="*/ 1490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5522">
                  <a:moveTo>
                    <a:pt x="6209" y="17075"/>
                  </a:moveTo>
                  <a:lnTo>
                    <a:pt x="7140" y="11487"/>
                  </a:lnTo>
                  <a:lnTo>
                    <a:pt x="7140" y="9624"/>
                  </a:lnTo>
                  <a:lnTo>
                    <a:pt x="9313" y="6209"/>
                  </a:lnTo>
                  <a:lnTo>
                    <a:pt x="11487" y="4346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7140" y="4346"/>
                  </a:lnTo>
                  <a:lnTo>
                    <a:pt x="4036" y="7451"/>
                  </a:lnTo>
                  <a:lnTo>
                    <a:pt x="2173" y="9624"/>
                  </a:lnTo>
                  <a:lnTo>
                    <a:pt x="0" y="11487"/>
                  </a:lnTo>
                  <a:lnTo>
                    <a:pt x="0" y="13660"/>
                  </a:lnTo>
                  <a:lnTo>
                    <a:pt x="2173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xmlns="" id="{2923FB2B-5CC5-43AA-9162-DF012833F52A}"/>
                </a:ext>
              </a:extLst>
            </p:cNvPr>
            <p:cNvSpPr/>
            <p:nvPr/>
          </p:nvSpPr>
          <p:spPr>
            <a:xfrm>
              <a:off x="4243736" y="5014168"/>
              <a:ext cx="18627" cy="37253"/>
            </a:xfrm>
            <a:custGeom>
              <a:avLst/>
              <a:gdLst>
                <a:gd name="connsiteX0" fmla="*/ 3104 w 18626"/>
                <a:gd name="connsiteY0" fmla="*/ 31976 h 37253"/>
                <a:gd name="connsiteX1" fmla="*/ 3104 w 18626"/>
                <a:gd name="connsiteY1" fmla="*/ 32907 h 37253"/>
                <a:gd name="connsiteX2" fmla="*/ 3104 w 18626"/>
                <a:gd name="connsiteY2" fmla="*/ 35080 h 37253"/>
                <a:gd name="connsiteX3" fmla="*/ 5278 w 18626"/>
                <a:gd name="connsiteY3" fmla="*/ 37253 h 37253"/>
                <a:gd name="connsiteX4" fmla="*/ 12728 w 18626"/>
                <a:gd name="connsiteY4" fmla="*/ 37253 h 37253"/>
                <a:gd name="connsiteX5" fmla="*/ 14591 w 18626"/>
                <a:gd name="connsiteY5" fmla="*/ 37253 h 37253"/>
                <a:gd name="connsiteX6" fmla="*/ 14591 w 18626"/>
                <a:gd name="connsiteY6" fmla="*/ 35080 h 37253"/>
                <a:gd name="connsiteX7" fmla="*/ 15833 w 18626"/>
                <a:gd name="connsiteY7" fmla="*/ 35080 h 37253"/>
                <a:gd name="connsiteX8" fmla="*/ 17695 w 18626"/>
                <a:gd name="connsiteY8" fmla="*/ 35080 h 37253"/>
                <a:gd name="connsiteX9" fmla="*/ 19869 w 18626"/>
                <a:gd name="connsiteY9" fmla="*/ 32907 h 37253"/>
                <a:gd name="connsiteX10" fmla="*/ 17695 w 18626"/>
                <a:gd name="connsiteY10" fmla="*/ 22352 h 37253"/>
                <a:gd name="connsiteX11" fmla="*/ 15833 w 18626"/>
                <a:gd name="connsiteY11" fmla="*/ 9624 h 37253"/>
                <a:gd name="connsiteX12" fmla="*/ 12728 w 18626"/>
                <a:gd name="connsiteY12" fmla="*/ 0 h 37253"/>
                <a:gd name="connsiteX13" fmla="*/ 0 w 18626"/>
                <a:gd name="connsiteY13" fmla="*/ 29803 h 37253"/>
                <a:gd name="connsiteX14" fmla="*/ 1242 w 18626"/>
                <a:gd name="connsiteY14" fmla="*/ 31976 h 3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6" h="37253">
                  <a:moveTo>
                    <a:pt x="3104" y="31976"/>
                  </a:moveTo>
                  <a:lnTo>
                    <a:pt x="3104" y="32907"/>
                  </a:lnTo>
                  <a:lnTo>
                    <a:pt x="3104" y="35080"/>
                  </a:lnTo>
                  <a:lnTo>
                    <a:pt x="5278" y="37253"/>
                  </a:lnTo>
                  <a:lnTo>
                    <a:pt x="12728" y="37253"/>
                  </a:lnTo>
                  <a:lnTo>
                    <a:pt x="14591" y="37253"/>
                  </a:lnTo>
                  <a:lnTo>
                    <a:pt x="14591" y="35080"/>
                  </a:lnTo>
                  <a:lnTo>
                    <a:pt x="15833" y="35080"/>
                  </a:lnTo>
                  <a:lnTo>
                    <a:pt x="17695" y="35080"/>
                  </a:lnTo>
                  <a:lnTo>
                    <a:pt x="19869" y="32907"/>
                  </a:lnTo>
                  <a:lnTo>
                    <a:pt x="17695" y="22352"/>
                  </a:lnTo>
                  <a:lnTo>
                    <a:pt x="15833" y="9624"/>
                  </a:lnTo>
                  <a:lnTo>
                    <a:pt x="12728" y="0"/>
                  </a:lnTo>
                  <a:lnTo>
                    <a:pt x="0" y="29803"/>
                  </a:lnTo>
                  <a:lnTo>
                    <a:pt x="1242" y="3197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xmlns="" id="{1E1EE10C-BDFB-4E23-982B-78BCA3597910}"/>
                </a:ext>
              </a:extLst>
            </p:cNvPr>
            <p:cNvSpPr/>
            <p:nvPr/>
          </p:nvSpPr>
          <p:spPr>
            <a:xfrm>
              <a:off x="6688807" y="5690630"/>
              <a:ext cx="149014" cy="161432"/>
            </a:xfrm>
            <a:custGeom>
              <a:avLst/>
              <a:gdLst>
                <a:gd name="connsiteX0" fmla="*/ 11486 w 149013"/>
                <a:gd name="connsiteY0" fmla="*/ 128835 h 161431"/>
                <a:gd name="connsiteX1" fmla="*/ 23904 w 149013"/>
                <a:gd name="connsiteY1" fmla="*/ 145910 h 161431"/>
                <a:gd name="connsiteX2" fmla="*/ 36322 w 149013"/>
                <a:gd name="connsiteY2" fmla="*/ 151187 h 161431"/>
                <a:gd name="connsiteX3" fmla="*/ 49051 w 149013"/>
                <a:gd name="connsiteY3" fmla="*/ 153360 h 161431"/>
                <a:gd name="connsiteX4" fmla="*/ 62400 w 149013"/>
                <a:gd name="connsiteY4" fmla="*/ 153360 h 161431"/>
                <a:gd name="connsiteX5" fmla="*/ 72955 w 149013"/>
                <a:gd name="connsiteY5" fmla="*/ 155533 h 161431"/>
                <a:gd name="connsiteX6" fmla="*/ 84441 w 149013"/>
                <a:gd name="connsiteY6" fmla="*/ 161742 h 161431"/>
                <a:gd name="connsiteX7" fmla="*/ 90650 w 149013"/>
                <a:gd name="connsiteY7" fmla="*/ 161742 h 161431"/>
                <a:gd name="connsiteX8" fmla="*/ 96859 w 149013"/>
                <a:gd name="connsiteY8" fmla="*/ 160811 h 161431"/>
                <a:gd name="connsiteX9" fmla="*/ 102137 w 149013"/>
                <a:gd name="connsiteY9" fmla="*/ 160811 h 161431"/>
                <a:gd name="connsiteX10" fmla="*/ 107104 w 149013"/>
                <a:gd name="connsiteY10" fmla="*/ 156465 h 161431"/>
                <a:gd name="connsiteX11" fmla="*/ 116728 w 149013"/>
                <a:gd name="connsiteY11" fmla="*/ 138459 h 161431"/>
                <a:gd name="connsiteX12" fmla="*/ 121695 w 149013"/>
                <a:gd name="connsiteY12" fmla="*/ 118280 h 161431"/>
                <a:gd name="connsiteX13" fmla="*/ 131319 w 149013"/>
                <a:gd name="connsiteY13" fmla="*/ 101516 h 161431"/>
                <a:gd name="connsiteX14" fmla="*/ 133181 w 149013"/>
                <a:gd name="connsiteY14" fmla="*/ 97170 h 161431"/>
                <a:gd name="connsiteX15" fmla="*/ 134423 w 149013"/>
                <a:gd name="connsiteY15" fmla="*/ 96238 h 161431"/>
                <a:gd name="connsiteX16" fmla="*/ 136286 w 149013"/>
                <a:gd name="connsiteY16" fmla="*/ 94065 h 161431"/>
                <a:gd name="connsiteX17" fmla="*/ 138459 w 149013"/>
                <a:gd name="connsiteY17" fmla="*/ 94065 h 161431"/>
                <a:gd name="connsiteX18" fmla="*/ 141563 w 149013"/>
                <a:gd name="connsiteY18" fmla="*/ 94065 h 161431"/>
                <a:gd name="connsiteX19" fmla="*/ 147772 w 149013"/>
                <a:gd name="connsiteY19" fmla="*/ 91892 h 161431"/>
                <a:gd name="connsiteX20" fmla="*/ 140632 w 149013"/>
                <a:gd name="connsiteY20" fmla="*/ 76991 h 161431"/>
                <a:gd name="connsiteX21" fmla="*/ 133181 w 149013"/>
                <a:gd name="connsiteY21" fmla="*/ 64262 h 161431"/>
                <a:gd name="connsiteX22" fmla="*/ 126972 w 149013"/>
                <a:gd name="connsiteY22" fmla="*/ 47498 h 161431"/>
                <a:gd name="connsiteX23" fmla="*/ 134423 w 149013"/>
                <a:gd name="connsiteY23" fmla="*/ 44394 h 161431"/>
                <a:gd name="connsiteX24" fmla="*/ 140632 w 149013"/>
                <a:gd name="connsiteY24" fmla="*/ 40047 h 161431"/>
                <a:gd name="connsiteX25" fmla="*/ 145910 w 149013"/>
                <a:gd name="connsiteY25" fmla="*/ 34770 h 161431"/>
                <a:gd name="connsiteX26" fmla="*/ 150877 w 149013"/>
                <a:gd name="connsiteY26" fmla="*/ 31666 h 161431"/>
                <a:gd name="connsiteX27" fmla="*/ 145910 w 149013"/>
                <a:gd name="connsiteY27" fmla="*/ 22042 h 161431"/>
                <a:gd name="connsiteX28" fmla="*/ 134423 w 149013"/>
                <a:gd name="connsiteY28" fmla="*/ 10555 h 161431"/>
                <a:gd name="connsiteX29" fmla="*/ 121695 w 149013"/>
                <a:gd name="connsiteY29" fmla="*/ 3104 h 161431"/>
                <a:gd name="connsiteX30" fmla="*/ 111450 w 149013"/>
                <a:gd name="connsiteY30" fmla="*/ 0 h 161431"/>
                <a:gd name="connsiteX31" fmla="*/ 105241 w 149013"/>
                <a:gd name="connsiteY31" fmla="*/ 9313 h 161431"/>
                <a:gd name="connsiteX32" fmla="*/ 99963 w 149013"/>
                <a:gd name="connsiteY32" fmla="*/ 17695 h 161431"/>
                <a:gd name="connsiteX33" fmla="*/ 94686 w 149013"/>
                <a:gd name="connsiteY33" fmla="*/ 27319 h 161431"/>
                <a:gd name="connsiteX34" fmla="*/ 90650 w 149013"/>
                <a:gd name="connsiteY34" fmla="*/ 40047 h 161431"/>
                <a:gd name="connsiteX35" fmla="*/ 84441 w 149013"/>
                <a:gd name="connsiteY35" fmla="*/ 40047 h 161431"/>
                <a:gd name="connsiteX36" fmla="*/ 78232 w 149013"/>
                <a:gd name="connsiteY36" fmla="*/ 40047 h 161431"/>
                <a:gd name="connsiteX37" fmla="*/ 74817 w 149013"/>
                <a:gd name="connsiteY37" fmla="*/ 40047 h 161431"/>
                <a:gd name="connsiteX38" fmla="*/ 72955 w 149013"/>
                <a:gd name="connsiteY38" fmla="*/ 42221 h 161431"/>
                <a:gd name="connsiteX39" fmla="*/ 72955 w 149013"/>
                <a:gd name="connsiteY39" fmla="*/ 44394 h 161431"/>
                <a:gd name="connsiteX40" fmla="*/ 72955 w 149013"/>
                <a:gd name="connsiteY40" fmla="*/ 46256 h 161431"/>
                <a:gd name="connsiteX41" fmla="*/ 70782 w 149013"/>
                <a:gd name="connsiteY41" fmla="*/ 47498 h 161431"/>
                <a:gd name="connsiteX42" fmla="*/ 70782 w 149013"/>
                <a:gd name="connsiteY42" fmla="*/ 49671 h 161431"/>
                <a:gd name="connsiteX43" fmla="*/ 67677 w 149013"/>
                <a:gd name="connsiteY43" fmla="*/ 53707 h 161431"/>
                <a:gd name="connsiteX44" fmla="*/ 63641 w 149013"/>
                <a:gd name="connsiteY44" fmla="*/ 57122 h 161431"/>
                <a:gd name="connsiteX45" fmla="*/ 40668 w 149013"/>
                <a:gd name="connsiteY45" fmla="*/ 60226 h 161431"/>
                <a:gd name="connsiteX46" fmla="*/ 31355 w 149013"/>
                <a:gd name="connsiteY46" fmla="*/ 75128 h 161431"/>
                <a:gd name="connsiteX47" fmla="*/ 23904 w 149013"/>
                <a:gd name="connsiteY47" fmla="*/ 79164 h 161431"/>
                <a:gd name="connsiteX48" fmla="*/ 16764 w 149013"/>
                <a:gd name="connsiteY48" fmla="*/ 76991 h 161431"/>
                <a:gd name="connsiteX49" fmla="*/ 9313 w 149013"/>
                <a:gd name="connsiteY49" fmla="*/ 76991 h 161431"/>
                <a:gd name="connsiteX50" fmla="*/ 0 w 149013"/>
                <a:gd name="connsiteY50" fmla="*/ 81337 h 161431"/>
                <a:gd name="connsiteX51" fmla="*/ 2173 w 149013"/>
                <a:gd name="connsiteY51" fmla="*/ 106793 h 161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49013" h="161431">
                  <a:moveTo>
                    <a:pt x="11486" y="128835"/>
                  </a:moveTo>
                  <a:lnTo>
                    <a:pt x="23904" y="145910"/>
                  </a:lnTo>
                  <a:lnTo>
                    <a:pt x="36322" y="151187"/>
                  </a:lnTo>
                  <a:lnTo>
                    <a:pt x="49051" y="153360"/>
                  </a:lnTo>
                  <a:lnTo>
                    <a:pt x="62400" y="153360"/>
                  </a:lnTo>
                  <a:lnTo>
                    <a:pt x="72955" y="155533"/>
                  </a:lnTo>
                  <a:lnTo>
                    <a:pt x="84441" y="161742"/>
                  </a:lnTo>
                  <a:lnTo>
                    <a:pt x="90650" y="161742"/>
                  </a:lnTo>
                  <a:lnTo>
                    <a:pt x="96859" y="160811"/>
                  </a:lnTo>
                  <a:lnTo>
                    <a:pt x="102137" y="160811"/>
                  </a:lnTo>
                  <a:lnTo>
                    <a:pt x="107104" y="156465"/>
                  </a:lnTo>
                  <a:lnTo>
                    <a:pt x="116728" y="138459"/>
                  </a:lnTo>
                  <a:lnTo>
                    <a:pt x="121695" y="118280"/>
                  </a:lnTo>
                  <a:lnTo>
                    <a:pt x="131319" y="101516"/>
                  </a:lnTo>
                  <a:lnTo>
                    <a:pt x="133181" y="97170"/>
                  </a:lnTo>
                  <a:lnTo>
                    <a:pt x="134423" y="96238"/>
                  </a:lnTo>
                  <a:lnTo>
                    <a:pt x="136286" y="94065"/>
                  </a:lnTo>
                  <a:lnTo>
                    <a:pt x="138459" y="94065"/>
                  </a:lnTo>
                  <a:lnTo>
                    <a:pt x="141563" y="94065"/>
                  </a:lnTo>
                  <a:lnTo>
                    <a:pt x="147772" y="91892"/>
                  </a:lnTo>
                  <a:lnTo>
                    <a:pt x="140632" y="76991"/>
                  </a:lnTo>
                  <a:lnTo>
                    <a:pt x="133181" y="64262"/>
                  </a:lnTo>
                  <a:lnTo>
                    <a:pt x="126972" y="47498"/>
                  </a:lnTo>
                  <a:lnTo>
                    <a:pt x="134423" y="44394"/>
                  </a:lnTo>
                  <a:lnTo>
                    <a:pt x="140632" y="40047"/>
                  </a:lnTo>
                  <a:lnTo>
                    <a:pt x="145910" y="34770"/>
                  </a:lnTo>
                  <a:lnTo>
                    <a:pt x="150877" y="31666"/>
                  </a:lnTo>
                  <a:lnTo>
                    <a:pt x="145910" y="22042"/>
                  </a:lnTo>
                  <a:lnTo>
                    <a:pt x="134423" y="10555"/>
                  </a:lnTo>
                  <a:lnTo>
                    <a:pt x="121695" y="3104"/>
                  </a:lnTo>
                  <a:lnTo>
                    <a:pt x="111450" y="0"/>
                  </a:lnTo>
                  <a:lnTo>
                    <a:pt x="105241" y="9313"/>
                  </a:lnTo>
                  <a:lnTo>
                    <a:pt x="99963" y="17695"/>
                  </a:lnTo>
                  <a:lnTo>
                    <a:pt x="94686" y="27319"/>
                  </a:lnTo>
                  <a:lnTo>
                    <a:pt x="90650" y="40047"/>
                  </a:lnTo>
                  <a:lnTo>
                    <a:pt x="84441" y="40047"/>
                  </a:lnTo>
                  <a:lnTo>
                    <a:pt x="78232" y="40047"/>
                  </a:lnTo>
                  <a:lnTo>
                    <a:pt x="74817" y="40047"/>
                  </a:lnTo>
                  <a:lnTo>
                    <a:pt x="72955" y="42221"/>
                  </a:lnTo>
                  <a:lnTo>
                    <a:pt x="72955" y="44394"/>
                  </a:lnTo>
                  <a:lnTo>
                    <a:pt x="72955" y="46256"/>
                  </a:lnTo>
                  <a:lnTo>
                    <a:pt x="70782" y="47498"/>
                  </a:lnTo>
                  <a:lnTo>
                    <a:pt x="70782" y="49671"/>
                  </a:lnTo>
                  <a:lnTo>
                    <a:pt x="67677" y="53707"/>
                  </a:lnTo>
                  <a:lnTo>
                    <a:pt x="63641" y="57122"/>
                  </a:lnTo>
                  <a:lnTo>
                    <a:pt x="40668" y="60226"/>
                  </a:lnTo>
                  <a:lnTo>
                    <a:pt x="31355" y="75128"/>
                  </a:lnTo>
                  <a:lnTo>
                    <a:pt x="23904" y="79164"/>
                  </a:lnTo>
                  <a:lnTo>
                    <a:pt x="16764" y="76991"/>
                  </a:lnTo>
                  <a:lnTo>
                    <a:pt x="9313" y="76991"/>
                  </a:lnTo>
                  <a:lnTo>
                    <a:pt x="0" y="81337"/>
                  </a:lnTo>
                  <a:lnTo>
                    <a:pt x="2173" y="10679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xmlns="" id="{FA182A86-8CA1-4331-BC0D-9E556AD3E62B}"/>
                </a:ext>
              </a:extLst>
            </p:cNvPr>
            <p:cNvSpPr/>
            <p:nvPr/>
          </p:nvSpPr>
          <p:spPr>
            <a:xfrm>
              <a:off x="6961689" y="5762343"/>
              <a:ext cx="15522" cy="46567"/>
            </a:xfrm>
            <a:custGeom>
              <a:avLst/>
              <a:gdLst>
                <a:gd name="connsiteX0" fmla="*/ 7140 w 15522"/>
                <a:gd name="connsiteY0" fmla="*/ 46567 h 46566"/>
                <a:gd name="connsiteX1" fmla="*/ 11486 w 15522"/>
                <a:gd name="connsiteY1" fmla="*/ 42531 h 46566"/>
                <a:gd name="connsiteX2" fmla="*/ 12418 w 15522"/>
                <a:gd name="connsiteY2" fmla="*/ 40358 h 46566"/>
                <a:gd name="connsiteX3" fmla="*/ 12418 w 15522"/>
                <a:gd name="connsiteY3" fmla="*/ 39116 h 46566"/>
                <a:gd name="connsiteX4" fmla="*/ 12418 w 15522"/>
                <a:gd name="connsiteY4" fmla="*/ 37253 h 46566"/>
                <a:gd name="connsiteX5" fmla="*/ 12418 w 15522"/>
                <a:gd name="connsiteY5" fmla="*/ 35080 h 46566"/>
                <a:gd name="connsiteX6" fmla="*/ 12418 w 15522"/>
                <a:gd name="connsiteY6" fmla="*/ 32907 h 46566"/>
                <a:gd name="connsiteX7" fmla="*/ 14591 w 15522"/>
                <a:gd name="connsiteY7" fmla="*/ 31976 h 46566"/>
                <a:gd name="connsiteX8" fmla="*/ 17695 w 15522"/>
                <a:gd name="connsiteY8" fmla="*/ 29803 h 46566"/>
                <a:gd name="connsiteX9" fmla="*/ 17695 w 15522"/>
                <a:gd name="connsiteY9" fmla="*/ 20179 h 46566"/>
                <a:gd name="connsiteX10" fmla="*/ 17695 w 15522"/>
                <a:gd name="connsiteY10" fmla="*/ 12728 h 46566"/>
                <a:gd name="connsiteX11" fmla="*/ 16764 w 15522"/>
                <a:gd name="connsiteY11" fmla="*/ 9624 h 46566"/>
                <a:gd name="connsiteX12" fmla="*/ 12418 w 15522"/>
                <a:gd name="connsiteY12" fmla="*/ 5278 h 46566"/>
                <a:gd name="connsiteX13" fmla="*/ 9313 w 15522"/>
                <a:gd name="connsiteY13" fmla="*/ 3415 h 46566"/>
                <a:gd name="connsiteX14" fmla="*/ 2173 w 15522"/>
                <a:gd name="connsiteY14" fmla="*/ 0 h 46566"/>
                <a:gd name="connsiteX15" fmla="*/ 0 w 15522"/>
                <a:gd name="connsiteY15" fmla="*/ 12728 h 46566"/>
                <a:gd name="connsiteX16" fmla="*/ 0 w 15522"/>
                <a:gd name="connsiteY16" fmla="*/ 25457 h 46566"/>
                <a:gd name="connsiteX17" fmla="*/ 7140 w 15522"/>
                <a:gd name="connsiteY17" fmla="*/ 37253 h 46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5522" h="46566">
                  <a:moveTo>
                    <a:pt x="7140" y="46567"/>
                  </a:moveTo>
                  <a:lnTo>
                    <a:pt x="11486" y="42531"/>
                  </a:lnTo>
                  <a:lnTo>
                    <a:pt x="12418" y="40358"/>
                  </a:lnTo>
                  <a:lnTo>
                    <a:pt x="12418" y="39116"/>
                  </a:lnTo>
                  <a:lnTo>
                    <a:pt x="12418" y="37253"/>
                  </a:lnTo>
                  <a:lnTo>
                    <a:pt x="12418" y="35080"/>
                  </a:lnTo>
                  <a:lnTo>
                    <a:pt x="12418" y="32907"/>
                  </a:lnTo>
                  <a:lnTo>
                    <a:pt x="14591" y="31976"/>
                  </a:lnTo>
                  <a:lnTo>
                    <a:pt x="17695" y="29803"/>
                  </a:lnTo>
                  <a:lnTo>
                    <a:pt x="17695" y="20179"/>
                  </a:lnTo>
                  <a:lnTo>
                    <a:pt x="17695" y="12728"/>
                  </a:lnTo>
                  <a:lnTo>
                    <a:pt x="16764" y="9624"/>
                  </a:lnTo>
                  <a:lnTo>
                    <a:pt x="12418" y="5278"/>
                  </a:lnTo>
                  <a:lnTo>
                    <a:pt x="9313" y="3415"/>
                  </a:lnTo>
                  <a:lnTo>
                    <a:pt x="2173" y="0"/>
                  </a:lnTo>
                  <a:lnTo>
                    <a:pt x="0" y="12728"/>
                  </a:lnTo>
                  <a:lnTo>
                    <a:pt x="0" y="25457"/>
                  </a:lnTo>
                  <a:lnTo>
                    <a:pt x="7140" y="3725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xmlns="" id="{DF3E16DE-951D-4E30-8DA3-1E4921A14E23}"/>
                </a:ext>
              </a:extLst>
            </p:cNvPr>
            <p:cNvSpPr/>
            <p:nvPr/>
          </p:nvSpPr>
          <p:spPr>
            <a:xfrm>
              <a:off x="7269030" y="5852372"/>
              <a:ext cx="58985" cy="31045"/>
            </a:xfrm>
            <a:custGeom>
              <a:avLst/>
              <a:gdLst>
                <a:gd name="connsiteX0" fmla="*/ 12418 w 58984"/>
                <a:gd name="connsiteY0" fmla="*/ 28561 h 31044"/>
                <a:gd name="connsiteX1" fmla="*/ 17695 w 58984"/>
                <a:gd name="connsiteY1" fmla="*/ 29492 h 31044"/>
                <a:gd name="connsiteX2" fmla="*/ 23904 w 58984"/>
                <a:gd name="connsiteY2" fmla="*/ 31666 h 31044"/>
                <a:gd name="connsiteX3" fmla="*/ 60537 w 58984"/>
                <a:gd name="connsiteY3" fmla="*/ 21110 h 31044"/>
                <a:gd name="connsiteX4" fmla="*/ 60537 w 58984"/>
                <a:gd name="connsiteY4" fmla="*/ 931 h 31044"/>
                <a:gd name="connsiteX5" fmla="*/ 59605 w 58984"/>
                <a:gd name="connsiteY5" fmla="*/ 0 h 31044"/>
                <a:gd name="connsiteX6" fmla="*/ 50913 w 58984"/>
                <a:gd name="connsiteY6" fmla="*/ 0 h 31044"/>
                <a:gd name="connsiteX7" fmla="*/ 38495 w 58984"/>
                <a:gd name="connsiteY7" fmla="*/ 9624 h 31044"/>
                <a:gd name="connsiteX8" fmla="*/ 21731 w 58984"/>
                <a:gd name="connsiteY8" fmla="*/ 14901 h 31044"/>
                <a:gd name="connsiteX9" fmla="*/ 0 w 58984"/>
                <a:gd name="connsiteY9" fmla="*/ 17075 h 31044"/>
                <a:gd name="connsiteX10" fmla="*/ 0 w 58984"/>
                <a:gd name="connsiteY10" fmla="*/ 24215 h 31044"/>
                <a:gd name="connsiteX11" fmla="*/ 5277 w 58984"/>
                <a:gd name="connsiteY11" fmla="*/ 26388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58984" h="31044">
                  <a:moveTo>
                    <a:pt x="12418" y="28561"/>
                  </a:moveTo>
                  <a:lnTo>
                    <a:pt x="17695" y="29492"/>
                  </a:lnTo>
                  <a:lnTo>
                    <a:pt x="23904" y="31666"/>
                  </a:lnTo>
                  <a:lnTo>
                    <a:pt x="60537" y="21110"/>
                  </a:lnTo>
                  <a:lnTo>
                    <a:pt x="60537" y="931"/>
                  </a:lnTo>
                  <a:lnTo>
                    <a:pt x="59605" y="0"/>
                  </a:lnTo>
                  <a:lnTo>
                    <a:pt x="50913" y="0"/>
                  </a:lnTo>
                  <a:lnTo>
                    <a:pt x="38495" y="9624"/>
                  </a:lnTo>
                  <a:lnTo>
                    <a:pt x="21731" y="14901"/>
                  </a:lnTo>
                  <a:lnTo>
                    <a:pt x="0" y="17075"/>
                  </a:lnTo>
                  <a:lnTo>
                    <a:pt x="0" y="24215"/>
                  </a:lnTo>
                  <a:lnTo>
                    <a:pt x="5277" y="263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xmlns="" id="{B3DEE26B-6138-4B66-AA83-D5B5D7372C3C}"/>
                </a:ext>
              </a:extLst>
            </p:cNvPr>
            <p:cNvSpPr/>
            <p:nvPr/>
          </p:nvSpPr>
          <p:spPr>
            <a:xfrm>
              <a:off x="7008566" y="5801459"/>
              <a:ext cx="291819" cy="152118"/>
            </a:xfrm>
            <a:custGeom>
              <a:avLst/>
              <a:gdLst>
                <a:gd name="connsiteX0" fmla="*/ 207378 w 291819"/>
                <a:gd name="connsiteY0" fmla="*/ 60537 h 152118"/>
                <a:gd name="connsiteX1" fmla="*/ 192787 w 291819"/>
                <a:gd name="connsiteY1" fmla="*/ 49982 h 152118"/>
                <a:gd name="connsiteX2" fmla="*/ 175091 w 291819"/>
                <a:gd name="connsiteY2" fmla="*/ 38185 h 152118"/>
                <a:gd name="connsiteX3" fmla="*/ 153050 w 291819"/>
                <a:gd name="connsiteY3" fmla="*/ 30734 h 152118"/>
                <a:gd name="connsiteX4" fmla="*/ 135354 w 291819"/>
                <a:gd name="connsiteY4" fmla="*/ 23283 h 152118"/>
                <a:gd name="connsiteX5" fmla="*/ 120763 w 291819"/>
                <a:gd name="connsiteY5" fmla="*/ 14901 h 152118"/>
                <a:gd name="connsiteX6" fmla="*/ 102137 w 291819"/>
                <a:gd name="connsiteY6" fmla="*/ 16143 h 152118"/>
                <a:gd name="connsiteX7" fmla="*/ 89719 w 291819"/>
                <a:gd name="connsiteY7" fmla="*/ 20179 h 152118"/>
                <a:gd name="connsiteX8" fmla="*/ 80095 w 291819"/>
                <a:gd name="connsiteY8" fmla="*/ 25456 h 152118"/>
                <a:gd name="connsiteX9" fmla="*/ 70782 w 291819"/>
                <a:gd name="connsiteY9" fmla="*/ 35080 h 152118"/>
                <a:gd name="connsiteX10" fmla="*/ 70782 w 291819"/>
                <a:gd name="connsiteY10" fmla="*/ 38185 h 152118"/>
                <a:gd name="connsiteX11" fmla="*/ 67677 w 291819"/>
                <a:gd name="connsiteY11" fmla="*/ 38185 h 152118"/>
                <a:gd name="connsiteX12" fmla="*/ 67677 w 291819"/>
                <a:gd name="connsiteY12" fmla="*/ 35080 h 152118"/>
                <a:gd name="connsiteX13" fmla="*/ 60537 w 291819"/>
                <a:gd name="connsiteY13" fmla="*/ 25456 h 152118"/>
                <a:gd name="connsiteX14" fmla="*/ 55259 w 291819"/>
                <a:gd name="connsiteY14" fmla="*/ 14901 h 152118"/>
                <a:gd name="connsiteX15" fmla="*/ 50913 w 291819"/>
                <a:gd name="connsiteY15" fmla="*/ 1242 h 152118"/>
                <a:gd name="connsiteX16" fmla="*/ 36322 w 291819"/>
                <a:gd name="connsiteY16" fmla="*/ 0 h 152118"/>
                <a:gd name="connsiteX17" fmla="*/ 26078 w 291819"/>
                <a:gd name="connsiteY17" fmla="*/ 0 h 152118"/>
                <a:gd name="connsiteX18" fmla="*/ 14591 w 291819"/>
                <a:gd name="connsiteY18" fmla="*/ 0 h 152118"/>
                <a:gd name="connsiteX19" fmla="*/ 0 w 291819"/>
                <a:gd name="connsiteY19" fmla="*/ 1242 h 152118"/>
                <a:gd name="connsiteX20" fmla="*/ 0 w 291819"/>
                <a:gd name="connsiteY20" fmla="*/ 10866 h 152118"/>
                <a:gd name="connsiteX21" fmla="*/ 9313 w 291819"/>
                <a:gd name="connsiteY21" fmla="*/ 14901 h 152118"/>
                <a:gd name="connsiteX22" fmla="*/ 20800 w 291819"/>
                <a:gd name="connsiteY22" fmla="*/ 20179 h 152118"/>
                <a:gd name="connsiteX23" fmla="*/ 31355 w 291819"/>
                <a:gd name="connsiteY23" fmla="*/ 22352 h 152118"/>
                <a:gd name="connsiteX24" fmla="*/ 29182 w 291819"/>
                <a:gd name="connsiteY24" fmla="*/ 25456 h 152118"/>
                <a:gd name="connsiteX25" fmla="*/ 28250 w 291819"/>
                <a:gd name="connsiteY25" fmla="*/ 27630 h 152118"/>
                <a:gd name="connsiteX26" fmla="*/ 26078 w 291819"/>
                <a:gd name="connsiteY26" fmla="*/ 29803 h 152118"/>
                <a:gd name="connsiteX27" fmla="*/ 23904 w 291819"/>
                <a:gd name="connsiteY27" fmla="*/ 29803 h 152118"/>
                <a:gd name="connsiteX28" fmla="*/ 20800 w 291819"/>
                <a:gd name="connsiteY28" fmla="*/ 30734 h 152118"/>
                <a:gd name="connsiteX29" fmla="*/ 29182 w 291819"/>
                <a:gd name="connsiteY29" fmla="*/ 42531 h 152118"/>
                <a:gd name="connsiteX30" fmla="*/ 42842 w 291819"/>
                <a:gd name="connsiteY30" fmla="*/ 49982 h 152118"/>
                <a:gd name="connsiteX31" fmla="*/ 58364 w 291819"/>
                <a:gd name="connsiteY31" fmla="*/ 53086 h 152118"/>
                <a:gd name="connsiteX32" fmla="*/ 75128 w 291819"/>
                <a:gd name="connsiteY32" fmla="*/ 58364 h 152118"/>
                <a:gd name="connsiteX33" fmla="*/ 89719 w 291819"/>
                <a:gd name="connsiteY33" fmla="*/ 62710 h 152118"/>
                <a:gd name="connsiteX34" fmla="*/ 102137 w 291819"/>
                <a:gd name="connsiteY34" fmla="*/ 72023 h 152118"/>
                <a:gd name="connsiteX35" fmla="*/ 111450 w 291819"/>
                <a:gd name="connsiteY35" fmla="*/ 87856 h 152118"/>
                <a:gd name="connsiteX36" fmla="*/ 113623 w 291819"/>
                <a:gd name="connsiteY36" fmla="*/ 92202 h 152118"/>
                <a:gd name="connsiteX37" fmla="*/ 111450 w 291819"/>
                <a:gd name="connsiteY37" fmla="*/ 95307 h 152118"/>
                <a:gd name="connsiteX38" fmla="*/ 109277 w 291819"/>
                <a:gd name="connsiteY38" fmla="*/ 99653 h 152118"/>
                <a:gd name="connsiteX39" fmla="*/ 107414 w 291819"/>
                <a:gd name="connsiteY39" fmla="*/ 102757 h 152118"/>
                <a:gd name="connsiteX40" fmla="*/ 106172 w 291819"/>
                <a:gd name="connsiteY40" fmla="*/ 109277 h 152118"/>
                <a:gd name="connsiteX41" fmla="*/ 104310 w 291819"/>
                <a:gd name="connsiteY41" fmla="*/ 116417 h 152118"/>
                <a:gd name="connsiteX42" fmla="*/ 122005 w 291819"/>
                <a:gd name="connsiteY42" fmla="*/ 114554 h 152118"/>
                <a:gd name="connsiteX43" fmla="*/ 135354 w 291819"/>
                <a:gd name="connsiteY43" fmla="*/ 116417 h 152118"/>
                <a:gd name="connsiteX44" fmla="*/ 147772 w 291819"/>
                <a:gd name="connsiteY44" fmla="*/ 119832 h 152118"/>
                <a:gd name="connsiteX45" fmla="*/ 160500 w 291819"/>
                <a:gd name="connsiteY45" fmla="*/ 126972 h 152118"/>
                <a:gd name="connsiteX46" fmla="*/ 172918 w 291819"/>
                <a:gd name="connsiteY46" fmla="*/ 123868 h 152118"/>
                <a:gd name="connsiteX47" fmla="*/ 185336 w 291819"/>
                <a:gd name="connsiteY47" fmla="*/ 116417 h 152118"/>
                <a:gd name="connsiteX48" fmla="*/ 198996 w 291819"/>
                <a:gd name="connsiteY48" fmla="*/ 112381 h 152118"/>
                <a:gd name="connsiteX49" fmla="*/ 209241 w 291819"/>
                <a:gd name="connsiteY49" fmla="*/ 112381 h 152118"/>
                <a:gd name="connsiteX50" fmla="*/ 223831 w 291819"/>
                <a:gd name="connsiteY50" fmla="*/ 119832 h 152118"/>
                <a:gd name="connsiteX51" fmla="*/ 228178 w 291819"/>
                <a:gd name="connsiteY51" fmla="*/ 123868 h 152118"/>
                <a:gd name="connsiteX52" fmla="*/ 231282 w 291819"/>
                <a:gd name="connsiteY52" fmla="*/ 129145 h 152118"/>
                <a:gd name="connsiteX53" fmla="*/ 235318 w 291819"/>
                <a:gd name="connsiteY53" fmla="*/ 136596 h 152118"/>
                <a:gd name="connsiteX54" fmla="*/ 238423 w 291819"/>
                <a:gd name="connsiteY54" fmla="*/ 139701 h 152118"/>
                <a:gd name="connsiteX55" fmla="*/ 243700 w 291819"/>
                <a:gd name="connsiteY55" fmla="*/ 144047 h 152118"/>
                <a:gd name="connsiteX56" fmla="*/ 249909 w 291819"/>
                <a:gd name="connsiteY56" fmla="*/ 146220 h 152118"/>
                <a:gd name="connsiteX57" fmla="*/ 253013 w 291819"/>
                <a:gd name="connsiteY57" fmla="*/ 147151 h 152118"/>
                <a:gd name="connsiteX58" fmla="*/ 257360 w 291819"/>
                <a:gd name="connsiteY58" fmla="*/ 147151 h 152118"/>
                <a:gd name="connsiteX59" fmla="*/ 260464 w 291819"/>
                <a:gd name="connsiteY59" fmla="*/ 147151 h 152118"/>
                <a:gd name="connsiteX60" fmla="*/ 264500 w 291819"/>
                <a:gd name="connsiteY60" fmla="*/ 149324 h 152118"/>
                <a:gd name="connsiteX61" fmla="*/ 267604 w 291819"/>
                <a:gd name="connsiteY61" fmla="*/ 152429 h 152118"/>
                <a:gd name="connsiteX62" fmla="*/ 291819 w 291819"/>
                <a:gd name="connsiteY62" fmla="*/ 152429 h 152118"/>
                <a:gd name="connsiteX63" fmla="*/ 291819 w 291819"/>
                <a:gd name="connsiteY63" fmla="*/ 144047 h 152118"/>
                <a:gd name="connsiteX64" fmla="*/ 270709 w 291819"/>
                <a:gd name="connsiteY64" fmla="*/ 132560 h 152118"/>
                <a:gd name="connsiteX65" fmla="*/ 253013 w 291819"/>
                <a:gd name="connsiteY65" fmla="*/ 117659 h 152118"/>
                <a:gd name="connsiteX66" fmla="*/ 240595 w 291819"/>
                <a:gd name="connsiteY66" fmla="*/ 99653 h 152118"/>
                <a:gd name="connsiteX67" fmla="*/ 236560 w 291819"/>
                <a:gd name="connsiteY67" fmla="*/ 97480 h 152118"/>
                <a:gd name="connsiteX68" fmla="*/ 235318 w 291819"/>
                <a:gd name="connsiteY68" fmla="*/ 97480 h 152118"/>
                <a:gd name="connsiteX69" fmla="*/ 236560 w 291819"/>
                <a:gd name="connsiteY69" fmla="*/ 95307 h 152118"/>
                <a:gd name="connsiteX70" fmla="*/ 238423 w 291819"/>
                <a:gd name="connsiteY70" fmla="*/ 94375 h 152118"/>
                <a:gd name="connsiteX71" fmla="*/ 242768 w 291819"/>
                <a:gd name="connsiteY71" fmla="*/ 94375 h 152118"/>
                <a:gd name="connsiteX72" fmla="*/ 245873 w 291819"/>
                <a:gd name="connsiteY72" fmla="*/ 92202 h 152118"/>
                <a:gd name="connsiteX73" fmla="*/ 248046 w 291819"/>
                <a:gd name="connsiteY73" fmla="*/ 92202 h 152118"/>
                <a:gd name="connsiteX74" fmla="*/ 248046 w 291819"/>
                <a:gd name="connsiteY74" fmla="*/ 82579 h 152118"/>
                <a:gd name="connsiteX75" fmla="*/ 236560 w 291819"/>
                <a:gd name="connsiteY75" fmla="*/ 80405 h 152118"/>
                <a:gd name="connsiteX76" fmla="*/ 228178 w 291819"/>
                <a:gd name="connsiteY76" fmla="*/ 77301 h 152118"/>
                <a:gd name="connsiteX77" fmla="*/ 214518 w 291819"/>
                <a:gd name="connsiteY77" fmla="*/ 75128 h 152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291819" h="152118">
                  <a:moveTo>
                    <a:pt x="207378" y="60537"/>
                  </a:moveTo>
                  <a:lnTo>
                    <a:pt x="192787" y="49982"/>
                  </a:lnTo>
                  <a:lnTo>
                    <a:pt x="175091" y="38185"/>
                  </a:lnTo>
                  <a:lnTo>
                    <a:pt x="153050" y="30734"/>
                  </a:lnTo>
                  <a:lnTo>
                    <a:pt x="135354" y="23283"/>
                  </a:lnTo>
                  <a:lnTo>
                    <a:pt x="120763" y="14901"/>
                  </a:lnTo>
                  <a:lnTo>
                    <a:pt x="102137" y="16143"/>
                  </a:lnTo>
                  <a:lnTo>
                    <a:pt x="89719" y="20179"/>
                  </a:lnTo>
                  <a:lnTo>
                    <a:pt x="80095" y="25456"/>
                  </a:lnTo>
                  <a:lnTo>
                    <a:pt x="70782" y="35080"/>
                  </a:lnTo>
                  <a:lnTo>
                    <a:pt x="70782" y="38185"/>
                  </a:lnTo>
                  <a:lnTo>
                    <a:pt x="67677" y="38185"/>
                  </a:lnTo>
                  <a:lnTo>
                    <a:pt x="67677" y="35080"/>
                  </a:lnTo>
                  <a:lnTo>
                    <a:pt x="60537" y="25456"/>
                  </a:lnTo>
                  <a:lnTo>
                    <a:pt x="55259" y="14901"/>
                  </a:lnTo>
                  <a:lnTo>
                    <a:pt x="50913" y="1242"/>
                  </a:lnTo>
                  <a:lnTo>
                    <a:pt x="36322" y="0"/>
                  </a:lnTo>
                  <a:lnTo>
                    <a:pt x="26078" y="0"/>
                  </a:lnTo>
                  <a:lnTo>
                    <a:pt x="14591" y="0"/>
                  </a:lnTo>
                  <a:lnTo>
                    <a:pt x="0" y="1242"/>
                  </a:lnTo>
                  <a:lnTo>
                    <a:pt x="0" y="10866"/>
                  </a:lnTo>
                  <a:lnTo>
                    <a:pt x="9313" y="14901"/>
                  </a:lnTo>
                  <a:lnTo>
                    <a:pt x="20800" y="20179"/>
                  </a:lnTo>
                  <a:lnTo>
                    <a:pt x="31355" y="22352"/>
                  </a:lnTo>
                  <a:lnTo>
                    <a:pt x="29182" y="25456"/>
                  </a:lnTo>
                  <a:lnTo>
                    <a:pt x="28250" y="27630"/>
                  </a:lnTo>
                  <a:lnTo>
                    <a:pt x="26078" y="29803"/>
                  </a:lnTo>
                  <a:lnTo>
                    <a:pt x="23904" y="29803"/>
                  </a:lnTo>
                  <a:lnTo>
                    <a:pt x="20800" y="30734"/>
                  </a:lnTo>
                  <a:lnTo>
                    <a:pt x="29182" y="42531"/>
                  </a:lnTo>
                  <a:lnTo>
                    <a:pt x="42842" y="49982"/>
                  </a:lnTo>
                  <a:lnTo>
                    <a:pt x="58364" y="53086"/>
                  </a:lnTo>
                  <a:lnTo>
                    <a:pt x="75128" y="58364"/>
                  </a:lnTo>
                  <a:lnTo>
                    <a:pt x="89719" y="62710"/>
                  </a:lnTo>
                  <a:lnTo>
                    <a:pt x="102137" y="72023"/>
                  </a:lnTo>
                  <a:lnTo>
                    <a:pt x="111450" y="87856"/>
                  </a:lnTo>
                  <a:lnTo>
                    <a:pt x="113623" y="92202"/>
                  </a:lnTo>
                  <a:lnTo>
                    <a:pt x="111450" y="95307"/>
                  </a:lnTo>
                  <a:lnTo>
                    <a:pt x="109277" y="99653"/>
                  </a:lnTo>
                  <a:lnTo>
                    <a:pt x="107414" y="102757"/>
                  </a:lnTo>
                  <a:lnTo>
                    <a:pt x="106172" y="109277"/>
                  </a:lnTo>
                  <a:lnTo>
                    <a:pt x="104310" y="116417"/>
                  </a:lnTo>
                  <a:lnTo>
                    <a:pt x="122005" y="114554"/>
                  </a:lnTo>
                  <a:lnTo>
                    <a:pt x="135354" y="116417"/>
                  </a:lnTo>
                  <a:lnTo>
                    <a:pt x="147772" y="119832"/>
                  </a:lnTo>
                  <a:lnTo>
                    <a:pt x="160500" y="126972"/>
                  </a:lnTo>
                  <a:lnTo>
                    <a:pt x="172918" y="123868"/>
                  </a:lnTo>
                  <a:lnTo>
                    <a:pt x="185336" y="116417"/>
                  </a:lnTo>
                  <a:lnTo>
                    <a:pt x="198996" y="112381"/>
                  </a:lnTo>
                  <a:lnTo>
                    <a:pt x="209241" y="112381"/>
                  </a:lnTo>
                  <a:lnTo>
                    <a:pt x="223831" y="119832"/>
                  </a:lnTo>
                  <a:lnTo>
                    <a:pt x="228178" y="123868"/>
                  </a:lnTo>
                  <a:lnTo>
                    <a:pt x="231282" y="129145"/>
                  </a:lnTo>
                  <a:lnTo>
                    <a:pt x="235318" y="136596"/>
                  </a:lnTo>
                  <a:lnTo>
                    <a:pt x="238423" y="139701"/>
                  </a:lnTo>
                  <a:lnTo>
                    <a:pt x="243700" y="144047"/>
                  </a:lnTo>
                  <a:lnTo>
                    <a:pt x="249909" y="146220"/>
                  </a:lnTo>
                  <a:lnTo>
                    <a:pt x="253013" y="147151"/>
                  </a:lnTo>
                  <a:lnTo>
                    <a:pt x="257360" y="147151"/>
                  </a:lnTo>
                  <a:lnTo>
                    <a:pt x="260464" y="147151"/>
                  </a:lnTo>
                  <a:lnTo>
                    <a:pt x="264500" y="149324"/>
                  </a:lnTo>
                  <a:lnTo>
                    <a:pt x="267604" y="152429"/>
                  </a:lnTo>
                  <a:lnTo>
                    <a:pt x="291819" y="152429"/>
                  </a:lnTo>
                  <a:lnTo>
                    <a:pt x="291819" y="144047"/>
                  </a:lnTo>
                  <a:lnTo>
                    <a:pt x="270709" y="132560"/>
                  </a:lnTo>
                  <a:lnTo>
                    <a:pt x="253013" y="117659"/>
                  </a:lnTo>
                  <a:lnTo>
                    <a:pt x="240595" y="99653"/>
                  </a:lnTo>
                  <a:lnTo>
                    <a:pt x="236560" y="97480"/>
                  </a:lnTo>
                  <a:lnTo>
                    <a:pt x="235318" y="97480"/>
                  </a:lnTo>
                  <a:lnTo>
                    <a:pt x="236560" y="95307"/>
                  </a:lnTo>
                  <a:lnTo>
                    <a:pt x="238423" y="94375"/>
                  </a:lnTo>
                  <a:lnTo>
                    <a:pt x="242768" y="94375"/>
                  </a:lnTo>
                  <a:lnTo>
                    <a:pt x="245873" y="92202"/>
                  </a:lnTo>
                  <a:lnTo>
                    <a:pt x="248046" y="92202"/>
                  </a:lnTo>
                  <a:lnTo>
                    <a:pt x="248046" y="82579"/>
                  </a:lnTo>
                  <a:lnTo>
                    <a:pt x="236560" y="80405"/>
                  </a:lnTo>
                  <a:lnTo>
                    <a:pt x="228178" y="77301"/>
                  </a:lnTo>
                  <a:lnTo>
                    <a:pt x="214518" y="751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xmlns="" id="{AC4DB734-4994-43FF-9F21-9C421B9E8639}"/>
                </a:ext>
              </a:extLst>
            </p:cNvPr>
            <p:cNvSpPr/>
            <p:nvPr/>
          </p:nvSpPr>
          <p:spPr>
            <a:xfrm>
              <a:off x="7300385" y="5823811"/>
              <a:ext cx="37253" cy="34149"/>
            </a:xfrm>
            <a:custGeom>
              <a:avLst/>
              <a:gdLst>
                <a:gd name="connsiteX0" fmla="*/ 29182 w 37253"/>
                <a:gd name="connsiteY0" fmla="*/ 29492 h 34149"/>
                <a:gd name="connsiteX1" fmla="*/ 36322 w 37253"/>
                <a:gd name="connsiteY1" fmla="*/ 36012 h 34149"/>
                <a:gd name="connsiteX2" fmla="*/ 39426 w 37253"/>
                <a:gd name="connsiteY2" fmla="*/ 36012 h 34149"/>
                <a:gd name="connsiteX3" fmla="*/ 36322 w 37253"/>
                <a:gd name="connsiteY3" fmla="*/ 22352 h 34149"/>
                <a:gd name="connsiteX4" fmla="*/ 29182 w 37253"/>
                <a:gd name="connsiteY4" fmla="*/ 10555 h 34149"/>
                <a:gd name="connsiteX5" fmla="*/ 19558 w 37253"/>
                <a:gd name="connsiteY5" fmla="*/ 0 h 34149"/>
                <a:gd name="connsiteX6" fmla="*/ 0 w 37253"/>
                <a:gd name="connsiteY6" fmla="*/ 0 h 34149"/>
                <a:gd name="connsiteX7" fmla="*/ 7140 w 37253"/>
                <a:gd name="connsiteY7" fmla="*/ 10555 h 34149"/>
                <a:gd name="connsiteX8" fmla="*/ 17695 w 37253"/>
                <a:gd name="connsiteY8" fmla="*/ 18006 h 34149"/>
                <a:gd name="connsiteX9" fmla="*/ 27009 w 37253"/>
                <a:gd name="connsiteY9" fmla="*/ 27630 h 34149"/>
                <a:gd name="connsiteX10" fmla="*/ 28250 w 37253"/>
                <a:gd name="connsiteY10" fmla="*/ 28561 h 34149"/>
                <a:gd name="connsiteX11" fmla="*/ 29182 w 37253"/>
                <a:gd name="connsiteY11" fmla="*/ 28561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7253" h="34149">
                  <a:moveTo>
                    <a:pt x="29182" y="29492"/>
                  </a:moveTo>
                  <a:lnTo>
                    <a:pt x="36322" y="36012"/>
                  </a:lnTo>
                  <a:lnTo>
                    <a:pt x="39426" y="36012"/>
                  </a:lnTo>
                  <a:lnTo>
                    <a:pt x="36322" y="22352"/>
                  </a:lnTo>
                  <a:lnTo>
                    <a:pt x="29182" y="10555"/>
                  </a:lnTo>
                  <a:lnTo>
                    <a:pt x="19558" y="0"/>
                  </a:lnTo>
                  <a:lnTo>
                    <a:pt x="0" y="0"/>
                  </a:lnTo>
                  <a:lnTo>
                    <a:pt x="7140" y="10555"/>
                  </a:lnTo>
                  <a:lnTo>
                    <a:pt x="17695" y="18006"/>
                  </a:lnTo>
                  <a:lnTo>
                    <a:pt x="27009" y="27630"/>
                  </a:lnTo>
                  <a:lnTo>
                    <a:pt x="28250" y="28561"/>
                  </a:lnTo>
                  <a:lnTo>
                    <a:pt x="29182" y="285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xmlns="" id="{0062042F-EB79-41D9-A16C-52A53439E0DA}"/>
                </a:ext>
              </a:extLst>
            </p:cNvPr>
            <p:cNvSpPr/>
            <p:nvPr/>
          </p:nvSpPr>
          <p:spPr>
            <a:xfrm>
              <a:off x="7503417" y="6096693"/>
              <a:ext cx="43462" cy="34149"/>
            </a:xfrm>
            <a:custGeom>
              <a:avLst/>
              <a:gdLst>
                <a:gd name="connsiteX0" fmla="*/ 14591 w 43462"/>
                <a:gd name="connsiteY0" fmla="*/ 20179 h 34149"/>
                <a:gd name="connsiteX1" fmla="*/ 23904 w 43462"/>
                <a:gd name="connsiteY1" fmla="*/ 27630 h 34149"/>
                <a:gd name="connsiteX2" fmla="*/ 33218 w 43462"/>
                <a:gd name="connsiteY2" fmla="*/ 35080 h 34149"/>
                <a:gd name="connsiteX3" fmla="*/ 45946 w 43462"/>
                <a:gd name="connsiteY3" fmla="*/ 35080 h 34149"/>
                <a:gd name="connsiteX4" fmla="*/ 45946 w 43462"/>
                <a:gd name="connsiteY4" fmla="*/ 24525 h 34149"/>
                <a:gd name="connsiteX5" fmla="*/ 26078 w 43462"/>
                <a:gd name="connsiteY5" fmla="*/ 12728 h 34149"/>
                <a:gd name="connsiteX6" fmla="*/ 9313 w 43462"/>
                <a:gd name="connsiteY6" fmla="*/ 0 h 34149"/>
                <a:gd name="connsiteX7" fmla="*/ 0 w 43462"/>
                <a:gd name="connsiteY7" fmla="*/ 0 h 34149"/>
                <a:gd name="connsiteX8" fmla="*/ 7140 w 43462"/>
                <a:gd name="connsiteY8" fmla="*/ 10866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3462" h="34149">
                  <a:moveTo>
                    <a:pt x="14591" y="20179"/>
                  </a:moveTo>
                  <a:lnTo>
                    <a:pt x="23904" y="27630"/>
                  </a:lnTo>
                  <a:lnTo>
                    <a:pt x="33218" y="35080"/>
                  </a:lnTo>
                  <a:lnTo>
                    <a:pt x="45946" y="35080"/>
                  </a:lnTo>
                  <a:lnTo>
                    <a:pt x="45946" y="24525"/>
                  </a:lnTo>
                  <a:lnTo>
                    <a:pt x="26078" y="12728"/>
                  </a:lnTo>
                  <a:lnTo>
                    <a:pt x="9313" y="0"/>
                  </a:lnTo>
                  <a:lnTo>
                    <a:pt x="0" y="0"/>
                  </a:lnTo>
                  <a:lnTo>
                    <a:pt x="7140" y="1086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xmlns="" id="{33B69A72-3486-4BF0-AB16-8695ECFC1671}"/>
                </a:ext>
              </a:extLst>
            </p:cNvPr>
            <p:cNvSpPr/>
            <p:nvPr/>
          </p:nvSpPr>
          <p:spPr>
            <a:xfrm>
              <a:off x="7529494" y="6010079"/>
              <a:ext cx="18627" cy="31045"/>
            </a:xfrm>
            <a:custGeom>
              <a:avLst/>
              <a:gdLst>
                <a:gd name="connsiteX0" fmla="*/ 5277 w 18626"/>
                <a:gd name="connsiteY0" fmla="*/ 24215 h 31044"/>
                <a:gd name="connsiteX1" fmla="*/ 7140 w 18626"/>
                <a:gd name="connsiteY1" fmla="*/ 32907 h 31044"/>
                <a:gd name="connsiteX2" fmla="*/ 19868 w 18626"/>
                <a:gd name="connsiteY2" fmla="*/ 32907 h 31044"/>
                <a:gd name="connsiteX3" fmla="*/ 17695 w 18626"/>
                <a:gd name="connsiteY3" fmla="*/ 27630 h 31044"/>
                <a:gd name="connsiteX4" fmla="*/ 15522 w 18626"/>
                <a:gd name="connsiteY4" fmla="*/ 24215 h 31044"/>
                <a:gd name="connsiteX5" fmla="*/ 14591 w 18626"/>
                <a:gd name="connsiteY5" fmla="*/ 20179 h 31044"/>
                <a:gd name="connsiteX6" fmla="*/ 12418 w 18626"/>
                <a:gd name="connsiteY6" fmla="*/ 16764 h 31044"/>
                <a:gd name="connsiteX7" fmla="*/ 12418 w 18626"/>
                <a:gd name="connsiteY7" fmla="*/ 10555 h 31044"/>
                <a:gd name="connsiteX8" fmla="*/ 10244 w 18626"/>
                <a:gd name="connsiteY8" fmla="*/ 5278 h 31044"/>
                <a:gd name="connsiteX9" fmla="*/ 8382 w 18626"/>
                <a:gd name="connsiteY9" fmla="*/ 3104 h 31044"/>
                <a:gd name="connsiteX10" fmla="*/ 7140 w 18626"/>
                <a:gd name="connsiteY10" fmla="*/ 3104 h 31044"/>
                <a:gd name="connsiteX11" fmla="*/ 5277 w 18626"/>
                <a:gd name="connsiteY11" fmla="*/ 3104 h 31044"/>
                <a:gd name="connsiteX12" fmla="*/ 5277 w 18626"/>
                <a:gd name="connsiteY12" fmla="*/ 2173 h 31044"/>
                <a:gd name="connsiteX13" fmla="*/ 3104 w 18626"/>
                <a:gd name="connsiteY13" fmla="*/ 0 h 31044"/>
                <a:gd name="connsiteX14" fmla="*/ 0 w 18626"/>
                <a:gd name="connsiteY14" fmla="*/ 0 h 31044"/>
                <a:gd name="connsiteX15" fmla="*/ 0 w 18626"/>
                <a:gd name="connsiteY15" fmla="*/ 10555 h 31044"/>
                <a:gd name="connsiteX16" fmla="*/ 931 w 18626"/>
                <a:gd name="connsiteY16" fmla="*/ 18006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8626" h="31044">
                  <a:moveTo>
                    <a:pt x="5277" y="24215"/>
                  </a:moveTo>
                  <a:lnTo>
                    <a:pt x="7140" y="32907"/>
                  </a:lnTo>
                  <a:lnTo>
                    <a:pt x="19868" y="32907"/>
                  </a:lnTo>
                  <a:lnTo>
                    <a:pt x="17695" y="27630"/>
                  </a:lnTo>
                  <a:lnTo>
                    <a:pt x="15522" y="24215"/>
                  </a:lnTo>
                  <a:lnTo>
                    <a:pt x="14591" y="20179"/>
                  </a:lnTo>
                  <a:lnTo>
                    <a:pt x="12418" y="16764"/>
                  </a:lnTo>
                  <a:lnTo>
                    <a:pt x="12418" y="10555"/>
                  </a:lnTo>
                  <a:lnTo>
                    <a:pt x="10244" y="5278"/>
                  </a:lnTo>
                  <a:lnTo>
                    <a:pt x="8382" y="3104"/>
                  </a:lnTo>
                  <a:lnTo>
                    <a:pt x="7140" y="3104"/>
                  </a:lnTo>
                  <a:lnTo>
                    <a:pt x="5277" y="3104"/>
                  </a:lnTo>
                  <a:lnTo>
                    <a:pt x="5277" y="2173"/>
                  </a:lnTo>
                  <a:lnTo>
                    <a:pt x="3104" y="0"/>
                  </a:lnTo>
                  <a:lnTo>
                    <a:pt x="0" y="0"/>
                  </a:lnTo>
                  <a:lnTo>
                    <a:pt x="0" y="10555"/>
                  </a:lnTo>
                  <a:lnTo>
                    <a:pt x="931" y="1800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xmlns="" id="{8F242892-CB7F-4150-8B71-1FC8B7F1A3FD}"/>
                </a:ext>
              </a:extLst>
            </p:cNvPr>
            <p:cNvSpPr/>
            <p:nvPr/>
          </p:nvSpPr>
          <p:spPr>
            <a:xfrm>
              <a:off x="7059479" y="5873482"/>
              <a:ext cx="12418" cy="18627"/>
            </a:xfrm>
            <a:custGeom>
              <a:avLst/>
              <a:gdLst>
                <a:gd name="connsiteX0" fmla="*/ 0 w 12417"/>
                <a:gd name="connsiteY0" fmla="*/ 20179 h 18626"/>
                <a:gd name="connsiteX1" fmla="*/ 2173 w 12417"/>
                <a:gd name="connsiteY1" fmla="*/ 18006 h 18626"/>
                <a:gd name="connsiteX2" fmla="*/ 4346 w 12417"/>
                <a:gd name="connsiteY2" fmla="*/ 15833 h 18626"/>
                <a:gd name="connsiteX3" fmla="*/ 13660 w 12417"/>
                <a:gd name="connsiteY3" fmla="*/ 10555 h 18626"/>
                <a:gd name="connsiteX4" fmla="*/ 13660 w 12417"/>
                <a:gd name="connsiteY4" fmla="*/ 3104 h 18626"/>
                <a:gd name="connsiteX5" fmla="*/ 0 w 12417"/>
                <a:gd name="connsiteY5" fmla="*/ 0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417" h="18626">
                  <a:moveTo>
                    <a:pt x="0" y="20179"/>
                  </a:moveTo>
                  <a:lnTo>
                    <a:pt x="2173" y="18006"/>
                  </a:lnTo>
                  <a:lnTo>
                    <a:pt x="4346" y="15833"/>
                  </a:lnTo>
                  <a:lnTo>
                    <a:pt x="13660" y="10555"/>
                  </a:lnTo>
                  <a:lnTo>
                    <a:pt x="13660" y="310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xmlns="" id="{0E8DDC14-F8AC-4303-9B2C-A1121237F51E}"/>
                </a:ext>
              </a:extLst>
            </p:cNvPr>
            <p:cNvSpPr/>
            <p:nvPr/>
          </p:nvSpPr>
          <p:spPr>
            <a:xfrm>
              <a:off x="6836579" y="5928431"/>
              <a:ext cx="24836" cy="15522"/>
            </a:xfrm>
            <a:custGeom>
              <a:avLst/>
              <a:gdLst>
                <a:gd name="connsiteX0" fmla="*/ 7451 w 24835"/>
                <a:gd name="connsiteY0" fmla="*/ 9624 h 15522"/>
                <a:gd name="connsiteX1" fmla="*/ 12728 w 24835"/>
                <a:gd name="connsiteY1" fmla="*/ 12728 h 15522"/>
                <a:gd name="connsiteX2" fmla="*/ 17696 w 24835"/>
                <a:gd name="connsiteY2" fmla="*/ 14901 h 15522"/>
                <a:gd name="connsiteX3" fmla="*/ 22973 w 24835"/>
                <a:gd name="connsiteY3" fmla="*/ 17075 h 15522"/>
                <a:gd name="connsiteX4" fmla="*/ 22973 w 24835"/>
                <a:gd name="connsiteY4" fmla="*/ 12728 h 15522"/>
                <a:gd name="connsiteX5" fmla="*/ 27319 w 24835"/>
                <a:gd name="connsiteY5" fmla="*/ 12728 h 15522"/>
                <a:gd name="connsiteX6" fmla="*/ 27319 w 24835"/>
                <a:gd name="connsiteY6" fmla="*/ 5588 h 15522"/>
                <a:gd name="connsiteX7" fmla="*/ 22042 w 24835"/>
                <a:gd name="connsiteY7" fmla="*/ 4346 h 15522"/>
                <a:gd name="connsiteX8" fmla="*/ 17696 w 24835"/>
                <a:gd name="connsiteY8" fmla="*/ 2173 h 15522"/>
                <a:gd name="connsiteX9" fmla="*/ 12728 w 24835"/>
                <a:gd name="connsiteY9" fmla="*/ 2173 h 15522"/>
                <a:gd name="connsiteX10" fmla="*/ 7451 w 24835"/>
                <a:gd name="connsiteY10" fmla="*/ 2173 h 15522"/>
                <a:gd name="connsiteX11" fmla="*/ 0 w 24835"/>
                <a:gd name="connsiteY11" fmla="*/ 0 h 15522"/>
                <a:gd name="connsiteX12" fmla="*/ 3104 w 24835"/>
                <a:gd name="connsiteY12" fmla="*/ 558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4835" h="15522">
                  <a:moveTo>
                    <a:pt x="7451" y="9624"/>
                  </a:moveTo>
                  <a:lnTo>
                    <a:pt x="12728" y="12728"/>
                  </a:lnTo>
                  <a:lnTo>
                    <a:pt x="17696" y="14901"/>
                  </a:lnTo>
                  <a:lnTo>
                    <a:pt x="22973" y="17075"/>
                  </a:lnTo>
                  <a:lnTo>
                    <a:pt x="22973" y="12728"/>
                  </a:lnTo>
                  <a:lnTo>
                    <a:pt x="27319" y="12728"/>
                  </a:lnTo>
                  <a:lnTo>
                    <a:pt x="27319" y="5588"/>
                  </a:lnTo>
                  <a:lnTo>
                    <a:pt x="22042" y="4346"/>
                  </a:lnTo>
                  <a:lnTo>
                    <a:pt x="17696" y="2173"/>
                  </a:lnTo>
                  <a:lnTo>
                    <a:pt x="12728" y="2173"/>
                  </a:lnTo>
                  <a:lnTo>
                    <a:pt x="7451" y="2173"/>
                  </a:lnTo>
                  <a:lnTo>
                    <a:pt x="0" y="0"/>
                  </a:lnTo>
                  <a:lnTo>
                    <a:pt x="3104" y="55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xmlns="" id="{56E71CE0-2534-4B07-B56F-BF1D32DD153F}"/>
                </a:ext>
              </a:extLst>
            </p:cNvPr>
            <p:cNvSpPr/>
            <p:nvPr/>
          </p:nvSpPr>
          <p:spPr>
            <a:xfrm>
              <a:off x="6939958" y="5836539"/>
              <a:ext cx="18627" cy="9313"/>
            </a:xfrm>
            <a:custGeom>
              <a:avLst/>
              <a:gdLst>
                <a:gd name="connsiteX0" fmla="*/ 0 w 18626"/>
                <a:gd name="connsiteY0" fmla="*/ 0 h 9313"/>
                <a:gd name="connsiteX1" fmla="*/ 0 w 18626"/>
                <a:gd name="connsiteY1" fmla="*/ 10555 h 9313"/>
                <a:gd name="connsiteX2" fmla="*/ 19558 w 18626"/>
                <a:gd name="connsiteY2" fmla="*/ 10555 h 9313"/>
                <a:gd name="connsiteX3" fmla="*/ 19558 w 18626"/>
                <a:gd name="connsiteY3" fmla="*/ 3104 h 9313"/>
                <a:gd name="connsiteX4" fmla="*/ 18627 w 18626"/>
                <a:gd name="connsiteY4" fmla="*/ 2173 h 9313"/>
                <a:gd name="connsiteX5" fmla="*/ 16453 w 18626"/>
                <a:gd name="connsiteY5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626" h="9313">
                  <a:moveTo>
                    <a:pt x="0" y="0"/>
                  </a:moveTo>
                  <a:lnTo>
                    <a:pt x="0" y="10555"/>
                  </a:lnTo>
                  <a:lnTo>
                    <a:pt x="19558" y="10555"/>
                  </a:lnTo>
                  <a:lnTo>
                    <a:pt x="19558" y="3104"/>
                  </a:lnTo>
                  <a:lnTo>
                    <a:pt x="18627" y="2173"/>
                  </a:lnTo>
                  <a:lnTo>
                    <a:pt x="16453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xmlns="" id="{A26C689E-EEE5-40E5-8321-735B366FA1CF}"/>
                </a:ext>
              </a:extLst>
            </p:cNvPr>
            <p:cNvSpPr/>
            <p:nvPr/>
          </p:nvSpPr>
          <p:spPr>
            <a:xfrm>
              <a:off x="6803361" y="5908563"/>
              <a:ext cx="34149" cy="15522"/>
            </a:xfrm>
            <a:custGeom>
              <a:avLst/>
              <a:gdLst>
                <a:gd name="connsiteX0" fmla="*/ 34459 w 34149"/>
                <a:gd name="connsiteY0" fmla="*/ 9313 h 15522"/>
                <a:gd name="connsiteX1" fmla="*/ 31355 w 34149"/>
                <a:gd name="connsiteY1" fmla="*/ 5277 h 15522"/>
                <a:gd name="connsiteX2" fmla="*/ 27009 w 34149"/>
                <a:gd name="connsiteY2" fmla="*/ 3104 h 15522"/>
                <a:gd name="connsiteX3" fmla="*/ 23904 w 34149"/>
                <a:gd name="connsiteY3" fmla="*/ 2173 h 15522"/>
                <a:gd name="connsiteX4" fmla="*/ 16764 w 34149"/>
                <a:gd name="connsiteY4" fmla="*/ 0 h 15522"/>
                <a:gd name="connsiteX5" fmla="*/ 12418 w 34149"/>
                <a:gd name="connsiteY5" fmla="*/ 3104 h 15522"/>
                <a:gd name="connsiteX6" fmla="*/ 11486 w 34149"/>
                <a:gd name="connsiteY6" fmla="*/ 5277 h 15522"/>
                <a:gd name="connsiteX7" fmla="*/ 5277 w 34149"/>
                <a:gd name="connsiteY7" fmla="*/ 7451 h 15522"/>
                <a:gd name="connsiteX8" fmla="*/ 0 w 34149"/>
                <a:gd name="connsiteY8" fmla="*/ 9313 h 15522"/>
                <a:gd name="connsiteX9" fmla="*/ 0 w 34149"/>
                <a:gd name="connsiteY9" fmla="*/ 16764 h 15522"/>
                <a:gd name="connsiteX10" fmla="*/ 12418 w 34149"/>
                <a:gd name="connsiteY10" fmla="*/ 16764 h 15522"/>
                <a:gd name="connsiteX11" fmla="*/ 23904 w 34149"/>
                <a:gd name="connsiteY11" fmla="*/ 16764 h 15522"/>
                <a:gd name="connsiteX12" fmla="*/ 33218 w 34149"/>
                <a:gd name="connsiteY12" fmla="*/ 12728 h 15522"/>
                <a:gd name="connsiteX13" fmla="*/ 36322 w 34149"/>
                <a:gd name="connsiteY13" fmla="*/ 1272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4149" h="15522">
                  <a:moveTo>
                    <a:pt x="34459" y="9313"/>
                  </a:moveTo>
                  <a:lnTo>
                    <a:pt x="31355" y="5277"/>
                  </a:lnTo>
                  <a:lnTo>
                    <a:pt x="27009" y="3104"/>
                  </a:lnTo>
                  <a:lnTo>
                    <a:pt x="23904" y="2173"/>
                  </a:lnTo>
                  <a:lnTo>
                    <a:pt x="16764" y="0"/>
                  </a:lnTo>
                  <a:lnTo>
                    <a:pt x="12418" y="3104"/>
                  </a:lnTo>
                  <a:lnTo>
                    <a:pt x="11486" y="5277"/>
                  </a:lnTo>
                  <a:lnTo>
                    <a:pt x="5277" y="7451"/>
                  </a:lnTo>
                  <a:lnTo>
                    <a:pt x="0" y="9313"/>
                  </a:lnTo>
                  <a:lnTo>
                    <a:pt x="0" y="16764"/>
                  </a:lnTo>
                  <a:lnTo>
                    <a:pt x="12418" y="16764"/>
                  </a:lnTo>
                  <a:lnTo>
                    <a:pt x="23904" y="16764"/>
                  </a:lnTo>
                  <a:lnTo>
                    <a:pt x="33218" y="12728"/>
                  </a:lnTo>
                  <a:lnTo>
                    <a:pt x="36322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1F120F42-6153-41C6-A3CE-7F7FB945F143}"/>
                </a:ext>
              </a:extLst>
            </p:cNvPr>
            <p:cNvSpPr/>
            <p:nvPr/>
          </p:nvSpPr>
          <p:spPr>
            <a:xfrm>
              <a:off x="2868772" y="5437617"/>
              <a:ext cx="34149" cy="12418"/>
            </a:xfrm>
            <a:custGeom>
              <a:avLst/>
              <a:gdLst>
                <a:gd name="connsiteX0" fmla="*/ 34459 w 34149"/>
                <a:gd name="connsiteY0" fmla="*/ 8382 h 12417"/>
                <a:gd name="connsiteX1" fmla="*/ 34459 w 34149"/>
                <a:gd name="connsiteY1" fmla="*/ 5278 h 12417"/>
                <a:gd name="connsiteX2" fmla="*/ 19869 w 34149"/>
                <a:gd name="connsiteY2" fmla="*/ 0 h 12417"/>
                <a:gd name="connsiteX3" fmla="*/ 14591 w 34149"/>
                <a:gd name="connsiteY3" fmla="*/ 2173 h 12417"/>
                <a:gd name="connsiteX4" fmla="*/ 10555 w 34149"/>
                <a:gd name="connsiteY4" fmla="*/ 3104 h 12417"/>
                <a:gd name="connsiteX5" fmla="*/ 5278 w 34149"/>
                <a:gd name="connsiteY5" fmla="*/ 3104 h 12417"/>
                <a:gd name="connsiteX6" fmla="*/ 0 w 34149"/>
                <a:gd name="connsiteY6" fmla="*/ 5278 h 12417"/>
                <a:gd name="connsiteX7" fmla="*/ 0 w 34149"/>
                <a:gd name="connsiteY7" fmla="*/ 12728 h 12417"/>
                <a:gd name="connsiteX8" fmla="*/ 9313 w 34149"/>
                <a:gd name="connsiteY8" fmla="*/ 12728 h 12417"/>
                <a:gd name="connsiteX9" fmla="*/ 19869 w 34149"/>
                <a:gd name="connsiteY9" fmla="*/ 12728 h 12417"/>
                <a:gd name="connsiteX10" fmla="*/ 31355 w 34149"/>
                <a:gd name="connsiteY10" fmla="*/ 8382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149" h="12417">
                  <a:moveTo>
                    <a:pt x="34459" y="8382"/>
                  </a:moveTo>
                  <a:lnTo>
                    <a:pt x="34459" y="5278"/>
                  </a:lnTo>
                  <a:lnTo>
                    <a:pt x="19869" y="0"/>
                  </a:lnTo>
                  <a:lnTo>
                    <a:pt x="14591" y="2173"/>
                  </a:lnTo>
                  <a:lnTo>
                    <a:pt x="10555" y="3104"/>
                  </a:lnTo>
                  <a:lnTo>
                    <a:pt x="5278" y="3104"/>
                  </a:lnTo>
                  <a:lnTo>
                    <a:pt x="0" y="5278"/>
                  </a:lnTo>
                  <a:lnTo>
                    <a:pt x="0" y="12728"/>
                  </a:lnTo>
                  <a:lnTo>
                    <a:pt x="9313" y="12728"/>
                  </a:lnTo>
                  <a:lnTo>
                    <a:pt x="19869" y="12728"/>
                  </a:lnTo>
                  <a:lnTo>
                    <a:pt x="31355" y="838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35585D90-02E3-4EB6-B3F5-15A9ACAE84D0}"/>
                </a:ext>
              </a:extLst>
            </p:cNvPr>
            <p:cNvSpPr/>
            <p:nvPr/>
          </p:nvSpPr>
          <p:spPr>
            <a:xfrm>
              <a:off x="6993044" y="5054526"/>
              <a:ext cx="229730" cy="266983"/>
            </a:xfrm>
            <a:custGeom>
              <a:avLst/>
              <a:gdLst>
                <a:gd name="connsiteX0" fmla="*/ 7140 w 229729"/>
                <a:gd name="connsiteY0" fmla="*/ 247425 h 266983"/>
                <a:gd name="connsiteX1" fmla="*/ 8382 w 229729"/>
                <a:gd name="connsiteY1" fmla="*/ 254876 h 266983"/>
                <a:gd name="connsiteX2" fmla="*/ 10245 w 229729"/>
                <a:gd name="connsiteY2" fmla="*/ 269777 h 266983"/>
                <a:gd name="connsiteX3" fmla="*/ 22663 w 229729"/>
                <a:gd name="connsiteY3" fmla="*/ 269777 h 266983"/>
                <a:gd name="connsiteX4" fmla="*/ 27009 w 229729"/>
                <a:gd name="connsiteY4" fmla="*/ 262327 h 266983"/>
                <a:gd name="connsiteX5" fmla="*/ 30113 w 229729"/>
                <a:gd name="connsiteY5" fmla="*/ 254876 h 266983"/>
                <a:gd name="connsiteX6" fmla="*/ 36322 w 229729"/>
                <a:gd name="connsiteY6" fmla="*/ 249599 h 266983"/>
                <a:gd name="connsiteX7" fmla="*/ 34149 w 229729"/>
                <a:gd name="connsiteY7" fmla="*/ 240285 h 266983"/>
                <a:gd name="connsiteX8" fmla="*/ 34149 w 229729"/>
                <a:gd name="connsiteY8" fmla="*/ 235008 h 266983"/>
                <a:gd name="connsiteX9" fmla="*/ 34149 w 229729"/>
                <a:gd name="connsiteY9" fmla="*/ 231593 h 266983"/>
                <a:gd name="connsiteX10" fmla="*/ 30113 w 229729"/>
                <a:gd name="connsiteY10" fmla="*/ 229730 h 266983"/>
                <a:gd name="connsiteX11" fmla="*/ 27009 w 229729"/>
                <a:gd name="connsiteY11" fmla="*/ 224452 h 266983"/>
                <a:gd name="connsiteX12" fmla="*/ 27009 w 229729"/>
                <a:gd name="connsiteY12" fmla="*/ 220106 h 266983"/>
                <a:gd name="connsiteX13" fmla="*/ 34149 w 229729"/>
                <a:gd name="connsiteY13" fmla="*/ 222279 h 266983"/>
                <a:gd name="connsiteX14" fmla="*/ 37253 w 229729"/>
                <a:gd name="connsiteY14" fmla="*/ 224452 h 266983"/>
                <a:gd name="connsiteX15" fmla="*/ 41600 w 229729"/>
                <a:gd name="connsiteY15" fmla="*/ 224452 h 266983"/>
                <a:gd name="connsiteX16" fmla="*/ 41600 w 229729"/>
                <a:gd name="connsiteY16" fmla="*/ 225384 h 266983"/>
                <a:gd name="connsiteX17" fmla="*/ 41600 w 229729"/>
                <a:gd name="connsiteY17" fmla="*/ 229730 h 266983"/>
                <a:gd name="connsiteX18" fmla="*/ 41600 w 229729"/>
                <a:gd name="connsiteY18" fmla="*/ 231593 h 266983"/>
                <a:gd name="connsiteX19" fmla="*/ 41600 w 229729"/>
                <a:gd name="connsiteY19" fmla="*/ 236870 h 266983"/>
                <a:gd name="connsiteX20" fmla="*/ 43773 w 229729"/>
                <a:gd name="connsiteY20" fmla="*/ 240285 h 266983"/>
                <a:gd name="connsiteX21" fmla="*/ 48740 w 229729"/>
                <a:gd name="connsiteY21" fmla="*/ 239043 h 266983"/>
                <a:gd name="connsiteX22" fmla="*/ 54018 w 229729"/>
                <a:gd name="connsiteY22" fmla="*/ 239043 h 266983"/>
                <a:gd name="connsiteX23" fmla="*/ 56191 w 229729"/>
                <a:gd name="connsiteY23" fmla="*/ 236870 h 266983"/>
                <a:gd name="connsiteX24" fmla="*/ 58364 w 229729"/>
                <a:gd name="connsiteY24" fmla="*/ 235008 h 266983"/>
                <a:gd name="connsiteX25" fmla="*/ 59295 w 229729"/>
                <a:gd name="connsiteY25" fmla="*/ 235008 h 266983"/>
                <a:gd name="connsiteX26" fmla="*/ 61468 w 229729"/>
                <a:gd name="connsiteY26" fmla="*/ 232834 h 266983"/>
                <a:gd name="connsiteX27" fmla="*/ 65504 w 229729"/>
                <a:gd name="connsiteY27" fmla="*/ 232834 h 266983"/>
                <a:gd name="connsiteX28" fmla="*/ 70782 w 229729"/>
                <a:gd name="connsiteY28" fmla="*/ 232834 h 266983"/>
                <a:gd name="connsiteX29" fmla="*/ 72955 w 229729"/>
                <a:gd name="connsiteY29" fmla="*/ 229730 h 266983"/>
                <a:gd name="connsiteX30" fmla="*/ 73886 w 229729"/>
                <a:gd name="connsiteY30" fmla="*/ 224452 h 266983"/>
                <a:gd name="connsiteX31" fmla="*/ 73886 w 229729"/>
                <a:gd name="connsiteY31" fmla="*/ 220106 h 266983"/>
                <a:gd name="connsiteX32" fmla="*/ 76059 w 229729"/>
                <a:gd name="connsiteY32" fmla="*/ 212655 h 266983"/>
                <a:gd name="connsiteX33" fmla="*/ 81026 w 229729"/>
                <a:gd name="connsiteY33" fmla="*/ 220106 h 266983"/>
                <a:gd name="connsiteX34" fmla="*/ 86304 w 229729"/>
                <a:gd name="connsiteY34" fmla="*/ 229730 h 266983"/>
                <a:gd name="connsiteX35" fmla="*/ 112381 w 229729"/>
                <a:gd name="connsiteY35" fmla="*/ 217933 h 266983"/>
                <a:gd name="connsiteX36" fmla="*/ 139390 w 229729"/>
                <a:gd name="connsiteY36" fmla="*/ 205205 h 266983"/>
                <a:gd name="connsiteX37" fmla="*/ 163294 w 229729"/>
                <a:gd name="connsiteY37" fmla="*/ 192476 h 266983"/>
                <a:gd name="connsiteX38" fmla="*/ 165468 w 229729"/>
                <a:gd name="connsiteY38" fmla="*/ 170435 h 266983"/>
                <a:gd name="connsiteX39" fmla="*/ 168572 w 229729"/>
                <a:gd name="connsiteY39" fmla="*/ 152429 h 266983"/>
                <a:gd name="connsiteX40" fmla="*/ 172918 w 229729"/>
                <a:gd name="connsiteY40" fmla="*/ 138459 h 266983"/>
                <a:gd name="connsiteX41" fmla="*/ 173850 w 229729"/>
                <a:gd name="connsiteY41" fmla="*/ 125731 h 266983"/>
                <a:gd name="connsiteX42" fmla="*/ 173850 w 229729"/>
                <a:gd name="connsiteY42" fmla="*/ 113313 h 266983"/>
                <a:gd name="connsiteX43" fmla="*/ 172918 w 229729"/>
                <a:gd name="connsiteY43" fmla="*/ 96238 h 266983"/>
                <a:gd name="connsiteX44" fmla="*/ 166709 w 229729"/>
                <a:gd name="connsiteY44" fmla="*/ 73886 h 266983"/>
                <a:gd name="connsiteX45" fmla="*/ 170745 w 229729"/>
                <a:gd name="connsiteY45" fmla="*/ 72955 h 266983"/>
                <a:gd name="connsiteX46" fmla="*/ 172918 w 229729"/>
                <a:gd name="connsiteY46" fmla="*/ 68609 h 266983"/>
                <a:gd name="connsiteX47" fmla="*/ 176023 w 229729"/>
                <a:gd name="connsiteY47" fmla="*/ 66746 h 266983"/>
                <a:gd name="connsiteX48" fmla="*/ 180059 w 229729"/>
                <a:gd name="connsiteY48" fmla="*/ 65504 h 266983"/>
                <a:gd name="connsiteX49" fmla="*/ 183163 w 229729"/>
                <a:gd name="connsiteY49" fmla="*/ 66746 h 266983"/>
                <a:gd name="connsiteX50" fmla="*/ 186267 w 229729"/>
                <a:gd name="connsiteY50" fmla="*/ 68609 h 266983"/>
                <a:gd name="connsiteX51" fmla="*/ 190614 w 229729"/>
                <a:gd name="connsiteY51" fmla="*/ 73886 h 266983"/>
                <a:gd name="connsiteX52" fmla="*/ 200858 w 229729"/>
                <a:gd name="connsiteY52" fmla="*/ 68609 h 266983"/>
                <a:gd name="connsiteX53" fmla="*/ 208309 w 229729"/>
                <a:gd name="connsiteY53" fmla="*/ 61468 h 266983"/>
                <a:gd name="connsiteX54" fmla="*/ 217622 w 229729"/>
                <a:gd name="connsiteY54" fmla="*/ 54018 h 266983"/>
                <a:gd name="connsiteX55" fmla="*/ 230040 w 229729"/>
                <a:gd name="connsiteY55" fmla="*/ 50603 h 266983"/>
                <a:gd name="connsiteX56" fmla="*/ 230040 w 229729"/>
                <a:gd name="connsiteY56" fmla="*/ 44394 h 266983"/>
                <a:gd name="connsiteX57" fmla="*/ 230040 w 229729"/>
                <a:gd name="connsiteY57" fmla="*/ 41289 h 266983"/>
                <a:gd name="connsiteX58" fmla="*/ 229109 w 229729"/>
                <a:gd name="connsiteY58" fmla="*/ 36943 h 266983"/>
                <a:gd name="connsiteX59" fmla="*/ 226936 w 229729"/>
                <a:gd name="connsiteY59" fmla="*/ 33839 h 266983"/>
                <a:gd name="connsiteX60" fmla="*/ 219796 w 229729"/>
                <a:gd name="connsiteY60" fmla="*/ 28561 h 266983"/>
                <a:gd name="connsiteX61" fmla="*/ 212345 w 229729"/>
                <a:gd name="connsiteY61" fmla="*/ 24215 h 266983"/>
                <a:gd name="connsiteX62" fmla="*/ 200858 w 229729"/>
                <a:gd name="connsiteY62" fmla="*/ 21110 h 266983"/>
                <a:gd name="connsiteX63" fmla="*/ 192476 w 229729"/>
                <a:gd name="connsiteY63" fmla="*/ 13660 h 266983"/>
                <a:gd name="connsiteX64" fmla="*/ 183163 w 229729"/>
                <a:gd name="connsiteY64" fmla="*/ 0 h 266983"/>
                <a:gd name="connsiteX65" fmla="*/ 173850 w 229729"/>
                <a:gd name="connsiteY65" fmla="*/ 9624 h 266983"/>
                <a:gd name="connsiteX66" fmla="*/ 170745 w 229729"/>
                <a:gd name="connsiteY66" fmla="*/ 24215 h 266983"/>
                <a:gd name="connsiteX67" fmla="*/ 170745 w 229729"/>
                <a:gd name="connsiteY67" fmla="*/ 43462 h 266983"/>
                <a:gd name="connsiteX68" fmla="*/ 166709 w 229729"/>
                <a:gd name="connsiteY68" fmla="*/ 43462 h 266983"/>
                <a:gd name="connsiteX69" fmla="*/ 163294 w 229729"/>
                <a:gd name="connsiteY69" fmla="*/ 44394 h 266983"/>
                <a:gd name="connsiteX70" fmla="*/ 158327 w 229729"/>
                <a:gd name="connsiteY70" fmla="*/ 44394 h 266983"/>
                <a:gd name="connsiteX71" fmla="*/ 150877 w 229729"/>
                <a:gd name="connsiteY71" fmla="*/ 46567 h 266983"/>
                <a:gd name="connsiteX72" fmla="*/ 150877 w 229729"/>
                <a:gd name="connsiteY72" fmla="*/ 48740 h 266983"/>
                <a:gd name="connsiteX73" fmla="*/ 150877 w 229729"/>
                <a:gd name="connsiteY73" fmla="*/ 50603 h 266983"/>
                <a:gd name="connsiteX74" fmla="*/ 149014 w 229729"/>
                <a:gd name="connsiteY74" fmla="*/ 51844 h 266983"/>
                <a:gd name="connsiteX75" fmla="*/ 146841 w 229729"/>
                <a:gd name="connsiteY75" fmla="*/ 54018 h 266983"/>
                <a:gd name="connsiteX76" fmla="*/ 146841 w 229729"/>
                <a:gd name="connsiteY76" fmla="*/ 63331 h 266983"/>
                <a:gd name="connsiteX77" fmla="*/ 146841 w 229729"/>
                <a:gd name="connsiteY77" fmla="*/ 70782 h 266983"/>
                <a:gd name="connsiteX78" fmla="*/ 149014 w 229729"/>
                <a:gd name="connsiteY78" fmla="*/ 73886 h 266983"/>
                <a:gd name="connsiteX79" fmla="*/ 150877 w 229729"/>
                <a:gd name="connsiteY79" fmla="*/ 78232 h 266983"/>
                <a:gd name="connsiteX80" fmla="*/ 156154 w 229729"/>
                <a:gd name="connsiteY80" fmla="*/ 81337 h 266983"/>
                <a:gd name="connsiteX81" fmla="*/ 163294 w 229729"/>
                <a:gd name="connsiteY81" fmla="*/ 81337 h 266983"/>
                <a:gd name="connsiteX82" fmla="*/ 152118 w 229729"/>
                <a:gd name="connsiteY82" fmla="*/ 98411 h 266983"/>
                <a:gd name="connsiteX83" fmla="*/ 146841 w 229729"/>
                <a:gd name="connsiteY83" fmla="*/ 111140 h 266983"/>
                <a:gd name="connsiteX84" fmla="*/ 143737 w 229729"/>
                <a:gd name="connsiteY84" fmla="*/ 125731 h 266983"/>
                <a:gd name="connsiteX85" fmla="*/ 139390 w 229729"/>
                <a:gd name="connsiteY85" fmla="*/ 138459 h 266983"/>
                <a:gd name="connsiteX86" fmla="*/ 130077 w 229729"/>
                <a:gd name="connsiteY86" fmla="*/ 150256 h 266983"/>
                <a:gd name="connsiteX87" fmla="*/ 115486 w 229729"/>
                <a:gd name="connsiteY87" fmla="*/ 162984 h 266983"/>
                <a:gd name="connsiteX88" fmla="*/ 114555 w 229729"/>
                <a:gd name="connsiteY88" fmla="*/ 165157 h 266983"/>
                <a:gd name="connsiteX89" fmla="*/ 112381 w 229729"/>
                <a:gd name="connsiteY89" fmla="*/ 165157 h 266983"/>
                <a:gd name="connsiteX90" fmla="*/ 110208 w 229729"/>
                <a:gd name="connsiteY90" fmla="*/ 165157 h 266983"/>
                <a:gd name="connsiteX91" fmla="*/ 108346 w 229729"/>
                <a:gd name="connsiteY91" fmla="*/ 162984 h 266983"/>
                <a:gd name="connsiteX92" fmla="*/ 107104 w 229729"/>
                <a:gd name="connsiteY92" fmla="*/ 159880 h 266983"/>
                <a:gd name="connsiteX93" fmla="*/ 100895 w 229729"/>
                <a:gd name="connsiteY93" fmla="*/ 162984 h 266983"/>
                <a:gd name="connsiteX94" fmla="*/ 97790 w 229729"/>
                <a:gd name="connsiteY94" fmla="*/ 168262 h 266983"/>
                <a:gd name="connsiteX95" fmla="*/ 95617 w 229729"/>
                <a:gd name="connsiteY95" fmla="*/ 172297 h 266983"/>
                <a:gd name="connsiteX96" fmla="*/ 93754 w 229729"/>
                <a:gd name="connsiteY96" fmla="*/ 177886 h 266983"/>
                <a:gd name="connsiteX97" fmla="*/ 90650 w 229729"/>
                <a:gd name="connsiteY97" fmla="*/ 183163 h 266983"/>
                <a:gd name="connsiteX98" fmla="*/ 86304 w 229729"/>
                <a:gd name="connsiteY98" fmla="*/ 188441 h 266983"/>
                <a:gd name="connsiteX99" fmla="*/ 83200 w 229729"/>
                <a:gd name="connsiteY99" fmla="*/ 188441 h 266983"/>
                <a:gd name="connsiteX100" fmla="*/ 80095 w 229729"/>
                <a:gd name="connsiteY100" fmla="*/ 188441 h 266983"/>
                <a:gd name="connsiteX101" fmla="*/ 73886 w 229729"/>
                <a:gd name="connsiteY101" fmla="*/ 187199 h 266983"/>
                <a:gd name="connsiteX102" fmla="*/ 66435 w 229729"/>
                <a:gd name="connsiteY102" fmla="*/ 187199 h 266983"/>
                <a:gd name="connsiteX103" fmla="*/ 59295 w 229729"/>
                <a:gd name="connsiteY103" fmla="*/ 188441 h 266983"/>
                <a:gd name="connsiteX104" fmla="*/ 39426 w 229729"/>
                <a:gd name="connsiteY104" fmla="*/ 197754 h 266983"/>
                <a:gd name="connsiteX105" fmla="*/ 22663 w 229729"/>
                <a:gd name="connsiteY105" fmla="*/ 212655 h 266983"/>
                <a:gd name="connsiteX106" fmla="*/ 10245 w 229729"/>
                <a:gd name="connsiteY106" fmla="*/ 229730 h 266983"/>
                <a:gd name="connsiteX107" fmla="*/ 0 w 229729"/>
                <a:gd name="connsiteY107" fmla="*/ 229730 h 266983"/>
                <a:gd name="connsiteX108" fmla="*/ 3104 w 229729"/>
                <a:gd name="connsiteY108" fmla="*/ 240285 h 2669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</a:cxnLst>
              <a:rect l="l" t="t" r="r" b="b"/>
              <a:pathLst>
                <a:path w="229729" h="266983">
                  <a:moveTo>
                    <a:pt x="7140" y="247425"/>
                  </a:moveTo>
                  <a:lnTo>
                    <a:pt x="8382" y="254876"/>
                  </a:lnTo>
                  <a:lnTo>
                    <a:pt x="10245" y="269777"/>
                  </a:lnTo>
                  <a:lnTo>
                    <a:pt x="22663" y="269777"/>
                  </a:lnTo>
                  <a:lnTo>
                    <a:pt x="27009" y="262327"/>
                  </a:lnTo>
                  <a:lnTo>
                    <a:pt x="30113" y="254876"/>
                  </a:lnTo>
                  <a:lnTo>
                    <a:pt x="36322" y="249599"/>
                  </a:lnTo>
                  <a:lnTo>
                    <a:pt x="34149" y="240285"/>
                  </a:lnTo>
                  <a:lnTo>
                    <a:pt x="34149" y="235008"/>
                  </a:lnTo>
                  <a:lnTo>
                    <a:pt x="34149" y="231593"/>
                  </a:lnTo>
                  <a:lnTo>
                    <a:pt x="30113" y="229730"/>
                  </a:lnTo>
                  <a:lnTo>
                    <a:pt x="27009" y="224452"/>
                  </a:lnTo>
                  <a:lnTo>
                    <a:pt x="27009" y="220106"/>
                  </a:lnTo>
                  <a:lnTo>
                    <a:pt x="34149" y="222279"/>
                  </a:lnTo>
                  <a:lnTo>
                    <a:pt x="37253" y="224452"/>
                  </a:lnTo>
                  <a:lnTo>
                    <a:pt x="41600" y="224452"/>
                  </a:lnTo>
                  <a:lnTo>
                    <a:pt x="41600" y="225384"/>
                  </a:lnTo>
                  <a:lnTo>
                    <a:pt x="41600" y="229730"/>
                  </a:lnTo>
                  <a:lnTo>
                    <a:pt x="41600" y="231593"/>
                  </a:lnTo>
                  <a:lnTo>
                    <a:pt x="41600" y="236870"/>
                  </a:lnTo>
                  <a:lnTo>
                    <a:pt x="43773" y="240285"/>
                  </a:lnTo>
                  <a:lnTo>
                    <a:pt x="48740" y="239043"/>
                  </a:lnTo>
                  <a:lnTo>
                    <a:pt x="54018" y="239043"/>
                  </a:lnTo>
                  <a:lnTo>
                    <a:pt x="56191" y="236870"/>
                  </a:lnTo>
                  <a:lnTo>
                    <a:pt x="58364" y="235008"/>
                  </a:lnTo>
                  <a:lnTo>
                    <a:pt x="59295" y="235008"/>
                  </a:lnTo>
                  <a:lnTo>
                    <a:pt x="61468" y="232834"/>
                  </a:lnTo>
                  <a:lnTo>
                    <a:pt x="65504" y="232834"/>
                  </a:lnTo>
                  <a:lnTo>
                    <a:pt x="70782" y="232834"/>
                  </a:lnTo>
                  <a:lnTo>
                    <a:pt x="72955" y="229730"/>
                  </a:lnTo>
                  <a:lnTo>
                    <a:pt x="73886" y="224452"/>
                  </a:lnTo>
                  <a:lnTo>
                    <a:pt x="73886" y="220106"/>
                  </a:lnTo>
                  <a:lnTo>
                    <a:pt x="76059" y="212655"/>
                  </a:lnTo>
                  <a:lnTo>
                    <a:pt x="81026" y="220106"/>
                  </a:lnTo>
                  <a:lnTo>
                    <a:pt x="86304" y="229730"/>
                  </a:lnTo>
                  <a:lnTo>
                    <a:pt x="112381" y="217933"/>
                  </a:lnTo>
                  <a:lnTo>
                    <a:pt x="139390" y="205205"/>
                  </a:lnTo>
                  <a:lnTo>
                    <a:pt x="163294" y="192476"/>
                  </a:lnTo>
                  <a:lnTo>
                    <a:pt x="165468" y="170435"/>
                  </a:lnTo>
                  <a:lnTo>
                    <a:pt x="168572" y="152429"/>
                  </a:lnTo>
                  <a:lnTo>
                    <a:pt x="172918" y="138459"/>
                  </a:lnTo>
                  <a:lnTo>
                    <a:pt x="173850" y="125731"/>
                  </a:lnTo>
                  <a:lnTo>
                    <a:pt x="173850" y="113313"/>
                  </a:lnTo>
                  <a:lnTo>
                    <a:pt x="172918" y="96238"/>
                  </a:lnTo>
                  <a:lnTo>
                    <a:pt x="166709" y="73886"/>
                  </a:lnTo>
                  <a:lnTo>
                    <a:pt x="170745" y="72955"/>
                  </a:lnTo>
                  <a:lnTo>
                    <a:pt x="172918" y="68609"/>
                  </a:lnTo>
                  <a:lnTo>
                    <a:pt x="176023" y="66746"/>
                  </a:lnTo>
                  <a:lnTo>
                    <a:pt x="180059" y="65504"/>
                  </a:lnTo>
                  <a:lnTo>
                    <a:pt x="183163" y="66746"/>
                  </a:lnTo>
                  <a:lnTo>
                    <a:pt x="186267" y="68609"/>
                  </a:lnTo>
                  <a:lnTo>
                    <a:pt x="190614" y="73886"/>
                  </a:lnTo>
                  <a:lnTo>
                    <a:pt x="200858" y="68609"/>
                  </a:lnTo>
                  <a:lnTo>
                    <a:pt x="208309" y="61468"/>
                  </a:lnTo>
                  <a:lnTo>
                    <a:pt x="217622" y="54018"/>
                  </a:lnTo>
                  <a:lnTo>
                    <a:pt x="230040" y="50603"/>
                  </a:lnTo>
                  <a:lnTo>
                    <a:pt x="230040" y="44394"/>
                  </a:lnTo>
                  <a:lnTo>
                    <a:pt x="230040" y="41289"/>
                  </a:lnTo>
                  <a:lnTo>
                    <a:pt x="229109" y="36943"/>
                  </a:lnTo>
                  <a:lnTo>
                    <a:pt x="226936" y="33839"/>
                  </a:lnTo>
                  <a:lnTo>
                    <a:pt x="219796" y="28561"/>
                  </a:lnTo>
                  <a:lnTo>
                    <a:pt x="212345" y="24215"/>
                  </a:lnTo>
                  <a:lnTo>
                    <a:pt x="200858" y="21110"/>
                  </a:lnTo>
                  <a:lnTo>
                    <a:pt x="192476" y="13660"/>
                  </a:lnTo>
                  <a:lnTo>
                    <a:pt x="183163" y="0"/>
                  </a:lnTo>
                  <a:lnTo>
                    <a:pt x="173850" y="9624"/>
                  </a:lnTo>
                  <a:lnTo>
                    <a:pt x="170745" y="24215"/>
                  </a:lnTo>
                  <a:lnTo>
                    <a:pt x="170745" y="43462"/>
                  </a:lnTo>
                  <a:lnTo>
                    <a:pt x="166709" y="43462"/>
                  </a:lnTo>
                  <a:lnTo>
                    <a:pt x="163294" y="44394"/>
                  </a:lnTo>
                  <a:lnTo>
                    <a:pt x="158327" y="44394"/>
                  </a:lnTo>
                  <a:lnTo>
                    <a:pt x="150877" y="46567"/>
                  </a:lnTo>
                  <a:lnTo>
                    <a:pt x="150877" y="48740"/>
                  </a:lnTo>
                  <a:lnTo>
                    <a:pt x="150877" y="50603"/>
                  </a:lnTo>
                  <a:lnTo>
                    <a:pt x="149014" y="51844"/>
                  </a:lnTo>
                  <a:lnTo>
                    <a:pt x="146841" y="54018"/>
                  </a:lnTo>
                  <a:lnTo>
                    <a:pt x="146841" y="63331"/>
                  </a:lnTo>
                  <a:lnTo>
                    <a:pt x="146841" y="70782"/>
                  </a:lnTo>
                  <a:lnTo>
                    <a:pt x="149014" y="73886"/>
                  </a:lnTo>
                  <a:lnTo>
                    <a:pt x="150877" y="78232"/>
                  </a:lnTo>
                  <a:lnTo>
                    <a:pt x="156154" y="81337"/>
                  </a:lnTo>
                  <a:lnTo>
                    <a:pt x="163294" y="81337"/>
                  </a:lnTo>
                  <a:lnTo>
                    <a:pt x="152118" y="98411"/>
                  </a:lnTo>
                  <a:lnTo>
                    <a:pt x="146841" y="111140"/>
                  </a:lnTo>
                  <a:lnTo>
                    <a:pt x="143737" y="125731"/>
                  </a:lnTo>
                  <a:lnTo>
                    <a:pt x="139390" y="138459"/>
                  </a:lnTo>
                  <a:lnTo>
                    <a:pt x="130077" y="150256"/>
                  </a:lnTo>
                  <a:lnTo>
                    <a:pt x="115486" y="162984"/>
                  </a:lnTo>
                  <a:lnTo>
                    <a:pt x="114555" y="165157"/>
                  </a:lnTo>
                  <a:lnTo>
                    <a:pt x="112381" y="165157"/>
                  </a:lnTo>
                  <a:lnTo>
                    <a:pt x="110208" y="165157"/>
                  </a:lnTo>
                  <a:lnTo>
                    <a:pt x="108346" y="162984"/>
                  </a:lnTo>
                  <a:lnTo>
                    <a:pt x="107104" y="159880"/>
                  </a:lnTo>
                  <a:lnTo>
                    <a:pt x="100895" y="162984"/>
                  </a:lnTo>
                  <a:lnTo>
                    <a:pt x="97790" y="168262"/>
                  </a:lnTo>
                  <a:lnTo>
                    <a:pt x="95617" y="172297"/>
                  </a:lnTo>
                  <a:lnTo>
                    <a:pt x="93754" y="177886"/>
                  </a:lnTo>
                  <a:lnTo>
                    <a:pt x="90650" y="183163"/>
                  </a:lnTo>
                  <a:lnTo>
                    <a:pt x="86304" y="188441"/>
                  </a:lnTo>
                  <a:lnTo>
                    <a:pt x="83200" y="188441"/>
                  </a:lnTo>
                  <a:lnTo>
                    <a:pt x="80095" y="188441"/>
                  </a:lnTo>
                  <a:lnTo>
                    <a:pt x="73886" y="187199"/>
                  </a:lnTo>
                  <a:lnTo>
                    <a:pt x="66435" y="187199"/>
                  </a:lnTo>
                  <a:lnTo>
                    <a:pt x="59295" y="188441"/>
                  </a:lnTo>
                  <a:lnTo>
                    <a:pt x="39426" y="197754"/>
                  </a:lnTo>
                  <a:lnTo>
                    <a:pt x="22663" y="212655"/>
                  </a:lnTo>
                  <a:lnTo>
                    <a:pt x="10245" y="229730"/>
                  </a:lnTo>
                  <a:lnTo>
                    <a:pt x="0" y="229730"/>
                  </a:lnTo>
                  <a:lnTo>
                    <a:pt x="3104" y="24028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xmlns="" id="{50118796-D5D4-4E63-BEC4-BD1F99429014}"/>
                </a:ext>
              </a:extLst>
            </p:cNvPr>
            <p:cNvSpPr/>
            <p:nvPr/>
          </p:nvSpPr>
          <p:spPr>
            <a:xfrm>
              <a:off x="6968829" y="5832193"/>
              <a:ext cx="43462" cy="18627"/>
            </a:xfrm>
            <a:custGeom>
              <a:avLst/>
              <a:gdLst>
                <a:gd name="connsiteX0" fmla="*/ 0 w 43462"/>
                <a:gd name="connsiteY0" fmla="*/ 0 h 18626"/>
                <a:gd name="connsiteX1" fmla="*/ 0 w 43462"/>
                <a:gd name="connsiteY1" fmla="*/ 11797 h 18626"/>
                <a:gd name="connsiteX2" fmla="*/ 16764 w 43462"/>
                <a:gd name="connsiteY2" fmla="*/ 11797 h 18626"/>
                <a:gd name="connsiteX3" fmla="*/ 29182 w 43462"/>
                <a:gd name="connsiteY3" fmla="*/ 13970 h 18626"/>
                <a:gd name="connsiteX4" fmla="*/ 39737 w 43462"/>
                <a:gd name="connsiteY4" fmla="*/ 20179 h 18626"/>
                <a:gd name="connsiteX5" fmla="*/ 43773 w 43462"/>
                <a:gd name="connsiteY5" fmla="*/ 20179 h 18626"/>
                <a:gd name="connsiteX6" fmla="*/ 41910 w 43462"/>
                <a:gd name="connsiteY6" fmla="*/ 14901 h 18626"/>
                <a:gd name="connsiteX7" fmla="*/ 41910 w 43462"/>
                <a:gd name="connsiteY7" fmla="*/ 11797 h 18626"/>
                <a:gd name="connsiteX8" fmla="*/ 39737 w 43462"/>
                <a:gd name="connsiteY8" fmla="*/ 7451 h 18626"/>
                <a:gd name="connsiteX9" fmla="*/ 39737 w 43462"/>
                <a:gd name="connsiteY9" fmla="*/ 4346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462" h="18626">
                  <a:moveTo>
                    <a:pt x="0" y="0"/>
                  </a:moveTo>
                  <a:lnTo>
                    <a:pt x="0" y="11797"/>
                  </a:lnTo>
                  <a:lnTo>
                    <a:pt x="16764" y="11797"/>
                  </a:lnTo>
                  <a:lnTo>
                    <a:pt x="29182" y="13970"/>
                  </a:lnTo>
                  <a:lnTo>
                    <a:pt x="39737" y="20179"/>
                  </a:lnTo>
                  <a:lnTo>
                    <a:pt x="43773" y="20179"/>
                  </a:lnTo>
                  <a:lnTo>
                    <a:pt x="41910" y="14901"/>
                  </a:lnTo>
                  <a:lnTo>
                    <a:pt x="41910" y="11797"/>
                  </a:lnTo>
                  <a:lnTo>
                    <a:pt x="39737" y="7451"/>
                  </a:lnTo>
                  <a:lnTo>
                    <a:pt x="39737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xmlns="" id="{B30473F8-4732-4002-BBC7-F92434A3395F}"/>
                </a:ext>
              </a:extLst>
            </p:cNvPr>
            <p:cNvSpPr/>
            <p:nvPr/>
          </p:nvSpPr>
          <p:spPr>
            <a:xfrm>
              <a:off x="6983420" y="5324304"/>
              <a:ext cx="15522" cy="24836"/>
            </a:xfrm>
            <a:custGeom>
              <a:avLst/>
              <a:gdLst>
                <a:gd name="connsiteX0" fmla="*/ 10555 w 15522"/>
                <a:gd name="connsiteY0" fmla="*/ 22352 h 24835"/>
                <a:gd name="connsiteX1" fmla="*/ 14591 w 15522"/>
                <a:gd name="connsiteY1" fmla="*/ 17075 h 24835"/>
                <a:gd name="connsiteX2" fmla="*/ 16764 w 15522"/>
                <a:gd name="connsiteY2" fmla="*/ 11797 h 24835"/>
                <a:gd name="connsiteX3" fmla="*/ 16764 w 15522"/>
                <a:gd name="connsiteY3" fmla="*/ 7451 h 24835"/>
                <a:gd name="connsiteX4" fmla="*/ 14591 w 15522"/>
                <a:gd name="connsiteY4" fmla="*/ 4346 h 24835"/>
                <a:gd name="connsiteX5" fmla="*/ 14591 w 15522"/>
                <a:gd name="connsiteY5" fmla="*/ 2173 h 24835"/>
                <a:gd name="connsiteX6" fmla="*/ 12728 w 15522"/>
                <a:gd name="connsiteY6" fmla="*/ 2173 h 24835"/>
                <a:gd name="connsiteX7" fmla="*/ 9624 w 15522"/>
                <a:gd name="connsiteY7" fmla="*/ 0 h 24835"/>
                <a:gd name="connsiteX8" fmla="*/ 7451 w 15522"/>
                <a:gd name="connsiteY8" fmla="*/ 6519 h 24835"/>
                <a:gd name="connsiteX9" fmla="*/ 5277 w 15522"/>
                <a:gd name="connsiteY9" fmla="*/ 9624 h 24835"/>
                <a:gd name="connsiteX10" fmla="*/ 3415 w 15522"/>
                <a:gd name="connsiteY10" fmla="*/ 13660 h 24835"/>
                <a:gd name="connsiteX11" fmla="*/ 0 w 15522"/>
                <a:gd name="connsiteY11" fmla="*/ 14901 h 24835"/>
                <a:gd name="connsiteX12" fmla="*/ 0 w 15522"/>
                <a:gd name="connsiteY12" fmla="*/ 27630 h 24835"/>
                <a:gd name="connsiteX13" fmla="*/ 9624 w 15522"/>
                <a:gd name="connsiteY13" fmla="*/ 27630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5522" h="24835">
                  <a:moveTo>
                    <a:pt x="10555" y="22352"/>
                  </a:moveTo>
                  <a:lnTo>
                    <a:pt x="14591" y="17075"/>
                  </a:lnTo>
                  <a:lnTo>
                    <a:pt x="16764" y="11797"/>
                  </a:lnTo>
                  <a:lnTo>
                    <a:pt x="16764" y="7451"/>
                  </a:lnTo>
                  <a:lnTo>
                    <a:pt x="14591" y="4346"/>
                  </a:lnTo>
                  <a:lnTo>
                    <a:pt x="14591" y="2173"/>
                  </a:lnTo>
                  <a:lnTo>
                    <a:pt x="12728" y="2173"/>
                  </a:lnTo>
                  <a:lnTo>
                    <a:pt x="9624" y="0"/>
                  </a:lnTo>
                  <a:lnTo>
                    <a:pt x="7451" y="6519"/>
                  </a:lnTo>
                  <a:lnTo>
                    <a:pt x="5277" y="9624"/>
                  </a:lnTo>
                  <a:lnTo>
                    <a:pt x="3415" y="13660"/>
                  </a:lnTo>
                  <a:lnTo>
                    <a:pt x="0" y="14901"/>
                  </a:lnTo>
                  <a:lnTo>
                    <a:pt x="0" y="27630"/>
                  </a:lnTo>
                  <a:lnTo>
                    <a:pt x="9624" y="2763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xmlns="" id="{F907AD0D-6B0A-49B6-B29C-0F9CA2DFCF20}"/>
                </a:ext>
              </a:extLst>
            </p:cNvPr>
            <p:cNvSpPr/>
            <p:nvPr/>
          </p:nvSpPr>
          <p:spPr>
            <a:xfrm>
              <a:off x="6832543" y="5765758"/>
              <a:ext cx="99343" cy="108656"/>
            </a:xfrm>
            <a:custGeom>
              <a:avLst/>
              <a:gdLst>
                <a:gd name="connsiteX0" fmla="*/ 63641 w 99342"/>
                <a:gd name="connsiteY0" fmla="*/ 107725 h 108656"/>
                <a:gd name="connsiteX1" fmla="*/ 67677 w 99342"/>
                <a:gd name="connsiteY1" fmla="*/ 107725 h 108656"/>
                <a:gd name="connsiteX2" fmla="*/ 63641 w 99342"/>
                <a:gd name="connsiteY2" fmla="*/ 88787 h 108656"/>
                <a:gd name="connsiteX3" fmla="*/ 60537 w 99342"/>
                <a:gd name="connsiteY3" fmla="*/ 78232 h 108656"/>
                <a:gd name="connsiteX4" fmla="*/ 53086 w 99342"/>
                <a:gd name="connsiteY4" fmla="*/ 66435 h 108656"/>
                <a:gd name="connsiteX5" fmla="*/ 46877 w 99342"/>
                <a:gd name="connsiteY5" fmla="*/ 53707 h 108656"/>
                <a:gd name="connsiteX6" fmla="*/ 54017 w 99342"/>
                <a:gd name="connsiteY6" fmla="*/ 50603 h 108656"/>
                <a:gd name="connsiteX7" fmla="*/ 61468 w 99342"/>
                <a:gd name="connsiteY7" fmla="*/ 46567 h 108656"/>
                <a:gd name="connsiteX8" fmla="*/ 67677 w 99342"/>
                <a:gd name="connsiteY8" fmla="*/ 43152 h 108656"/>
                <a:gd name="connsiteX9" fmla="*/ 70781 w 99342"/>
                <a:gd name="connsiteY9" fmla="*/ 43152 h 108656"/>
                <a:gd name="connsiteX10" fmla="*/ 70781 w 99342"/>
                <a:gd name="connsiteY10" fmla="*/ 33838 h 108656"/>
                <a:gd name="connsiteX11" fmla="*/ 50913 w 99342"/>
                <a:gd name="connsiteY11" fmla="*/ 39116 h 108656"/>
                <a:gd name="connsiteX12" fmla="*/ 31355 w 99342"/>
                <a:gd name="connsiteY12" fmla="*/ 46567 h 108656"/>
                <a:gd name="connsiteX13" fmla="*/ 29182 w 99342"/>
                <a:gd name="connsiteY13" fmla="*/ 43152 h 108656"/>
                <a:gd name="connsiteX14" fmla="*/ 27009 w 99342"/>
                <a:gd name="connsiteY14" fmla="*/ 40979 h 108656"/>
                <a:gd name="connsiteX15" fmla="*/ 27009 w 99342"/>
                <a:gd name="connsiteY15" fmla="*/ 39116 h 108656"/>
                <a:gd name="connsiteX16" fmla="*/ 23904 w 99342"/>
                <a:gd name="connsiteY16" fmla="*/ 36943 h 108656"/>
                <a:gd name="connsiteX17" fmla="*/ 23904 w 99342"/>
                <a:gd name="connsiteY17" fmla="*/ 26388 h 108656"/>
                <a:gd name="connsiteX18" fmla="*/ 43773 w 99342"/>
                <a:gd name="connsiteY18" fmla="*/ 24215 h 108656"/>
                <a:gd name="connsiteX19" fmla="*/ 60537 w 99342"/>
                <a:gd name="connsiteY19" fmla="*/ 24215 h 108656"/>
                <a:gd name="connsiteX20" fmla="*/ 80095 w 99342"/>
                <a:gd name="connsiteY20" fmla="*/ 26388 h 108656"/>
                <a:gd name="connsiteX21" fmla="*/ 85373 w 99342"/>
                <a:gd name="connsiteY21" fmla="*/ 21110 h 108656"/>
                <a:gd name="connsiteX22" fmla="*/ 90650 w 99342"/>
                <a:gd name="connsiteY22" fmla="*/ 14591 h 108656"/>
                <a:gd name="connsiteX23" fmla="*/ 96859 w 99342"/>
                <a:gd name="connsiteY23" fmla="*/ 9313 h 108656"/>
                <a:gd name="connsiteX24" fmla="*/ 96859 w 99342"/>
                <a:gd name="connsiteY24" fmla="*/ 7140 h 108656"/>
                <a:gd name="connsiteX25" fmla="*/ 97790 w 99342"/>
                <a:gd name="connsiteY25" fmla="*/ 7140 h 108656"/>
                <a:gd name="connsiteX26" fmla="*/ 99963 w 99342"/>
                <a:gd name="connsiteY26" fmla="*/ 6209 h 108656"/>
                <a:gd name="connsiteX27" fmla="*/ 96859 w 99342"/>
                <a:gd name="connsiteY27" fmla="*/ 6209 h 108656"/>
                <a:gd name="connsiteX28" fmla="*/ 96859 w 99342"/>
                <a:gd name="connsiteY28" fmla="*/ 4036 h 108656"/>
                <a:gd name="connsiteX29" fmla="*/ 94686 w 99342"/>
                <a:gd name="connsiteY29" fmla="*/ 4036 h 108656"/>
                <a:gd name="connsiteX30" fmla="*/ 94686 w 99342"/>
                <a:gd name="connsiteY30" fmla="*/ 1863 h 108656"/>
                <a:gd name="connsiteX31" fmla="*/ 94686 w 99342"/>
                <a:gd name="connsiteY31" fmla="*/ 0 h 108656"/>
                <a:gd name="connsiteX32" fmla="*/ 92823 w 99342"/>
                <a:gd name="connsiteY32" fmla="*/ 0 h 108656"/>
                <a:gd name="connsiteX33" fmla="*/ 90650 w 99342"/>
                <a:gd name="connsiteY33" fmla="*/ 0 h 108656"/>
                <a:gd name="connsiteX34" fmla="*/ 80095 w 99342"/>
                <a:gd name="connsiteY34" fmla="*/ 6209 h 108656"/>
                <a:gd name="connsiteX35" fmla="*/ 68608 w 99342"/>
                <a:gd name="connsiteY35" fmla="*/ 9313 h 108656"/>
                <a:gd name="connsiteX36" fmla="*/ 60537 w 99342"/>
                <a:gd name="connsiteY36" fmla="*/ 11486 h 108656"/>
                <a:gd name="connsiteX37" fmla="*/ 49050 w 99342"/>
                <a:gd name="connsiteY37" fmla="*/ 11486 h 108656"/>
                <a:gd name="connsiteX38" fmla="*/ 31355 w 99342"/>
                <a:gd name="connsiteY38" fmla="*/ 6209 h 108656"/>
                <a:gd name="connsiteX39" fmla="*/ 27009 w 99342"/>
                <a:gd name="connsiteY39" fmla="*/ 11486 h 108656"/>
                <a:gd name="connsiteX40" fmla="*/ 19868 w 99342"/>
                <a:gd name="connsiteY40" fmla="*/ 22042 h 108656"/>
                <a:gd name="connsiteX41" fmla="*/ 12418 w 99342"/>
                <a:gd name="connsiteY41" fmla="*/ 35701 h 108656"/>
                <a:gd name="connsiteX42" fmla="*/ 5277 w 99342"/>
                <a:gd name="connsiteY42" fmla="*/ 50603 h 108656"/>
                <a:gd name="connsiteX43" fmla="*/ 0 w 99342"/>
                <a:gd name="connsiteY43" fmla="*/ 61158 h 108656"/>
                <a:gd name="connsiteX44" fmla="*/ 0 w 99342"/>
                <a:gd name="connsiteY44" fmla="*/ 70782 h 108656"/>
                <a:gd name="connsiteX45" fmla="*/ 4036 w 99342"/>
                <a:gd name="connsiteY45" fmla="*/ 80405 h 108656"/>
                <a:gd name="connsiteX46" fmla="*/ 7140 w 99342"/>
                <a:gd name="connsiteY46" fmla="*/ 86614 h 108656"/>
                <a:gd name="connsiteX47" fmla="*/ 9313 w 99342"/>
                <a:gd name="connsiteY47" fmla="*/ 94065 h 108656"/>
                <a:gd name="connsiteX48" fmla="*/ 7140 w 99342"/>
                <a:gd name="connsiteY48" fmla="*/ 107725 h 108656"/>
                <a:gd name="connsiteX49" fmla="*/ 9313 w 99342"/>
                <a:gd name="connsiteY49" fmla="*/ 107725 h 108656"/>
                <a:gd name="connsiteX50" fmla="*/ 9313 w 99342"/>
                <a:gd name="connsiteY50" fmla="*/ 108966 h 108656"/>
                <a:gd name="connsiteX51" fmla="*/ 11486 w 99342"/>
                <a:gd name="connsiteY51" fmla="*/ 108966 h 108656"/>
                <a:gd name="connsiteX52" fmla="*/ 11486 w 99342"/>
                <a:gd name="connsiteY52" fmla="*/ 110829 h 108656"/>
                <a:gd name="connsiteX53" fmla="*/ 27009 w 99342"/>
                <a:gd name="connsiteY53" fmla="*/ 110829 h 108656"/>
                <a:gd name="connsiteX54" fmla="*/ 27009 w 99342"/>
                <a:gd name="connsiteY54" fmla="*/ 70782 h 108656"/>
                <a:gd name="connsiteX55" fmla="*/ 36322 w 99342"/>
                <a:gd name="connsiteY55" fmla="*/ 83510 h 108656"/>
                <a:gd name="connsiteX56" fmla="*/ 45946 w 99342"/>
                <a:gd name="connsiteY56" fmla="*/ 96238 h 108656"/>
                <a:gd name="connsiteX57" fmla="*/ 56191 w 99342"/>
                <a:gd name="connsiteY57" fmla="*/ 107725 h 108656"/>
                <a:gd name="connsiteX58" fmla="*/ 58364 w 99342"/>
                <a:gd name="connsiteY58" fmla="*/ 107725 h 108656"/>
                <a:gd name="connsiteX59" fmla="*/ 58364 w 99342"/>
                <a:gd name="connsiteY59" fmla="*/ 108966 h 108656"/>
                <a:gd name="connsiteX60" fmla="*/ 60537 w 99342"/>
                <a:gd name="connsiteY60" fmla="*/ 108966 h 108656"/>
                <a:gd name="connsiteX61" fmla="*/ 63641 w 99342"/>
                <a:gd name="connsiteY61" fmla="*/ 110829 h 1086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99342" h="108656">
                  <a:moveTo>
                    <a:pt x="63641" y="107725"/>
                  </a:moveTo>
                  <a:lnTo>
                    <a:pt x="67677" y="107725"/>
                  </a:lnTo>
                  <a:lnTo>
                    <a:pt x="63641" y="88787"/>
                  </a:lnTo>
                  <a:lnTo>
                    <a:pt x="60537" y="78232"/>
                  </a:lnTo>
                  <a:lnTo>
                    <a:pt x="53086" y="66435"/>
                  </a:lnTo>
                  <a:lnTo>
                    <a:pt x="46877" y="53707"/>
                  </a:lnTo>
                  <a:lnTo>
                    <a:pt x="54017" y="50603"/>
                  </a:lnTo>
                  <a:lnTo>
                    <a:pt x="61468" y="46567"/>
                  </a:lnTo>
                  <a:lnTo>
                    <a:pt x="67677" y="43152"/>
                  </a:lnTo>
                  <a:lnTo>
                    <a:pt x="70781" y="43152"/>
                  </a:lnTo>
                  <a:lnTo>
                    <a:pt x="70781" y="33838"/>
                  </a:lnTo>
                  <a:lnTo>
                    <a:pt x="50913" y="39116"/>
                  </a:lnTo>
                  <a:lnTo>
                    <a:pt x="31355" y="46567"/>
                  </a:lnTo>
                  <a:lnTo>
                    <a:pt x="29182" y="43152"/>
                  </a:lnTo>
                  <a:lnTo>
                    <a:pt x="27009" y="40979"/>
                  </a:lnTo>
                  <a:lnTo>
                    <a:pt x="27009" y="39116"/>
                  </a:lnTo>
                  <a:lnTo>
                    <a:pt x="23904" y="36943"/>
                  </a:lnTo>
                  <a:lnTo>
                    <a:pt x="23904" y="26388"/>
                  </a:lnTo>
                  <a:lnTo>
                    <a:pt x="43773" y="24215"/>
                  </a:lnTo>
                  <a:lnTo>
                    <a:pt x="60537" y="24215"/>
                  </a:lnTo>
                  <a:lnTo>
                    <a:pt x="80095" y="26388"/>
                  </a:lnTo>
                  <a:lnTo>
                    <a:pt x="85373" y="21110"/>
                  </a:lnTo>
                  <a:lnTo>
                    <a:pt x="90650" y="14591"/>
                  </a:lnTo>
                  <a:lnTo>
                    <a:pt x="96859" y="9313"/>
                  </a:lnTo>
                  <a:lnTo>
                    <a:pt x="96859" y="7140"/>
                  </a:lnTo>
                  <a:lnTo>
                    <a:pt x="97790" y="7140"/>
                  </a:lnTo>
                  <a:lnTo>
                    <a:pt x="99963" y="6209"/>
                  </a:lnTo>
                  <a:lnTo>
                    <a:pt x="96859" y="6209"/>
                  </a:lnTo>
                  <a:lnTo>
                    <a:pt x="96859" y="4036"/>
                  </a:lnTo>
                  <a:lnTo>
                    <a:pt x="94686" y="4036"/>
                  </a:lnTo>
                  <a:lnTo>
                    <a:pt x="94686" y="1863"/>
                  </a:lnTo>
                  <a:lnTo>
                    <a:pt x="94686" y="0"/>
                  </a:lnTo>
                  <a:lnTo>
                    <a:pt x="92823" y="0"/>
                  </a:lnTo>
                  <a:lnTo>
                    <a:pt x="90650" y="0"/>
                  </a:lnTo>
                  <a:lnTo>
                    <a:pt x="80095" y="6209"/>
                  </a:lnTo>
                  <a:lnTo>
                    <a:pt x="68608" y="9313"/>
                  </a:lnTo>
                  <a:lnTo>
                    <a:pt x="60537" y="11486"/>
                  </a:lnTo>
                  <a:lnTo>
                    <a:pt x="49050" y="11486"/>
                  </a:lnTo>
                  <a:lnTo>
                    <a:pt x="31355" y="6209"/>
                  </a:lnTo>
                  <a:lnTo>
                    <a:pt x="27009" y="11486"/>
                  </a:lnTo>
                  <a:lnTo>
                    <a:pt x="19868" y="22042"/>
                  </a:lnTo>
                  <a:lnTo>
                    <a:pt x="12418" y="35701"/>
                  </a:lnTo>
                  <a:lnTo>
                    <a:pt x="5277" y="50603"/>
                  </a:lnTo>
                  <a:lnTo>
                    <a:pt x="0" y="61158"/>
                  </a:lnTo>
                  <a:lnTo>
                    <a:pt x="0" y="70782"/>
                  </a:lnTo>
                  <a:lnTo>
                    <a:pt x="4036" y="80405"/>
                  </a:lnTo>
                  <a:lnTo>
                    <a:pt x="7140" y="86614"/>
                  </a:lnTo>
                  <a:lnTo>
                    <a:pt x="9313" y="94065"/>
                  </a:lnTo>
                  <a:lnTo>
                    <a:pt x="7140" y="107725"/>
                  </a:lnTo>
                  <a:lnTo>
                    <a:pt x="9313" y="107725"/>
                  </a:lnTo>
                  <a:lnTo>
                    <a:pt x="9313" y="108966"/>
                  </a:lnTo>
                  <a:lnTo>
                    <a:pt x="11486" y="108966"/>
                  </a:lnTo>
                  <a:lnTo>
                    <a:pt x="11486" y="110829"/>
                  </a:lnTo>
                  <a:lnTo>
                    <a:pt x="27009" y="110829"/>
                  </a:lnTo>
                  <a:lnTo>
                    <a:pt x="27009" y="70782"/>
                  </a:lnTo>
                  <a:lnTo>
                    <a:pt x="36322" y="83510"/>
                  </a:lnTo>
                  <a:lnTo>
                    <a:pt x="45946" y="96238"/>
                  </a:lnTo>
                  <a:lnTo>
                    <a:pt x="56191" y="107725"/>
                  </a:lnTo>
                  <a:lnTo>
                    <a:pt x="58364" y="107725"/>
                  </a:lnTo>
                  <a:lnTo>
                    <a:pt x="58364" y="108966"/>
                  </a:lnTo>
                  <a:lnTo>
                    <a:pt x="60537" y="108966"/>
                  </a:lnTo>
                  <a:lnTo>
                    <a:pt x="63641" y="11082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xmlns="" id="{018576E4-1B4C-4FCA-B5B6-4B9DB7F22908}"/>
                </a:ext>
              </a:extLst>
            </p:cNvPr>
            <p:cNvSpPr/>
            <p:nvPr/>
          </p:nvSpPr>
          <p:spPr>
            <a:xfrm>
              <a:off x="7352229" y="5852372"/>
              <a:ext cx="21731" cy="34149"/>
            </a:xfrm>
            <a:custGeom>
              <a:avLst/>
              <a:gdLst>
                <a:gd name="connsiteX0" fmla="*/ 18937 w 21731"/>
                <a:gd name="connsiteY0" fmla="*/ 18937 h 34149"/>
                <a:gd name="connsiteX1" fmla="*/ 11487 w 21731"/>
                <a:gd name="connsiteY1" fmla="*/ 7451 h 34149"/>
                <a:gd name="connsiteX2" fmla="*/ 0 w 21731"/>
                <a:gd name="connsiteY2" fmla="*/ 0 h 34149"/>
                <a:gd name="connsiteX3" fmla="*/ 2173 w 21731"/>
                <a:gd name="connsiteY3" fmla="*/ 13660 h 34149"/>
                <a:gd name="connsiteX4" fmla="*/ 4346 w 21731"/>
                <a:gd name="connsiteY4" fmla="*/ 22352 h 34149"/>
                <a:gd name="connsiteX5" fmla="*/ 7451 w 21731"/>
                <a:gd name="connsiteY5" fmla="*/ 31666 h 34149"/>
                <a:gd name="connsiteX6" fmla="*/ 20800 w 21731"/>
                <a:gd name="connsiteY6" fmla="*/ 36943 h 34149"/>
                <a:gd name="connsiteX7" fmla="*/ 20800 w 21731"/>
                <a:gd name="connsiteY7" fmla="*/ 31666 h 34149"/>
                <a:gd name="connsiteX8" fmla="*/ 24215 w 21731"/>
                <a:gd name="connsiteY8" fmla="*/ 31666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1731" h="34149">
                  <a:moveTo>
                    <a:pt x="18937" y="18937"/>
                  </a:moveTo>
                  <a:lnTo>
                    <a:pt x="11487" y="7451"/>
                  </a:lnTo>
                  <a:lnTo>
                    <a:pt x="0" y="0"/>
                  </a:lnTo>
                  <a:lnTo>
                    <a:pt x="2173" y="13660"/>
                  </a:lnTo>
                  <a:lnTo>
                    <a:pt x="4346" y="22352"/>
                  </a:lnTo>
                  <a:lnTo>
                    <a:pt x="7451" y="31666"/>
                  </a:lnTo>
                  <a:lnTo>
                    <a:pt x="20800" y="36943"/>
                  </a:lnTo>
                  <a:lnTo>
                    <a:pt x="20800" y="31666"/>
                  </a:lnTo>
                  <a:lnTo>
                    <a:pt x="24215" y="3166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xmlns="" id="{A3A728F7-1671-42EA-8B79-EF0F150E803A}"/>
                </a:ext>
              </a:extLst>
            </p:cNvPr>
            <p:cNvSpPr/>
            <p:nvPr/>
          </p:nvSpPr>
          <p:spPr>
            <a:xfrm>
              <a:off x="6269084" y="5666105"/>
              <a:ext cx="24836" cy="55880"/>
            </a:xfrm>
            <a:custGeom>
              <a:avLst/>
              <a:gdLst>
                <a:gd name="connsiteX0" fmla="*/ 23904 w 24835"/>
                <a:gd name="connsiteY0" fmla="*/ 41289 h 55880"/>
                <a:gd name="connsiteX1" fmla="*/ 23904 w 24835"/>
                <a:gd name="connsiteY1" fmla="*/ 39116 h 55880"/>
                <a:gd name="connsiteX2" fmla="*/ 23904 w 24835"/>
                <a:gd name="connsiteY2" fmla="*/ 20179 h 55880"/>
                <a:gd name="connsiteX3" fmla="*/ 17695 w 24835"/>
                <a:gd name="connsiteY3" fmla="*/ 7451 h 55880"/>
                <a:gd name="connsiteX4" fmla="*/ 7140 w 24835"/>
                <a:gd name="connsiteY4" fmla="*/ 0 h 55880"/>
                <a:gd name="connsiteX5" fmla="*/ 4967 w 24835"/>
                <a:gd name="connsiteY5" fmla="*/ 5278 h 55880"/>
                <a:gd name="connsiteX6" fmla="*/ 4036 w 24835"/>
                <a:gd name="connsiteY6" fmla="*/ 9624 h 55880"/>
                <a:gd name="connsiteX7" fmla="*/ 1863 w 24835"/>
                <a:gd name="connsiteY7" fmla="*/ 11797 h 55880"/>
                <a:gd name="connsiteX8" fmla="*/ 0 w 24835"/>
                <a:gd name="connsiteY8" fmla="*/ 14901 h 55880"/>
                <a:gd name="connsiteX9" fmla="*/ 0 w 24835"/>
                <a:gd name="connsiteY9" fmla="*/ 36943 h 55880"/>
                <a:gd name="connsiteX10" fmla="*/ 7140 w 24835"/>
                <a:gd name="connsiteY10" fmla="*/ 51844 h 55880"/>
                <a:gd name="connsiteX11" fmla="*/ 9313 w 24835"/>
                <a:gd name="connsiteY11" fmla="*/ 54018 h 55880"/>
                <a:gd name="connsiteX12" fmla="*/ 10244 w 24835"/>
                <a:gd name="connsiteY12" fmla="*/ 54018 h 55880"/>
                <a:gd name="connsiteX13" fmla="*/ 12418 w 24835"/>
                <a:gd name="connsiteY13" fmla="*/ 56191 h 55880"/>
                <a:gd name="connsiteX14" fmla="*/ 14591 w 24835"/>
                <a:gd name="connsiteY14" fmla="*/ 56191 h 55880"/>
                <a:gd name="connsiteX15" fmla="*/ 17695 w 24835"/>
                <a:gd name="connsiteY15" fmla="*/ 54018 h 55880"/>
                <a:gd name="connsiteX16" fmla="*/ 19558 w 24835"/>
                <a:gd name="connsiteY16" fmla="*/ 49671 h 55880"/>
                <a:gd name="connsiteX17" fmla="*/ 23904 w 24835"/>
                <a:gd name="connsiteY17" fmla="*/ 48740 h 55880"/>
                <a:gd name="connsiteX18" fmla="*/ 27009 w 24835"/>
                <a:gd name="connsiteY18" fmla="*/ 48740 h 55880"/>
                <a:gd name="connsiteX19" fmla="*/ 27009 w 24835"/>
                <a:gd name="connsiteY19" fmla="*/ 44394 h 55880"/>
                <a:gd name="connsiteX20" fmla="*/ 27009 w 24835"/>
                <a:gd name="connsiteY20" fmla="*/ 42221 h 55880"/>
                <a:gd name="connsiteX21" fmla="*/ 24836 w 24835"/>
                <a:gd name="connsiteY21" fmla="*/ 41289 h 5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24835" h="55880">
                  <a:moveTo>
                    <a:pt x="23904" y="41289"/>
                  </a:moveTo>
                  <a:lnTo>
                    <a:pt x="23904" y="39116"/>
                  </a:lnTo>
                  <a:lnTo>
                    <a:pt x="23904" y="20179"/>
                  </a:lnTo>
                  <a:lnTo>
                    <a:pt x="17695" y="7451"/>
                  </a:lnTo>
                  <a:lnTo>
                    <a:pt x="7140" y="0"/>
                  </a:lnTo>
                  <a:lnTo>
                    <a:pt x="4967" y="5278"/>
                  </a:lnTo>
                  <a:lnTo>
                    <a:pt x="4036" y="9624"/>
                  </a:lnTo>
                  <a:lnTo>
                    <a:pt x="1863" y="11797"/>
                  </a:lnTo>
                  <a:lnTo>
                    <a:pt x="0" y="14901"/>
                  </a:lnTo>
                  <a:lnTo>
                    <a:pt x="0" y="36943"/>
                  </a:lnTo>
                  <a:lnTo>
                    <a:pt x="7140" y="51844"/>
                  </a:lnTo>
                  <a:lnTo>
                    <a:pt x="9313" y="54018"/>
                  </a:lnTo>
                  <a:lnTo>
                    <a:pt x="10244" y="54018"/>
                  </a:lnTo>
                  <a:lnTo>
                    <a:pt x="12418" y="56191"/>
                  </a:lnTo>
                  <a:lnTo>
                    <a:pt x="14591" y="56191"/>
                  </a:lnTo>
                  <a:lnTo>
                    <a:pt x="17695" y="54018"/>
                  </a:lnTo>
                  <a:lnTo>
                    <a:pt x="19558" y="49671"/>
                  </a:lnTo>
                  <a:lnTo>
                    <a:pt x="23904" y="48740"/>
                  </a:lnTo>
                  <a:lnTo>
                    <a:pt x="27009" y="48740"/>
                  </a:lnTo>
                  <a:lnTo>
                    <a:pt x="27009" y="44394"/>
                  </a:lnTo>
                  <a:lnTo>
                    <a:pt x="27009" y="42221"/>
                  </a:lnTo>
                  <a:lnTo>
                    <a:pt x="24836" y="4128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xmlns="" id="{AB31C661-9A26-4F83-BBAF-6B6EBFD32624}"/>
                </a:ext>
              </a:extLst>
            </p:cNvPr>
            <p:cNvSpPr/>
            <p:nvPr/>
          </p:nvSpPr>
          <p:spPr>
            <a:xfrm>
              <a:off x="6752448" y="5941160"/>
              <a:ext cx="599160" cy="468773"/>
            </a:xfrm>
            <a:custGeom>
              <a:avLst/>
              <a:gdLst>
                <a:gd name="connsiteX0" fmla="*/ 587363 w 599160"/>
                <a:gd name="connsiteY0" fmla="*/ 227557 h 468773"/>
                <a:gd name="connsiteX1" fmla="*/ 578050 w 599160"/>
                <a:gd name="connsiteY1" fmla="*/ 214828 h 468773"/>
                <a:gd name="connsiteX2" fmla="*/ 567495 w 599160"/>
                <a:gd name="connsiteY2" fmla="*/ 202100 h 468773"/>
                <a:gd name="connsiteX3" fmla="*/ 560355 w 599160"/>
                <a:gd name="connsiteY3" fmla="*/ 183163 h 468773"/>
                <a:gd name="connsiteX4" fmla="*/ 540486 w 599160"/>
                <a:gd name="connsiteY4" fmla="*/ 183163 h 468773"/>
                <a:gd name="connsiteX5" fmla="*/ 536450 w 599160"/>
                <a:gd name="connsiteY5" fmla="*/ 165157 h 468773"/>
                <a:gd name="connsiteX6" fmla="*/ 526826 w 599160"/>
                <a:gd name="connsiteY6" fmla="*/ 151498 h 468773"/>
                <a:gd name="connsiteX7" fmla="*/ 523722 w 599160"/>
                <a:gd name="connsiteY7" fmla="*/ 146220 h 468773"/>
                <a:gd name="connsiteX8" fmla="*/ 520617 w 599160"/>
                <a:gd name="connsiteY8" fmla="*/ 143115 h 468773"/>
                <a:gd name="connsiteX9" fmla="*/ 514408 w 599160"/>
                <a:gd name="connsiteY9" fmla="*/ 140942 h 468773"/>
                <a:gd name="connsiteX10" fmla="*/ 509131 w 599160"/>
                <a:gd name="connsiteY10" fmla="*/ 138769 h 468773"/>
                <a:gd name="connsiteX11" fmla="*/ 499818 w 599160"/>
                <a:gd name="connsiteY11" fmla="*/ 138769 h 468773"/>
                <a:gd name="connsiteX12" fmla="*/ 496713 w 599160"/>
                <a:gd name="connsiteY12" fmla="*/ 129145 h 468773"/>
                <a:gd name="connsiteX13" fmla="*/ 492677 w 599160"/>
                <a:gd name="connsiteY13" fmla="*/ 116417 h 468773"/>
                <a:gd name="connsiteX14" fmla="*/ 487400 w 599160"/>
                <a:gd name="connsiteY14" fmla="*/ 98411 h 468773"/>
                <a:gd name="connsiteX15" fmla="*/ 484295 w 599160"/>
                <a:gd name="connsiteY15" fmla="*/ 83820 h 468773"/>
                <a:gd name="connsiteX16" fmla="*/ 479949 w 599160"/>
                <a:gd name="connsiteY16" fmla="*/ 71092 h 468773"/>
                <a:gd name="connsiteX17" fmla="*/ 479949 w 599160"/>
                <a:gd name="connsiteY17" fmla="*/ 64573 h 468773"/>
                <a:gd name="connsiteX18" fmla="*/ 476845 w 599160"/>
                <a:gd name="connsiteY18" fmla="*/ 63641 h 468773"/>
                <a:gd name="connsiteX19" fmla="*/ 472809 w 599160"/>
                <a:gd name="connsiteY19" fmla="*/ 63641 h 468773"/>
                <a:gd name="connsiteX20" fmla="*/ 467531 w 599160"/>
                <a:gd name="connsiteY20" fmla="*/ 61468 h 468773"/>
                <a:gd name="connsiteX21" fmla="*/ 463496 w 599160"/>
                <a:gd name="connsiteY21" fmla="*/ 61468 h 468773"/>
                <a:gd name="connsiteX22" fmla="*/ 458218 w 599160"/>
                <a:gd name="connsiteY22" fmla="*/ 59295 h 468773"/>
                <a:gd name="connsiteX23" fmla="*/ 456045 w 599160"/>
                <a:gd name="connsiteY23" fmla="*/ 57122 h 468773"/>
                <a:gd name="connsiteX24" fmla="*/ 452940 w 599160"/>
                <a:gd name="connsiteY24" fmla="*/ 49982 h 468773"/>
                <a:gd name="connsiteX25" fmla="*/ 448905 w 599160"/>
                <a:gd name="connsiteY25" fmla="*/ 37253 h 468773"/>
                <a:gd name="connsiteX26" fmla="*/ 443627 w 599160"/>
                <a:gd name="connsiteY26" fmla="*/ 22352 h 468773"/>
                <a:gd name="connsiteX27" fmla="*/ 441454 w 599160"/>
                <a:gd name="connsiteY27" fmla="*/ 9624 h 468773"/>
                <a:gd name="connsiteX28" fmla="*/ 440523 w 599160"/>
                <a:gd name="connsiteY28" fmla="*/ 0 h 468773"/>
                <a:gd name="connsiteX29" fmla="*/ 436487 w 599160"/>
                <a:gd name="connsiteY29" fmla="*/ 0 h 468773"/>
                <a:gd name="connsiteX30" fmla="*/ 431209 w 599160"/>
                <a:gd name="connsiteY30" fmla="*/ 19247 h 468773"/>
                <a:gd name="connsiteX31" fmla="*/ 426863 w 599160"/>
                <a:gd name="connsiteY31" fmla="*/ 42531 h 468773"/>
                <a:gd name="connsiteX32" fmla="*/ 425931 w 599160"/>
                <a:gd name="connsiteY32" fmla="*/ 66746 h 468773"/>
                <a:gd name="connsiteX33" fmla="*/ 420654 w 599160"/>
                <a:gd name="connsiteY33" fmla="*/ 91271 h 468773"/>
                <a:gd name="connsiteX34" fmla="*/ 411341 w 599160"/>
                <a:gd name="connsiteY34" fmla="*/ 105862 h 468773"/>
                <a:gd name="connsiteX35" fmla="*/ 398923 w 599160"/>
                <a:gd name="connsiteY35" fmla="*/ 105862 h 468773"/>
                <a:gd name="connsiteX36" fmla="*/ 382159 w 599160"/>
                <a:gd name="connsiteY36" fmla="*/ 100584 h 468773"/>
                <a:gd name="connsiteX37" fmla="*/ 365395 w 599160"/>
                <a:gd name="connsiteY37" fmla="*/ 91271 h 468773"/>
                <a:gd name="connsiteX38" fmla="*/ 348941 w 599160"/>
                <a:gd name="connsiteY38" fmla="*/ 81647 h 468773"/>
                <a:gd name="connsiteX39" fmla="*/ 336213 w 599160"/>
                <a:gd name="connsiteY39" fmla="*/ 74196 h 468773"/>
                <a:gd name="connsiteX40" fmla="*/ 343663 w 599160"/>
                <a:gd name="connsiteY40" fmla="*/ 49982 h 468773"/>
                <a:gd name="connsiteX41" fmla="*/ 356081 w 599160"/>
                <a:gd name="connsiteY41" fmla="*/ 33838 h 468773"/>
                <a:gd name="connsiteX42" fmla="*/ 356081 w 599160"/>
                <a:gd name="connsiteY42" fmla="*/ 24525 h 468773"/>
                <a:gd name="connsiteX43" fmla="*/ 338386 w 599160"/>
                <a:gd name="connsiteY43" fmla="*/ 26698 h 468773"/>
                <a:gd name="connsiteX44" fmla="*/ 321622 w 599160"/>
                <a:gd name="connsiteY44" fmla="*/ 26698 h 468773"/>
                <a:gd name="connsiteX45" fmla="*/ 306099 w 599160"/>
                <a:gd name="connsiteY45" fmla="*/ 24525 h 468773"/>
                <a:gd name="connsiteX46" fmla="*/ 291509 w 599160"/>
                <a:gd name="connsiteY46" fmla="*/ 17075 h 468773"/>
                <a:gd name="connsiteX47" fmla="*/ 276917 w 599160"/>
                <a:gd name="connsiteY47" fmla="*/ 17075 h 468773"/>
                <a:gd name="connsiteX48" fmla="*/ 277849 w 599160"/>
                <a:gd name="connsiteY48" fmla="*/ 19247 h 468773"/>
                <a:gd name="connsiteX49" fmla="*/ 280022 w 599160"/>
                <a:gd name="connsiteY49" fmla="*/ 20179 h 468773"/>
                <a:gd name="connsiteX50" fmla="*/ 280022 w 599160"/>
                <a:gd name="connsiteY50" fmla="*/ 22352 h 468773"/>
                <a:gd name="connsiteX51" fmla="*/ 284368 w 599160"/>
                <a:gd name="connsiteY51" fmla="*/ 24525 h 468773"/>
                <a:gd name="connsiteX52" fmla="*/ 274745 w 599160"/>
                <a:gd name="connsiteY52" fmla="*/ 33838 h 468773"/>
                <a:gd name="connsiteX53" fmla="*/ 265431 w 599160"/>
                <a:gd name="connsiteY53" fmla="*/ 37253 h 468773"/>
                <a:gd name="connsiteX54" fmla="*/ 256118 w 599160"/>
                <a:gd name="connsiteY54" fmla="*/ 42531 h 468773"/>
                <a:gd name="connsiteX55" fmla="*/ 248977 w 599160"/>
                <a:gd name="connsiteY55" fmla="*/ 48740 h 468773"/>
                <a:gd name="connsiteX56" fmla="*/ 243700 w 599160"/>
                <a:gd name="connsiteY56" fmla="*/ 57122 h 468773"/>
                <a:gd name="connsiteX57" fmla="*/ 240595 w 599160"/>
                <a:gd name="connsiteY57" fmla="*/ 74196 h 468773"/>
                <a:gd name="connsiteX58" fmla="*/ 234387 w 599160"/>
                <a:gd name="connsiteY58" fmla="*/ 72023 h 468773"/>
                <a:gd name="connsiteX59" fmla="*/ 230972 w 599160"/>
                <a:gd name="connsiteY59" fmla="*/ 71092 h 468773"/>
                <a:gd name="connsiteX60" fmla="*/ 226005 w 599160"/>
                <a:gd name="connsiteY60" fmla="*/ 71092 h 468773"/>
                <a:gd name="connsiteX61" fmla="*/ 220727 w 599160"/>
                <a:gd name="connsiteY61" fmla="*/ 68919 h 468773"/>
                <a:gd name="connsiteX62" fmla="*/ 218554 w 599160"/>
                <a:gd name="connsiteY62" fmla="*/ 63641 h 468773"/>
                <a:gd name="connsiteX63" fmla="*/ 218554 w 599160"/>
                <a:gd name="connsiteY63" fmla="*/ 59295 h 468773"/>
                <a:gd name="connsiteX64" fmla="*/ 218554 w 599160"/>
                <a:gd name="connsiteY64" fmla="*/ 56191 h 468773"/>
                <a:gd name="connsiteX65" fmla="*/ 216381 w 599160"/>
                <a:gd name="connsiteY65" fmla="*/ 54017 h 468773"/>
                <a:gd name="connsiteX66" fmla="*/ 209241 w 599160"/>
                <a:gd name="connsiteY66" fmla="*/ 49982 h 468773"/>
                <a:gd name="connsiteX67" fmla="*/ 198685 w 599160"/>
                <a:gd name="connsiteY67" fmla="*/ 56191 h 468773"/>
                <a:gd name="connsiteX68" fmla="*/ 187509 w 599160"/>
                <a:gd name="connsiteY68" fmla="*/ 63641 h 468773"/>
                <a:gd name="connsiteX69" fmla="*/ 176954 w 599160"/>
                <a:gd name="connsiteY69" fmla="*/ 72023 h 468773"/>
                <a:gd name="connsiteX70" fmla="*/ 167641 w 599160"/>
                <a:gd name="connsiteY70" fmla="*/ 81647 h 468773"/>
                <a:gd name="connsiteX71" fmla="*/ 160190 w 599160"/>
                <a:gd name="connsiteY71" fmla="*/ 85683 h 468773"/>
                <a:gd name="connsiteX72" fmla="*/ 160190 w 599160"/>
                <a:gd name="connsiteY72" fmla="*/ 98411 h 468773"/>
                <a:gd name="connsiteX73" fmla="*/ 145599 w 599160"/>
                <a:gd name="connsiteY73" fmla="*/ 103689 h 468773"/>
                <a:gd name="connsiteX74" fmla="*/ 134112 w 599160"/>
                <a:gd name="connsiteY74" fmla="*/ 114554 h 468773"/>
                <a:gd name="connsiteX75" fmla="*/ 126041 w 599160"/>
                <a:gd name="connsiteY75" fmla="*/ 129145 h 468773"/>
                <a:gd name="connsiteX76" fmla="*/ 120763 w 599160"/>
                <a:gd name="connsiteY76" fmla="*/ 143115 h 468773"/>
                <a:gd name="connsiteX77" fmla="*/ 106172 w 599160"/>
                <a:gd name="connsiteY77" fmla="*/ 146220 h 468773"/>
                <a:gd name="connsiteX78" fmla="*/ 89409 w 599160"/>
                <a:gd name="connsiteY78" fmla="*/ 150256 h 468773"/>
                <a:gd name="connsiteX79" fmla="*/ 70782 w 599160"/>
                <a:gd name="connsiteY79" fmla="*/ 153671 h 468773"/>
                <a:gd name="connsiteX80" fmla="*/ 56191 w 599160"/>
                <a:gd name="connsiteY80" fmla="*/ 155533 h 468773"/>
                <a:gd name="connsiteX81" fmla="*/ 47809 w 599160"/>
                <a:gd name="connsiteY81" fmla="*/ 155533 h 468773"/>
                <a:gd name="connsiteX82" fmla="*/ 34149 w 599160"/>
                <a:gd name="connsiteY82" fmla="*/ 161121 h 468773"/>
                <a:gd name="connsiteX83" fmla="*/ 23904 w 599160"/>
                <a:gd name="connsiteY83" fmla="*/ 170435 h 468773"/>
                <a:gd name="connsiteX84" fmla="*/ 16454 w 599160"/>
                <a:gd name="connsiteY84" fmla="*/ 180990 h 468773"/>
                <a:gd name="connsiteX85" fmla="*/ 9313 w 599160"/>
                <a:gd name="connsiteY85" fmla="*/ 192787 h 468773"/>
                <a:gd name="connsiteX86" fmla="*/ 0 w 599160"/>
                <a:gd name="connsiteY86" fmla="*/ 203342 h 468773"/>
                <a:gd name="connsiteX87" fmla="*/ 4036 w 599160"/>
                <a:gd name="connsiteY87" fmla="*/ 216070 h 468773"/>
                <a:gd name="connsiteX88" fmla="*/ 7140 w 599160"/>
                <a:gd name="connsiteY88" fmla="*/ 227557 h 468773"/>
                <a:gd name="connsiteX89" fmla="*/ 16454 w 599160"/>
                <a:gd name="connsiteY89" fmla="*/ 237180 h 468773"/>
                <a:gd name="connsiteX90" fmla="*/ 14591 w 599160"/>
                <a:gd name="connsiteY90" fmla="*/ 240285 h 468773"/>
                <a:gd name="connsiteX91" fmla="*/ 13349 w 599160"/>
                <a:gd name="connsiteY91" fmla="*/ 242458 h 468773"/>
                <a:gd name="connsiteX92" fmla="*/ 11176 w 599160"/>
                <a:gd name="connsiteY92" fmla="*/ 244631 h 468773"/>
                <a:gd name="connsiteX93" fmla="*/ 9313 w 599160"/>
                <a:gd name="connsiteY93" fmla="*/ 242458 h 468773"/>
                <a:gd name="connsiteX94" fmla="*/ 7140 w 599160"/>
                <a:gd name="connsiteY94" fmla="*/ 242458 h 468773"/>
                <a:gd name="connsiteX95" fmla="*/ 4036 w 599160"/>
                <a:gd name="connsiteY95" fmla="*/ 240285 h 468773"/>
                <a:gd name="connsiteX96" fmla="*/ 0 w 599160"/>
                <a:gd name="connsiteY96" fmla="*/ 240285 h 468773"/>
                <a:gd name="connsiteX97" fmla="*/ 4036 w 599160"/>
                <a:gd name="connsiteY97" fmla="*/ 253013 h 468773"/>
                <a:gd name="connsiteX98" fmla="*/ 9313 w 599160"/>
                <a:gd name="connsiteY98" fmla="*/ 270088 h 468773"/>
                <a:gd name="connsiteX99" fmla="*/ 18627 w 599160"/>
                <a:gd name="connsiteY99" fmla="*/ 289025 h 468773"/>
                <a:gd name="connsiteX100" fmla="*/ 25767 w 599160"/>
                <a:gd name="connsiteY100" fmla="*/ 309204 h 468773"/>
                <a:gd name="connsiteX101" fmla="*/ 33218 w 599160"/>
                <a:gd name="connsiteY101" fmla="*/ 327210 h 468773"/>
                <a:gd name="connsiteX102" fmla="*/ 34149 w 599160"/>
                <a:gd name="connsiteY102" fmla="*/ 346147 h 468773"/>
                <a:gd name="connsiteX103" fmla="*/ 33218 w 599160"/>
                <a:gd name="connsiteY103" fmla="*/ 361980 h 468773"/>
                <a:gd name="connsiteX104" fmla="*/ 23904 w 599160"/>
                <a:gd name="connsiteY104" fmla="*/ 375639 h 468773"/>
                <a:gd name="connsiteX105" fmla="*/ 27009 w 599160"/>
                <a:gd name="connsiteY105" fmla="*/ 381227 h 468773"/>
                <a:gd name="connsiteX106" fmla="*/ 33218 w 599160"/>
                <a:gd name="connsiteY106" fmla="*/ 386505 h 468773"/>
                <a:gd name="connsiteX107" fmla="*/ 36322 w 599160"/>
                <a:gd name="connsiteY107" fmla="*/ 391782 h 468773"/>
                <a:gd name="connsiteX108" fmla="*/ 40358 w 599160"/>
                <a:gd name="connsiteY108" fmla="*/ 398923 h 468773"/>
                <a:gd name="connsiteX109" fmla="*/ 54949 w 599160"/>
                <a:gd name="connsiteY109" fmla="*/ 398923 h 468773"/>
                <a:gd name="connsiteX110" fmla="*/ 67677 w 599160"/>
                <a:gd name="connsiteY110" fmla="*/ 397991 h 468773"/>
                <a:gd name="connsiteX111" fmla="*/ 77922 w 599160"/>
                <a:gd name="connsiteY111" fmla="*/ 391782 h 468773"/>
                <a:gd name="connsiteX112" fmla="*/ 91582 w 599160"/>
                <a:gd name="connsiteY112" fmla="*/ 386505 h 468773"/>
                <a:gd name="connsiteX113" fmla="*/ 103999 w 599160"/>
                <a:gd name="connsiteY113" fmla="*/ 383090 h 468773"/>
                <a:gd name="connsiteX114" fmla="*/ 121695 w 599160"/>
                <a:gd name="connsiteY114" fmla="*/ 381227 h 468773"/>
                <a:gd name="connsiteX115" fmla="*/ 138459 w 599160"/>
                <a:gd name="connsiteY115" fmla="*/ 383090 h 468773"/>
                <a:gd name="connsiteX116" fmla="*/ 156154 w 599160"/>
                <a:gd name="connsiteY116" fmla="*/ 383090 h 468773"/>
                <a:gd name="connsiteX117" fmla="*/ 163294 w 599160"/>
                <a:gd name="connsiteY117" fmla="*/ 358875 h 468773"/>
                <a:gd name="connsiteX118" fmla="*/ 176954 w 599160"/>
                <a:gd name="connsiteY118" fmla="*/ 354529 h 468773"/>
                <a:gd name="connsiteX119" fmla="*/ 194649 w 599160"/>
                <a:gd name="connsiteY119" fmla="*/ 351425 h 468773"/>
                <a:gd name="connsiteX120" fmla="*/ 214518 w 599160"/>
                <a:gd name="connsiteY120" fmla="*/ 347078 h 468773"/>
                <a:gd name="connsiteX121" fmla="*/ 234387 w 599160"/>
                <a:gd name="connsiteY121" fmla="*/ 346147 h 468773"/>
                <a:gd name="connsiteX122" fmla="*/ 255186 w 599160"/>
                <a:gd name="connsiteY122" fmla="*/ 343974 h 468773"/>
                <a:gd name="connsiteX123" fmla="*/ 269777 w 599160"/>
                <a:gd name="connsiteY123" fmla="*/ 346147 h 468773"/>
                <a:gd name="connsiteX124" fmla="*/ 280022 w 599160"/>
                <a:gd name="connsiteY124" fmla="*/ 349252 h 468773"/>
                <a:gd name="connsiteX125" fmla="*/ 296786 w 599160"/>
                <a:gd name="connsiteY125" fmla="*/ 351425 h 468773"/>
                <a:gd name="connsiteX126" fmla="*/ 309204 w 599160"/>
                <a:gd name="connsiteY126" fmla="*/ 358875 h 468773"/>
                <a:gd name="connsiteX127" fmla="*/ 318517 w 599160"/>
                <a:gd name="connsiteY127" fmla="*/ 368499 h 468773"/>
                <a:gd name="connsiteX128" fmla="*/ 325968 w 599160"/>
                <a:gd name="connsiteY128" fmla="*/ 379054 h 468773"/>
                <a:gd name="connsiteX129" fmla="*/ 331245 w 599160"/>
                <a:gd name="connsiteY129" fmla="*/ 390541 h 468773"/>
                <a:gd name="connsiteX130" fmla="*/ 345837 w 599160"/>
                <a:gd name="connsiteY130" fmla="*/ 384332 h 468773"/>
                <a:gd name="connsiteX131" fmla="*/ 355150 w 599160"/>
                <a:gd name="connsiteY131" fmla="*/ 379054 h 468773"/>
                <a:gd name="connsiteX132" fmla="*/ 363532 w 599160"/>
                <a:gd name="connsiteY132" fmla="*/ 369431 h 468773"/>
                <a:gd name="connsiteX133" fmla="*/ 363532 w 599160"/>
                <a:gd name="connsiteY133" fmla="*/ 375639 h 468773"/>
                <a:gd name="connsiteX134" fmla="*/ 367568 w 599160"/>
                <a:gd name="connsiteY134" fmla="*/ 375639 h 468773"/>
                <a:gd name="connsiteX135" fmla="*/ 363532 w 599160"/>
                <a:gd name="connsiteY135" fmla="*/ 381227 h 468773"/>
                <a:gd name="connsiteX136" fmla="*/ 358254 w 599160"/>
                <a:gd name="connsiteY136" fmla="*/ 386505 h 468773"/>
                <a:gd name="connsiteX137" fmla="*/ 350804 w 599160"/>
                <a:gd name="connsiteY137" fmla="*/ 390541 h 468773"/>
                <a:gd name="connsiteX138" fmla="*/ 350804 w 599160"/>
                <a:gd name="connsiteY138" fmla="*/ 393645 h 468773"/>
                <a:gd name="connsiteX139" fmla="*/ 356081 w 599160"/>
                <a:gd name="connsiteY139" fmla="*/ 393645 h 468773"/>
                <a:gd name="connsiteX140" fmla="*/ 356081 w 599160"/>
                <a:gd name="connsiteY140" fmla="*/ 398923 h 468773"/>
                <a:gd name="connsiteX141" fmla="*/ 358254 w 599160"/>
                <a:gd name="connsiteY141" fmla="*/ 398923 h 468773"/>
                <a:gd name="connsiteX142" fmla="*/ 360427 w 599160"/>
                <a:gd name="connsiteY142" fmla="*/ 398923 h 468773"/>
                <a:gd name="connsiteX143" fmla="*/ 362290 w 599160"/>
                <a:gd name="connsiteY143" fmla="*/ 397991 h 468773"/>
                <a:gd name="connsiteX144" fmla="*/ 362290 w 599160"/>
                <a:gd name="connsiteY144" fmla="*/ 395818 h 468773"/>
                <a:gd name="connsiteX145" fmla="*/ 363532 w 599160"/>
                <a:gd name="connsiteY145" fmla="*/ 393645 h 468773"/>
                <a:gd name="connsiteX146" fmla="*/ 369741 w 599160"/>
                <a:gd name="connsiteY146" fmla="*/ 395818 h 468773"/>
                <a:gd name="connsiteX147" fmla="*/ 370672 w 599160"/>
                <a:gd name="connsiteY147" fmla="*/ 397991 h 468773"/>
                <a:gd name="connsiteX148" fmla="*/ 372845 w 599160"/>
                <a:gd name="connsiteY148" fmla="*/ 398923 h 468773"/>
                <a:gd name="connsiteX149" fmla="*/ 372845 w 599160"/>
                <a:gd name="connsiteY149" fmla="*/ 401096 h 468773"/>
                <a:gd name="connsiteX150" fmla="*/ 372845 w 599160"/>
                <a:gd name="connsiteY150" fmla="*/ 403269 h 468773"/>
                <a:gd name="connsiteX151" fmla="*/ 370672 w 599160"/>
                <a:gd name="connsiteY151" fmla="*/ 405442 h 468773"/>
                <a:gd name="connsiteX152" fmla="*/ 370672 w 599160"/>
                <a:gd name="connsiteY152" fmla="*/ 406373 h 468773"/>
                <a:gd name="connsiteX153" fmla="*/ 372845 w 599160"/>
                <a:gd name="connsiteY153" fmla="*/ 408547 h 468773"/>
                <a:gd name="connsiteX154" fmla="*/ 376881 w 599160"/>
                <a:gd name="connsiteY154" fmla="*/ 410720 h 468773"/>
                <a:gd name="connsiteX155" fmla="*/ 379986 w 599160"/>
                <a:gd name="connsiteY155" fmla="*/ 413824 h 468773"/>
                <a:gd name="connsiteX156" fmla="*/ 385263 w 599160"/>
                <a:gd name="connsiteY156" fmla="*/ 415997 h 468773"/>
                <a:gd name="connsiteX157" fmla="*/ 391472 w 599160"/>
                <a:gd name="connsiteY157" fmla="*/ 418170 h 468773"/>
                <a:gd name="connsiteX158" fmla="*/ 396750 w 599160"/>
                <a:gd name="connsiteY158" fmla="*/ 419102 h 468773"/>
                <a:gd name="connsiteX159" fmla="*/ 403890 w 599160"/>
                <a:gd name="connsiteY159" fmla="*/ 456355 h 468773"/>
                <a:gd name="connsiteX160" fmla="*/ 420654 w 599160"/>
                <a:gd name="connsiteY160" fmla="*/ 458218 h 468773"/>
                <a:gd name="connsiteX161" fmla="*/ 434314 w 599160"/>
                <a:gd name="connsiteY161" fmla="*/ 460391 h 468773"/>
                <a:gd name="connsiteX162" fmla="*/ 447663 w 599160"/>
                <a:gd name="connsiteY162" fmla="*/ 462564 h 468773"/>
                <a:gd name="connsiteX163" fmla="*/ 458218 w 599160"/>
                <a:gd name="connsiteY163" fmla="*/ 458218 h 468773"/>
                <a:gd name="connsiteX164" fmla="*/ 467531 w 599160"/>
                <a:gd name="connsiteY164" fmla="*/ 451078 h 468773"/>
                <a:gd name="connsiteX165" fmla="*/ 479949 w 599160"/>
                <a:gd name="connsiteY165" fmla="*/ 462564 h 468773"/>
                <a:gd name="connsiteX166" fmla="*/ 491436 w 599160"/>
                <a:gd name="connsiteY166" fmla="*/ 470946 h 468773"/>
                <a:gd name="connsiteX167" fmla="*/ 499818 w 599160"/>
                <a:gd name="connsiteY167" fmla="*/ 467842 h 468773"/>
                <a:gd name="connsiteX168" fmla="*/ 513477 w 599160"/>
                <a:gd name="connsiteY168" fmla="*/ 462564 h 468773"/>
                <a:gd name="connsiteX169" fmla="*/ 525895 w 599160"/>
                <a:gd name="connsiteY169" fmla="*/ 456355 h 468773"/>
                <a:gd name="connsiteX170" fmla="*/ 536450 w 599160"/>
                <a:gd name="connsiteY170" fmla="*/ 451078 h 468773"/>
                <a:gd name="connsiteX171" fmla="*/ 545764 w 599160"/>
                <a:gd name="connsiteY171" fmla="*/ 441454 h 468773"/>
                <a:gd name="connsiteX172" fmla="*/ 551041 w 599160"/>
                <a:gd name="connsiteY172" fmla="*/ 428726 h 468773"/>
                <a:gd name="connsiteX173" fmla="*/ 555077 w 599160"/>
                <a:gd name="connsiteY173" fmla="*/ 412893 h 468773"/>
                <a:gd name="connsiteX174" fmla="*/ 560355 w 599160"/>
                <a:gd name="connsiteY174" fmla="*/ 397991 h 468773"/>
                <a:gd name="connsiteX175" fmla="*/ 563459 w 599160"/>
                <a:gd name="connsiteY175" fmla="*/ 383090 h 468773"/>
                <a:gd name="connsiteX176" fmla="*/ 574945 w 599160"/>
                <a:gd name="connsiteY176" fmla="*/ 358875 h 468773"/>
                <a:gd name="connsiteX177" fmla="*/ 584259 w 599160"/>
                <a:gd name="connsiteY177" fmla="*/ 336523 h 468773"/>
                <a:gd name="connsiteX178" fmla="*/ 592641 w 599160"/>
                <a:gd name="connsiteY178" fmla="*/ 316655 h 468773"/>
                <a:gd name="connsiteX179" fmla="*/ 598850 w 599160"/>
                <a:gd name="connsiteY179" fmla="*/ 294303 h 468773"/>
                <a:gd name="connsiteX180" fmla="*/ 599781 w 599160"/>
                <a:gd name="connsiteY180" fmla="*/ 271950 h 468773"/>
                <a:gd name="connsiteX181" fmla="*/ 596677 w 599160"/>
                <a:gd name="connsiteY181" fmla="*/ 244631 h 4687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</a:cxnLst>
              <a:rect l="l" t="t" r="r" b="b"/>
              <a:pathLst>
                <a:path w="599160" h="468773">
                  <a:moveTo>
                    <a:pt x="587363" y="227557"/>
                  </a:moveTo>
                  <a:lnTo>
                    <a:pt x="578050" y="214828"/>
                  </a:lnTo>
                  <a:lnTo>
                    <a:pt x="567495" y="202100"/>
                  </a:lnTo>
                  <a:lnTo>
                    <a:pt x="560355" y="183163"/>
                  </a:lnTo>
                  <a:lnTo>
                    <a:pt x="540486" y="183163"/>
                  </a:lnTo>
                  <a:lnTo>
                    <a:pt x="536450" y="165157"/>
                  </a:lnTo>
                  <a:lnTo>
                    <a:pt x="526826" y="151498"/>
                  </a:lnTo>
                  <a:lnTo>
                    <a:pt x="523722" y="146220"/>
                  </a:lnTo>
                  <a:lnTo>
                    <a:pt x="520617" y="143115"/>
                  </a:lnTo>
                  <a:lnTo>
                    <a:pt x="514408" y="140942"/>
                  </a:lnTo>
                  <a:lnTo>
                    <a:pt x="509131" y="138769"/>
                  </a:lnTo>
                  <a:lnTo>
                    <a:pt x="499818" y="138769"/>
                  </a:lnTo>
                  <a:lnTo>
                    <a:pt x="496713" y="129145"/>
                  </a:lnTo>
                  <a:lnTo>
                    <a:pt x="492677" y="116417"/>
                  </a:lnTo>
                  <a:lnTo>
                    <a:pt x="487400" y="98411"/>
                  </a:lnTo>
                  <a:lnTo>
                    <a:pt x="484295" y="83820"/>
                  </a:lnTo>
                  <a:lnTo>
                    <a:pt x="479949" y="71092"/>
                  </a:lnTo>
                  <a:lnTo>
                    <a:pt x="479949" y="64573"/>
                  </a:lnTo>
                  <a:lnTo>
                    <a:pt x="476845" y="63641"/>
                  </a:lnTo>
                  <a:lnTo>
                    <a:pt x="472809" y="63641"/>
                  </a:lnTo>
                  <a:lnTo>
                    <a:pt x="467531" y="61468"/>
                  </a:lnTo>
                  <a:lnTo>
                    <a:pt x="463496" y="61468"/>
                  </a:lnTo>
                  <a:lnTo>
                    <a:pt x="458218" y="59295"/>
                  </a:lnTo>
                  <a:lnTo>
                    <a:pt x="456045" y="57122"/>
                  </a:lnTo>
                  <a:lnTo>
                    <a:pt x="452940" y="49982"/>
                  </a:lnTo>
                  <a:lnTo>
                    <a:pt x="448905" y="37253"/>
                  </a:lnTo>
                  <a:lnTo>
                    <a:pt x="443627" y="22352"/>
                  </a:lnTo>
                  <a:lnTo>
                    <a:pt x="441454" y="9624"/>
                  </a:lnTo>
                  <a:lnTo>
                    <a:pt x="440523" y="0"/>
                  </a:lnTo>
                  <a:lnTo>
                    <a:pt x="436487" y="0"/>
                  </a:lnTo>
                  <a:lnTo>
                    <a:pt x="431209" y="19247"/>
                  </a:lnTo>
                  <a:lnTo>
                    <a:pt x="426863" y="42531"/>
                  </a:lnTo>
                  <a:lnTo>
                    <a:pt x="425931" y="66746"/>
                  </a:lnTo>
                  <a:lnTo>
                    <a:pt x="420654" y="91271"/>
                  </a:lnTo>
                  <a:lnTo>
                    <a:pt x="411341" y="105862"/>
                  </a:lnTo>
                  <a:lnTo>
                    <a:pt x="398923" y="105862"/>
                  </a:lnTo>
                  <a:lnTo>
                    <a:pt x="382159" y="100584"/>
                  </a:lnTo>
                  <a:lnTo>
                    <a:pt x="365395" y="91271"/>
                  </a:lnTo>
                  <a:lnTo>
                    <a:pt x="348941" y="81647"/>
                  </a:lnTo>
                  <a:lnTo>
                    <a:pt x="336213" y="74196"/>
                  </a:lnTo>
                  <a:lnTo>
                    <a:pt x="343663" y="49982"/>
                  </a:lnTo>
                  <a:lnTo>
                    <a:pt x="356081" y="33838"/>
                  </a:lnTo>
                  <a:lnTo>
                    <a:pt x="356081" y="24525"/>
                  </a:lnTo>
                  <a:lnTo>
                    <a:pt x="338386" y="26698"/>
                  </a:lnTo>
                  <a:lnTo>
                    <a:pt x="321622" y="26698"/>
                  </a:lnTo>
                  <a:lnTo>
                    <a:pt x="306099" y="24525"/>
                  </a:lnTo>
                  <a:lnTo>
                    <a:pt x="291509" y="17075"/>
                  </a:lnTo>
                  <a:lnTo>
                    <a:pt x="276917" y="17075"/>
                  </a:lnTo>
                  <a:lnTo>
                    <a:pt x="277849" y="19247"/>
                  </a:lnTo>
                  <a:lnTo>
                    <a:pt x="280022" y="20179"/>
                  </a:lnTo>
                  <a:lnTo>
                    <a:pt x="280022" y="22352"/>
                  </a:lnTo>
                  <a:lnTo>
                    <a:pt x="284368" y="24525"/>
                  </a:lnTo>
                  <a:lnTo>
                    <a:pt x="274745" y="33838"/>
                  </a:lnTo>
                  <a:lnTo>
                    <a:pt x="265431" y="37253"/>
                  </a:lnTo>
                  <a:lnTo>
                    <a:pt x="256118" y="42531"/>
                  </a:lnTo>
                  <a:lnTo>
                    <a:pt x="248977" y="48740"/>
                  </a:lnTo>
                  <a:lnTo>
                    <a:pt x="243700" y="57122"/>
                  </a:lnTo>
                  <a:lnTo>
                    <a:pt x="240595" y="74196"/>
                  </a:lnTo>
                  <a:lnTo>
                    <a:pt x="234387" y="72023"/>
                  </a:lnTo>
                  <a:lnTo>
                    <a:pt x="230972" y="71092"/>
                  </a:lnTo>
                  <a:lnTo>
                    <a:pt x="226005" y="71092"/>
                  </a:lnTo>
                  <a:lnTo>
                    <a:pt x="220727" y="68919"/>
                  </a:lnTo>
                  <a:lnTo>
                    <a:pt x="218554" y="63641"/>
                  </a:lnTo>
                  <a:lnTo>
                    <a:pt x="218554" y="59295"/>
                  </a:lnTo>
                  <a:lnTo>
                    <a:pt x="218554" y="56191"/>
                  </a:lnTo>
                  <a:lnTo>
                    <a:pt x="216381" y="54017"/>
                  </a:lnTo>
                  <a:lnTo>
                    <a:pt x="209241" y="49982"/>
                  </a:lnTo>
                  <a:lnTo>
                    <a:pt x="198685" y="56191"/>
                  </a:lnTo>
                  <a:lnTo>
                    <a:pt x="187509" y="63641"/>
                  </a:lnTo>
                  <a:lnTo>
                    <a:pt x="176954" y="72023"/>
                  </a:lnTo>
                  <a:lnTo>
                    <a:pt x="167641" y="81647"/>
                  </a:lnTo>
                  <a:lnTo>
                    <a:pt x="160190" y="85683"/>
                  </a:lnTo>
                  <a:lnTo>
                    <a:pt x="160190" y="98411"/>
                  </a:lnTo>
                  <a:lnTo>
                    <a:pt x="145599" y="103689"/>
                  </a:lnTo>
                  <a:lnTo>
                    <a:pt x="134112" y="114554"/>
                  </a:lnTo>
                  <a:lnTo>
                    <a:pt x="126041" y="129145"/>
                  </a:lnTo>
                  <a:lnTo>
                    <a:pt x="120763" y="143115"/>
                  </a:lnTo>
                  <a:lnTo>
                    <a:pt x="106172" y="146220"/>
                  </a:lnTo>
                  <a:lnTo>
                    <a:pt x="89409" y="150256"/>
                  </a:lnTo>
                  <a:lnTo>
                    <a:pt x="70782" y="153671"/>
                  </a:lnTo>
                  <a:lnTo>
                    <a:pt x="56191" y="155533"/>
                  </a:lnTo>
                  <a:lnTo>
                    <a:pt x="47809" y="155533"/>
                  </a:lnTo>
                  <a:lnTo>
                    <a:pt x="34149" y="161121"/>
                  </a:lnTo>
                  <a:lnTo>
                    <a:pt x="23904" y="170435"/>
                  </a:lnTo>
                  <a:lnTo>
                    <a:pt x="16454" y="180990"/>
                  </a:lnTo>
                  <a:lnTo>
                    <a:pt x="9313" y="192787"/>
                  </a:lnTo>
                  <a:lnTo>
                    <a:pt x="0" y="203342"/>
                  </a:lnTo>
                  <a:lnTo>
                    <a:pt x="4036" y="216070"/>
                  </a:lnTo>
                  <a:lnTo>
                    <a:pt x="7140" y="227557"/>
                  </a:lnTo>
                  <a:lnTo>
                    <a:pt x="16454" y="237180"/>
                  </a:lnTo>
                  <a:lnTo>
                    <a:pt x="14591" y="240285"/>
                  </a:lnTo>
                  <a:lnTo>
                    <a:pt x="13349" y="242458"/>
                  </a:lnTo>
                  <a:lnTo>
                    <a:pt x="11176" y="244631"/>
                  </a:lnTo>
                  <a:lnTo>
                    <a:pt x="9313" y="242458"/>
                  </a:lnTo>
                  <a:lnTo>
                    <a:pt x="7140" y="242458"/>
                  </a:lnTo>
                  <a:lnTo>
                    <a:pt x="4036" y="240285"/>
                  </a:lnTo>
                  <a:lnTo>
                    <a:pt x="0" y="240285"/>
                  </a:lnTo>
                  <a:lnTo>
                    <a:pt x="4036" y="253013"/>
                  </a:lnTo>
                  <a:lnTo>
                    <a:pt x="9313" y="270088"/>
                  </a:lnTo>
                  <a:lnTo>
                    <a:pt x="18627" y="289025"/>
                  </a:lnTo>
                  <a:lnTo>
                    <a:pt x="25767" y="309204"/>
                  </a:lnTo>
                  <a:lnTo>
                    <a:pt x="33218" y="327210"/>
                  </a:lnTo>
                  <a:lnTo>
                    <a:pt x="34149" y="346147"/>
                  </a:lnTo>
                  <a:lnTo>
                    <a:pt x="33218" y="361980"/>
                  </a:lnTo>
                  <a:lnTo>
                    <a:pt x="23904" y="375639"/>
                  </a:lnTo>
                  <a:lnTo>
                    <a:pt x="27009" y="381227"/>
                  </a:lnTo>
                  <a:lnTo>
                    <a:pt x="33218" y="386505"/>
                  </a:lnTo>
                  <a:lnTo>
                    <a:pt x="36322" y="391782"/>
                  </a:lnTo>
                  <a:lnTo>
                    <a:pt x="40358" y="398923"/>
                  </a:lnTo>
                  <a:lnTo>
                    <a:pt x="54949" y="398923"/>
                  </a:lnTo>
                  <a:lnTo>
                    <a:pt x="67677" y="397991"/>
                  </a:lnTo>
                  <a:lnTo>
                    <a:pt x="77922" y="391782"/>
                  </a:lnTo>
                  <a:lnTo>
                    <a:pt x="91582" y="386505"/>
                  </a:lnTo>
                  <a:lnTo>
                    <a:pt x="103999" y="383090"/>
                  </a:lnTo>
                  <a:lnTo>
                    <a:pt x="121695" y="381227"/>
                  </a:lnTo>
                  <a:lnTo>
                    <a:pt x="138459" y="383090"/>
                  </a:lnTo>
                  <a:lnTo>
                    <a:pt x="156154" y="383090"/>
                  </a:lnTo>
                  <a:lnTo>
                    <a:pt x="163294" y="358875"/>
                  </a:lnTo>
                  <a:lnTo>
                    <a:pt x="176954" y="354529"/>
                  </a:lnTo>
                  <a:lnTo>
                    <a:pt x="194649" y="351425"/>
                  </a:lnTo>
                  <a:lnTo>
                    <a:pt x="214518" y="347078"/>
                  </a:lnTo>
                  <a:lnTo>
                    <a:pt x="234387" y="346147"/>
                  </a:lnTo>
                  <a:lnTo>
                    <a:pt x="255186" y="343974"/>
                  </a:lnTo>
                  <a:lnTo>
                    <a:pt x="269777" y="346147"/>
                  </a:lnTo>
                  <a:lnTo>
                    <a:pt x="280022" y="349252"/>
                  </a:lnTo>
                  <a:lnTo>
                    <a:pt x="296786" y="351425"/>
                  </a:lnTo>
                  <a:lnTo>
                    <a:pt x="309204" y="358875"/>
                  </a:lnTo>
                  <a:lnTo>
                    <a:pt x="318517" y="368499"/>
                  </a:lnTo>
                  <a:lnTo>
                    <a:pt x="325968" y="379054"/>
                  </a:lnTo>
                  <a:lnTo>
                    <a:pt x="331245" y="390541"/>
                  </a:lnTo>
                  <a:lnTo>
                    <a:pt x="345837" y="384332"/>
                  </a:lnTo>
                  <a:lnTo>
                    <a:pt x="355150" y="379054"/>
                  </a:lnTo>
                  <a:lnTo>
                    <a:pt x="363532" y="369431"/>
                  </a:lnTo>
                  <a:lnTo>
                    <a:pt x="363532" y="375639"/>
                  </a:lnTo>
                  <a:lnTo>
                    <a:pt x="367568" y="375639"/>
                  </a:lnTo>
                  <a:lnTo>
                    <a:pt x="363532" y="381227"/>
                  </a:lnTo>
                  <a:lnTo>
                    <a:pt x="358254" y="386505"/>
                  </a:lnTo>
                  <a:lnTo>
                    <a:pt x="350804" y="390541"/>
                  </a:lnTo>
                  <a:lnTo>
                    <a:pt x="350804" y="393645"/>
                  </a:lnTo>
                  <a:lnTo>
                    <a:pt x="356081" y="393645"/>
                  </a:lnTo>
                  <a:lnTo>
                    <a:pt x="356081" y="398923"/>
                  </a:lnTo>
                  <a:lnTo>
                    <a:pt x="358254" y="398923"/>
                  </a:lnTo>
                  <a:lnTo>
                    <a:pt x="360427" y="398923"/>
                  </a:lnTo>
                  <a:lnTo>
                    <a:pt x="362290" y="397991"/>
                  </a:lnTo>
                  <a:lnTo>
                    <a:pt x="362290" y="395818"/>
                  </a:lnTo>
                  <a:lnTo>
                    <a:pt x="363532" y="393645"/>
                  </a:lnTo>
                  <a:lnTo>
                    <a:pt x="369741" y="395818"/>
                  </a:lnTo>
                  <a:lnTo>
                    <a:pt x="370672" y="397991"/>
                  </a:lnTo>
                  <a:lnTo>
                    <a:pt x="372845" y="398923"/>
                  </a:lnTo>
                  <a:lnTo>
                    <a:pt x="372845" y="401096"/>
                  </a:lnTo>
                  <a:lnTo>
                    <a:pt x="372845" y="403269"/>
                  </a:lnTo>
                  <a:lnTo>
                    <a:pt x="370672" y="405442"/>
                  </a:lnTo>
                  <a:lnTo>
                    <a:pt x="370672" y="406373"/>
                  </a:lnTo>
                  <a:lnTo>
                    <a:pt x="372845" y="408547"/>
                  </a:lnTo>
                  <a:lnTo>
                    <a:pt x="376881" y="410720"/>
                  </a:lnTo>
                  <a:lnTo>
                    <a:pt x="379986" y="413824"/>
                  </a:lnTo>
                  <a:lnTo>
                    <a:pt x="385263" y="415997"/>
                  </a:lnTo>
                  <a:lnTo>
                    <a:pt x="391472" y="418170"/>
                  </a:lnTo>
                  <a:lnTo>
                    <a:pt x="396750" y="419102"/>
                  </a:lnTo>
                  <a:lnTo>
                    <a:pt x="403890" y="456355"/>
                  </a:lnTo>
                  <a:lnTo>
                    <a:pt x="420654" y="458218"/>
                  </a:lnTo>
                  <a:lnTo>
                    <a:pt x="434314" y="460391"/>
                  </a:lnTo>
                  <a:lnTo>
                    <a:pt x="447663" y="462564"/>
                  </a:lnTo>
                  <a:lnTo>
                    <a:pt x="458218" y="458218"/>
                  </a:lnTo>
                  <a:lnTo>
                    <a:pt x="467531" y="451078"/>
                  </a:lnTo>
                  <a:lnTo>
                    <a:pt x="479949" y="462564"/>
                  </a:lnTo>
                  <a:lnTo>
                    <a:pt x="491436" y="470946"/>
                  </a:lnTo>
                  <a:lnTo>
                    <a:pt x="499818" y="467842"/>
                  </a:lnTo>
                  <a:lnTo>
                    <a:pt x="513477" y="462564"/>
                  </a:lnTo>
                  <a:lnTo>
                    <a:pt x="525895" y="456355"/>
                  </a:lnTo>
                  <a:lnTo>
                    <a:pt x="536450" y="451078"/>
                  </a:lnTo>
                  <a:lnTo>
                    <a:pt x="545764" y="441454"/>
                  </a:lnTo>
                  <a:lnTo>
                    <a:pt x="551041" y="428726"/>
                  </a:lnTo>
                  <a:lnTo>
                    <a:pt x="555077" y="412893"/>
                  </a:lnTo>
                  <a:lnTo>
                    <a:pt x="560355" y="397991"/>
                  </a:lnTo>
                  <a:lnTo>
                    <a:pt x="563459" y="383090"/>
                  </a:lnTo>
                  <a:lnTo>
                    <a:pt x="574945" y="358875"/>
                  </a:lnTo>
                  <a:lnTo>
                    <a:pt x="584259" y="336523"/>
                  </a:lnTo>
                  <a:lnTo>
                    <a:pt x="592641" y="316655"/>
                  </a:lnTo>
                  <a:lnTo>
                    <a:pt x="598850" y="294303"/>
                  </a:lnTo>
                  <a:lnTo>
                    <a:pt x="599781" y="271950"/>
                  </a:lnTo>
                  <a:lnTo>
                    <a:pt x="596677" y="2446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xmlns="" id="{E1FD2A4B-70E3-4FA5-8991-86FFE826B909}"/>
                </a:ext>
              </a:extLst>
            </p:cNvPr>
            <p:cNvSpPr/>
            <p:nvPr/>
          </p:nvSpPr>
          <p:spPr>
            <a:xfrm>
              <a:off x="7376444" y="5893661"/>
              <a:ext cx="15522" cy="9313"/>
            </a:xfrm>
            <a:custGeom>
              <a:avLst/>
              <a:gdLst>
                <a:gd name="connsiteX0" fmla="*/ 9313 w 15522"/>
                <a:gd name="connsiteY0" fmla="*/ 5278 h 9313"/>
                <a:gd name="connsiteX1" fmla="*/ 9313 w 15522"/>
                <a:gd name="connsiteY1" fmla="*/ 3104 h 9313"/>
                <a:gd name="connsiteX2" fmla="*/ 7140 w 15522"/>
                <a:gd name="connsiteY2" fmla="*/ 2173 h 9313"/>
                <a:gd name="connsiteX3" fmla="*/ 4967 w 15522"/>
                <a:gd name="connsiteY3" fmla="*/ 2173 h 9313"/>
                <a:gd name="connsiteX4" fmla="*/ 3104 w 15522"/>
                <a:gd name="connsiteY4" fmla="*/ 0 h 9313"/>
                <a:gd name="connsiteX5" fmla="*/ 0 w 15522"/>
                <a:gd name="connsiteY5" fmla="*/ 0 h 9313"/>
                <a:gd name="connsiteX6" fmla="*/ 3104 w 15522"/>
                <a:gd name="connsiteY6" fmla="*/ 3104 h 9313"/>
                <a:gd name="connsiteX7" fmla="*/ 4967 w 15522"/>
                <a:gd name="connsiteY7" fmla="*/ 5278 h 9313"/>
                <a:gd name="connsiteX8" fmla="*/ 7140 w 15522"/>
                <a:gd name="connsiteY8" fmla="*/ 7451 h 9313"/>
                <a:gd name="connsiteX9" fmla="*/ 10245 w 15522"/>
                <a:gd name="connsiteY9" fmla="*/ 9624 h 9313"/>
                <a:gd name="connsiteX10" fmla="*/ 16454 w 15522"/>
                <a:gd name="connsiteY10" fmla="*/ 10555 h 9313"/>
                <a:gd name="connsiteX11" fmla="*/ 16454 w 15522"/>
                <a:gd name="connsiteY11" fmla="*/ 7451 h 9313"/>
                <a:gd name="connsiteX12" fmla="*/ 12418 w 15522"/>
                <a:gd name="connsiteY12" fmla="*/ 7451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5522" h="9313">
                  <a:moveTo>
                    <a:pt x="9313" y="5278"/>
                  </a:moveTo>
                  <a:lnTo>
                    <a:pt x="9313" y="3104"/>
                  </a:lnTo>
                  <a:lnTo>
                    <a:pt x="7140" y="2173"/>
                  </a:lnTo>
                  <a:lnTo>
                    <a:pt x="4967" y="2173"/>
                  </a:lnTo>
                  <a:lnTo>
                    <a:pt x="3104" y="0"/>
                  </a:lnTo>
                  <a:lnTo>
                    <a:pt x="0" y="0"/>
                  </a:lnTo>
                  <a:lnTo>
                    <a:pt x="3104" y="3104"/>
                  </a:lnTo>
                  <a:lnTo>
                    <a:pt x="4967" y="5278"/>
                  </a:lnTo>
                  <a:lnTo>
                    <a:pt x="7140" y="7451"/>
                  </a:lnTo>
                  <a:lnTo>
                    <a:pt x="10245" y="9624"/>
                  </a:lnTo>
                  <a:lnTo>
                    <a:pt x="16454" y="10555"/>
                  </a:lnTo>
                  <a:lnTo>
                    <a:pt x="16454" y="7451"/>
                  </a:lnTo>
                  <a:lnTo>
                    <a:pt x="12418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xmlns="" id="{F3F283A7-4820-4EB2-964D-221E923D51BD}"/>
                </a:ext>
              </a:extLst>
            </p:cNvPr>
            <p:cNvSpPr/>
            <p:nvPr/>
          </p:nvSpPr>
          <p:spPr>
            <a:xfrm>
              <a:off x="2900127" y="5457796"/>
              <a:ext cx="55880" cy="37253"/>
            </a:xfrm>
            <a:custGeom>
              <a:avLst/>
              <a:gdLst>
                <a:gd name="connsiteX0" fmla="*/ 29182 w 55880"/>
                <a:gd name="connsiteY0" fmla="*/ 5278 h 37253"/>
                <a:gd name="connsiteX1" fmla="*/ 12418 w 55880"/>
                <a:gd name="connsiteY1" fmla="*/ 0 h 37253"/>
                <a:gd name="connsiteX2" fmla="*/ 10245 w 55880"/>
                <a:gd name="connsiteY2" fmla="*/ 1863 h 37253"/>
                <a:gd name="connsiteX3" fmla="*/ 8072 w 55880"/>
                <a:gd name="connsiteY3" fmla="*/ 1863 h 37253"/>
                <a:gd name="connsiteX4" fmla="*/ 8072 w 55880"/>
                <a:gd name="connsiteY4" fmla="*/ 3104 h 37253"/>
                <a:gd name="connsiteX5" fmla="*/ 7140 w 55880"/>
                <a:gd name="connsiteY5" fmla="*/ 3104 h 37253"/>
                <a:gd name="connsiteX6" fmla="*/ 3104 w 55880"/>
                <a:gd name="connsiteY6" fmla="*/ 5278 h 37253"/>
                <a:gd name="connsiteX7" fmla="*/ 3104 w 55880"/>
                <a:gd name="connsiteY7" fmla="*/ 18006 h 37253"/>
                <a:gd name="connsiteX8" fmla="*/ 3104 w 55880"/>
                <a:gd name="connsiteY8" fmla="*/ 27319 h 37253"/>
                <a:gd name="connsiteX9" fmla="*/ 0 w 55880"/>
                <a:gd name="connsiteY9" fmla="*/ 36943 h 37253"/>
                <a:gd name="connsiteX10" fmla="*/ 3104 w 55880"/>
                <a:gd name="connsiteY10" fmla="*/ 36943 h 37253"/>
                <a:gd name="connsiteX11" fmla="*/ 3104 w 55880"/>
                <a:gd name="connsiteY11" fmla="*/ 40047 h 37253"/>
                <a:gd name="connsiteX12" fmla="*/ 15522 w 55880"/>
                <a:gd name="connsiteY12" fmla="*/ 36943 h 37253"/>
                <a:gd name="connsiteX13" fmla="*/ 27009 w 55880"/>
                <a:gd name="connsiteY13" fmla="*/ 34770 h 37253"/>
                <a:gd name="connsiteX14" fmla="*/ 39427 w 55880"/>
                <a:gd name="connsiteY14" fmla="*/ 32597 h 37253"/>
                <a:gd name="connsiteX15" fmla="*/ 51844 w 55880"/>
                <a:gd name="connsiteY15" fmla="*/ 24215 h 37253"/>
                <a:gd name="connsiteX16" fmla="*/ 56191 w 55880"/>
                <a:gd name="connsiteY16" fmla="*/ 24215 h 37253"/>
                <a:gd name="connsiteX17" fmla="*/ 56191 w 55880"/>
                <a:gd name="connsiteY17" fmla="*/ 19868 h 37253"/>
                <a:gd name="connsiteX18" fmla="*/ 41600 w 55880"/>
                <a:gd name="connsiteY18" fmla="*/ 12418 h 37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55880" h="37253">
                  <a:moveTo>
                    <a:pt x="29182" y="5278"/>
                  </a:moveTo>
                  <a:lnTo>
                    <a:pt x="12418" y="0"/>
                  </a:lnTo>
                  <a:lnTo>
                    <a:pt x="10245" y="1863"/>
                  </a:lnTo>
                  <a:lnTo>
                    <a:pt x="8072" y="1863"/>
                  </a:lnTo>
                  <a:lnTo>
                    <a:pt x="8072" y="3104"/>
                  </a:lnTo>
                  <a:lnTo>
                    <a:pt x="7140" y="3104"/>
                  </a:lnTo>
                  <a:lnTo>
                    <a:pt x="3104" y="5278"/>
                  </a:lnTo>
                  <a:lnTo>
                    <a:pt x="3104" y="18006"/>
                  </a:lnTo>
                  <a:lnTo>
                    <a:pt x="3104" y="27319"/>
                  </a:lnTo>
                  <a:lnTo>
                    <a:pt x="0" y="36943"/>
                  </a:lnTo>
                  <a:lnTo>
                    <a:pt x="3104" y="36943"/>
                  </a:lnTo>
                  <a:lnTo>
                    <a:pt x="3104" y="40047"/>
                  </a:lnTo>
                  <a:lnTo>
                    <a:pt x="15522" y="36943"/>
                  </a:lnTo>
                  <a:lnTo>
                    <a:pt x="27009" y="34770"/>
                  </a:lnTo>
                  <a:lnTo>
                    <a:pt x="39427" y="32597"/>
                  </a:lnTo>
                  <a:lnTo>
                    <a:pt x="51844" y="24215"/>
                  </a:lnTo>
                  <a:lnTo>
                    <a:pt x="56191" y="24215"/>
                  </a:lnTo>
                  <a:lnTo>
                    <a:pt x="56191" y="19868"/>
                  </a:lnTo>
                  <a:lnTo>
                    <a:pt x="41600" y="1241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xmlns="" id="{051F195D-B45F-4022-B23C-B679E1C22939}"/>
                </a:ext>
              </a:extLst>
            </p:cNvPr>
            <p:cNvSpPr/>
            <p:nvPr/>
          </p:nvSpPr>
          <p:spPr>
            <a:xfrm>
              <a:off x="6488880" y="5710498"/>
              <a:ext cx="301132" cy="207999"/>
            </a:xfrm>
            <a:custGeom>
              <a:avLst/>
              <a:gdLst>
                <a:gd name="connsiteX0" fmla="*/ 284368 w 301132"/>
                <a:gd name="connsiteY0" fmla="*/ 210793 h 207998"/>
                <a:gd name="connsiteX1" fmla="*/ 294613 w 301132"/>
                <a:gd name="connsiteY1" fmla="*/ 207378 h 207998"/>
                <a:gd name="connsiteX2" fmla="*/ 297718 w 301132"/>
                <a:gd name="connsiteY2" fmla="*/ 205515 h 207998"/>
                <a:gd name="connsiteX3" fmla="*/ 299891 w 301132"/>
                <a:gd name="connsiteY3" fmla="*/ 205515 h 207998"/>
                <a:gd name="connsiteX4" fmla="*/ 302064 w 301132"/>
                <a:gd name="connsiteY4" fmla="*/ 203342 h 207998"/>
                <a:gd name="connsiteX5" fmla="*/ 303926 w 301132"/>
                <a:gd name="connsiteY5" fmla="*/ 203342 h 207998"/>
                <a:gd name="connsiteX6" fmla="*/ 287473 w 301132"/>
                <a:gd name="connsiteY6" fmla="*/ 195891 h 207998"/>
                <a:gd name="connsiteX7" fmla="*/ 269777 w 301132"/>
                <a:gd name="connsiteY7" fmla="*/ 186267 h 207998"/>
                <a:gd name="connsiteX8" fmla="*/ 250840 w 301132"/>
                <a:gd name="connsiteY8" fmla="*/ 178817 h 207998"/>
                <a:gd name="connsiteX9" fmla="*/ 234387 w 301132"/>
                <a:gd name="connsiteY9" fmla="*/ 173539 h 207998"/>
                <a:gd name="connsiteX10" fmla="*/ 226936 w 301132"/>
                <a:gd name="connsiteY10" fmla="*/ 175712 h 207998"/>
                <a:gd name="connsiteX11" fmla="*/ 219796 w 301132"/>
                <a:gd name="connsiteY11" fmla="*/ 178817 h 207998"/>
                <a:gd name="connsiteX12" fmla="*/ 211413 w 301132"/>
                <a:gd name="connsiteY12" fmla="*/ 183163 h 207998"/>
                <a:gd name="connsiteX13" fmla="*/ 199927 w 301132"/>
                <a:gd name="connsiteY13" fmla="*/ 183163 h 207998"/>
                <a:gd name="connsiteX14" fmla="*/ 190614 w 301132"/>
                <a:gd name="connsiteY14" fmla="*/ 177886 h 207998"/>
                <a:gd name="connsiteX15" fmla="*/ 184094 w 301132"/>
                <a:gd name="connsiteY15" fmla="*/ 171366 h 207998"/>
                <a:gd name="connsiteX16" fmla="*/ 174781 w 301132"/>
                <a:gd name="connsiteY16" fmla="*/ 168262 h 207998"/>
                <a:gd name="connsiteX17" fmla="*/ 160190 w 301132"/>
                <a:gd name="connsiteY17" fmla="*/ 166089 h 207998"/>
                <a:gd name="connsiteX18" fmla="*/ 160190 w 301132"/>
                <a:gd name="connsiteY18" fmla="*/ 144047 h 207998"/>
                <a:gd name="connsiteX19" fmla="*/ 163294 w 301132"/>
                <a:gd name="connsiteY19" fmla="*/ 126041 h 207998"/>
                <a:gd name="connsiteX20" fmla="*/ 145599 w 301132"/>
                <a:gd name="connsiteY20" fmla="*/ 111140 h 207998"/>
                <a:gd name="connsiteX21" fmla="*/ 133181 w 301132"/>
                <a:gd name="connsiteY21" fmla="*/ 92202 h 207998"/>
                <a:gd name="connsiteX22" fmla="*/ 121695 w 301132"/>
                <a:gd name="connsiteY22" fmla="*/ 76370 h 207998"/>
                <a:gd name="connsiteX23" fmla="*/ 109277 w 301132"/>
                <a:gd name="connsiteY23" fmla="*/ 61468 h 207998"/>
                <a:gd name="connsiteX24" fmla="*/ 101826 w 301132"/>
                <a:gd name="connsiteY24" fmla="*/ 54018 h 207998"/>
                <a:gd name="connsiteX25" fmla="*/ 99964 w 301132"/>
                <a:gd name="connsiteY25" fmla="*/ 54018 h 207998"/>
                <a:gd name="connsiteX26" fmla="*/ 99964 w 301132"/>
                <a:gd name="connsiteY26" fmla="*/ 51844 h 207998"/>
                <a:gd name="connsiteX27" fmla="*/ 94686 w 301132"/>
                <a:gd name="connsiteY27" fmla="*/ 47809 h 207998"/>
                <a:gd name="connsiteX28" fmla="*/ 76991 w 301132"/>
                <a:gd name="connsiteY28" fmla="*/ 39116 h 207998"/>
                <a:gd name="connsiteX29" fmla="*/ 62400 w 301132"/>
                <a:gd name="connsiteY29" fmla="*/ 29803 h 207998"/>
                <a:gd name="connsiteX30" fmla="*/ 47809 w 301132"/>
                <a:gd name="connsiteY30" fmla="*/ 20179 h 207998"/>
                <a:gd name="connsiteX31" fmla="*/ 34149 w 301132"/>
                <a:gd name="connsiteY31" fmla="*/ 4346 h 207998"/>
                <a:gd name="connsiteX32" fmla="*/ 0 w 301132"/>
                <a:gd name="connsiteY32" fmla="*/ 0 h 207998"/>
                <a:gd name="connsiteX33" fmla="*/ 4967 w 301132"/>
                <a:gd name="connsiteY33" fmla="*/ 17075 h 207998"/>
                <a:gd name="connsiteX34" fmla="*/ 16454 w 301132"/>
                <a:gd name="connsiteY34" fmla="*/ 27630 h 207998"/>
                <a:gd name="connsiteX35" fmla="*/ 29182 w 301132"/>
                <a:gd name="connsiteY35" fmla="*/ 39116 h 207998"/>
                <a:gd name="connsiteX36" fmla="*/ 40358 w 301132"/>
                <a:gd name="connsiteY36" fmla="*/ 47809 h 207998"/>
                <a:gd name="connsiteX37" fmla="*/ 50913 w 301132"/>
                <a:gd name="connsiteY37" fmla="*/ 61468 h 207998"/>
                <a:gd name="connsiteX38" fmla="*/ 62400 w 301132"/>
                <a:gd name="connsiteY38" fmla="*/ 77301 h 207998"/>
                <a:gd name="connsiteX39" fmla="*/ 72644 w 301132"/>
                <a:gd name="connsiteY39" fmla="*/ 98411 h 207998"/>
                <a:gd name="connsiteX40" fmla="*/ 85373 w 301132"/>
                <a:gd name="connsiteY40" fmla="*/ 118590 h 207998"/>
                <a:gd name="connsiteX41" fmla="*/ 97790 w 301132"/>
                <a:gd name="connsiteY41" fmla="*/ 136596 h 207998"/>
                <a:gd name="connsiteX42" fmla="*/ 114555 w 301132"/>
                <a:gd name="connsiteY42" fmla="*/ 153671 h 207998"/>
                <a:gd name="connsiteX43" fmla="*/ 133181 w 301132"/>
                <a:gd name="connsiteY43" fmla="*/ 164226 h 207998"/>
                <a:gd name="connsiteX44" fmla="*/ 155223 w 301132"/>
                <a:gd name="connsiteY44" fmla="*/ 170435 h 207998"/>
                <a:gd name="connsiteX45" fmla="*/ 153050 w 301132"/>
                <a:gd name="connsiteY45" fmla="*/ 173539 h 207998"/>
                <a:gd name="connsiteX46" fmla="*/ 150877 w 301132"/>
                <a:gd name="connsiteY46" fmla="*/ 175712 h 207998"/>
                <a:gd name="connsiteX47" fmla="*/ 147772 w 301132"/>
                <a:gd name="connsiteY47" fmla="*/ 178817 h 207998"/>
                <a:gd name="connsiteX48" fmla="*/ 155223 w 301132"/>
                <a:gd name="connsiteY48" fmla="*/ 183163 h 207998"/>
                <a:gd name="connsiteX49" fmla="*/ 170745 w 301132"/>
                <a:gd name="connsiteY49" fmla="*/ 190614 h 207998"/>
                <a:gd name="connsiteX50" fmla="*/ 190614 w 301132"/>
                <a:gd name="connsiteY50" fmla="*/ 195891 h 207998"/>
                <a:gd name="connsiteX51" fmla="*/ 216691 w 301132"/>
                <a:gd name="connsiteY51" fmla="*/ 201169 h 207998"/>
                <a:gd name="connsiteX52" fmla="*/ 240595 w 301132"/>
                <a:gd name="connsiteY52" fmla="*/ 207378 h 207998"/>
                <a:gd name="connsiteX53" fmla="*/ 263569 w 301132"/>
                <a:gd name="connsiteY53" fmla="*/ 210793 h 20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301132" h="207998">
                  <a:moveTo>
                    <a:pt x="284368" y="210793"/>
                  </a:moveTo>
                  <a:lnTo>
                    <a:pt x="294613" y="207378"/>
                  </a:lnTo>
                  <a:lnTo>
                    <a:pt x="297718" y="205515"/>
                  </a:lnTo>
                  <a:lnTo>
                    <a:pt x="299891" y="205515"/>
                  </a:lnTo>
                  <a:lnTo>
                    <a:pt x="302064" y="203342"/>
                  </a:lnTo>
                  <a:lnTo>
                    <a:pt x="303926" y="203342"/>
                  </a:lnTo>
                  <a:lnTo>
                    <a:pt x="287473" y="195891"/>
                  </a:lnTo>
                  <a:lnTo>
                    <a:pt x="269777" y="186267"/>
                  </a:lnTo>
                  <a:lnTo>
                    <a:pt x="250840" y="178817"/>
                  </a:lnTo>
                  <a:lnTo>
                    <a:pt x="234387" y="173539"/>
                  </a:lnTo>
                  <a:lnTo>
                    <a:pt x="226936" y="175712"/>
                  </a:lnTo>
                  <a:lnTo>
                    <a:pt x="219796" y="178817"/>
                  </a:lnTo>
                  <a:lnTo>
                    <a:pt x="211413" y="183163"/>
                  </a:lnTo>
                  <a:lnTo>
                    <a:pt x="199927" y="183163"/>
                  </a:lnTo>
                  <a:lnTo>
                    <a:pt x="190614" y="177886"/>
                  </a:lnTo>
                  <a:lnTo>
                    <a:pt x="184094" y="171366"/>
                  </a:lnTo>
                  <a:lnTo>
                    <a:pt x="174781" y="168262"/>
                  </a:lnTo>
                  <a:lnTo>
                    <a:pt x="160190" y="166089"/>
                  </a:lnTo>
                  <a:lnTo>
                    <a:pt x="160190" y="144047"/>
                  </a:lnTo>
                  <a:lnTo>
                    <a:pt x="163294" y="126041"/>
                  </a:lnTo>
                  <a:lnTo>
                    <a:pt x="145599" y="111140"/>
                  </a:lnTo>
                  <a:lnTo>
                    <a:pt x="133181" y="92202"/>
                  </a:lnTo>
                  <a:lnTo>
                    <a:pt x="121695" y="76370"/>
                  </a:lnTo>
                  <a:lnTo>
                    <a:pt x="109277" y="61468"/>
                  </a:lnTo>
                  <a:lnTo>
                    <a:pt x="101826" y="54018"/>
                  </a:lnTo>
                  <a:lnTo>
                    <a:pt x="99964" y="54018"/>
                  </a:lnTo>
                  <a:lnTo>
                    <a:pt x="99964" y="51844"/>
                  </a:lnTo>
                  <a:lnTo>
                    <a:pt x="94686" y="47809"/>
                  </a:lnTo>
                  <a:lnTo>
                    <a:pt x="76991" y="39116"/>
                  </a:lnTo>
                  <a:lnTo>
                    <a:pt x="62400" y="29803"/>
                  </a:lnTo>
                  <a:lnTo>
                    <a:pt x="47809" y="20179"/>
                  </a:lnTo>
                  <a:lnTo>
                    <a:pt x="34149" y="4346"/>
                  </a:lnTo>
                  <a:lnTo>
                    <a:pt x="0" y="0"/>
                  </a:lnTo>
                  <a:lnTo>
                    <a:pt x="4967" y="17075"/>
                  </a:lnTo>
                  <a:lnTo>
                    <a:pt x="16454" y="27630"/>
                  </a:lnTo>
                  <a:lnTo>
                    <a:pt x="29182" y="39116"/>
                  </a:lnTo>
                  <a:lnTo>
                    <a:pt x="40358" y="47809"/>
                  </a:lnTo>
                  <a:lnTo>
                    <a:pt x="50913" y="61468"/>
                  </a:lnTo>
                  <a:lnTo>
                    <a:pt x="62400" y="77301"/>
                  </a:lnTo>
                  <a:lnTo>
                    <a:pt x="72644" y="98411"/>
                  </a:lnTo>
                  <a:lnTo>
                    <a:pt x="85373" y="118590"/>
                  </a:lnTo>
                  <a:lnTo>
                    <a:pt x="97790" y="136596"/>
                  </a:lnTo>
                  <a:lnTo>
                    <a:pt x="114555" y="153671"/>
                  </a:lnTo>
                  <a:lnTo>
                    <a:pt x="133181" y="164226"/>
                  </a:lnTo>
                  <a:lnTo>
                    <a:pt x="155223" y="170435"/>
                  </a:lnTo>
                  <a:lnTo>
                    <a:pt x="153050" y="173539"/>
                  </a:lnTo>
                  <a:lnTo>
                    <a:pt x="150877" y="175712"/>
                  </a:lnTo>
                  <a:lnTo>
                    <a:pt x="147772" y="178817"/>
                  </a:lnTo>
                  <a:lnTo>
                    <a:pt x="155223" y="183163"/>
                  </a:lnTo>
                  <a:lnTo>
                    <a:pt x="170745" y="190614"/>
                  </a:lnTo>
                  <a:lnTo>
                    <a:pt x="190614" y="195891"/>
                  </a:lnTo>
                  <a:lnTo>
                    <a:pt x="216691" y="201169"/>
                  </a:lnTo>
                  <a:lnTo>
                    <a:pt x="240595" y="207378"/>
                  </a:lnTo>
                  <a:lnTo>
                    <a:pt x="263569" y="21079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xmlns="" id="{BE71EFF9-C944-4A13-AF77-73F1A9EAB66A}"/>
                </a:ext>
              </a:extLst>
            </p:cNvPr>
            <p:cNvSpPr/>
            <p:nvPr/>
          </p:nvSpPr>
          <p:spPr>
            <a:xfrm>
              <a:off x="7403453" y="5901112"/>
              <a:ext cx="24836" cy="21731"/>
            </a:xfrm>
            <a:custGeom>
              <a:avLst/>
              <a:gdLst>
                <a:gd name="connsiteX0" fmla="*/ 26078 w 24835"/>
                <a:gd name="connsiteY0" fmla="*/ 24215 h 21731"/>
                <a:gd name="connsiteX1" fmla="*/ 21731 w 24835"/>
                <a:gd name="connsiteY1" fmla="*/ 18006 h 21731"/>
                <a:gd name="connsiteX2" fmla="*/ 19869 w 24835"/>
                <a:gd name="connsiteY2" fmla="*/ 12728 h 21731"/>
                <a:gd name="connsiteX3" fmla="*/ 16454 w 24835"/>
                <a:gd name="connsiteY3" fmla="*/ 9624 h 21731"/>
                <a:gd name="connsiteX4" fmla="*/ 11487 w 24835"/>
                <a:gd name="connsiteY4" fmla="*/ 5278 h 21731"/>
                <a:gd name="connsiteX5" fmla="*/ 7140 w 24835"/>
                <a:gd name="connsiteY5" fmla="*/ 3104 h 21731"/>
                <a:gd name="connsiteX6" fmla="*/ 0 w 24835"/>
                <a:gd name="connsiteY6" fmla="*/ 0 h 21731"/>
                <a:gd name="connsiteX7" fmla="*/ 4036 w 24835"/>
                <a:gd name="connsiteY7" fmla="*/ 7451 h 21731"/>
                <a:gd name="connsiteX8" fmla="*/ 7140 w 24835"/>
                <a:gd name="connsiteY8" fmla="*/ 12728 h 21731"/>
                <a:gd name="connsiteX9" fmla="*/ 11487 w 24835"/>
                <a:gd name="connsiteY9" fmla="*/ 16764 h 21731"/>
                <a:gd name="connsiteX10" fmla="*/ 16454 w 24835"/>
                <a:gd name="connsiteY10" fmla="*/ 20179 h 21731"/>
                <a:gd name="connsiteX11" fmla="*/ 19869 w 24835"/>
                <a:gd name="connsiteY11" fmla="*/ 24215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4835" h="21731">
                  <a:moveTo>
                    <a:pt x="26078" y="24215"/>
                  </a:moveTo>
                  <a:lnTo>
                    <a:pt x="21731" y="18006"/>
                  </a:lnTo>
                  <a:lnTo>
                    <a:pt x="19869" y="12728"/>
                  </a:lnTo>
                  <a:lnTo>
                    <a:pt x="16454" y="9624"/>
                  </a:lnTo>
                  <a:lnTo>
                    <a:pt x="11487" y="5278"/>
                  </a:lnTo>
                  <a:lnTo>
                    <a:pt x="7140" y="3104"/>
                  </a:lnTo>
                  <a:lnTo>
                    <a:pt x="0" y="0"/>
                  </a:lnTo>
                  <a:lnTo>
                    <a:pt x="4036" y="7451"/>
                  </a:lnTo>
                  <a:lnTo>
                    <a:pt x="7140" y="12728"/>
                  </a:lnTo>
                  <a:lnTo>
                    <a:pt x="11487" y="16764"/>
                  </a:lnTo>
                  <a:lnTo>
                    <a:pt x="16454" y="20179"/>
                  </a:lnTo>
                  <a:lnTo>
                    <a:pt x="19869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EF167B5A-D783-4714-AA09-5F28BC71B5D0}"/>
                </a:ext>
              </a:extLst>
            </p:cNvPr>
            <p:cNvSpPr/>
            <p:nvPr/>
          </p:nvSpPr>
          <p:spPr>
            <a:xfrm>
              <a:off x="7568921" y="6290411"/>
              <a:ext cx="93134" cy="145910"/>
            </a:xfrm>
            <a:custGeom>
              <a:avLst/>
              <a:gdLst>
                <a:gd name="connsiteX0" fmla="*/ 89719 w 93133"/>
                <a:gd name="connsiteY0" fmla="*/ 63641 h 145909"/>
                <a:gd name="connsiteX1" fmla="*/ 87546 w 93133"/>
                <a:gd name="connsiteY1" fmla="*/ 66746 h 145909"/>
                <a:gd name="connsiteX2" fmla="*/ 83510 w 93133"/>
                <a:gd name="connsiteY2" fmla="*/ 69850 h 145909"/>
                <a:gd name="connsiteX3" fmla="*/ 80406 w 93133"/>
                <a:gd name="connsiteY3" fmla="*/ 69850 h 145909"/>
                <a:gd name="connsiteX4" fmla="*/ 78232 w 93133"/>
                <a:gd name="connsiteY4" fmla="*/ 69850 h 145909"/>
                <a:gd name="connsiteX5" fmla="*/ 75128 w 93133"/>
                <a:gd name="connsiteY5" fmla="*/ 69850 h 145909"/>
                <a:gd name="connsiteX6" fmla="*/ 68919 w 93133"/>
                <a:gd name="connsiteY6" fmla="*/ 69850 h 145909"/>
                <a:gd name="connsiteX7" fmla="*/ 63641 w 93133"/>
                <a:gd name="connsiteY7" fmla="*/ 69850 h 145909"/>
                <a:gd name="connsiteX8" fmla="*/ 53086 w 93133"/>
                <a:gd name="connsiteY8" fmla="*/ 48740 h 145909"/>
                <a:gd name="connsiteX9" fmla="*/ 38495 w 93133"/>
                <a:gd name="connsiteY9" fmla="*/ 31976 h 145909"/>
                <a:gd name="connsiteX10" fmla="*/ 23904 w 93133"/>
                <a:gd name="connsiteY10" fmla="*/ 17075 h 145909"/>
                <a:gd name="connsiteX11" fmla="*/ 7451 w 93133"/>
                <a:gd name="connsiteY11" fmla="*/ 0 h 145909"/>
                <a:gd name="connsiteX12" fmla="*/ 0 w 93133"/>
                <a:gd name="connsiteY12" fmla="*/ 0 h 145909"/>
                <a:gd name="connsiteX13" fmla="*/ 4346 w 93133"/>
                <a:gd name="connsiteY13" fmla="*/ 11797 h 145909"/>
                <a:gd name="connsiteX14" fmla="*/ 9313 w 93133"/>
                <a:gd name="connsiteY14" fmla="*/ 26388 h 145909"/>
                <a:gd name="connsiteX15" fmla="*/ 17695 w 93133"/>
                <a:gd name="connsiteY15" fmla="*/ 42531 h 145909"/>
                <a:gd name="connsiteX16" fmla="*/ 29182 w 93133"/>
                <a:gd name="connsiteY16" fmla="*/ 61468 h 145909"/>
                <a:gd name="connsiteX17" fmla="*/ 36633 w 93133"/>
                <a:gd name="connsiteY17" fmla="*/ 74196 h 145909"/>
                <a:gd name="connsiteX18" fmla="*/ 43773 w 93133"/>
                <a:gd name="connsiteY18" fmla="*/ 81647 h 145909"/>
                <a:gd name="connsiteX19" fmla="*/ 38495 w 93133"/>
                <a:gd name="connsiteY19" fmla="*/ 86925 h 145909"/>
                <a:gd name="connsiteX20" fmla="*/ 32286 w 93133"/>
                <a:gd name="connsiteY20" fmla="*/ 92202 h 145909"/>
                <a:gd name="connsiteX21" fmla="*/ 27319 w 93133"/>
                <a:gd name="connsiteY21" fmla="*/ 96238 h 145909"/>
                <a:gd name="connsiteX22" fmla="*/ 23904 w 93133"/>
                <a:gd name="connsiteY22" fmla="*/ 101826 h 145909"/>
                <a:gd name="connsiteX23" fmla="*/ 22042 w 93133"/>
                <a:gd name="connsiteY23" fmla="*/ 103689 h 145909"/>
                <a:gd name="connsiteX24" fmla="*/ 22042 w 93133"/>
                <a:gd name="connsiteY24" fmla="*/ 105862 h 145909"/>
                <a:gd name="connsiteX25" fmla="*/ 23904 w 93133"/>
                <a:gd name="connsiteY25" fmla="*/ 107104 h 145909"/>
                <a:gd name="connsiteX26" fmla="*/ 27319 w 93133"/>
                <a:gd name="connsiteY26" fmla="*/ 108966 h 145909"/>
                <a:gd name="connsiteX27" fmla="*/ 31355 w 93133"/>
                <a:gd name="connsiteY27" fmla="*/ 111140 h 145909"/>
                <a:gd name="connsiteX28" fmla="*/ 34459 w 93133"/>
                <a:gd name="connsiteY28" fmla="*/ 113313 h 145909"/>
                <a:gd name="connsiteX29" fmla="*/ 38495 w 93133"/>
                <a:gd name="connsiteY29" fmla="*/ 114244 h 145909"/>
                <a:gd name="connsiteX30" fmla="*/ 41910 w 93133"/>
                <a:gd name="connsiteY30" fmla="*/ 116417 h 145909"/>
                <a:gd name="connsiteX31" fmla="*/ 43773 w 93133"/>
                <a:gd name="connsiteY31" fmla="*/ 118590 h 145909"/>
                <a:gd name="connsiteX32" fmla="*/ 43773 w 93133"/>
                <a:gd name="connsiteY32" fmla="*/ 121695 h 145909"/>
                <a:gd name="connsiteX33" fmla="*/ 43773 w 93133"/>
                <a:gd name="connsiteY33" fmla="*/ 126041 h 145909"/>
                <a:gd name="connsiteX34" fmla="*/ 41910 w 93133"/>
                <a:gd name="connsiteY34" fmla="*/ 129145 h 145909"/>
                <a:gd name="connsiteX35" fmla="*/ 41910 w 93133"/>
                <a:gd name="connsiteY35" fmla="*/ 135665 h 145909"/>
                <a:gd name="connsiteX36" fmla="*/ 41910 w 93133"/>
                <a:gd name="connsiteY36" fmla="*/ 138769 h 145909"/>
                <a:gd name="connsiteX37" fmla="*/ 43773 w 93133"/>
                <a:gd name="connsiteY37" fmla="*/ 142805 h 145909"/>
                <a:gd name="connsiteX38" fmla="*/ 43773 w 93133"/>
                <a:gd name="connsiteY38" fmla="*/ 148083 h 145909"/>
                <a:gd name="connsiteX39" fmla="*/ 54328 w 93133"/>
                <a:gd name="connsiteY39" fmla="*/ 136596 h 145909"/>
                <a:gd name="connsiteX40" fmla="*/ 63641 w 93133"/>
                <a:gd name="connsiteY40" fmla="*/ 126041 h 145909"/>
                <a:gd name="connsiteX41" fmla="*/ 75128 w 93133"/>
                <a:gd name="connsiteY41" fmla="*/ 114244 h 145909"/>
                <a:gd name="connsiteX42" fmla="*/ 75128 w 93133"/>
                <a:gd name="connsiteY42" fmla="*/ 101826 h 145909"/>
                <a:gd name="connsiteX43" fmla="*/ 87546 w 93133"/>
                <a:gd name="connsiteY43" fmla="*/ 101826 h 145909"/>
                <a:gd name="connsiteX44" fmla="*/ 89719 w 93133"/>
                <a:gd name="connsiteY44" fmla="*/ 98411 h 145909"/>
                <a:gd name="connsiteX45" fmla="*/ 90650 w 93133"/>
                <a:gd name="connsiteY45" fmla="*/ 92202 h 145909"/>
                <a:gd name="connsiteX46" fmla="*/ 92823 w 93133"/>
                <a:gd name="connsiteY46" fmla="*/ 86925 h 145909"/>
                <a:gd name="connsiteX47" fmla="*/ 94996 w 93133"/>
                <a:gd name="connsiteY47" fmla="*/ 81647 h 145909"/>
                <a:gd name="connsiteX48" fmla="*/ 94996 w 93133"/>
                <a:gd name="connsiteY48" fmla="*/ 57122 h 145909"/>
                <a:gd name="connsiteX49" fmla="*/ 90650 w 93133"/>
                <a:gd name="connsiteY49" fmla="*/ 57122 h 145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93133" h="145909">
                  <a:moveTo>
                    <a:pt x="89719" y="63641"/>
                  </a:moveTo>
                  <a:lnTo>
                    <a:pt x="87546" y="66746"/>
                  </a:lnTo>
                  <a:lnTo>
                    <a:pt x="83510" y="69850"/>
                  </a:lnTo>
                  <a:lnTo>
                    <a:pt x="80406" y="69850"/>
                  </a:lnTo>
                  <a:lnTo>
                    <a:pt x="78232" y="69850"/>
                  </a:lnTo>
                  <a:lnTo>
                    <a:pt x="75128" y="69850"/>
                  </a:lnTo>
                  <a:lnTo>
                    <a:pt x="68919" y="69850"/>
                  </a:lnTo>
                  <a:lnTo>
                    <a:pt x="63641" y="69850"/>
                  </a:lnTo>
                  <a:lnTo>
                    <a:pt x="53086" y="48740"/>
                  </a:lnTo>
                  <a:lnTo>
                    <a:pt x="38495" y="31976"/>
                  </a:lnTo>
                  <a:lnTo>
                    <a:pt x="23904" y="17075"/>
                  </a:lnTo>
                  <a:lnTo>
                    <a:pt x="7451" y="0"/>
                  </a:lnTo>
                  <a:lnTo>
                    <a:pt x="0" y="0"/>
                  </a:lnTo>
                  <a:lnTo>
                    <a:pt x="4346" y="11797"/>
                  </a:lnTo>
                  <a:lnTo>
                    <a:pt x="9313" y="26388"/>
                  </a:lnTo>
                  <a:lnTo>
                    <a:pt x="17695" y="42531"/>
                  </a:lnTo>
                  <a:lnTo>
                    <a:pt x="29182" y="61468"/>
                  </a:lnTo>
                  <a:lnTo>
                    <a:pt x="36633" y="74196"/>
                  </a:lnTo>
                  <a:lnTo>
                    <a:pt x="43773" y="81647"/>
                  </a:lnTo>
                  <a:lnTo>
                    <a:pt x="38495" y="86925"/>
                  </a:lnTo>
                  <a:lnTo>
                    <a:pt x="32286" y="92202"/>
                  </a:lnTo>
                  <a:lnTo>
                    <a:pt x="27319" y="96238"/>
                  </a:lnTo>
                  <a:lnTo>
                    <a:pt x="23904" y="101826"/>
                  </a:lnTo>
                  <a:lnTo>
                    <a:pt x="22042" y="103689"/>
                  </a:lnTo>
                  <a:lnTo>
                    <a:pt x="22042" y="105862"/>
                  </a:lnTo>
                  <a:lnTo>
                    <a:pt x="23904" y="107104"/>
                  </a:lnTo>
                  <a:lnTo>
                    <a:pt x="27319" y="108966"/>
                  </a:lnTo>
                  <a:lnTo>
                    <a:pt x="31355" y="111140"/>
                  </a:lnTo>
                  <a:lnTo>
                    <a:pt x="34459" y="113313"/>
                  </a:lnTo>
                  <a:lnTo>
                    <a:pt x="38495" y="114244"/>
                  </a:lnTo>
                  <a:lnTo>
                    <a:pt x="41910" y="116417"/>
                  </a:lnTo>
                  <a:lnTo>
                    <a:pt x="43773" y="118590"/>
                  </a:lnTo>
                  <a:lnTo>
                    <a:pt x="43773" y="121695"/>
                  </a:lnTo>
                  <a:lnTo>
                    <a:pt x="43773" y="126041"/>
                  </a:lnTo>
                  <a:lnTo>
                    <a:pt x="41910" y="129145"/>
                  </a:lnTo>
                  <a:lnTo>
                    <a:pt x="41910" y="135665"/>
                  </a:lnTo>
                  <a:lnTo>
                    <a:pt x="41910" y="138769"/>
                  </a:lnTo>
                  <a:lnTo>
                    <a:pt x="43773" y="142805"/>
                  </a:lnTo>
                  <a:lnTo>
                    <a:pt x="43773" y="148083"/>
                  </a:lnTo>
                  <a:lnTo>
                    <a:pt x="54328" y="136596"/>
                  </a:lnTo>
                  <a:lnTo>
                    <a:pt x="63641" y="126041"/>
                  </a:lnTo>
                  <a:lnTo>
                    <a:pt x="75128" y="114244"/>
                  </a:lnTo>
                  <a:lnTo>
                    <a:pt x="75128" y="101826"/>
                  </a:lnTo>
                  <a:lnTo>
                    <a:pt x="87546" y="101826"/>
                  </a:lnTo>
                  <a:lnTo>
                    <a:pt x="89719" y="98411"/>
                  </a:lnTo>
                  <a:lnTo>
                    <a:pt x="90650" y="92202"/>
                  </a:lnTo>
                  <a:lnTo>
                    <a:pt x="92823" y="86925"/>
                  </a:lnTo>
                  <a:lnTo>
                    <a:pt x="94996" y="81647"/>
                  </a:lnTo>
                  <a:lnTo>
                    <a:pt x="94996" y="57122"/>
                  </a:lnTo>
                  <a:lnTo>
                    <a:pt x="90650" y="5712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2A6C3EE8-36AC-4ED4-A92A-6C0DC2412CEB}"/>
                </a:ext>
              </a:extLst>
            </p:cNvPr>
            <p:cNvSpPr/>
            <p:nvPr/>
          </p:nvSpPr>
          <p:spPr>
            <a:xfrm>
              <a:off x="7483548" y="6426076"/>
              <a:ext cx="117969" cy="136596"/>
            </a:xfrm>
            <a:custGeom>
              <a:avLst/>
              <a:gdLst>
                <a:gd name="connsiteX0" fmla="*/ 116728 w 117969"/>
                <a:gd name="connsiteY0" fmla="*/ 7140 h 136596"/>
                <a:gd name="connsiteX1" fmla="*/ 116728 w 117969"/>
                <a:gd name="connsiteY1" fmla="*/ 3104 h 136596"/>
                <a:gd name="connsiteX2" fmla="*/ 114555 w 117969"/>
                <a:gd name="connsiteY2" fmla="*/ 3104 h 136596"/>
                <a:gd name="connsiteX3" fmla="*/ 112692 w 117969"/>
                <a:gd name="connsiteY3" fmla="*/ 3104 h 136596"/>
                <a:gd name="connsiteX4" fmla="*/ 112692 w 117969"/>
                <a:gd name="connsiteY4" fmla="*/ 5278 h 136596"/>
                <a:gd name="connsiteX5" fmla="*/ 110519 w 117969"/>
                <a:gd name="connsiteY5" fmla="*/ 8382 h 136596"/>
                <a:gd name="connsiteX6" fmla="*/ 109277 w 117969"/>
                <a:gd name="connsiteY6" fmla="*/ 10555 h 136596"/>
                <a:gd name="connsiteX7" fmla="*/ 109277 w 117969"/>
                <a:gd name="connsiteY7" fmla="*/ 12418 h 136596"/>
                <a:gd name="connsiteX8" fmla="*/ 105241 w 117969"/>
                <a:gd name="connsiteY8" fmla="*/ 8382 h 136596"/>
                <a:gd name="connsiteX9" fmla="*/ 103068 w 117969"/>
                <a:gd name="connsiteY9" fmla="*/ 7140 h 136596"/>
                <a:gd name="connsiteX10" fmla="*/ 102137 w 117969"/>
                <a:gd name="connsiteY10" fmla="*/ 5278 h 136596"/>
                <a:gd name="connsiteX11" fmla="*/ 99963 w 117969"/>
                <a:gd name="connsiteY11" fmla="*/ 3104 h 136596"/>
                <a:gd name="connsiteX12" fmla="*/ 95928 w 117969"/>
                <a:gd name="connsiteY12" fmla="*/ 931 h 136596"/>
                <a:gd name="connsiteX13" fmla="*/ 92823 w 117969"/>
                <a:gd name="connsiteY13" fmla="*/ 0 h 136596"/>
                <a:gd name="connsiteX14" fmla="*/ 87546 w 117969"/>
                <a:gd name="connsiteY14" fmla="*/ 8382 h 136596"/>
                <a:gd name="connsiteX15" fmla="*/ 80406 w 117969"/>
                <a:gd name="connsiteY15" fmla="*/ 23283 h 136596"/>
                <a:gd name="connsiteX16" fmla="*/ 70782 w 117969"/>
                <a:gd name="connsiteY16" fmla="*/ 37874 h 136596"/>
                <a:gd name="connsiteX17" fmla="*/ 63641 w 117969"/>
                <a:gd name="connsiteY17" fmla="*/ 52776 h 136596"/>
                <a:gd name="connsiteX18" fmla="*/ 54328 w 117969"/>
                <a:gd name="connsiteY18" fmla="*/ 65504 h 136596"/>
                <a:gd name="connsiteX19" fmla="*/ 49051 w 117969"/>
                <a:gd name="connsiteY19" fmla="*/ 71713 h 136596"/>
                <a:gd name="connsiteX20" fmla="*/ 38495 w 117969"/>
                <a:gd name="connsiteY20" fmla="*/ 75128 h 136596"/>
                <a:gd name="connsiteX21" fmla="*/ 27009 w 117969"/>
                <a:gd name="connsiteY21" fmla="*/ 76991 h 136596"/>
                <a:gd name="connsiteX22" fmla="*/ 16764 w 117969"/>
                <a:gd name="connsiteY22" fmla="*/ 80406 h 136596"/>
                <a:gd name="connsiteX23" fmla="*/ 12418 w 117969"/>
                <a:gd name="connsiteY23" fmla="*/ 84441 h 136596"/>
                <a:gd name="connsiteX24" fmla="*/ 10555 w 117969"/>
                <a:gd name="connsiteY24" fmla="*/ 89719 h 136596"/>
                <a:gd name="connsiteX25" fmla="*/ 9313 w 117969"/>
                <a:gd name="connsiteY25" fmla="*/ 94997 h 136596"/>
                <a:gd name="connsiteX26" fmla="*/ 7451 w 117969"/>
                <a:gd name="connsiteY26" fmla="*/ 99343 h 136596"/>
                <a:gd name="connsiteX27" fmla="*/ 5277 w 117969"/>
                <a:gd name="connsiteY27" fmla="*/ 104620 h 136596"/>
                <a:gd name="connsiteX28" fmla="*/ 0 w 117969"/>
                <a:gd name="connsiteY28" fmla="*/ 108967 h 136596"/>
                <a:gd name="connsiteX29" fmla="*/ 7451 w 117969"/>
                <a:gd name="connsiteY29" fmla="*/ 119522 h 136596"/>
                <a:gd name="connsiteX30" fmla="*/ 14591 w 117969"/>
                <a:gd name="connsiteY30" fmla="*/ 124799 h 136596"/>
                <a:gd name="connsiteX31" fmla="*/ 23904 w 117969"/>
                <a:gd name="connsiteY31" fmla="*/ 131008 h 136596"/>
                <a:gd name="connsiteX32" fmla="*/ 32286 w 117969"/>
                <a:gd name="connsiteY32" fmla="*/ 137528 h 136596"/>
                <a:gd name="connsiteX33" fmla="*/ 39737 w 117969"/>
                <a:gd name="connsiteY33" fmla="*/ 137528 h 136596"/>
                <a:gd name="connsiteX34" fmla="*/ 45946 w 117969"/>
                <a:gd name="connsiteY34" fmla="*/ 132250 h 136596"/>
                <a:gd name="connsiteX35" fmla="*/ 51224 w 117969"/>
                <a:gd name="connsiteY35" fmla="*/ 128835 h 136596"/>
                <a:gd name="connsiteX36" fmla="*/ 56191 w 117969"/>
                <a:gd name="connsiteY36" fmla="*/ 124799 h 136596"/>
                <a:gd name="connsiteX37" fmla="*/ 61468 w 117969"/>
                <a:gd name="connsiteY37" fmla="*/ 121695 h 136596"/>
                <a:gd name="connsiteX38" fmla="*/ 65814 w 117969"/>
                <a:gd name="connsiteY38" fmla="*/ 117349 h 136596"/>
                <a:gd name="connsiteX39" fmla="*/ 67677 w 117969"/>
                <a:gd name="connsiteY39" fmla="*/ 109898 h 136596"/>
                <a:gd name="connsiteX40" fmla="*/ 67677 w 117969"/>
                <a:gd name="connsiteY40" fmla="*/ 104620 h 136596"/>
                <a:gd name="connsiteX41" fmla="*/ 68919 w 117969"/>
                <a:gd name="connsiteY41" fmla="*/ 99343 h 136596"/>
                <a:gd name="connsiteX42" fmla="*/ 68919 w 117969"/>
                <a:gd name="connsiteY42" fmla="*/ 94065 h 136596"/>
                <a:gd name="connsiteX43" fmla="*/ 72955 w 117969"/>
                <a:gd name="connsiteY43" fmla="*/ 87856 h 136596"/>
                <a:gd name="connsiteX44" fmla="*/ 76059 w 117969"/>
                <a:gd name="connsiteY44" fmla="*/ 86614 h 136596"/>
                <a:gd name="connsiteX45" fmla="*/ 82268 w 117969"/>
                <a:gd name="connsiteY45" fmla="*/ 82268 h 136596"/>
                <a:gd name="connsiteX46" fmla="*/ 87546 w 117969"/>
                <a:gd name="connsiteY46" fmla="*/ 80406 h 136596"/>
                <a:gd name="connsiteX47" fmla="*/ 92823 w 117969"/>
                <a:gd name="connsiteY47" fmla="*/ 79164 h 136596"/>
                <a:gd name="connsiteX48" fmla="*/ 98101 w 117969"/>
                <a:gd name="connsiteY48" fmla="*/ 75128 h 136596"/>
                <a:gd name="connsiteX49" fmla="*/ 99963 w 117969"/>
                <a:gd name="connsiteY49" fmla="*/ 71713 h 136596"/>
                <a:gd name="connsiteX50" fmla="*/ 95928 w 117969"/>
                <a:gd name="connsiteY50" fmla="*/ 60227 h 136596"/>
                <a:gd name="connsiteX51" fmla="*/ 107414 w 117969"/>
                <a:gd name="connsiteY51" fmla="*/ 42221 h 136596"/>
                <a:gd name="connsiteX52" fmla="*/ 119832 w 117969"/>
                <a:gd name="connsiteY52" fmla="*/ 27319 h 136596"/>
                <a:gd name="connsiteX53" fmla="*/ 119832 w 117969"/>
                <a:gd name="connsiteY53" fmla="*/ 22042 h 136596"/>
                <a:gd name="connsiteX54" fmla="*/ 119832 w 117969"/>
                <a:gd name="connsiteY54" fmla="*/ 15833 h 136596"/>
                <a:gd name="connsiteX55" fmla="*/ 117659 w 117969"/>
                <a:gd name="connsiteY55" fmla="*/ 10555 h 136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</a:cxnLst>
              <a:rect l="l" t="t" r="r" b="b"/>
              <a:pathLst>
                <a:path w="117969" h="136596">
                  <a:moveTo>
                    <a:pt x="116728" y="7140"/>
                  </a:moveTo>
                  <a:lnTo>
                    <a:pt x="116728" y="3104"/>
                  </a:lnTo>
                  <a:lnTo>
                    <a:pt x="114555" y="3104"/>
                  </a:lnTo>
                  <a:lnTo>
                    <a:pt x="112692" y="3104"/>
                  </a:lnTo>
                  <a:lnTo>
                    <a:pt x="112692" y="5278"/>
                  </a:lnTo>
                  <a:lnTo>
                    <a:pt x="110519" y="8382"/>
                  </a:lnTo>
                  <a:lnTo>
                    <a:pt x="109277" y="10555"/>
                  </a:lnTo>
                  <a:lnTo>
                    <a:pt x="109277" y="12418"/>
                  </a:lnTo>
                  <a:lnTo>
                    <a:pt x="105241" y="8382"/>
                  </a:lnTo>
                  <a:lnTo>
                    <a:pt x="103068" y="7140"/>
                  </a:lnTo>
                  <a:lnTo>
                    <a:pt x="102137" y="5278"/>
                  </a:lnTo>
                  <a:lnTo>
                    <a:pt x="99963" y="3104"/>
                  </a:lnTo>
                  <a:lnTo>
                    <a:pt x="95928" y="931"/>
                  </a:lnTo>
                  <a:lnTo>
                    <a:pt x="92823" y="0"/>
                  </a:lnTo>
                  <a:lnTo>
                    <a:pt x="87546" y="8382"/>
                  </a:lnTo>
                  <a:lnTo>
                    <a:pt x="80406" y="23283"/>
                  </a:lnTo>
                  <a:lnTo>
                    <a:pt x="70782" y="37874"/>
                  </a:lnTo>
                  <a:lnTo>
                    <a:pt x="63641" y="52776"/>
                  </a:lnTo>
                  <a:lnTo>
                    <a:pt x="54328" y="65504"/>
                  </a:lnTo>
                  <a:lnTo>
                    <a:pt x="49051" y="71713"/>
                  </a:lnTo>
                  <a:lnTo>
                    <a:pt x="38495" y="75128"/>
                  </a:lnTo>
                  <a:lnTo>
                    <a:pt x="27009" y="76991"/>
                  </a:lnTo>
                  <a:lnTo>
                    <a:pt x="16764" y="80406"/>
                  </a:lnTo>
                  <a:lnTo>
                    <a:pt x="12418" y="84441"/>
                  </a:lnTo>
                  <a:lnTo>
                    <a:pt x="10555" y="89719"/>
                  </a:lnTo>
                  <a:lnTo>
                    <a:pt x="9313" y="94997"/>
                  </a:lnTo>
                  <a:lnTo>
                    <a:pt x="7451" y="99343"/>
                  </a:lnTo>
                  <a:lnTo>
                    <a:pt x="5277" y="104620"/>
                  </a:lnTo>
                  <a:lnTo>
                    <a:pt x="0" y="108967"/>
                  </a:lnTo>
                  <a:lnTo>
                    <a:pt x="7451" y="119522"/>
                  </a:lnTo>
                  <a:lnTo>
                    <a:pt x="14591" y="124799"/>
                  </a:lnTo>
                  <a:lnTo>
                    <a:pt x="23904" y="131008"/>
                  </a:lnTo>
                  <a:lnTo>
                    <a:pt x="32286" y="137528"/>
                  </a:lnTo>
                  <a:lnTo>
                    <a:pt x="39737" y="137528"/>
                  </a:lnTo>
                  <a:lnTo>
                    <a:pt x="45946" y="132250"/>
                  </a:lnTo>
                  <a:lnTo>
                    <a:pt x="51224" y="128835"/>
                  </a:lnTo>
                  <a:lnTo>
                    <a:pt x="56191" y="124799"/>
                  </a:lnTo>
                  <a:lnTo>
                    <a:pt x="61468" y="121695"/>
                  </a:lnTo>
                  <a:lnTo>
                    <a:pt x="65814" y="117349"/>
                  </a:lnTo>
                  <a:lnTo>
                    <a:pt x="67677" y="109898"/>
                  </a:lnTo>
                  <a:lnTo>
                    <a:pt x="67677" y="104620"/>
                  </a:lnTo>
                  <a:lnTo>
                    <a:pt x="68919" y="99343"/>
                  </a:lnTo>
                  <a:lnTo>
                    <a:pt x="68919" y="94065"/>
                  </a:lnTo>
                  <a:lnTo>
                    <a:pt x="72955" y="87856"/>
                  </a:lnTo>
                  <a:lnTo>
                    <a:pt x="76059" y="86614"/>
                  </a:lnTo>
                  <a:lnTo>
                    <a:pt x="82268" y="82268"/>
                  </a:lnTo>
                  <a:lnTo>
                    <a:pt x="87546" y="80406"/>
                  </a:lnTo>
                  <a:lnTo>
                    <a:pt x="92823" y="79164"/>
                  </a:lnTo>
                  <a:lnTo>
                    <a:pt x="98101" y="75128"/>
                  </a:lnTo>
                  <a:lnTo>
                    <a:pt x="99963" y="71713"/>
                  </a:lnTo>
                  <a:lnTo>
                    <a:pt x="95928" y="60227"/>
                  </a:lnTo>
                  <a:lnTo>
                    <a:pt x="107414" y="42221"/>
                  </a:lnTo>
                  <a:lnTo>
                    <a:pt x="119832" y="27319"/>
                  </a:lnTo>
                  <a:lnTo>
                    <a:pt x="119832" y="22042"/>
                  </a:lnTo>
                  <a:lnTo>
                    <a:pt x="119832" y="15833"/>
                  </a:lnTo>
                  <a:lnTo>
                    <a:pt x="117659" y="1055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61AF1561-9551-4351-9E5C-3F5E65B92779}"/>
                </a:ext>
              </a:extLst>
            </p:cNvPr>
            <p:cNvSpPr/>
            <p:nvPr/>
          </p:nvSpPr>
          <p:spPr>
            <a:xfrm>
              <a:off x="7696203" y="6032431"/>
              <a:ext cx="18627" cy="27940"/>
            </a:xfrm>
            <a:custGeom>
              <a:avLst/>
              <a:gdLst>
                <a:gd name="connsiteX0" fmla="*/ 19558 w 18626"/>
                <a:gd name="connsiteY0" fmla="*/ 30424 h 27940"/>
                <a:gd name="connsiteX1" fmla="*/ 18627 w 18626"/>
                <a:gd name="connsiteY1" fmla="*/ 23283 h 27940"/>
                <a:gd name="connsiteX2" fmla="*/ 16454 w 18626"/>
                <a:gd name="connsiteY2" fmla="*/ 16764 h 27940"/>
                <a:gd name="connsiteX3" fmla="*/ 12418 w 18626"/>
                <a:gd name="connsiteY3" fmla="*/ 10555 h 27940"/>
                <a:gd name="connsiteX4" fmla="*/ 11486 w 18626"/>
                <a:gd name="connsiteY4" fmla="*/ 7140 h 27940"/>
                <a:gd name="connsiteX5" fmla="*/ 9313 w 18626"/>
                <a:gd name="connsiteY5" fmla="*/ 5278 h 27940"/>
                <a:gd name="connsiteX6" fmla="*/ 9313 w 18626"/>
                <a:gd name="connsiteY6" fmla="*/ 3104 h 27940"/>
                <a:gd name="connsiteX7" fmla="*/ 7140 w 18626"/>
                <a:gd name="connsiteY7" fmla="*/ 1863 h 27940"/>
                <a:gd name="connsiteX8" fmla="*/ 4036 w 18626"/>
                <a:gd name="connsiteY8" fmla="*/ 0 h 27940"/>
                <a:gd name="connsiteX9" fmla="*/ 0 w 18626"/>
                <a:gd name="connsiteY9" fmla="*/ 0 h 27940"/>
                <a:gd name="connsiteX10" fmla="*/ 1863 w 18626"/>
                <a:gd name="connsiteY10" fmla="*/ 5278 h 27940"/>
                <a:gd name="connsiteX11" fmla="*/ 4036 w 18626"/>
                <a:gd name="connsiteY11" fmla="*/ 10555 h 27940"/>
                <a:gd name="connsiteX12" fmla="*/ 4967 w 18626"/>
                <a:gd name="connsiteY12" fmla="*/ 14591 h 27940"/>
                <a:gd name="connsiteX13" fmla="*/ 7140 w 18626"/>
                <a:gd name="connsiteY13" fmla="*/ 19869 h 27940"/>
                <a:gd name="connsiteX14" fmla="*/ 12418 w 18626"/>
                <a:gd name="connsiteY14" fmla="*/ 23283 h 27940"/>
                <a:gd name="connsiteX15" fmla="*/ 12418 w 18626"/>
                <a:gd name="connsiteY15" fmla="*/ 30424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26" h="27940">
                  <a:moveTo>
                    <a:pt x="19558" y="30424"/>
                  </a:moveTo>
                  <a:lnTo>
                    <a:pt x="18627" y="23283"/>
                  </a:lnTo>
                  <a:lnTo>
                    <a:pt x="16454" y="16764"/>
                  </a:lnTo>
                  <a:lnTo>
                    <a:pt x="12418" y="10555"/>
                  </a:lnTo>
                  <a:lnTo>
                    <a:pt x="11486" y="7140"/>
                  </a:lnTo>
                  <a:lnTo>
                    <a:pt x="9313" y="5278"/>
                  </a:lnTo>
                  <a:lnTo>
                    <a:pt x="9313" y="3104"/>
                  </a:lnTo>
                  <a:lnTo>
                    <a:pt x="7140" y="1863"/>
                  </a:lnTo>
                  <a:lnTo>
                    <a:pt x="4036" y="0"/>
                  </a:lnTo>
                  <a:lnTo>
                    <a:pt x="0" y="0"/>
                  </a:lnTo>
                  <a:lnTo>
                    <a:pt x="1863" y="5278"/>
                  </a:lnTo>
                  <a:lnTo>
                    <a:pt x="4036" y="10555"/>
                  </a:lnTo>
                  <a:lnTo>
                    <a:pt x="4967" y="14591"/>
                  </a:lnTo>
                  <a:lnTo>
                    <a:pt x="7140" y="19869"/>
                  </a:lnTo>
                  <a:lnTo>
                    <a:pt x="12418" y="23283"/>
                  </a:lnTo>
                  <a:lnTo>
                    <a:pt x="12418" y="3042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4DC98E2C-8675-4E5B-8DA6-F979D97D805B}"/>
                </a:ext>
              </a:extLst>
            </p:cNvPr>
            <p:cNvSpPr/>
            <p:nvPr/>
          </p:nvSpPr>
          <p:spPr>
            <a:xfrm>
              <a:off x="7436671" y="5917876"/>
              <a:ext cx="18627" cy="21731"/>
            </a:xfrm>
            <a:custGeom>
              <a:avLst/>
              <a:gdLst>
                <a:gd name="connsiteX0" fmla="*/ 12418 w 18626"/>
                <a:gd name="connsiteY0" fmla="*/ 23283 h 21731"/>
                <a:gd name="connsiteX1" fmla="*/ 19869 w 18626"/>
                <a:gd name="connsiteY1" fmla="*/ 23283 h 21731"/>
                <a:gd name="connsiteX2" fmla="*/ 12418 w 18626"/>
                <a:gd name="connsiteY2" fmla="*/ 0 h 21731"/>
                <a:gd name="connsiteX3" fmla="*/ 0 w 18626"/>
                <a:gd name="connsiteY3" fmla="*/ 0 h 21731"/>
                <a:gd name="connsiteX4" fmla="*/ 931 w 18626"/>
                <a:gd name="connsiteY4" fmla="*/ 5277 h 21731"/>
                <a:gd name="connsiteX5" fmla="*/ 3104 w 18626"/>
                <a:gd name="connsiteY5" fmla="*/ 8692 h 21731"/>
                <a:gd name="connsiteX6" fmla="*/ 5277 w 18626"/>
                <a:gd name="connsiteY6" fmla="*/ 12728 h 21731"/>
                <a:gd name="connsiteX7" fmla="*/ 7451 w 18626"/>
                <a:gd name="connsiteY7" fmla="*/ 16143 h 21731"/>
                <a:gd name="connsiteX8" fmla="*/ 12418 w 18626"/>
                <a:gd name="connsiteY8" fmla="*/ 20179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8626" h="21731">
                  <a:moveTo>
                    <a:pt x="12418" y="23283"/>
                  </a:moveTo>
                  <a:lnTo>
                    <a:pt x="19869" y="23283"/>
                  </a:lnTo>
                  <a:lnTo>
                    <a:pt x="12418" y="0"/>
                  </a:lnTo>
                  <a:lnTo>
                    <a:pt x="0" y="0"/>
                  </a:lnTo>
                  <a:lnTo>
                    <a:pt x="931" y="5277"/>
                  </a:lnTo>
                  <a:lnTo>
                    <a:pt x="3104" y="8692"/>
                  </a:lnTo>
                  <a:lnTo>
                    <a:pt x="5277" y="12728"/>
                  </a:lnTo>
                  <a:lnTo>
                    <a:pt x="7451" y="16143"/>
                  </a:lnTo>
                  <a:lnTo>
                    <a:pt x="12418" y="2017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24CE4B13-D49E-40DF-960A-FD7A6336D0CC}"/>
                </a:ext>
              </a:extLst>
            </p:cNvPr>
            <p:cNvSpPr/>
            <p:nvPr/>
          </p:nvSpPr>
          <p:spPr>
            <a:xfrm>
              <a:off x="7423321" y="5928431"/>
              <a:ext cx="18627" cy="15522"/>
            </a:xfrm>
            <a:custGeom>
              <a:avLst/>
              <a:gdLst>
                <a:gd name="connsiteX0" fmla="*/ 13349 w 18626"/>
                <a:gd name="connsiteY0" fmla="*/ 4346 h 15522"/>
                <a:gd name="connsiteX1" fmla="*/ 9313 w 18626"/>
                <a:gd name="connsiteY1" fmla="*/ 0 h 15522"/>
                <a:gd name="connsiteX2" fmla="*/ 6209 w 18626"/>
                <a:gd name="connsiteY2" fmla="*/ 4346 h 15522"/>
                <a:gd name="connsiteX3" fmla="*/ 4036 w 18626"/>
                <a:gd name="connsiteY3" fmla="*/ 4346 h 15522"/>
                <a:gd name="connsiteX4" fmla="*/ 1863 w 18626"/>
                <a:gd name="connsiteY4" fmla="*/ 4346 h 15522"/>
                <a:gd name="connsiteX5" fmla="*/ 1863 w 18626"/>
                <a:gd name="connsiteY5" fmla="*/ 5588 h 15522"/>
                <a:gd name="connsiteX6" fmla="*/ 1863 w 18626"/>
                <a:gd name="connsiteY6" fmla="*/ 9624 h 15522"/>
                <a:gd name="connsiteX7" fmla="*/ 0 w 18626"/>
                <a:gd name="connsiteY7" fmla="*/ 12728 h 15522"/>
                <a:gd name="connsiteX8" fmla="*/ 6209 w 18626"/>
                <a:gd name="connsiteY8" fmla="*/ 14901 h 15522"/>
                <a:gd name="connsiteX9" fmla="*/ 7140 w 18626"/>
                <a:gd name="connsiteY9" fmla="*/ 14901 h 15522"/>
                <a:gd name="connsiteX10" fmla="*/ 9313 w 18626"/>
                <a:gd name="connsiteY10" fmla="*/ 14901 h 15522"/>
                <a:gd name="connsiteX11" fmla="*/ 11176 w 18626"/>
                <a:gd name="connsiteY11" fmla="*/ 17075 h 15522"/>
                <a:gd name="connsiteX12" fmla="*/ 13349 w 18626"/>
                <a:gd name="connsiteY12" fmla="*/ 17075 h 15522"/>
                <a:gd name="connsiteX13" fmla="*/ 20800 w 18626"/>
                <a:gd name="connsiteY13" fmla="*/ 17075 h 15522"/>
                <a:gd name="connsiteX14" fmla="*/ 20800 w 18626"/>
                <a:gd name="connsiteY14" fmla="*/ 9624 h 15522"/>
                <a:gd name="connsiteX15" fmla="*/ 16454 w 18626"/>
                <a:gd name="connsiteY15" fmla="*/ 745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8626" h="15522">
                  <a:moveTo>
                    <a:pt x="13349" y="4346"/>
                  </a:moveTo>
                  <a:lnTo>
                    <a:pt x="9313" y="0"/>
                  </a:lnTo>
                  <a:lnTo>
                    <a:pt x="6209" y="4346"/>
                  </a:lnTo>
                  <a:lnTo>
                    <a:pt x="4036" y="4346"/>
                  </a:lnTo>
                  <a:lnTo>
                    <a:pt x="1863" y="4346"/>
                  </a:lnTo>
                  <a:lnTo>
                    <a:pt x="1863" y="5588"/>
                  </a:lnTo>
                  <a:lnTo>
                    <a:pt x="1863" y="9624"/>
                  </a:lnTo>
                  <a:lnTo>
                    <a:pt x="0" y="12728"/>
                  </a:lnTo>
                  <a:lnTo>
                    <a:pt x="6209" y="14901"/>
                  </a:lnTo>
                  <a:lnTo>
                    <a:pt x="7140" y="14901"/>
                  </a:lnTo>
                  <a:lnTo>
                    <a:pt x="9313" y="14901"/>
                  </a:lnTo>
                  <a:lnTo>
                    <a:pt x="11176" y="17075"/>
                  </a:lnTo>
                  <a:lnTo>
                    <a:pt x="13349" y="17075"/>
                  </a:lnTo>
                  <a:lnTo>
                    <a:pt x="20800" y="17075"/>
                  </a:lnTo>
                  <a:lnTo>
                    <a:pt x="20800" y="9624"/>
                  </a:lnTo>
                  <a:lnTo>
                    <a:pt x="16454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90D6C89F-564A-4CF7-9B9F-6F5F6F6EAE93}"/>
                </a:ext>
              </a:extLst>
            </p:cNvPr>
            <p:cNvSpPr/>
            <p:nvPr/>
          </p:nvSpPr>
          <p:spPr>
            <a:xfrm>
              <a:off x="7449089" y="5945506"/>
              <a:ext cx="12418" cy="12418"/>
            </a:xfrm>
            <a:custGeom>
              <a:avLst/>
              <a:gdLst>
                <a:gd name="connsiteX0" fmla="*/ 0 w 12417"/>
                <a:gd name="connsiteY0" fmla="*/ 3104 h 12417"/>
                <a:gd name="connsiteX1" fmla="*/ 0 w 12417"/>
                <a:gd name="connsiteY1" fmla="*/ 5278 h 12417"/>
                <a:gd name="connsiteX2" fmla="*/ 2173 w 12417"/>
                <a:gd name="connsiteY2" fmla="*/ 5278 h 12417"/>
                <a:gd name="connsiteX3" fmla="*/ 2173 w 12417"/>
                <a:gd name="connsiteY3" fmla="*/ 7451 h 12417"/>
                <a:gd name="connsiteX4" fmla="*/ 3104 w 12417"/>
                <a:gd name="connsiteY4" fmla="*/ 8382 h 12417"/>
                <a:gd name="connsiteX5" fmla="*/ 3104 w 12417"/>
                <a:gd name="connsiteY5" fmla="*/ 12728 h 12417"/>
                <a:gd name="connsiteX6" fmla="*/ 14591 w 12417"/>
                <a:gd name="connsiteY6" fmla="*/ 12728 h 12417"/>
                <a:gd name="connsiteX7" fmla="*/ 14591 w 12417"/>
                <a:gd name="connsiteY7" fmla="*/ 5278 h 12417"/>
                <a:gd name="connsiteX8" fmla="*/ 0 w 12417"/>
                <a:gd name="connsiteY8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17" h="12417">
                  <a:moveTo>
                    <a:pt x="0" y="3104"/>
                  </a:moveTo>
                  <a:lnTo>
                    <a:pt x="0" y="5278"/>
                  </a:lnTo>
                  <a:lnTo>
                    <a:pt x="2173" y="5278"/>
                  </a:lnTo>
                  <a:lnTo>
                    <a:pt x="2173" y="7451"/>
                  </a:lnTo>
                  <a:lnTo>
                    <a:pt x="3104" y="8382"/>
                  </a:lnTo>
                  <a:lnTo>
                    <a:pt x="3104" y="12728"/>
                  </a:lnTo>
                  <a:lnTo>
                    <a:pt x="14591" y="12728"/>
                  </a:lnTo>
                  <a:lnTo>
                    <a:pt x="14591" y="527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367B11FD-2B40-4C28-9501-F500C633ABC1}"/>
                </a:ext>
              </a:extLst>
            </p:cNvPr>
            <p:cNvSpPr/>
            <p:nvPr/>
          </p:nvSpPr>
          <p:spPr>
            <a:xfrm>
              <a:off x="7229293" y="6429180"/>
              <a:ext cx="52776" cy="68298"/>
            </a:xfrm>
            <a:custGeom>
              <a:avLst/>
              <a:gdLst>
                <a:gd name="connsiteX0" fmla="*/ 46877 w 52775"/>
                <a:gd name="connsiteY0" fmla="*/ 0 h 68298"/>
                <a:gd name="connsiteX1" fmla="*/ 37564 w 52775"/>
                <a:gd name="connsiteY1" fmla="*/ 9313 h 68298"/>
                <a:gd name="connsiteX2" fmla="*/ 27319 w 52775"/>
                <a:gd name="connsiteY2" fmla="*/ 11487 h 68298"/>
                <a:gd name="connsiteX3" fmla="*/ 14591 w 52775"/>
                <a:gd name="connsiteY3" fmla="*/ 4036 h 68298"/>
                <a:gd name="connsiteX4" fmla="*/ 0 w 52775"/>
                <a:gd name="connsiteY4" fmla="*/ 4036 h 68298"/>
                <a:gd name="connsiteX5" fmla="*/ 7451 w 52775"/>
                <a:gd name="connsiteY5" fmla="*/ 24215 h 68298"/>
                <a:gd name="connsiteX6" fmla="*/ 14591 w 52775"/>
                <a:gd name="connsiteY6" fmla="*/ 46567 h 68298"/>
                <a:gd name="connsiteX7" fmla="*/ 19869 w 52775"/>
                <a:gd name="connsiteY7" fmla="*/ 68609 h 68298"/>
                <a:gd name="connsiteX8" fmla="*/ 32286 w 52775"/>
                <a:gd name="connsiteY8" fmla="*/ 62400 h 68298"/>
                <a:gd name="connsiteX9" fmla="*/ 41910 w 52775"/>
                <a:gd name="connsiteY9" fmla="*/ 57122 h 68298"/>
                <a:gd name="connsiteX10" fmla="*/ 49982 w 52775"/>
                <a:gd name="connsiteY10" fmla="*/ 47498 h 68298"/>
                <a:gd name="connsiteX11" fmla="*/ 54328 w 52775"/>
                <a:gd name="connsiteY11" fmla="*/ 31666 h 68298"/>
                <a:gd name="connsiteX12" fmla="*/ 52155 w 52775"/>
                <a:gd name="connsiteY12" fmla="*/ 14902 h 68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2775" h="68298">
                  <a:moveTo>
                    <a:pt x="46877" y="0"/>
                  </a:moveTo>
                  <a:lnTo>
                    <a:pt x="37564" y="9313"/>
                  </a:lnTo>
                  <a:lnTo>
                    <a:pt x="27319" y="11487"/>
                  </a:lnTo>
                  <a:lnTo>
                    <a:pt x="14591" y="4036"/>
                  </a:lnTo>
                  <a:lnTo>
                    <a:pt x="0" y="4036"/>
                  </a:lnTo>
                  <a:lnTo>
                    <a:pt x="7451" y="24215"/>
                  </a:lnTo>
                  <a:lnTo>
                    <a:pt x="14591" y="46567"/>
                  </a:lnTo>
                  <a:lnTo>
                    <a:pt x="19869" y="68609"/>
                  </a:lnTo>
                  <a:lnTo>
                    <a:pt x="32286" y="62400"/>
                  </a:lnTo>
                  <a:lnTo>
                    <a:pt x="41910" y="57122"/>
                  </a:lnTo>
                  <a:lnTo>
                    <a:pt x="49982" y="47498"/>
                  </a:lnTo>
                  <a:lnTo>
                    <a:pt x="54328" y="31666"/>
                  </a:lnTo>
                  <a:lnTo>
                    <a:pt x="52155" y="1490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2964DE4-D29F-460E-AC5C-768ABA147913}"/>
                </a:ext>
              </a:extLst>
            </p:cNvPr>
            <p:cNvSpPr/>
            <p:nvPr/>
          </p:nvSpPr>
          <p:spPr>
            <a:xfrm>
              <a:off x="4103104" y="5644063"/>
              <a:ext cx="9313" cy="12418"/>
            </a:xfrm>
            <a:custGeom>
              <a:avLst/>
              <a:gdLst>
                <a:gd name="connsiteX0" fmla="*/ 2173 w 9313"/>
                <a:gd name="connsiteY0" fmla="*/ 5278 h 12417"/>
                <a:gd name="connsiteX1" fmla="*/ 2173 w 9313"/>
                <a:gd name="connsiteY1" fmla="*/ 7140 h 12417"/>
                <a:gd name="connsiteX2" fmla="*/ 2173 w 9313"/>
                <a:gd name="connsiteY2" fmla="*/ 9313 h 12417"/>
                <a:gd name="connsiteX3" fmla="*/ 4346 w 9313"/>
                <a:gd name="connsiteY3" fmla="*/ 11487 h 12417"/>
                <a:gd name="connsiteX4" fmla="*/ 5278 w 9313"/>
                <a:gd name="connsiteY4" fmla="*/ 11487 h 12417"/>
                <a:gd name="connsiteX5" fmla="*/ 9624 w 9313"/>
                <a:gd name="connsiteY5" fmla="*/ 12418 h 12417"/>
                <a:gd name="connsiteX6" fmla="*/ 9624 w 9313"/>
                <a:gd name="connsiteY6" fmla="*/ 5278 h 12417"/>
                <a:gd name="connsiteX7" fmla="*/ 0 w 9313"/>
                <a:gd name="connsiteY7" fmla="*/ 0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9313" h="12417">
                  <a:moveTo>
                    <a:pt x="2173" y="5278"/>
                  </a:moveTo>
                  <a:lnTo>
                    <a:pt x="2173" y="7140"/>
                  </a:lnTo>
                  <a:lnTo>
                    <a:pt x="2173" y="9313"/>
                  </a:lnTo>
                  <a:lnTo>
                    <a:pt x="4346" y="11487"/>
                  </a:lnTo>
                  <a:lnTo>
                    <a:pt x="5278" y="11487"/>
                  </a:lnTo>
                  <a:lnTo>
                    <a:pt x="9624" y="12418"/>
                  </a:lnTo>
                  <a:lnTo>
                    <a:pt x="9624" y="527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783DC323-839F-4F02-94AC-820CB3E8EAF2}"/>
                </a:ext>
              </a:extLst>
            </p:cNvPr>
            <p:cNvSpPr/>
            <p:nvPr/>
          </p:nvSpPr>
          <p:spPr>
            <a:xfrm>
              <a:off x="4008418" y="5514917"/>
              <a:ext cx="34149" cy="18627"/>
            </a:xfrm>
            <a:custGeom>
              <a:avLst/>
              <a:gdLst>
                <a:gd name="connsiteX0" fmla="*/ 21731 w 34149"/>
                <a:gd name="connsiteY0" fmla="*/ 5278 h 18626"/>
                <a:gd name="connsiteX1" fmla="*/ 16764 w 34149"/>
                <a:gd name="connsiteY1" fmla="*/ 1863 h 18626"/>
                <a:gd name="connsiteX2" fmla="*/ 7140 w 34149"/>
                <a:gd name="connsiteY2" fmla="*/ 0 h 18626"/>
                <a:gd name="connsiteX3" fmla="*/ 6209 w 34149"/>
                <a:gd name="connsiteY3" fmla="*/ 1863 h 18626"/>
                <a:gd name="connsiteX4" fmla="*/ 4036 w 34149"/>
                <a:gd name="connsiteY4" fmla="*/ 1863 h 18626"/>
                <a:gd name="connsiteX5" fmla="*/ 2173 w 34149"/>
                <a:gd name="connsiteY5" fmla="*/ 4036 h 18626"/>
                <a:gd name="connsiteX6" fmla="*/ 0 w 34149"/>
                <a:gd name="connsiteY6" fmla="*/ 4036 h 18626"/>
                <a:gd name="connsiteX7" fmla="*/ 0 w 34149"/>
                <a:gd name="connsiteY7" fmla="*/ 16764 h 18626"/>
                <a:gd name="connsiteX8" fmla="*/ 6209 w 34149"/>
                <a:gd name="connsiteY8" fmla="*/ 18937 h 18626"/>
                <a:gd name="connsiteX9" fmla="*/ 13660 w 34149"/>
                <a:gd name="connsiteY9" fmla="*/ 18937 h 18626"/>
                <a:gd name="connsiteX10" fmla="*/ 16764 w 34149"/>
                <a:gd name="connsiteY10" fmla="*/ 19869 h 18626"/>
                <a:gd name="connsiteX11" fmla="*/ 21731 w 34149"/>
                <a:gd name="connsiteY11" fmla="*/ 18937 h 18626"/>
                <a:gd name="connsiteX12" fmla="*/ 28251 w 34149"/>
                <a:gd name="connsiteY12" fmla="*/ 16764 h 18626"/>
                <a:gd name="connsiteX13" fmla="*/ 35391 w 34149"/>
                <a:gd name="connsiteY13" fmla="*/ 16764 h 18626"/>
                <a:gd name="connsiteX14" fmla="*/ 35391 w 34149"/>
                <a:gd name="connsiteY14" fmla="*/ 12728 h 18626"/>
                <a:gd name="connsiteX15" fmla="*/ 29182 w 34149"/>
                <a:gd name="connsiteY15" fmla="*/ 9313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4149" h="18626">
                  <a:moveTo>
                    <a:pt x="21731" y="5278"/>
                  </a:moveTo>
                  <a:lnTo>
                    <a:pt x="16764" y="1863"/>
                  </a:lnTo>
                  <a:lnTo>
                    <a:pt x="7140" y="0"/>
                  </a:lnTo>
                  <a:lnTo>
                    <a:pt x="6209" y="1863"/>
                  </a:lnTo>
                  <a:lnTo>
                    <a:pt x="4036" y="1863"/>
                  </a:lnTo>
                  <a:lnTo>
                    <a:pt x="2173" y="4036"/>
                  </a:lnTo>
                  <a:lnTo>
                    <a:pt x="0" y="4036"/>
                  </a:lnTo>
                  <a:lnTo>
                    <a:pt x="0" y="16764"/>
                  </a:lnTo>
                  <a:lnTo>
                    <a:pt x="6209" y="18937"/>
                  </a:lnTo>
                  <a:lnTo>
                    <a:pt x="13660" y="18937"/>
                  </a:lnTo>
                  <a:lnTo>
                    <a:pt x="16764" y="19869"/>
                  </a:lnTo>
                  <a:lnTo>
                    <a:pt x="21731" y="18937"/>
                  </a:lnTo>
                  <a:lnTo>
                    <a:pt x="28251" y="16764"/>
                  </a:lnTo>
                  <a:lnTo>
                    <a:pt x="35391" y="16764"/>
                  </a:lnTo>
                  <a:lnTo>
                    <a:pt x="35391" y="12728"/>
                  </a:lnTo>
                  <a:lnTo>
                    <a:pt x="29182" y="931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6BDAA9E8-C024-4856-BEFF-29AFBB9C8FE1}"/>
                </a:ext>
              </a:extLst>
            </p:cNvPr>
            <p:cNvSpPr/>
            <p:nvPr/>
          </p:nvSpPr>
          <p:spPr>
            <a:xfrm>
              <a:off x="3912490" y="5445999"/>
              <a:ext cx="155223" cy="58985"/>
            </a:xfrm>
            <a:custGeom>
              <a:avLst/>
              <a:gdLst>
                <a:gd name="connsiteX0" fmla="*/ 156465 w 155222"/>
                <a:gd name="connsiteY0" fmla="*/ 44394 h 58984"/>
                <a:gd name="connsiteX1" fmla="*/ 134423 w 155222"/>
                <a:gd name="connsiteY1" fmla="*/ 33838 h 58984"/>
                <a:gd name="connsiteX2" fmla="*/ 114554 w 155222"/>
                <a:gd name="connsiteY2" fmla="*/ 24215 h 58984"/>
                <a:gd name="connsiteX3" fmla="*/ 94996 w 155222"/>
                <a:gd name="connsiteY3" fmla="*/ 14901 h 58984"/>
                <a:gd name="connsiteX4" fmla="*/ 68919 w 155222"/>
                <a:gd name="connsiteY4" fmla="*/ 6519 h 58984"/>
                <a:gd name="connsiteX5" fmla="*/ 39737 w 155222"/>
                <a:gd name="connsiteY5" fmla="*/ 0 h 58984"/>
                <a:gd name="connsiteX6" fmla="*/ 36633 w 155222"/>
                <a:gd name="connsiteY6" fmla="*/ 2173 h 58984"/>
                <a:gd name="connsiteX7" fmla="*/ 32286 w 155222"/>
                <a:gd name="connsiteY7" fmla="*/ 2173 h 58984"/>
                <a:gd name="connsiteX8" fmla="*/ 29182 w 155222"/>
                <a:gd name="connsiteY8" fmla="*/ 4346 h 58984"/>
                <a:gd name="connsiteX9" fmla="*/ 23904 w 155222"/>
                <a:gd name="connsiteY9" fmla="*/ 4346 h 58984"/>
                <a:gd name="connsiteX10" fmla="*/ 17695 w 155222"/>
                <a:gd name="connsiteY10" fmla="*/ 9624 h 58984"/>
                <a:gd name="connsiteX11" fmla="*/ 12418 w 155222"/>
                <a:gd name="connsiteY11" fmla="*/ 13660 h 58984"/>
                <a:gd name="connsiteX12" fmla="*/ 7451 w 155222"/>
                <a:gd name="connsiteY12" fmla="*/ 21110 h 58984"/>
                <a:gd name="connsiteX13" fmla="*/ 0 w 155222"/>
                <a:gd name="connsiteY13" fmla="*/ 21110 h 58984"/>
                <a:gd name="connsiteX14" fmla="*/ 3104 w 155222"/>
                <a:gd name="connsiteY14" fmla="*/ 22352 h 58984"/>
                <a:gd name="connsiteX15" fmla="*/ 10555 w 155222"/>
                <a:gd name="connsiteY15" fmla="*/ 26388 h 58984"/>
                <a:gd name="connsiteX16" fmla="*/ 16764 w 155222"/>
                <a:gd name="connsiteY16" fmla="*/ 28561 h 58984"/>
                <a:gd name="connsiteX17" fmla="*/ 22042 w 155222"/>
                <a:gd name="connsiteY17" fmla="*/ 22352 h 58984"/>
                <a:gd name="connsiteX18" fmla="*/ 25146 w 155222"/>
                <a:gd name="connsiteY18" fmla="*/ 17075 h 58984"/>
                <a:gd name="connsiteX19" fmla="*/ 31355 w 155222"/>
                <a:gd name="connsiteY19" fmla="*/ 11797 h 58984"/>
                <a:gd name="connsiteX20" fmla="*/ 58364 w 155222"/>
                <a:gd name="connsiteY20" fmla="*/ 24215 h 58984"/>
                <a:gd name="connsiteX21" fmla="*/ 83510 w 155222"/>
                <a:gd name="connsiteY21" fmla="*/ 36943 h 58984"/>
                <a:gd name="connsiteX22" fmla="*/ 110519 w 155222"/>
                <a:gd name="connsiteY22" fmla="*/ 44394 h 58984"/>
                <a:gd name="connsiteX23" fmla="*/ 112692 w 155222"/>
                <a:gd name="connsiteY23" fmla="*/ 48740 h 58984"/>
                <a:gd name="connsiteX24" fmla="*/ 112692 w 155222"/>
                <a:gd name="connsiteY24" fmla="*/ 50913 h 58984"/>
                <a:gd name="connsiteX25" fmla="*/ 112692 w 155222"/>
                <a:gd name="connsiteY25" fmla="*/ 51844 h 58984"/>
                <a:gd name="connsiteX26" fmla="*/ 112692 w 155222"/>
                <a:gd name="connsiteY26" fmla="*/ 54017 h 58984"/>
                <a:gd name="connsiteX27" fmla="*/ 112692 w 155222"/>
                <a:gd name="connsiteY27" fmla="*/ 58364 h 58984"/>
                <a:gd name="connsiteX28" fmla="*/ 110519 w 155222"/>
                <a:gd name="connsiteY28" fmla="*/ 61468 h 58984"/>
                <a:gd name="connsiteX29" fmla="*/ 124178 w 155222"/>
                <a:gd name="connsiteY29" fmla="*/ 59295 h 58984"/>
                <a:gd name="connsiteX30" fmla="*/ 136596 w 155222"/>
                <a:gd name="connsiteY30" fmla="*/ 56191 h 58984"/>
                <a:gd name="connsiteX31" fmla="*/ 146841 w 155222"/>
                <a:gd name="connsiteY31" fmla="*/ 51844 h 58984"/>
                <a:gd name="connsiteX32" fmla="*/ 156465 w 155222"/>
                <a:gd name="connsiteY32" fmla="*/ 51844 h 58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155222" h="58984">
                  <a:moveTo>
                    <a:pt x="156465" y="44394"/>
                  </a:moveTo>
                  <a:lnTo>
                    <a:pt x="134423" y="33838"/>
                  </a:lnTo>
                  <a:lnTo>
                    <a:pt x="114554" y="24215"/>
                  </a:lnTo>
                  <a:lnTo>
                    <a:pt x="94996" y="14901"/>
                  </a:lnTo>
                  <a:lnTo>
                    <a:pt x="68919" y="6519"/>
                  </a:lnTo>
                  <a:lnTo>
                    <a:pt x="39737" y="0"/>
                  </a:lnTo>
                  <a:lnTo>
                    <a:pt x="36633" y="2173"/>
                  </a:lnTo>
                  <a:lnTo>
                    <a:pt x="32286" y="2173"/>
                  </a:lnTo>
                  <a:lnTo>
                    <a:pt x="29182" y="4346"/>
                  </a:lnTo>
                  <a:lnTo>
                    <a:pt x="23904" y="4346"/>
                  </a:lnTo>
                  <a:lnTo>
                    <a:pt x="17695" y="9624"/>
                  </a:lnTo>
                  <a:lnTo>
                    <a:pt x="12418" y="13660"/>
                  </a:lnTo>
                  <a:lnTo>
                    <a:pt x="7451" y="21110"/>
                  </a:lnTo>
                  <a:lnTo>
                    <a:pt x="0" y="21110"/>
                  </a:lnTo>
                  <a:lnTo>
                    <a:pt x="3104" y="22352"/>
                  </a:lnTo>
                  <a:lnTo>
                    <a:pt x="10555" y="26388"/>
                  </a:lnTo>
                  <a:lnTo>
                    <a:pt x="16764" y="28561"/>
                  </a:lnTo>
                  <a:lnTo>
                    <a:pt x="22042" y="22352"/>
                  </a:lnTo>
                  <a:lnTo>
                    <a:pt x="25146" y="17075"/>
                  </a:lnTo>
                  <a:lnTo>
                    <a:pt x="31355" y="11797"/>
                  </a:lnTo>
                  <a:lnTo>
                    <a:pt x="58364" y="24215"/>
                  </a:lnTo>
                  <a:lnTo>
                    <a:pt x="83510" y="36943"/>
                  </a:lnTo>
                  <a:lnTo>
                    <a:pt x="110519" y="44394"/>
                  </a:lnTo>
                  <a:lnTo>
                    <a:pt x="112692" y="48740"/>
                  </a:lnTo>
                  <a:lnTo>
                    <a:pt x="112692" y="50913"/>
                  </a:lnTo>
                  <a:lnTo>
                    <a:pt x="112692" y="51844"/>
                  </a:lnTo>
                  <a:lnTo>
                    <a:pt x="112692" y="54017"/>
                  </a:lnTo>
                  <a:lnTo>
                    <a:pt x="112692" y="58364"/>
                  </a:lnTo>
                  <a:lnTo>
                    <a:pt x="110519" y="61468"/>
                  </a:lnTo>
                  <a:lnTo>
                    <a:pt x="124178" y="59295"/>
                  </a:lnTo>
                  <a:lnTo>
                    <a:pt x="136596" y="56191"/>
                  </a:lnTo>
                  <a:lnTo>
                    <a:pt x="146841" y="51844"/>
                  </a:lnTo>
                  <a:lnTo>
                    <a:pt x="156465" y="5184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1C737A67-7BC0-4221-9296-67FD2850796F}"/>
                </a:ext>
              </a:extLst>
            </p:cNvPr>
            <p:cNvSpPr/>
            <p:nvPr/>
          </p:nvSpPr>
          <p:spPr>
            <a:xfrm>
              <a:off x="4008418" y="5417438"/>
              <a:ext cx="12418" cy="24836"/>
            </a:xfrm>
            <a:custGeom>
              <a:avLst/>
              <a:gdLst>
                <a:gd name="connsiteX0" fmla="*/ 6209 w 12417"/>
                <a:gd name="connsiteY0" fmla="*/ 3104 h 24835"/>
                <a:gd name="connsiteX1" fmla="*/ 0 w 12417"/>
                <a:gd name="connsiteY1" fmla="*/ 0 h 24835"/>
                <a:gd name="connsiteX2" fmla="*/ 0 w 12417"/>
                <a:gd name="connsiteY2" fmla="*/ 7451 h 24835"/>
                <a:gd name="connsiteX3" fmla="*/ 0 w 12417"/>
                <a:gd name="connsiteY3" fmla="*/ 10555 h 24835"/>
                <a:gd name="connsiteX4" fmla="*/ 2173 w 12417"/>
                <a:gd name="connsiteY4" fmla="*/ 14901 h 24835"/>
                <a:gd name="connsiteX5" fmla="*/ 4036 w 12417"/>
                <a:gd name="connsiteY5" fmla="*/ 18006 h 24835"/>
                <a:gd name="connsiteX6" fmla="*/ 6209 w 12417"/>
                <a:gd name="connsiteY6" fmla="*/ 20179 h 24835"/>
                <a:gd name="connsiteX7" fmla="*/ 7140 w 12417"/>
                <a:gd name="connsiteY7" fmla="*/ 25457 h 24835"/>
                <a:gd name="connsiteX8" fmla="*/ 14591 w 12417"/>
                <a:gd name="connsiteY8" fmla="*/ 25457 h 24835"/>
                <a:gd name="connsiteX9" fmla="*/ 14591 w 12417"/>
                <a:gd name="connsiteY9" fmla="*/ 15833 h 24835"/>
                <a:gd name="connsiteX10" fmla="*/ 13660 w 12417"/>
                <a:gd name="connsiteY10" fmla="*/ 10555 h 24835"/>
                <a:gd name="connsiteX11" fmla="*/ 9313 w 12417"/>
                <a:gd name="connsiteY11" fmla="*/ 7451 h 24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417" h="24835">
                  <a:moveTo>
                    <a:pt x="6209" y="3104"/>
                  </a:moveTo>
                  <a:lnTo>
                    <a:pt x="0" y="0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2173" y="14901"/>
                  </a:lnTo>
                  <a:lnTo>
                    <a:pt x="4036" y="18006"/>
                  </a:lnTo>
                  <a:lnTo>
                    <a:pt x="6209" y="20179"/>
                  </a:lnTo>
                  <a:lnTo>
                    <a:pt x="7140" y="25457"/>
                  </a:lnTo>
                  <a:lnTo>
                    <a:pt x="14591" y="25457"/>
                  </a:lnTo>
                  <a:lnTo>
                    <a:pt x="14591" y="15833"/>
                  </a:lnTo>
                  <a:lnTo>
                    <a:pt x="13660" y="10555"/>
                  </a:lnTo>
                  <a:lnTo>
                    <a:pt x="9313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731A33FB-15C5-4C69-9551-5F4DCE100A33}"/>
                </a:ext>
              </a:extLst>
            </p:cNvPr>
            <p:cNvSpPr/>
            <p:nvPr/>
          </p:nvSpPr>
          <p:spPr>
            <a:xfrm>
              <a:off x="4000036" y="5393223"/>
              <a:ext cx="27940" cy="15522"/>
            </a:xfrm>
            <a:custGeom>
              <a:avLst/>
              <a:gdLst>
                <a:gd name="connsiteX0" fmla="*/ 29182 w 27940"/>
                <a:gd name="connsiteY0" fmla="*/ 16764 h 15522"/>
                <a:gd name="connsiteX1" fmla="*/ 29182 w 27940"/>
                <a:gd name="connsiteY1" fmla="*/ 12728 h 15522"/>
                <a:gd name="connsiteX2" fmla="*/ 30113 w 27940"/>
                <a:gd name="connsiteY2" fmla="*/ 10555 h 15522"/>
                <a:gd name="connsiteX3" fmla="*/ 30113 w 27940"/>
                <a:gd name="connsiteY3" fmla="*/ 9313 h 15522"/>
                <a:gd name="connsiteX4" fmla="*/ 29182 w 27940"/>
                <a:gd name="connsiteY4" fmla="*/ 7451 h 15522"/>
                <a:gd name="connsiteX5" fmla="*/ 29182 w 27940"/>
                <a:gd name="connsiteY5" fmla="*/ 5277 h 15522"/>
                <a:gd name="connsiteX6" fmla="*/ 25146 w 27940"/>
                <a:gd name="connsiteY6" fmla="*/ 3104 h 15522"/>
                <a:gd name="connsiteX7" fmla="*/ 22973 w 27940"/>
                <a:gd name="connsiteY7" fmla="*/ 0 h 15522"/>
                <a:gd name="connsiteX8" fmla="*/ 0 w 27940"/>
                <a:gd name="connsiteY8" fmla="*/ 0 h 15522"/>
                <a:gd name="connsiteX9" fmla="*/ 0 w 27940"/>
                <a:gd name="connsiteY9" fmla="*/ 3104 h 15522"/>
                <a:gd name="connsiteX10" fmla="*/ 931 w 27940"/>
                <a:gd name="connsiteY10" fmla="*/ 7451 h 15522"/>
                <a:gd name="connsiteX11" fmla="*/ 5278 w 27940"/>
                <a:gd name="connsiteY11" fmla="*/ 9313 h 15522"/>
                <a:gd name="connsiteX12" fmla="*/ 8382 w 27940"/>
                <a:gd name="connsiteY12" fmla="*/ 9313 h 15522"/>
                <a:gd name="connsiteX13" fmla="*/ 12418 w 27940"/>
                <a:gd name="connsiteY13" fmla="*/ 10555 h 15522"/>
                <a:gd name="connsiteX14" fmla="*/ 17695 w 27940"/>
                <a:gd name="connsiteY14" fmla="*/ 10555 h 15522"/>
                <a:gd name="connsiteX15" fmla="*/ 22973 w 27940"/>
                <a:gd name="connsiteY15" fmla="*/ 12728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7940" h="15522">
                  <a:moveTo>
                    <a:pt x="29182" y="16764"/>
                  </a:moveTo>
                  <a:lnTo>
                    <a:pt x="29182" y="12728"/>
                  </a:lnTo>
                  <a:lnTo>
                    <a:pt x="30113" y="10555"/>
                  </a:lnTo>
                  <a:lnTo>
                    <a:pt x="30113" y="9313"/>
                  </a:lnTo>
                  <a:lnTo>
                    <a:pt x="29182" y="7451"/>
                  </a:lnTo>
                  <a:lnTo>
                    <a:pt x="29182" y="5277"/>
                  </a:lnTo>
                  <a:lnTo>
                    <a:pt x="25146" y="3104"/>
                  </a:lnTo>
                  <a:lnTo>
                    <a:pt x="22973" y="0"/>
                  </a:lnTo>
                  <a:lnTo>
                    <a:pt x="0" y="0"/>
                  </a:lnTo>
                  <a:lnTo>
                    <a:pt x="0" y="3104"/>
                  </a:lnTo>
                  <a:lnTo>
                    <a:pt x="931" y="7451"/>
                  </a:lnTo>
                  <a:lnTo>
                    <a:pt x="5278" y="9313"/>
                  </a:lnTo>
                  <a:lnTo>
                    <a:pt x="8382" y="9313"/>
                  </a:lnTo>
                  <a:lnTo>
                    <a:pt x="12418" y="10555"/>
                  </a:lnTo>
                  <a:lnTo>
                    <a:pt x="17695" y="10555"/>
                  </a:lnTo>
                  <a:lnTo>
                    <a:pt x="2297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8ACC1E6-AAA1-4F47-93A3-A09B748BEA92}"/>
                </a:ext>
              </a:extLst>
            </p:cNvPr>
            <p:cNvSpPr/>
            <p:nvPr/>
          </p:nvSpPr>
          <p:spPr>
            <a:xfrm>
              <a:off x="5743810" y="6002628"/>
              <a:ext cx="99343" cy="207999"/>
            </a:xfrm>
            <a:custGeom>
              <a:avLst/>
              <a:gdLst>
                <a:gd name="connsiteX0" fmla="*/ 92823 w 99342"/>
                <a:gd name="connsiteY0" fmla="*/ 0 h 207998"/>
                <a:gd name="connsiteX1" fmla="*/ 83510 w 99342"/>
                <a:gd name="connsiteY1" fmla="*/ 5278 h 207998"/>
                <a:gd name="connsiteX2" fmla="*/ 72023 w 99342"/>
                <a:gd name="connsiteY2" fmla="*/ 14901 h 207998"/>
                <a:gd name="connsiteX3" fmla="*/ 59606 w 99342"/>
                <a:gd name="connsiteY3" fmla="*/ 27630 h 207998"/>
                <a:gd name="connsiteX4" fmla="*/ 49051 w 99342"/>
                <a:gd name="connsiteY4" fmla="*/ 40358 h 207998"/>
                <a:gd name="connsiteX5" fmla="*/ 37564 w 99342"/>
                <a:gd name="connsiteY5" fmla="*/ 51844 h 207998"/>
                <a:gd name="connsiteX6" fmla="*/ 32286 w 99342"/>
                <a:gd name="connsiteY6" fmla="*/ 60226 h 207998"/>
                <a:gd name="connsiteX7" fmla="*/ 12728 w 99342"/>
                <a:gd name="connsiteY7" fmla="*/ 60226 h 207998"/>
                <a:gd name="connsiteX8" fmla="*/ 12728 w 99342"/>
                <a:gd name="connsiteY8" fmla="*/ 75128 h 207998"/>
                <a:gd name="connsiteX9" fmla="*/ 14591 w 99342"/>
                <a:gd name="connsiteY9" fmla="*/ 90029 h 207998"/>
                <a:gd name="connsiteX10" fmla="*/ 15833 w 99342"/>
                <a:gd name="connsiteY10" fmla="*/ 104931 h 207998"/>
                <a:gd name="connsiteX11" fmla="*/ 15833 w 99342"/>
                <a:gd name="connsiteY11" fmla="*/ 114244 h 207998"/>
                <a:gd name="connsiteX12" fmla="*/ 10555 w 99342"/>
                <a:gd name="connsiteY12" fmla="*/ 129145 h 207998"/>
                <a:gd name="connsiteX13" fmla="*/ 5278 w 99342"/>
                <a:gd name="connsiteY13" fmla="*/ 144047 h 207998"/>
                <a:gd name="connsiteX14" fmla="*/ 0 w 99342"/>
                <a:gd name="connsiteY14" fmla="*/ 156775 h 207998"/>
                <a:gd name="connsiteX15" fmla="*/ 1242 w 99342"/>
                <a:gd name="connsiteY15" fmla="*/ 171366 h 207998"/>
                <a:gd name="connsiteX16" fmla="*/ 8382 w 99342"/>
                <a:gd name="connsiteY16" fmla="*/ 186267 h 207998"/>
                <a:gd name="connsiteX17" fmla="*/ 10555 w 99342"/>
                <a:gd name="connsiteY17" fmla="*/ 193718 h 207998"/>
                <a:gd name="connsiteX18" fmla="*/ 14591 w 99342"/>
                <a:gd name="connsiteY18" fmla="*/ 198996 h 207998"/>
                <a:gd name="connsiteX19" fmla="*/ 19869 w 99342"/>
                <a:gd name="connsiteY19" fmla="*/ 203342 h 207998"/>
                <a:gd name="connsiteX20" fmla="*/ 25146 w 99342"/>
                <a:gd name="connsiteY20" fmla="*/ 205205 h 207998"/>
                <a:gd name="connsiteX21" fmla="*/ 32286 w 99342"/>
                <a:gd name="connsiteY21" fmla="*/ 206446 h 207998"/>
                <a:gd name="connsiteX22" fmla="*/ 32286 w 99342"/>
                <a:gd name="connsiteY22" fmla="*/ 210482 h 207998"/>
                <a:gd name="connsiteX23" fmla="*/ 45015 w 99342"/>
                <a:gd name="connsiteY23" fmla="*/ 201169 h 207998"/>
                <a:gd name="connsiteX24" fmla="*/ 52155 w 99342"/>
                <a:gd name="connsiteY24" fmla="*/ 190614 h 207998"/>
                <a:gd name="connsiteX25" fmla="*/ 54328 w 99342"/>
                <a:gd name="connsiteY25" fmla="*/ 176644 h 207998"/>
                <a:gd name="connsiteX26" fmla="*/ 56501 w 99342"/>
                <a:gd name="connsiteY26" fmla="*/ 160811 h 207998"/>
                <a:gd name="connsiteX27" fmla="*/ 59606 w 99342"/>
                <a:gd name="connsiteY27" fmla="*/ 141874 h 207998"/>
                <a:gd name="connsiteX28" fmla="*/ 66746 w 99342"/>
                <a:gd name="connsiteY28" fmla="*/ 126972 h 207998"/>
                <a:gd name="connsiteX29" fmla="*/ 76059 w 99342"/>
                <a:gd name="connsiteY29" fmla="*/ 108966 h 207998"/>
                <a:gd name="connsiteX30" fmla="*/ 86614 w 99342"/>
                <a:gd name="connsiteY30" fmla="*/ 90029 h 207998"/>
                <a:gd name="connsiteX31" fmla="*/ 95928 w 99342"/>
                <a:gd name="connsiteY31" fmla="*/ 69850 h 207998"/>
                <a:gd name="connsiteX32" fmla="*/ 101205 w 99342"/>
                <a:gd name="connsiteY32" fmla="*/ 49671 h 207998"/>
                <a:gd name="connsiteX33" fmla="*/ 101205 w 99342"/>
                <a:gd name="connsiteY33" fmla="*/ 27630 h 207998"/>
                <a:gd name="connsiteX34" fmla="*/ 92823 w 99342"/>
                <a:gd name="connsiteY34" fmla="*/ 7451 h 20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</a:cxnLst>
              <a:rect l="l" t="t" r="r" b="b"/>
              <a:pathLst>
                <a:path w="99342" h="207998">
                  <a:moveTo>
                    <a:pt x="92823" y="0"/>
                  </a:moveTo>
                  <a:lnTo>
                    <a:pt x="83510" y="5278"/>
                  </a:lnTo>
                  <a:lnTo>
                    <a:pt x="72023" y="14901"/>
                  </a:lnTo>
                  <a:lnTo>
                    <a:pt x="59606" y="27630"/>
                  </a:lnTo>
                  <a:lnTo>
                    <a:pt x="49051" y="40358"/>
                  </a:lnTo>
                  <a:lnTo>
                    <a:pt x="37564" y="51844"/>
                  </a:lnTo>
                  <a:lnTo>
                    <a:pt x="32286" y="60226"/>
                  </a:lnTo>
                  <a:lnTo>
                    <a:pt x="12728" y="60226"/>
                  </a:lnTo>
                  <a:lnTo>
                    <a:pt x="12728" y="75128"/>
                  </a:lnTo>
                  <a:lnTo>
                    <a:pt x="14591" y="90029"/>
                  </a:lnTo>
                  <a:lnTo>
                    <a:pt x="15833" y="104931"/>
                  </a:lnTo>
                  <a:lnTo>
                    <a:pt x="15833" y="114244"/>
                  </a:lnTo>
                  <a:lnTo>
                    <a:pt x="10555" y="129145"/>
                  </a:lnTo>
                  <a:lnTo>
                    <a:pt x="5278" y="144047"/>
                  </a:lnTo>
                  <a:lnTo>
                    <a:pt x="0" y="156775"/>
                  </a:lnTo>
                  <a:lnTo>
                    <a:pt x="1242" y="171366"/>
                  </a:lnTo>
                  <a:lnTo>
                    <a:pt x="8382" y="186267"/>
                  </a:lnTo>
                  <a:lnTo>
                    <a:pt x="10555" y="193718"/>
                  </a:lnTo>
                  <a:lnTo>
                    <a:pt x="14591" y="198996"/>
                  </a:lnTo>
                  <a:lnTo>
                    <a:pt x="19869" y="203342"/>
                  </a:lnTo>
                  <a:lnTo>
                    <a:pt x="25146" y="205205"/>
                  </a:lnTo>
                  <a:lnTo>
                    <a:pt x="32286" y="206446"/>
                  </a:lnTo>
                  <a:lnTo>
                    <a:pt x="32286" y="210482"/>
                  </a:lnTo>
                  <a:lnTo>
                    <a:pt x="45015" y="201169"/>
                  </a:lnTo>
                  <a:lnTo>
                    <a:pt x="52155" y="190614"/>
                  </a:lnTo>
                  <a:lnTo>
                    <a:pt x="54328" y="176644"/>
                  </a:lnTo>
                  <a:lnTo>
                    <a:pt x="56501" y="160811"/>
                  </a:lnTo>
                  <a:lnTo>
                    <a:pt x="59606" y="141874"/>
                  </a:lnTo>
                  <a:lnTo>
                    <a:pt x="66746" y="126972"/>
                  </a:lnTo>
                  <a:lnTo>
                    <a:pt x="76059" y="108966"/>
                  </a:lnTo>
                  <a:lnTo>
                    <a:pt x="86614" y="90029"/>
                  </a:lnTo>
                  <a:lnTo>
                    <a:pt x="95928" y="69850"/>
                  </a:lnTo>
                  <a:lnTo>
                    <a:pt x="101205" y="49671"/>
                  </a:lnTo>
                  <a:lnTo>
                    <a:pt x="101205" y="27630"/>
                  </a:lnTo>
                  <a:lnTo>
                    <a:pt x="92823" y="745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47C6533-5B15-4328-B80A-D6A48A80BEDB}"/>
                </a:ext>
              </a:extLst>
            </p:cNvPr>
            <p:cNvSpPr/>
            <p:nvPr/>
          </p:nvSpPr>
          <p:spPr>
            <a:xfrm>
              <a:off x="4236596" y="6662015"/>
              <a:ext cx="74507" cy="31045"/>
            </a:xfrm>
            <a:custGeom>
              <a:avLst/>
              <a:gdLst>
                <a:gd name="connsiteX0" fmla="*/ 46877 w 74506"/>
                <a:gd name="connsiteY0" fmla="*/ 3104 h 31044"/>
                <a:gd name="connsiteX1" fmla="*/ 32286 w 74506"/>
                <a:gd name="connsiteY1" fmla="*/ 0 h 31044"/>
                <a:gd name="connsiteX2" fmla="*/ 21731 w 74506"/>
                <a:gd name="connsiteY2" fmla="*/ 5278 h 31044"/>
                <a:gd name="connsiteX3" fmla="*/ 10245 w 74506"/>
                <a:gd name="connsiteY3" fmla="*/ 10555 h 31044"/>
                <a:gd name="connsiteX4" fmla="*/ 0 w 74506"/>
                <a:gd name="connsiteY4" fmla="*/ 14591 h 31044"/>
                <a:gd name="connsiteX5" fmla="*/ 0 w 74506"/>
                <a:gd name="connsiteY5" fmla="*/ 31666 h 31044"/>
                <a:gd name="connsiteX6" fmla="*/ 12418 w 74506"/>
                <a:gd name="connsiteY6" fmla="*/ 27319 h 31044"/>
                <a:gd name="connsiteX7" fmla="*/ 21731 w 74506"/>
                <a:gd name="connsiteY7" fmla="*/ 25457 h 31044"/>
                <a:gd name="connsiteX8" fmla="*/ 30113 w 74506"/>
                <a:gd name="connsiteY8" fmla="*/ 20179 h 31044"/>
                <a:gd name="connsiteX9" fmla="*/ 39427 w 74506"/>
                <a:gd name="connsiteY9" fmla="*/ 10555 h 31044"/>
                <a:gd name="connsiteX10" fmla="*/ 42531 w 74506"/>
                <a:gd name="connsiteY10" fmla="*/ 10555 h 31044"/>
                <a:gd name="connsiteX11" fmla="*/ 41600 w 74506"/>
                <a:gd name="connsiteY11" fmla="*/ 14591 h 31044"/>
                <a:gd name="connsiteX12" fmla="*/ 39427 w 74506"/>
                <a:gd name="connsiteY12" fmla="*/ 16764 h 31044"/>
                <a:gd name="connsiteX13" fmla="*/ 39427 w 74506"/>
                <a:gd name="connsiteY13" fmla="*/ 18006 h 31044"/>
                <a:gd name="connsiteX14" fmla="*/ 37564 w 74506"/>
                <a:gd name="connsiteY14" fmla="*/ 20179 h 31044"/>
                <a:gd name="connsiteX15" fmla="*/ 34460 w 74506"/>
                <a:gd name="connsiteY15" fmla="*/ 22042 h 31044"/>
                <a:gd name="connsiteX16" fmla="*/ 32286 w 74506"/>
                <a:gd name="connsiteY16" fmla="*/ 24215 h 31044"/>
                <a:gd name="connsiteX17" fmla="*/ 32286 w 74506"/>
                <a:gd name="connsiteY17" fmla="*/ 31666 h 31044"/>
                <a:gd name="connsiteX18" fmla="*/ 46877 w 74506"/>
                <a:gd name="connsiteY18" fmla="*/ 27319 h 31044"/>
                <a:gd name="connsiteX19" fmla="*/ 59295 w 74506"/>
                <a:gd name="connsiteY19" fmla="*/ 22042 h 31044"/>
                <a:gd name="connsiteX20" fmla="*/ 71713 w 74506"/>
                <a:gd name="connsiteY20" fmla="*/ 14591 h 31044"/>
                <a:gd name="connsiteX21" fmla="*/ 76059 w 74506"/>
                <a:gd name="connsiteY21" fmla="*/ 14591 h 31044"/>
                <a:gd name="connsiteX22" fmla="*/ 63641 w 74506"/>
                <a:gd name="connsiteY22" fmla="*/ 9313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74506" h="31044">
                  <a:moveTo>
                    <a:pt x="46877" y="3104"/>
                  </a:moveTo>
                  <a:lnTo>
                    <a:pt x="32286" y="0"/>
                  </a:lnTo>
                  <a:lnTo>
                    <a:pt x="21731" y="5278"/>
                  </a:lnTo>
                  <a:lnTo>
                    <a:pt x="10245" y="10555"/>
                  </a:lnTo>
                  <a:lnTo>
                    <a:pt x="0" y="14591"/>
                  </a:lnTo>
                  <a:lnTo>
                    <a:pt x="0" y="31666"/>
                  </a:lnTo>
                  <a:lnTo>
                    <a:pt x="12418" y="27319"/>
                  </a:lnTo>
                  <a:lnTo>
                    <a:pt x="21731" y="25457"/>
                  </a:lnTo>
                  <a:lnTo>
                    <a:pt x="30113" y="20179"/>
                  </a:lnTo>
                  <a:lnTo>
                    <a:pt x="39427" y="10555"/>
                  </a:lnTo>
                  <a:lnTo>
                    <a:pt x="42531" y="10555"/>
                  </a:lnTo>
                  <a:lnTo>
                    <a:pt x="41600" y="14591"/>
                  </a:lnTo>
                  <a:lnTo>
                    <a:pt x="39427" y="16764"/>
                  </a:lnTo>
                  <a:lnTo>
                    <a:pt x="39427" y="18006"/>
                  </a:lnTo>
                  <a:lnTo>
                    <a:pt x="37564" y="20179"/>
                  </a:lnTo>
                  <a:lnTo>
                    <a:pt x="34460" y="22042"/>
                  </a:lnTo>
                  <a:lnTo>
                    <a:pt x="32286" y="24215"/>
                  </a:lnTo>
                  <a:lnTo>
                    <a:pt x="32286" y="31666"/>
                  </a:lnTo>
                  <a:lnTo>
                    <a:pt x="46877" y="27319"/>
                  </a:lnTo>
                  <a:lnTo>
                    <a:pt x="59295" y="22042"/>
                  </a:lnTo>
                  <a:lnTo>
                    <a:pt x="71713" y="14591"/>
                  </a:lnTo>
                  <a:lnTo>
                    <a:pt x="76059" y="14591"/>
                  </a:lnTo>
                  <a:lnTo>
                    <a:pt x="63641" y="931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4CBD329D-77BF-45DF-9A94-AAAA6D787A31}"/>
                </a:ext>
              </a:extLst>
            </p:cNvPr>
            <p:cNvSpPr/>
            <p:nvPr/>
          </p:nvSpPr>
          <p:spPr>
            <a:xfrm>
              <a:off x="4403305" y="5779417"/>
              <a:ext cx="34149" cy="31045"/>
            </a:xfrm>
            <a:custGeom>
              <a:avLst/>
              <a:gdLst>
                <a:gd name="connsiteX0" fmla="*/ 27009 w 34149"/>
                <a:gd name="connsiteY0" fmla="*/ 23283 h 31044"/>
                <a:gd name="connsiteX1" fmla="*/ 26078 w 34149"/>
                <a:gd name="connsiteY1" fmla="*/ 22042 h 31044"/>
                <a:gd name="connsiteX2" fmla="*/ 23904 w 34149"/>
                <a:gd name="connsiteY2" fmla="*/ 22042 h 31044"/>
                <a:gd name="connsiteX3" fmla="*/ 19558 w 34149"/>
                <a:gd name="connsiteY3" fmla="*/ 22042 h 31044"/>
                <a:gd name="connsiteX4" fmla="*/ 16454 w 34149"/>
                <a:gd name="connsiteY4" fmla="*/ 20179 h 31044"/>
                <a:gd name="connsiteX5" fmla="*/ 16454 w 34149"/>
                <a:gd name="connsiteY5" fmla="*/ 0 h 31044"/>
                <a:gd name="connsiteX6" fmla="*/ 12418 w 34149"/>
                <a:gd name="connsiteY6" fmla="*/ 0 h 31044"/>
                <a:gd name="connsiteX7" fmla="*/ 4967 w 34149"/>
                <a:gd name="connsiteY7" fmla="*/ 12728 h 31044"/>
                <a:gd name="connsiteX8" fmla="*/ 0 w 34149"/>
                <a:gd name="connsiteY8" fmla="*/ 12728 h 31044"/>
                <a:gd name="connsiteX9" fmla="*/ 0 w 34149"/>
                <a:gd name="connsiteY9" fmla="*/ 15833 h 31044"/>
                <a:gd name="connsiteX10" fmla="*/ 11487 w 34149"/>
                <a:gd name="connsiteY10" fmla="*/ 20179 h 31044"/>
                <a:gd name="connsiteX11" fmla="*/ 21731 w 34149"/>
                <a:gd name="connsiteY11" fmla="*/ 25457 h 31044"/>
                <a:gd name="connsiteX12" fmla="*/ 29182 w 34149"/>
                <a:gd name="connsiteY12" fmla="*/ 30734 h 31044"/>
                <a:gd name="connsiteX13" fmla="*/ 33218 w 34149"/>
                <a:gd name="connsiteY13" fmla="*/ 32907 h 31044"/>
                <a:gd name="connsiteX14" fmla="*/ 34149 w 34149"/>
                <a:gd name="connsiteY14" fmla="*/ 30734 h 31044"/>
                <a:gd name="connsiteX15" fmla="*/ 34149 w 34149"/>
                <a:gd name="connsiteY15" fmla="*/ 29492 h 31044"/>
                <a:gd name="connsiteX16" fmla="*/ 36322 w 34149"/>
                <a:gd name="connsiteY16" fmla="*/ 27319 h 31044"/>
                <a:gd name="connsiteX17" fmla="*/ 36322 w 34149"/>
                <a:gd name="connsiteY17" fmla="*/ 23283 h 31044"/>
                <a:gd name="connsiteX18" fmla="*/ 29182 w 34149"/>
                <a:gd name="connsiteY18" fmla="*/ 23283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149" h="31044">
                  <a:moveTo>
                    <a:pt x="27009" y="23283"/>
                  </a:moveTo>
                  <a:lnTo>
                    <a:pt x="26078" y="22042"/>
                  </a:lnTo>
                  <a:lnTo>
                    <a:pt x="23904" y="22042"/>
                  </a:lnTo>
                  <a:lnTo>
                    <a:pt x="19558" y="22042"/>
                  </a:lnTo>
                  <a:lnTo>
                    <a:pt x="16454" y="20179"/>
                  </a:lnTo>
                  <a:lnTo>
                    <a:pt x="16454" y="0"/>
                  </a:lnTo>
                  <a:lnTo>
                    <a:pt x="12418" y="0"/>
                  </a:lnTo>
                  <a:lnTo>
                    <a:pt x="4967" y="12728"/>
                  </a:lnTo>
                  <a:lnTo>
                    <a:pt x="0" y="12728"/>
                  </a:lnTo>
                  <a:lnTo>
                    <a:pt x="0" y="15833"/>
                  </a:lnTo>
                  <a:lnTo>
                    <a:pt x="11487" y="20179"/>
                  </a:lnTo>
                  <a:lnTo>
                    <a:pt x="21731" y="25457"/>
                  </a:lnTo>
                  <a:lnTo>
                    <a:pt x="29182" y="30734"/>
                  </a:lnTo>
                  <a:lnTo>
                    <a:pt x="33218" y="32907"/>
                  </a:lnTo>
                  <a:lnTo>
                    <a:pt x="34149" y="30734"/>
                  </a:lnTo>
                  <a:lnTo>
                    <a:pt x="34149" y="29492"/>
                  </a:lnTo>
                  <a:lnTo>
                    <a:pt x="36322" y="27319"/>
                  </a:lnTo>
                  <a:lnTo>
                    <a:pt x="36322" y="23283"/>
                  </a:lnTo>
                  <a:lnTo>
                    <a:pt x="29182" y="232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EDFAD0F7-7460-4479-B679-3178A17985FE}"/>
                </a:ext>
              </a:extLst>
            </p:cNvPr>
            <p:cNvSpPr/>
            <p:nvPr/>
          </p:nvSpPr>
          <p:spPr>
            <a:xfrm>
              <a:off x="4237527" y="6453395"/>
              <a:ext cx="12418" cy="18627"/>
            </a:xfrm>
            <a:custGeom>
              <a:avLst/>
              <a:gdLst>
                <a:gd name="connsiteX0" fmla="*/ 4346 w 12417"/>
                <a:gd name="connsiteY0" fmla="*/ 15833 h 18626"/>
                <a:gd name="connsiteX1" fmla="*/ 6209 w 12417"/>
                <a:gd name="connsiteY1" fmla="*/ 20179 h 18626"/>
                <a:gd name="connsiteX2" fmla="*/ 14591 w 12417"/>
                <a:gd name="connsiteY2" fmla="*/ 20179 h 18626"/>
                <a:gd name="connsiteX3" fmla="*/ 13660 w 12417"/>
                <a:gd name="connsiteY3" fmla="*/ 14901 h 18626"/>
                <a:gd name="connsiteX4" fmla="*/ 13660 w 12417"/>
                <a:gd name="connsiteY4" fmla="*/ 10555 h 18626"/>
                <a:gd name="connsiteX5" fmla="*/ 11487 w 12417"/>
                <a:gd name="connsiteY5" fmla="*/ 7451 h 18626"/>
                <a:gd name="connsiteX6" fmla="*/ 9313 w 12417"/>
                <a:gd name="connsiteY6" fmla="*/ 5277 h 18626"/>
                <a:gd name="connsiteX7" fmla="*/ 6209 w 12417"/>
                <a:gd name="connsiteY7" fmla="*/ 3104 h 18626"/>
                <a:gd name="connsiteX8" fmla="*/ 2173 w 12417"/>
                <a:gd name="connsiteY8" fmla="*/ 0 h 18626"/>
                <a:gd name="connsiteX9" fmla="*/ 2173 w 12417"/>
                <a:gd name="connsiteY9" fmla="*/ 5277 h 18626"/>
                <a:gd name="connsiteX10" fmla="*/ 0 w 12417"/>
                <a:gd name="connsiteY10" fmla="*/ 8382 h 18626"/>
                <a:gd name="connsiteX11" fmla="*/ 2173 w 12417"/>
                <a:gd name="connsiteY11" fmla="*/ 10555 h 18626"/>
                <a:gd name="connsiteX12" fmla="*/ 2173 w 12417"/>
                <a:gd name="connsiteY12" fmla="*/ 12728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8626">
                  <a:moveTo>
                    <a:pt x="4346" y="15833"/>
                  </a:moveTo>
                  <a:lnTo>
                    <a:pt x="6209" y="20179"/>
                  </a:lnTo>
                  <a:lnTo>
                    <a:pt x="14591" y="20179"/>
                  </a:lnTo>
                  <a:lnTo>
                    <a:pt x="13660" y="14901"/>
                  </a:lnTo>
                  <a:lnTo>
                    <a:pt x="13660" y="10555"/>
                  </a:lnTo>
                  <a:lnTo>
                    <a:pt x="11487" y="7451"/>
                  </a:lnTo>
                  <a:lnTo>
                    <a:pt x="9313" y="5277"/>
                  </a:lnTo>
                  <a:lnTo>
                    <a:pt x="6209" y="3104"/>
                  </a:lnTo>
                  <a:lnTo>
                    <a:pt x="2173" y="0"/>
                  </a:lnTo>
                  <a:lnTo>
                    <a:pt x="2173" y="5277"/>
                  </a:lnTo>
                  <a:lnTo>
                    <a:pt x="0" y="8382"/>
                  </a:lnTo>
                  <a:lnTo>
                    <a:pt x="2173" y="10555"/>
                  </a:lnTo>
                  <a:lnTo>
                    <a:pt x="2173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48E3D486-862D-457A-A9CA-124E60588142}"/>
                </a:ext>
              </a:extLst>
            </p:cNvPr>
            <p:cNvSpPr/>
            <p:nvPr/>
          </p:nvSpPr>
          <p:spPr>
            <a:xfrm>
              <a:off x="4152155" y="6693680"/>
              <a:ext cx="58985" cy="52776"/>
            </a:xfrm>
            <a:custGeom>
              <a:avLst/>
              <a:gdLst>
                <a:gd name="connsiteX0" fmla="*/ 29182 w 58984"/>
                <a:gd name="connsiteY0" fmla="*/ 22352 h 52775"/>
                <a:gd name="connsiteX1" fmla="*/ 14591 w 58984"/>
                <a:gd name="connsiteY1" fmla="*/ 8382 h 52775"/>
                <a:gd name="connsiteX2" fmla="*/ 0 w 58984"/>
                <a:gd name="connsiteY2" fmla="*/ 0 h 52775"/>
                <a:gd name="connsiteX3" fmla="*/ 0 w 58984"/>
                <a:gd name="connsiteY3" fmla="*/ 15833 h 52775"/>
                <a:gd name="connsiteX4" fmla="*/ 4036 w 58984"/>
                <a:gd name="connsiteY4" fmla="*/ 34770 h 52775"/>
                <a:gd name="connsiteX5" fmla="*/ 7451 w 58984"/>
                <a:gd name="connsiteY5" fmla="*/ 49671 h 52775"/>
                <a:gd name="connsiteX6" fmla="*/ 14591 w 58984"/>
                <a:gd name="connsiteY6" fmla="*/ 51844 h 52775"/>
                <a:gd name="connsiteX7" fmla="*/ 27009 w 58984"/>
                <a:gd name="connsiteY7" fmla="*/ 54949 h 52775"/>
                <a:gd name="connsiteX8" fmla="*/ 41600 w 58984"/>
                <a:gd name="connsiteY8" fmla="*/ 54949 h 52775"/>
                <a:gd name="connsiteX9" fmla="*/ 50913 w 58984"/>
                <a:gd name="connsiteY9" fmla="*/ 52776 h 52775"/>
                <a:gd name="connsiteX10" fmla="*/ 60537 w 58984"/>
                <a:gd name="connsiteY10" fmla="*/ 52776 h 52775"/>
                <a:gd name="connsiteX11" fmla="*/ 60537 w 58984"/>
                <a:gd name="connsiteY11" fmla="*/ 44394 h 52775"/>
                <a:gd name="connsiteX12" fmla="*/ 43773 w 58984"/>
                <a:gd name="connsiteY12" fmla="*/ 34770 h 52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8984" h="52775">
                  <a:moveTo>
                    <a:pt x="29182" y="22352"/>
                  </a:moveTo>
                  <a:lnTo>
                    <a:pt x="14591" y="8382"/>
                  </a:lnTo>
                  <a:lnTo>
                    <a:pt x="0" y="0"/>
                  </a:lnTo>
                  <a:lnTo>
                    <a:pt x="0" y="15833"/>
                  </a:lnTo>
                  <a:lnTo>
                    <a:pt x="4036" y="34770"/>
                  </a:lnTo>
                  <a:lnTo>
                    <a:pt x="7451" y="49671"/>
                  </a:lnTo>
                  <a:lnTo>
                    <a:pt x="14591" y="51844"/>
                  </a:lnTo>
                  <a:lnTo>
                    <a:pt x="27009" y="54949"/>
                  </a:lnTo>
                  <a:lnTo>
                    <a:pt x="41600" y="54949"/>
                  </a:lnTo>
                  <a:lnTo>
                    <a:pt x="50913" y="52776"/>
                  </a:lnTo>
                  <a:lnTo>
                    <a:pt x="60537" y="52776"/>
                  </a:lnTo>
                  <a:lnTo>
                    <a:pt x="60537" y="44394"/>
                  </a:lnTo>
                  <a:lnTo>
                    <a:pt x="43773" y="3477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953FCBB5-390A-4368-B2E5-5A33DD477C30}"/>
                </a:ext>
              </a:extLst>
            </p:cNvPr>
            <p:cNvSpPr/>
            <p:nvPr/>
          </p:nvSpPr>
          <p:spPr>
            <a:xfrm>
              <a:off x="4063677" y="5497843"/>
              <a:ext cx="86925" cy="34149"/>
            </a:xfrm>
            <a:custGeom>
              <a:avLst/>
              <a:gdLst>
                <a:gd name="connsiteX0" fmla="*/ 88477 w 86924"/>
                <a:gd name="connsiteY0" fmla="*/ 17075 h 34149"/>
                <a:gd name="connsiteX1" fmla="*/ 70782 w 86924"/>
                <a:gd name="connsiteY1" fmla="*/ 11797 h 34149"/>
                <a:gd name="connsiteX2" fmla="*/ 56191 w 86924"/>
                <a:gd name="connsiteY2" fmla="*/ 6519 h 34149"/>
                <a:gd name="connsiteX3" fmla="*/ 37564 w 86924"/>
                <a:gd name="connsiteY3" fmla="*/ 2173 h 34149"/>
                <a:gd name="connsiteX4" fmla="*/ 15522 w 86924"/>
                <a:gd name="connsiteY4" fmla="*/ 0 h 34149"/>
                <a:gd name="connsiteX5" fmla="*/ 17695 w 86924"/>
                <a:gd name="connsiteY5" fmla="*/ 6519 h 34149"/>
                <a:gd name="connsiteX6" fmla="*/ 19869 w 86924"/>
                <a:gd name="connsiteY6" fmla="*/ 9624 h 34149"/>
                <a:gd name="connsiteX7" fmla="*/ 21731 w 86924"/>
                <a:gd name="connsiteY7" fmla="*/ 11797 h 34149"/>
                <a:gd name="connsiteX8" fmla="*/ 24836 w 86924"/>
                <a:gd name="connsiteY8" fmla="*/ 14902 h 34149"/>
                <a:gd name="connsiteX9" fmla="*/ 29182 w 86924"/>
                <a:gd name="connsiteY9" fmla="*/ 17075 h 34149"/>
                <a:gd name="connsiteX10" fmla="*/ 22973 w 86924"/>
                <a:gd name="connsiteY10" fmla="*/ 18937 h 34149"/>
                <a:gd name="connsiteX11" fmla="*/ 15522 w 86924"/>
                <a:gd name="connsiteY11" fmla="*/ 21110 h 34149"/>
                <a:gd name="connsiteX12" fmla="*/ 9313 w 86924"/>
                <a:gd name="connsiteY12" fmla="*/ 21110 h 34149"/>
                <a:gd name="connsiteX13" fmla="*/ 0 w 86924"/>
                <a:gd name="connsiteY13" fmla="*/ 21110 h 34149"/>
                <a:gd name="connsiteX14" fmla="*/ 5278 w 86924"/>
                <a:gd name="connsiteY14" fmla="*/ 33839 h 34149"/>
                <a:gd name="connsiteX15" fmla="*/ 15522 w 86924"/>
                <a:gd name="connsiteY15" fmla="*/ 33839 h 34149"/>
                <a:gd name="connsiteX16" fmla="*/ 30113 w 86924"/>
                <a:gd name="connsiteY16" fmla="*/ 36012 h 34149"/>
                <a:gd name="connsiteX17" fmla="*/ 43773 w 86924"/>
                <a:gd name="connsiteY17" fmla="*/ 36943 h 34149"/>
                <a:gd name="connsiteX18" fmla="*/ 49050 w 86924"/>
                <a:gd name="connsiteY18" fmla="*/ 36943 h 34149"/>
                <a:gd name="connsiteX19" fmla="*/ 52155 w 86924"/>
                <a:gd name="connsiteY19" fmla="*/ 26388 h 34149"/>
                <a:gd name="connsiteX20" fmla="*/ 54018 w 86924"/>
                <a:gd name="connsiteY20" fmla="*/ 24525 h 34149"/>
                <a:gd name="connsiteX21" fmla="*/ 56191 w 86924"/>
                <a:gd name="connsiteY21" fmla="*/ 26388 h 34149"/>
                <a:gd name="connsiteX22" fmla="*/ 58364 w 86924"/>
                <a:gd name="connsiteY22" fmla="*/ 28561 h 34149"/>
                <a:gd name="connsiteX23" fmla="*/ 59295 w 86924"/>
                <a:gd name="connsiteY23" fmla="*/ 29803 h 34149"/>
                <a:gd name="connsiteX24" fmla="*/ 59295 w 86924"/>
                <a:gd name="connsiteY24" fmla="*/ 31666 h 34149"/>
                <a:gd name="connsiteX25" fmla="*/ 59295 w 86924"/>
                <a:gd name="connsiteY25" fmla="*/ 33839 h 34149"/>
                <a:gd name="connsiteX26" fmla="*/ 65504 w 86924"/>
                <a:gd name="connsiteY26" fmla="*/ 33839 h 34149"/>
                <a:gd name="connsiteX27" fmla="*/ 68609 w 86924"/>
                <a:gd name="connsiteY27" fmla="*/ 31666 h 34149"/>
                <a:gd name="connsiteX28" fmla="*/ 72955 w 86924"/>
                <a:gd name="connsiteY28" fmla="*/ 29803 h 34149"/>
                <a:gd name="connsiteX29" fmla="*/ 77922 w 86924"/>
                <a:gd name="connsiteY29" fmla="*/ 28561 h 34149"/>
                <a:gd name="connsiteX30" fmla="*/ 81337 w 86924"/>
                <a:gd name="connsiteY30" fmla="*/ 26388 h 34149"/>
                <a:gd name="connsiteX31" fmla="*/ 88477 w 86924"/>
                <a:gd name="connsiteY31" fmla="*/ 26388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86924" h="34149">
                  <a:moveTo>
                    <a:pt x="88477" y="17075"/>
                  </a:moveTo>
                  <a:lnTo>
                    <a:pt x="70782" y="11797"/>
                  </a:lnTo>
                  <a:lnTo>
                    <a:pt x="56191" y="6519"/>
                  </a:lnTo>
                  <a:lnTo>
                    <a:pt x="37564" y="2173"/>
                  </a:lnTo>
                  <a:lnTo>
                    <a:pt x="15522" y="0"/>
                  </a:lnTo>
                  <a:lnTo>
                    <a:pt x="17695" y="6519"/>
                  </a:lnTo>
                  <a:lnTo>
                    <a:pt x="19869" y="9624"/>
                  </a:lnTo>
                  <a:lnTo>
                    <a:pt x="21731" y="11797"/>
                  </a:lnTo>
                  <a:lnTo>
                    <a:pt x="24836" y="14902"/>
                  </a:lnTo>
                  <a:lnTo>
                    <a:pt x="29182" y="17075"/>
                  </a:lnTo>
                  <a:lnTo>
                    <a:pt x="22973" y="18937"/>
                  </a:lnTo>
                  <a:lnTo>
                    <a:pt x="15522" y="21110"/>
                  </a:lnTo>
                  <a:lnTo>
                    <a:pt x="9313" y="21110"/>
                  </a:lnTo>
                  <a:lnTo>
                    <a:pt x="0" y="21110"/>
                  </a:lnTo>
                  <a:lnTo>
                    <a:pt x="5278" y="33839"/>
                  </a:lnTo>
                  <a:lnTo>
                    <a:pt x="15522" y="33839"/>
                  </a:lnTo>
                  <a:lnTo>
                    <a:pt x="30113" y="36012"/>
                  </a:lnTo>
                  <a:lnTo>
                    <a:pt x="43773" y="36943"/>
                  </a:lnTo>
                  <a:lnTo>
                    <a:pt x="49050" y="36943"/>
                  </a:lnTo>
                  <a:lnTo>
                    <a:pt x="52155" y="26388"/>
                  </a:lnTo>
                  <a:lnTo>
                    <a:pt x="54018" y="24525"/>
                  </a:lnTo>
                  <a:lnTo>
                    <a:pt x="56191" y="26388"/>
                  </a:lnTo>
                  <a:lnTo>
                    <a:pt x="58364" y="28561"/>
                  </a:lnTo>
                  <a:lnTo>
                    <a:pt x="59295" y="29803"/>
                  </a:lnTo>
                  <a:lnTo>
                    <a:pt x="59295" y="31666"/>
                  </a:lnTo>
                  <a:lnTo>
                    <a:pt x="59295" y="33839"/>
                  </a:lnTo>
                  <a:lnTo>
                    <a:pt x="65504" y="33839"/>
                  </a:lnTo>
                  <a:lnTo>
                    <a:pt x="68609" y="31666"/>
                  </a:lnTo>
                  <a:lnTo>
                    <a:pt x="72955" y="29803"/>
                  </a:lnTo>
                  <a:lnTo>
                    <a:pt x="77922" y="28561"/>
                  </a:lnTo>
                  <a:lnTo>
                    <a:pt x="81337" y="26388"/>
                  </a:lnTo>
                  <a:lnTo>
                    <a:pt x="88477" y="2638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1503B339-C3D8-4AAC-B8F9-B90B9BA90214}"/>
                </a:ext>
              </a:extLst>
            </p:cNvPr>
            <p:cNvSpPr/>
            <p:nvPr/>
          </p:nvSpPr>
          <p:spPr>
            <a:xfrm>
              <a:off x="4215796" y="5526404"/>
              <a:ext cx="34149" cy="12418"/>
            </a:xfrm>
            <a:custGeom>
              <a:avLst/>
              <a:gdLst>
                <a:gd name="connsiteX0" fmla="*/ 27940 w 34149"/>
                <a:gd name="connsiteY0" fmla="*/ 12728 h 12417"/>
                <a:gd name="connsiteX1" fmla="*/ 31045 w 34149"/>
                <a:gd name="connsiteY1" fmla="*/ 10555 h 12417"/>
                <a:gd name="connsiteX2" fmla="*/ 33218 w 34149"/>
                <a:gd name="connsiteY2" fmla="*/ 7451 h 12417"/>
                <a:gd name="connsiteX3" fmla="*/ 36322 w 34149"/>
                <a:gd name="connsiteY3" fmla="*/ 5278 h 12417"/>
                <a:gd name="connsiteX4" fmla="*/ 27940 w 34149"/>
                <a:gd name="connsiteY4" fmla="*/ 1242 h 12417"/>
                <a:gd name="connsiteX5" fmla="*/ 20800 w 34149"/>
                <a:gd name="connsiteY5" fmla="*/ 0 h 12417"/>
                <a:gd name="connsiteX6" fmla="*/ 13349 w 34149"/>
                <a:gd name="connsiteY6" fmla="*/ 0 h 12417"/>
                <a:gd name="connsiteX7" fmla="*/ 0 w 34149"/>
                <a:gd name="connsiteY7" fmla="*/ 1242 h 12417"/>
                <a:gd name="connsiteX8" fmla="*/ 0 w 34149"/>
                <a:gd name="connsiteY8" fmla="*/ 12728 h 12417"/>
                <a:gd name="connsiteX9" fmla="*/ 6209 w 34149"/>
                <a:gd name="connsiteY9" fmla="*/ 10555 h 12417"/>
                <a:gd name="connsiteX10" fmla="*/ 11487 w 34149"/>
                <a:gd name="connsiteY10" fmla="*/ 10555 h 12417"/>
                <a:gd name="connsiteX11" fmla="*/ 16454 w 34149"/>
                <a:gd name="connsiteY11" fmla="*/ 10555 h 12417"/>
                <a:gd name="connsiteX12" fmla="*/ 21731 w 34149"/>
                <a:gd name="connsiteY12" fmla="*/ 12728 h 124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4149" h="12417">
                  <a:moveTo>
                    <a:pt x="27940" y="12728"/>
                  </a:moveTo>
                  <a:lnTo>
                    <a:pt x="31045" y="10555"/>
                  </a:lnTo>
                  <a:lnTo>
                    <a:pt x="33218" y="7451"/>
                  </a:lnTo>
                  <a:lnTo>
                    <a:pt x="36322" y="5278"/>
                  </a:lnTo>
                  <a:lnTo>
                    <a:pt x="27940" y="1242"/>
                  </a:lnTo>
                  <a:lnTo>
                    <a:pt x="20800" y="0"/>
                  </a:lnTo>
                  <a:lnTo>
                    <a:pt x="13349" y="0"/>
                  </a:lnTo>
                  <a:lnTo>
                    <a:pt x="0" y="1242"/>
                  </a:lnTo>
                  <a:lnTo>
                    <a:pt x="0" y="12728"/>
                  </a:lnTo>
                  <a:lnTo>
                    <a:pt x="6209" y="10555"/>
                  </a:lnTo>
                  <a:lnTo>
                    <a:pt x="11487" y="10555"/>
                  </a:lnTo>
                  <a:lnTo>
                    <a:pt x="16454" y="10555"/>
                  </a:lnTo>
                  <a:lnTo>
                    <a:pt x="21731" y="12728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1AFDFFED-7DF4-42C1-8D20-DCEE57CFEFE3}"/>
                </a:ext>
              </a:extLst>
            </p:cNvPr>
            <p:cNvSpPr/>
            <p:nvPr/>
          </p:nvSpPr>
          <p:spPr>
            <a:xfrm>
              <a:off x="4066782" y="5047076"/>
              <a:ext cx="12418" cy="15522"/>
            </a:xfrm>
            <a:custGeom>
              <a:avLst/>
              <a:gdLst>
                <a:gd name="connsiteX0" fmla="*/ 6209 w 12417"/>
                <a:gd name="connsiteY0" fmla="*/ 17075 h 15522"/>
                <a:gd name="connsiteX1" fmla="*/ 7140 w 12417"/>
                <a:gd name="connsiteY1" fmla="*/ 11487 h 15522"/>
                <a:gd name="connsiteX2" fmla="*/ 7140 w 12417"/>
                <a:gd name="connsiteY2" fmla="*/ 9624 h 15522"/>
                <a:gd name="connsiteX3" fmla="*/ 9313 w 12417"/>
                <a:gd name="connsiteY3" fmla="*/ 6209 h 15522"/>
                <a:gd name="connsiteX4" fmla="*/ 11487 w 12417"/>
                <a:gd name="connsiteY4" fmla="*/ 4346 h 15522"/>
                <a:gd name="connsiteX5" fmla="*/ 12418 w 12417"/>
                <a:gd name="connsiteY5" fmla="*/ 0 h 15522"/>
                <a:gd name="connsiteX6" fmla="*/ 9313 w 12417"/>
                <a:gd name="connsiteY6" fmla="*/ 0 h 15522"/>
                <a:gd name="connsiteX7" fmla="*/ 7140 w 12417"/>
                <a:gd name="connsiteY7" fmla="*/ 4346 h 15522"/>
                <a:gd name="connsiteX8" fmla="*/ 4036 w 12417"/>
                <a:gd name="connsiteY8" fmla="*/ 7451 h 15522"/>
                <a:gd name="connsiteX9" fmla="*/ 2173 w 12417"/>
                <a:gd name="connsiteY9" fmla="*/ 9624 h 15522"/>
                <a:gd name="connsiteX10" fmla="*/ 0 w 12417"/>
                <a:gd name="connsiteY10" fmla="*/ 11487 h 15522"/>
                <a:gd name="connsiteX11" fmla="*/ 0 w 12417"/>
                <a:gd name="connsiteY11" fmla="*/ 13660 h 15522"/>
                <a:gd name="connsiteX12" fmla="*/ 2173 w 12417"/>
                <a:gd name="connsiteY12" fmla="*/ 14901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2417" h="15522">
                  <a:moveTo>
                    <a:pt x="6209" y="17075"/>
                  </a:moveTo>
                  <a:lnTo>
                    <a:pt x="7140" y="11487"/>
                  </a:lnTo>
                  <a:lnTo>
                    <a:pt x="7140" y="9624"/>
                  </a:lnTo>
                  <a:lnTo>
                    <a:pt x="9313" y="6209"/>
                  </a:lnTo>
                  <a:lnTo>
                    <a:pt x="11487" y="4346"/>
                  </a:lnTo>
                  <a:lnTo>
                    <a:pt x="12418" y="0"/>
                  </a:lnTo>
                  <a:lnTo>
                    <a:pt x="9313" y="0"/>
                  </a:lnTo>
                  <a:lnTo>
                    <a:pt x="7140" y="4346"/>
                  </a:lnTo>
                  <a:lnTo>
                    <a:pt x="4036" y="7451"/>
                  </a:lnTo>
                  <a:lnTo>
                    <a:pt x="2173" y="9624"/>
                  </a:lnTo>
                  <a:lnTo>
                    <a:pt x="0" y="11487"/>
                  </a:lnTo>
                  <a:lnTo>
                    <a:pt x="0" y="13660"/>
                  </a:lnTo>
                  <a:lnTo>
                    <a:pt x="2173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460195A2-B393-47D7-BD75-BCC4616CAD41}"/>
                </a:ext>
              </a:extLst>
            </p:cNvPr>
            <p:cNvSpPr/>
            <p:nvPr/>
          </p:nvSpPr>
          <p:spPr>
            <a:xfrm>
              <a:off x="3707286" y="4372477"/>
              <a:ext cx="55880" cy="43462"/>
            </a:xfrm>
            <a:custGeom>
              <a:avLst/>
              <a:gdLst>
                <a:gd name="connsiteX0" fmla="*/ 16764 w 55880"/>
                <a:gd name="connsiteY0" fmla="*/ 37564 h 43462"/>
                <a:gd name="connsiteX1" fmla="*/ 23904 w 55880"/>
                <a:gd name="connsiteY1" fmla="*/ 45015 h 43462"/>
                <a:gd name="connsiteX2" fmla="*/ 32286 w 55880"/>
                <a:gd name="connsiteY2" fmla="*/ 45015 h 43462"/>
                <a:gd name="connsiteX3" fmla="*/ 38495 w 55880"/>
                <a:gd name="connsiteY3" fmla="*/ 44083 h 43462"/>
                <a:gd name="connsiteX4" fmla="*/ 43773 w 55880"/>
                <a:gd name="connsiteY4" fmla="*/ 44083 h 43462"/>
                <a:gd name="connsiteX5" fmla="*/ 46877 w 55880"/>
                <a:gd name="connsiteY5" fmla="*/ 41910 h 43462"/>
                <a:gd name="connsiteX6" fmla="*/ 51224 w 55880"/>
                <a:gd name="connsiteY6" fmla="*/ 36633 h 43462"/>
                <a:gd name="connsiteX7" fmla="*/ 56191 w 55880"/>
                <a:gd name="connsiteY7" fmla="*/ 36633 h 43462"/>
                <a:gd name="connsiteX8" fmla="*/ 41600 w 55880"/>
                <a:gd name="connsiteY8" fmla="*/ 22973 h 43462"/>
                <a:gd name="connsiteX9" fmla="*/ 27009 w 55880"/>
                <a:gd name="connsiteY9" fmla="*/ 10245 h 43462"/>
                <a:gd name="connsiteX10" fmla="*/ 10555 w 55880"/>
                <a:gd name="connsiteY10" fmla="*/ 0 h 43462"/>
                <a:gd name="connsiteX11" fmla="*/ 12418 w 55880"/>
                <a:gd name="connsiteY11" fmla="*/ 7140 h 43462"/>
                <a:gd name="connsiteX12" fmla="*/ 12418 w 55880"/>
                <a:gd name="connsiteY12" fmla="*/ 10245 h 43462"/>
                <a:gd name="connsiteX13" fmla="*/ 14591 w 55880"/>
                <a:gd name="connsiteY13" fmla="*/ 12418 h 43462"/>
                <a:gd name="connsiteX14" fmla="*/ 16764 w 55880"/>
                <a:gd name="connsiteY14" fmla="*/ 15522 h 43462"/>
                <a:gd name="connsiteX15" fmla="*/ 0 w 55880"/>
                <a:gd name="connsiteY15" fmla="*/ 25146 h 43462"/>
                <a:gd name="connsiteX16" fmla="*/ 0 w 55880"/>
                <a:gd name="connsiteY16" fmla="*/ 29182 h 43462"/>
                <a:gd name="connsiteX17" fmla="*/ 9313 w 55880"/>
                <a:gd name="connsiteY17" fmla="*/ 32286 h 4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55880" h="43462">
                  <a:moveTo>
                    <a:pt x="16764" y="37564"/>
                  </a:moveTo>
                  <a:lnTo>
                    <a:pt x="23904" y="45015"/>
                  </a:lnTo>
                  <a:lnTo>
                    <a:pt x="32286" y="45015"/>
                  </a:lnTo>
                  <a:lnTo>
                    <a:pt x="38495" y="44083"/>
                  </a:lnTo>
                  <a:lnTo>
                    <a:pt x="43773" y="44083"/>
                  </a:lnTo>
                  <a:lnTo>
                    <a:pt x="46877" y="41910"/>
                  </a:lnTo>
                  <a:lnTo>
                    <a:pt x="51224" y="36633"/>
                  </a:lnTo>
                  <a:lnTo>
                    <a:pt x="56191" y="36633"/>
                  </a:lnTo>
                  <a:lnTo>
                    <a:pt x="41600" y="22973"/>
                  </a:lnTo>
                  <a:lnTo>
                    <a:pt x="27009" y="10245"/>
                  </a:lnTo>
                  <a:lnTo>
                    <a:pt x="10555" y="0"/>
                  </a:lnTo>
                  <a:lnTo>
                    <a:pt x="12418" y="7140"/>
                  </a:lnTo>
                  <a:lnTo>
                    <a:pt x="12418" y="10245"/>
                  </a:lnTo>
                  <a:lnTo>
                    <a:pt x="14591" y="12418"/>
                  </a:lnTo>
                  <a:lnTo>
                    <a:pt x="16764" y="15522"/>
                  </a:lnTo>
                  <a:lnTo>
                    <a:pt x="0" y="25146"/>
                  </a:lnTo>
                  <a:lnTo>
                    <a:pt x="0" y="29182"/>
                  </a:lnTo>
                  <a:lnTo>
                    <a:pt x="9313" y="3228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07488F51-B305-4689-86D4-0D744EB0A6C5}"/>
                </a:ext>
              </a:extLst>
            </p:cNvPr>
            <p:cNvSpPr/>
            <p:nvPr/>
          </p:nvSpPr>
          <p:spPr>
            <a:xfrm>
              <a:off x="3927081" y="4626422"/>
              <a:ext cx="24836" cy="21731"/>
            </a:xfrm>
            <a:custGeom>
              <a:avLst/>
              <a:gdLst>
                <a:gd name="connsiteX0" fmla="*/ 24215 w 24835"/>
                <a:gd name="connsiteY0" fmla="*/ 4346 h 21731"/>
                <a:gd name="connsiteX1" fmla="*/ 19869 w 24835"/>
                <a:gd name="connsiteY1" fmla="*/ 0 h 21731"/>
                <a:gd name="connsiteX2" fmla="*/ 14591 w 24835"/>
                <a:gd name="connsiteY2" fmla="*/ 6519 h 21731"/>
                <a:gd name="connsiteX3" fmla="*/ 7451 w 24835"/>
                <a:gd name="connsiteY3" fmla="*/ 9624 h 21731"/>
                <a:gd name="connsiteX4" fmla="*/ 0 w 24835"/>
                <a:gd name="connsiteY4" fmla="*/ 12728 h 21731"/>
                <a:gd name="connsiteX5" fmla="*/ 0 w 24835"/>
                <a:gd name="connsiteY5" fmla="*/ 17075 h 21731"/>
                <a:gd name="connsiteX6" fmla="*/ 4346 w 24835"/>
                <a:gd name="connsiteY6" fmla="*/ 17075 h 21731"/>
                <a:gd name="connsiteX7" fmla="*/ 9624 w 24835"/>
                <a:gd name="connsiteY7" fmla="*/ 20179 h 21731"/>
                <a:gd name="connsiteX8" fmla="*/ 16764 w 24835"/>
                <a:gd name="connsiteY8" fmla="*/ 22042 h 21731"/>
                <a:gd name="connsiteX9" fmla="*/ 24215 w 24835"/>
                <a:gd name="connsiteY9" fmla="*/ 24215 h 21731"/>
                <a:gd name="connsiteX10" fmla="*/ 24215 w 24835"/>
                <a:gd name="connsiteY10" fmla="*/ 20179 h 21731"/>
                <a:gd name="connsiteX11" fmla="*/ 27319 w 24835"/>
                <a:gd name="connsiteY11" fmla="*/ 20179 h 21731"/>
                <a:gd name="connsiteX12" fmla="*/ 27319 w 24835"/>
                <a:gd name="connsiteY12" fmla="*/ 14901 h 21731"/>
                <a:gd name="connsiteX13" fmla="*/ 27319 w 24835"/>
                <a:gd name="connsiteY13" fmla="*/ 11797 h 21731"/>
                <a:gd name="connsiteX14" fmla="*/ 26077 w 24835"/>
                <a:gd name="connsiteY14" fmla="*/ 7451 h 21731"/>
                <a:gd name="connsiteX15" fmla="*/ 26077 w 24835"/>
                <a:gd name="connsiteY15" fmla="*/ 6519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4835" h="21731">
                  <a:moveTo>
                    <a:pt x="24215" y="4346"/>
                  </a:moveTo>
                  <a:lnTo>
                    <a:pt x="19869" y="0"/>
                  </a:lnTo>
                  <a:lnTo>
                    <a:pt x="14591" y="6519"/>
                  </a:lnTo>
                  <a:lnTo>
                    <a:pt x="7451" y="9624"/>
                  </a:lnTo>
                  <a:lnTo>
                    <a:pt x="0" y="12728"/>
                  </a:lnTo>
                  <a:lnTo>
                    <a:pt x="0" y="17075"/>
                  </a:lnTo>
                  <a:lnTo>
                    <a:pt x="4346" y="17075"/>
                  </a:lnTo>
                  <a:lnTo>
                    <a:pt x="9624" y="20179"/>
                  </a:lnTo>
                  <a:lnTo>
                    <a:pt x="16764" y="22042"/>
                  </a:lnTo>
                  <a:lnTo>
                    <a:pt x="24215" y="24215"/>
                  </a:lnTo>
                  <a:lnTo>
                    <a:pt x="24215" y="20179"/>
                  </a:lnTo>
                  <a:lnTo>
                    <a:pt x="27319" y="20179"/>
                  </a:lnTo>
                  <a:lnTo>
                    <a:pt x="27319" y="14901"/>
                  </a:lnTo>
                  <a:lnTo>
                    <a:pt x="27319" y="11797"/>
                  </a:lnTo>
                  <a:lnTo>
                    <a:pt x="26077" y="7451"/>
                  </a:lnTo>
                  <a:lnTo>
                    <a:pt x="26077" y="651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4083C2-D6D4-4888-83DF-6052D89A1470}"/>
                </a:ext>
              </a:extLst>
            </p:cNvPr>
            <p:cNvSpPr/>
            <p:nvPr/>
          </p:nvSpPr>
          <p:spPr>
            <a:xfrm>
              <a:off x="3587454" y="4223153"/>
              <a:ext cx="37253" cy="31045"/>
            </a:xfrm>
            <a:custGeom>
              <a:avLst/>
              <a:gdLst>
                <a:gd name="connsiteX0" fmla="*/ 19869 w 37253"/>
                <a:gd name="connsiteY0" fmla="*/ 33528 h 31044"/>
                <a:gd name="connsiteX1" fmla="*/ 25146 w 37253"/>
                <a:gd name="connsiteY1" fmla="*/ 31665 h 31044"/>
                <a:gd name="connsiteX2" fmla="*/ 30424 w 37253"/>
                <a:gd name="connsiteY2" fmla="*/ 31665 h 31044"/>
                <a:gd name="connsiteX3" fmla="*/ 34460 w 37253"/>
                <a:gd name="connsiteY3" fmla="*/ 29492 h 31044"/>
                <a:gd name="connsiteX4" fmla="*/ 39737 w 37253"/>
                <a:gd name="connsiteY4" fmla="*/ 29492 h 31044"/>
                <a:gd name="connsiteX5" fmla="*/ 39737 w 37253"/>
                <a:gd name="connsiteY5" fmla="*/ 22042 h 31044"/>
                <a:gd name="connsiteX6" fmla="*/ 37564 w 37253"/>
                <a:gd name="connsiteY6" fmla="*/ 16764 h 31044"/>
                <a:gd name="connsiteX7" fmla="*/ 37564 w 37253"/>
                <a:gd name="connsiteY7" fmla="*/ 12728 h 31044"/>
                <a:gd name="connsiteX8" fmla="*/ 36633 w 37253"/>
                <a:gd name="connsiteY8" fmla="*/ 7451 h 31044"/>
                <a:gd name="connsiteX9" fmla="*/ 30424 w 37253"/>
                <a:gd name="connsiteY9" fmla="*/ 4346 h 31044"/>
                <a:gd name="connsiteX10" fmla="*/ 22973 w 37253"/>
                <a:gd name="connsiteY10" fmla="*/ 2173 h 31044"/>
                <a:gd name="connsiteX11" fmla="*/ 15833 w 37253"/>
                <a:gd name="connsiteY11" fmla="*/ 0 h 31044"/>
                <a:gd name="connsiteX12" fmla="*/ 7451 w 37253"/>
                <a:gd name="connsiteY12" fmla="*/ 0 h 31044"/>
                <a:gd name="connsiteX13" fmla="*/ 0 w 37253"/>
                <a:gd name="connsiteY13" fmla="*/ 16764 h 31044"/>
                <a:gd name="connsiteX14" fmla="*/ 10555 w 37253"/>
                <a:gd name="connsiteY14" fmla="*/ 24215 h 310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7253" h="31044">
                  <a:moveTo>
                    <a:pt x="19869" y="33528"/>
                  </a:moveTo>
                  <a:lnTo>
                    <a:pt x="25146" y="31665"/>
                  </a:lnTo>
                  <a:lnTo>
                    <a:pt x="30424" y="31665"/>
                  </a:lnTo>
                  <a:lnTo>
                    <a:pt x="34460" y="29492"/>
                  </a:lnTo>
                  <a:lnTo>
                    <a:pt x="39737" y="29492"/>
                  </a:lnTo>
                  <a:lnTo>
                    <a:pt x="39737" y="22042"/>
                  </a:lnTo>
                  <a:lnTo>
                    <a:pt x="37564" y="16764"/>
                  </a:lnTo>
                  <a:lnTo>
                    <a:pt x="37564" y="12728"/>
                  </a:lnTo>
                  <a:lnTo>
                    <a:pt x="36633" y="7451"/>
                  </a:lnTo>
                  <a:lnTo>
                    <a:pt x="30424" y="4346"/>
                  </a:lnTo>
                  <a:lnTo>
                    <a:pt x="22973" y="2173"/>
                  </a:lnTo>
                  <a:lnTo>
                    <a:pt x="15833" y="0"/>
                  </a:lnTo>
                  <a:lnTo>
                    <a:pt x="7451" y="0"/>
                  </a:lnTo>
                  <a:lnTo>
                    <a:pt x="0" y="16764"/>
                  </a:lnTo>
                  <a:lnTo>
                    <a:pt x="10555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9AA2F96F-3244-42F4-B193-90BD89981FFB}"/>
                </a:ext>
              </a:extLst>
            </p:cNvPr>
            <p:cNvSpPr/>
            <p:nvPr/>
          </p:nvSpPr>
          <p:spPr>
            <a:xfrm>
              <a:off x="2717274" y="4696893"/>
              <a:ext cx="18627" cy="9313"/>
            </a:xfrm>
            <a:custGeom>
              <a:avLst/>
              <a:gdLst>
                <a:gd name="connsiteX0" fmla="*/ 4346 w 18626"/>
                <a:gd name="connsiteY0" fmla="*/ 3104 h 9313"/>
                <a:gd name="connsiteX1" fmla="*/ 7451 w 18626"/>
                <a:gd name="connsiteY1" fmla="*/ 5278 h 9313"/>
                <a:gd name="connsiteX2" fmla="*/ 11486 w 18626"/>
                <a:gd name="connsiteY2" fmla="*/ 8382 h 9313"/>
                <a:gd name="connsiteX3" fmla="*/ 16764 w 18626"/>
                <a:gd name="connsiteY3" fmla="*/ 10555 h 9313"/>
                <a:gd name="connsiteX4" fmla="*/ 16764 w 18626"/>
                <a:gd name="connsiteY4" fmla="*/ 7451 h 9313"/>
                <a:gd name="connsiteX5" fmla="*/ 20800 w 18626"/>
                <a:gd name="connsiteY5" fmla="*/ 7451 h 9313"/>
                <a:gd name="connsiteX6" fmla="*/ 20800 w 18626"/>
                <a:gd name="connsiteY6" fmla="*/ 0 h 9313"/>
                <a:gd name="connsiteX7" fmla="*/ 0 w 18626"/>
                <a:gd name="connsiteY7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8626" h="9313">
                  <a:moveTo>
                    <a:pt x="4346" y="3104"/>
                  </a:moveTo>
                  <a:lnTo>
                    <a:pt x="7451" y="5278"/>
                  </a:lnTo>
                  <a:lnTo>
                    <a:pt x="11486" y="8382"/>
                  </a:lnTo>
                  <a:lnTo>
                    <a:pt x="16764" y="10555"/>
                  </a:lnTo>
                  <a:lnTo>
                    <a:pt x="16764" y="7451"/>
                  </a:lnTo>
                  <a:lnTo>
                    <a:pt x="20800" y="7451"/>
                  </a:lnTo>
                  <a:lnTo>
                    <a:pt x="2080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EC8EB498-8E67-4AA3-802C-A4CE45734D03}"/>
                </a:ext>
              </a:extLst>
            </p:cNvPr>
            <p:cNvSpPr/>
            <p:nvPr/>
          </p:nvSpPr>
          <p:spPr>
            <a:xfrm>
              <a:off x="2917512" y="4768295"/>
              <a:ext cx="31045" cy="34149"/>
            </a:xfrm>
            <a:custGeom>
              <a:avLst/>
              <a:gdLst>
                <a:gd name="connsiteX0" fmla="*/ 21731 w 31044"/>
                <a:gd name="connsiteY0" fmla="*/ 3104 h 34149"/>
                <a:gd name="connsiteX1" fmla="*/ 16764 w 31044"/>
                <a:gd name="connsiteY1" fmla="*/ 5278 h 34149"/>
                <a:gd name="connsiteX2" fmla="*/ 13349 w 31044"/>
                <a:gd name="connsiteY2" fmla="*/ 7451 h 34149"/>
                <a:gd name="connsiteX3" fmla="*/ 0 w 31044"/>
                <a:gd name="connsiteY3" fmla="*/ 12728 h 34149"/>
                <a:gd name="connsiteX4" fmla="*/ 2173 w 31044"/>
                <a:gd name="connsiteY4" fmla="*/ 18006 h 34149"/>
                <a:gd name="connsiteX5" fmla="*/ 2173 w 31044"/>
                <a:gd name="connsiteY5" fmla="*/ 23283 h 34149"/>
                <a:gd name="connsiteX6" fmla="*/ 4036 w 31044"/>
                <a:gd name="connsiteY6" fmla="*/ 29492 h 34149"/>
                <a:gd name="connsiteX7" fmla="*/ 6209 w 31044"/>
                <a:gd name="connsiteY7" fmla="*/ 32597 h 34149"/>
                <a:gd name="connsiteX8" fmla="*/ 9313 w 31044"/>
                <a:gd name="connsiteY8" fmla="*/ 36943 h 34149"/>
                <a:gd name="connsiteX9" fmla="*/ 11487 w 31044"/>
                <a:gd name="connsiteY9" fmla="*/ 34770 h 34149"/>
                <a:gd name="connsiteX10" fmla="*/ 18627 w 31044"/>
                <a:gd name="connsiteY10" fmla="*/ 30424 h 34149"/>
                <a:gd name="connsiteX11" fmla="*/ 26077 w 31044"/>
                <a:gd name="connsiteY11" fmla="*/ 25146 h 34149"/>
                <a:gd name="connsiteX12" fmla="*/ 31355 w 31044"/>
                <a:gd name="connsiteY12" fmla="*/ 15833 h 34149"/>
                <a:gd name="connsiteX13" fmla="*/ 31355 w 31044"/>
                <a:gd name="connsiteY13" fmla="*/ 8382 h 34149"/>
                <a:gd name="connsiteX14" fmla="*/ 26077 w 31044"/>
                <a:gd name="connsiteY14" fmla="*/ 0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1044" h="34149">
                  <a:moveTo>
                    <a:pt x="21731" y="3104"/>
                  </a:moveTo>
                  <a:lnTo>
                    <a:pt x="16764" y="5278"/>
                  </a:lnTo>
                  <a:lnTo>
                    <a:pt x="13349" y="7451"/>
                  </a:lnTo>
                  <a:lnTo>
                    <a:pt x="0" y="12728"/>
                  </a:lnTo>
                  <a:lnTo>
                    <a:pt x="2173" y="18006"/>
                  </a:lnTo>
                  <a:lnTo>
                    <a:pt x="2173" y="23283"/>
                  </a:lnTo>
                  <a:lnTo>
                    <a:pt x="4036" y="29492"/>
                  </a:lnTo>
                  <a:lnTo>
                    <a:pt x="6209" y="32597"/>
                  </a:lnTo>
                  <a:lnTo>
                    <a:pt x="9313" y="36943"/>
                  </a:lnTo>
                  <a:lnTo>
                    <a:pt x="11487" y="34770"/>
                  </a:lnTo>
                  <a:lnTo>
                    <a:pt x="18627" y="30424"/>
                  </a:lnTo>
                  <a:lnTo>
                    <a:pt x="26077" y="25146"/>
                  </a:lnTo>
                  <a:lnTo>
                    <a:pt x="31355" y="15833"/>
                  </a:lnTo>
                  <a:lnTo>
                    <a:pt x="31355" y="8382"/>
                  </a:lnTo>
                  <a:lnTo>
                    <a:pt x="26077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0BA1BEEC-1434-46B2-BFE3-AEEAB186E9B7}"/>
                </a:ext>
              </a:extLst>
            </p:cNvPr>
            <p:cNvSpPr/>
            <p:nvPr/>
          </p:nvSpPr>
          <p:spPr>
            <a:xfrm>
              <a:off x="3423849" y="4239917"/>
              <a:ext cx="245252" cy="170745"/>
            </a:xfrm>
            <a:custGeom>
              <a:avLst/>
              <a:gdLst>
                <a:gd name="connsiteX0" fmla="*/ 7451 w 245252"/>
                <a:gd name="connsiteY0" fmla="*/ 86304 h 170745"/>
                <a:gd name="connsiteX1" fmla="*/ 12418 w 245252"/>
                <a:gd name="connsiteY1" fmla="*/ 96859 h 170745"/>
                <a:gd name="connsiteX2" fmla="*/ 14591 w 245252"/>
                <a:gd name="connsiteY2" fmla="*/ 108346 h 170745"/>
                <a:gd name="connsiteX3" fmla="*/ 30424 w 245252"/>
                <a:gd name="connsiteY3" fmla="*/ 108346 h 170745"/>
                <a:gd name="connsiteX4" fmla="*/ 43773 w 245252"/>
                <a:gd name="connsiteY4" fmla="*/ 108346 h 170745"/>
                <a:gd name="connsiteX5" fmla="*/ 49982 w 245252"/>
                <a:gd name="connsiteY5" fmla="*/ 108346 h 170745"/>
                <a:gd name="connsiteX6" fmla="*/ 63641 w 245252"/>
                <a:gd name="connsiteY6" fmla="*/ 110519 h 170745"/>
                <a:gd name="connsiteX7" fmla="*/ 70782 w 245252"/>
                <a:gd name="connsiteY7" fmla="*/ 111450 h 170745"/>
                <a:gd name="connsiteX8" fmla="*/ 76059 w 245252"/>
                <a:gd name="connsiteY8" fmla="*/ 115486 h 170745"/>
                <a:gd name="connsiteX9" fmla="*/ 83510 w 245252"/>
                <a:gd name="connsiteY9" fmla="*/ 120763 h 170745"/>
                <a:gd name="connsiteX10" fmla="*/ 83510 w 245252"/>
                <a:gd name="connsiteY10" fmla="*/ 125110 h 170745"/>
                <a:gd name="connsiteX11" fmla="*/ 66746 w 245252"/>
                <a:gd name="connsiteY11" fmla="*/ 126041 h 170745"/>
                <a:gd name="connsiteX12" fmla="*/ 49982 w 245252"/>
                <a:gd name="connsiteY12" fmla="*/ 128214 h 170745"/>
                <a:gd name="connsiteX13" fmla="*/ 36633 w 245252"/>
                <a:gd name="connsiteY13" fmla="*/ 132560 h 170745"/>
                <a:gd name="connsiteX14" fmla="*/ 27009 w 245252"/>
                <a:gd name="connsiteY14" fmla="*/ 140942 h 170745"/>
                <a:gd name="connsiteX15" fmla="*/ 22973 w 245252"/>
                <a:gd name="connsiteY15" fmla="*/ 140942 h 170745"/>
                <a:gd name="connsiteX16" fmla="*/ 29182 w 245252"/>
                <a:gd name="connsiteY16" fmla="*/ 152429 h 170745"/>
                <a:gd name="connsiteX17" fmla="*/ 37564 w 245252"/>
                <a:gd name="connsiteY17" fmla="*/ 157706 h 170745"/>
                <a:gd name="connsiteX18" fmla="*/ 46877 w 245252"/>
                <a:gd name="connsiteY18" fmla="*/ 159880 h 170745"/>
                <a:gd name="connsiteX19" fmla="*/ 57432 w 245252"/>
                <a:gd name="connsiteY19" fmla="*/ 161742 h 170745"/>
                <a:gd name="connsiteX20" fmla="*/ 70782 w 245252"/>
                <a:gd name="connsiteY20" fmla="*/ 164847 h 170745"/>
                <a:gd name="connsiteX21" fmla="*/ 95928 w 245252"/>
                <a:gd name="connsiteY21" fmla="*/ 172297 h 170745"/>
                <a:gd name="connsiteX22" fmla="*/ 117659 w 245252"/>
                <a:gd name="connsiteY22" fmla="*/ 172297 h 170745"/>
                <a:gd name="connsiteX23" fmla="*/ 137527 w 245252"/>
                <a:gd name="connsiteY23" fmla="*/ 169193 h 170745"/>
                <a:gd name="connsiteX24" fmla="*/ 157396 w 245252"/>
                <a:gd name="connsiteY24" fmla="*/ 162984 h 170745"/>
                <a:gd name="connsiteX25" fmla="*/ 178196 w 245252"/>
                <a:gd name="connsiteY25" fmla="*/ 159880 h 170745"/>
                <a:gd name="connsiteX26" fmla="*/ 195891 w 245252"/>
                <a:gd name="connsiteY26" fmla="*/ 161742 h 170745"/>
                <a:gd name="connsiteX27" fmla="*/ 214828 w 245252"/>
                <a:gd name="connsiteY27" fmla="*/ 169193 h 170745"/>
                <a:gd name="connsiteX28" fmla="*/ 225073 w 245252"/>
                <a:gd name="connsiteY28" fmla="*/ 169193 h 170745"/>
                <a:gd name="connsiteX29" fmla="*/ 234387 w 245252"/>
                <a:gd name="connsiteY29" fmla="*/ 167020 h 170745"/>
                <a:gd name="connsiteX30" fmla="*/ 244010 w 245252"/>
                <a:gd name="connsiteY30" fmla="*/ 164847 h 170745"/>
                <a:gd name="connsiteX31" fmla="*/ 241837 w 245252"/>
                <a:gd name="connsiteY31" fmla="*/ 159880 h 170745"/>
                <a:gd name="connsiteX32" fmla="*/ 241837 w 245252"/>
                <a:gd name="connsiteY32" fmla="*/ 157706 h 170745"/>
                <a:gd name="connsiteX33" fmla="*/ 241837 w 245252"/>
                <a:gd name="connsiteY33" fmla="*/ 154602 h 170745"/>
                <a:gd name="connsiteX34" fmla="*/ 239664 w 245252"/>
                <a:gd name="connsiteY34" fmla="*/ 154602 h 170745"/>
                <a:gd name="connsiteX35" fmla="*/ 237491 w 245252"/>
                <a:gd name="connsiteY35" fmla="*/ 152429 h 170745"/>
                <a:gd name="connsiteX36" fmla="*/ 234387 w 245252"/>
                <a:gd name="connsiteY36" fmla="*/ 148083 h 170745"/>
                <a:gd name="connsiteX37" fmla="*/ 234387 w 245252"/>
                <a:gd name="connsiteY37" fmla="*/ 140942 h 170745"/>
                <a:gd name="connsiteX38" fmla="*/ 237491 w 245252"/>
                <a:gd name="connsiteY38" fmla="*/ 142805 h 170745"/>
                <a:gd name="connsiteX39" fmla="*/ 239664 w 245252"/>
                <a:gd name="connsiteY39" fmla="*/ 144978 h 170745"/>
                <a:gd name="connsiteX40" fmla="*/ 241837 w 245252"/>
                <a:gd name="connsiteY40" fmla="*/ 147151 h 170745"/>
                <a:gd name="connsiteX41" fmla="*/ 244010 w 245252"/>
                <a:gd name="connsiteY41" fmla="*/ 148083 h 170745"/>
                <a:gd name="connsiteX42" fmla="*/ 247115 w 245252"/>
                <a:gd name="connsiteY42" fmla="*/ 148083 h 170745"/>
                <a:gd name="connsiteX43" fmla="*/ 244942 w 245252"/>
                <a:gd name="connsiteY43" fmla="*/ 132560 h 170745"/>
                <a:gd name="connsiteX44" fmla="*/ 239664 w 245252"/>
                <a:gd name="connsiteY44" fmla="*/ 122937 h 170745"/>
                <a:gd name="connsiteX45" fmla="*/ 230351 w 245252"/>
                <a:gd name="connsiteY45" fmla="*/ 115486 h 170745"/>
                <a:gd name="connsiteX46" fmla="*/ 219796 w 245252"/>
                <a:gd name="connsiteY46" fmla="*/ 113623 h 170745"/>
                <a:gd name="connsiteX47" fmla="*/ 203342 w 245252"/>
                <a:gd name="connsiteY47" fmla="*/ 111450 h 170745"/>
                <a:gd name="connsiteX48" fmla="*/ 198064 w 245252"/>
                <a:gd name="connsiteY48" fmla="*/ 83199 h 170745"/>
                <a:gd name="connsiteX49" fmla="*/ 192787 w 245252"/>
                <a:gd name="connsiteY49" fmla="*/ 54638 h 170745"/>
                <a:gd name="connsiteX50" fmla="*/ 185647 w 245252"/>
                <a:gd name="connsiteY50" fmla="*/ 32597 h 170745"/>
                <a:gd name="connsiteX51" fmla="*/ 171987 w 245252"/>
                <a:gd name="connsiteY51" fmla="*/ 14901 h 170745"/>
                <a:gd name="connsiteX52" fmla="*/ 150256 w 245252"/>
                <a:gd name="connsiteY52" fmla="*/ 0 h 170745"/>
                <a:gd name="connsiteX53" fmla="*/ 144978 w 245252"/>
                <a:gd name="connsiteY53" fmla="*/ 10555 h 170745"/>
                <a:gd name="connsiteX54" fmla="*/ 143736 w 245252"/>
                <a:gd name="connsiteY54" fmla="*/ 22042 h 170745"/>
                <a:gd name="connsiteX55" fmla="*/ 150256 w 245252"/>
                <a:gd name="connsiteY55" fmla="*/ 32597 h 170745"/>
                <a:gd name="connsiteX56" fmla="*/ 150256 w 245252"/>
                <a:gd name="connsiteY56" fmla="*/ 40048 h 170745"/>
                <a:gd name="connsiteX57" fmla="*/ 150256 w 245252"/>
                <a:gd name="connsiteY57" fmla="*/ 46256 h 170745"/>
                <a:gd name="connsiteX58" fmla="*/ 149014 w 245252"/>
                <a:gd name="connsiteY58" fmla="*/ 51534 h 170745"/>
                <a:gd name="connsiteX59" fmla="*/ 146841 w 245252"/>
                <a:gd name="connsiteY59" fmla="*/ 56812 h 170745"/>
                <a:gd name="connsiteX60" fmla="*/ 141874 w 245252"/>
                <a:gd name="connsiteY60" fmla="*/ 49361 h 170745"/>
                <a:gd name="connsiteX61" fmla="*/ 134423 w 245252"/>
                <a:gd name="connsiteY61" fmla="*/ 38806 h 170745"/>
                <a:gd name="connsiteX62" fmla="*/ 127283 w 245252"/>
                <a:gd name="connsiteY62" fmla="*/ 24215 h 170745"/>
                <a:gd name="connsiteX63" fmla="*/ 122005 w 245252"/>
                <a:gd name="connsiteY63" fmla="*/ 25457 h 170745"/>
                <a:gd name="connsiteX64" fmla="*/ 115796 w 245252"/>
                <a:gd name="connsiteY64" fmla="*/ 25457 h 170745"/>
                <a:gd name="connsiteX65" fmla="*/ 114555 w 245252"/>
                <a:gd name="connsiteY65" fmla="*/ 27319 h 170745"/>
                <a:gd name="connsiteX66" fmla="*/ 110519 w 245252"/>
                <a:gd name="connsiteY66" fmla="*/ 29492 h 170745"/>
                <a:gd name="connsiteX67" fmla="*/ 108346 w 245252"/>
                <a:gd name="connsiteY67" fmla="*/ 31666 h 170745"/>
                <a:gd name="connsiteX68" fmla="*/ 107414 w 245252"/>
                <a:gd name="connsiteY68" fmla="*/ 36943 h 170745"/>
                <a:gd name="connsiteX69" fmla="*/ 103068 w 245252"/>
                <a:gd name="connsiteY69" fmla="*/ 32597 h 170745"/>
                <a:gd name="connsiteX70" fmla="*/ 99964 w 245252"/>
                <a:gd name="connsiteY70" fmla="*/ 31666 h 170745"/>
                <a:gd name="connsiteX71" fmla="*/ 98101 w 245252"/>
                <a:gd name="connsiteY71" fmla="*/ 27319 h 170745"/>
                <a:gd name="connsiteX72" fmla="*/ 95928 w 245252"/>
                <a:gd name="connsiteY72" fmla="*/ 24215 h 170745"/>
                <a:gd name="connsiteX73" fmla="*/ 93755 w 245252"/>
                <a:gd name="connsiteY73" fmla="*/ 22042 h 170745"/>
                <a:gd name="connsiteX74" fmla="*/ 90650 w 245252"/>
                <a:gd name="connsiteY74" fmla="*/ 20179 h 170745"/>
                <a:gd name="connsiteX75" fmla="*/ 83510 w 245252"/>
                <a:gd name="connsiteY75" fmla="*/ 20179 h 170745"/>
                <a:gd name="connsiteX76" fmla="*/ 72023 w 245252"/>
                <a:gd name="connsiteY76" fmla="*/ 20179 h 170745"/>
                <a:gd name="connsiteX77" fmla="*/ 59295 w 245252"/>
                <a:gd name="connsiteY77" fmla="*/ 20179 h 170745"/>
                <a:gd name="connsiteX78" fmla="*/ 49982 w 245252"/>
                <a:gd name="connsiteY78" fmla="*/ 20179 h 170745"/>
                <a:gd name="connsiteX79" fmla="*/ 49982 w 245252"/>
                <a:gd name="connsiteY79" fmla="*/ 16764 h 170745"/>
                <a:gd name="connsiteX80" fmla="*/ 49050 w 245252"/>
                <a:gd name="connsiteY80" fmla="*/ 14901 h 170745"/>
                <a:gd name="connsiteX81" fmla="*/ 49050 w 245252"/>
                <a:gd name="connsiteY81" fmla="*/ 12728 h 170745"/>
                <a:gd name="connsiteX82" fmla="*/ 49982 w 245252"/>
                <a:gd name="connsiteY82" fmla="*/ 12728 h 170745"/>
                <a:gd name="connsiteX83" fmla="*/ 49982 w 245252"/>
                <a:gd name="connsiteY83" fmla="*/ 10555 h 170745"/>
                <a:gd name="connsiteX84" fmla="*/ 49982 w 245252"/>
                <a:gd name="connsiteY84" fmla="*/ 7451 h 170745"/>
                <a:gd name="connsiteX85" fmla="*/ 46877 w 245252"/>
                <a:gd name="connsiteY85" fmla="*/ 7451 h 170745"/>
                <a:gd name="connsiteX86" fmla="*/ 34459 w 245252"/>
                <a:gd name="connsiteY86" fmla="*/ 5278 h 170745"/>
                <a:gd name="connsiteX87" fmla="*/ 22973 w 245252"/>
                <a:gd name="connsiteY87" fmla="*/ 12728 h 170745"/>
                <a:gd name="connsiteX88" fmla="*/ 14591 w 245252"/>
                <a:gd name="connsiteY88" fmla="*/ 24215 h 170745"/>
                <a:gd name="connsiteX89" fmla="*/ 7451 w 245252"/>
                <a:gd name="connsiteY89" fmla="*/ 36943 h 170745"/>
                <a:gd name="connsiteX90" fmla="*/ 0 w 245252"/>
                <a:gd name="connsiteY90" fmla="*/ 47498 h 170745"/>
                <a:gd name="connsiteX91" fmla="*/ 0 w 245252"/>
                <a:gd name="connsiteY91" fmla="*/ 66125 h 170745"/>
                <a:gd name="connsiteX92" fmla="*/ 3104 w 245252"/>
                <a:gd name="connsiteY92" fmla="*/ 76680 h 170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</a:cxnLst>
              <a:rect l="l" t="t" r="r" b="b"/>
              <a:pathLst>
                <a:path w="245252" h="170745">
                  <a:moveTo>
                    <a:pt x="7451" y="86304"/>
                  </a:moveTo>
                  <a:lnTo>
                    <a:pt x="12418" y="96859"/>
                  </a:lnTo>
                  <a:lnTo>
                    <a:pt x="14591" y="108346"/>
                  </a:lnTo>
                  <a:lnTo>
                    <a:pt x="30424" y="108346"/>
                  </a:lnTo>
                  <a:lnTo>
                    <a:pt x="43773" y="108346"/>
                  </a:lnTo>
                  <a:lnTo>
                    <a:pt x="49982" y="108346"/>
                  </a:lnTo>
                  <a:lnTo>
                    <a:pt x="63641" y="110519"/>
                  </a:lnTo>
                  <a:lnTo>
                    <a:pt x="70782" y="111450"/>
                  </a:lnTo>
                  <a:lnTo>
                    <a:pt x="76059" y="115486"/>
                  </a:lnTo>
                  <a:lnTo>
                    <a:pt x="83510" y="120763"/>
                  </a:lnTo>
                  <a:lnTo>
                    <a:pt x="83510" y="125110"/>
                  </a:lnTo>
                  <a:lnTo>
                    <a:pt x="66746" y="126041"/>
                  </a:lnTo>
                  <a:lnTo>
                    <a:pt x="49982" y="128214"/>
                  </a:lnTo>
                  <a:lnTo>
                    <a:pt x="36633" y="132560"/>
                  </a:lnTo>
                  <a:lnTo>
                    <a:pt x="27009" y="140942"/>
                  </a:lnTo>
                  <a:lnTo>
                    <a:pt x="22973" y="140942"/>
                  </a:lnTo>
                  <a:lnTo>
                    <a:pt x="29182" y="152429"/>
                  </a:lnTo>
                  <a:lnTo>
                    <a:pt x="37564" y="157706"/>
                  </a:lnTo>
                  <a:lnTo>
                    <a:pt x="46877" y="159880"/>
                  </a:lnTo>
                  <a:lnTo>
                    <a:pt x="57432" y="161742"/>
                  </a:lnTo>
                  <a:lnTo>
                    <a:pt x="70782" y="164847"/>
                  </a:lnTo>
                  <a:lnTo>
                    <a:pt x="95928" y="172297"/>
                  </a:lnTo>
                  <a:lnTo>
                    <a:pt x="117659" y="172297"/>
                  </a:lnTo>
                  <a:lnTo>
                    <a:pt x="137527" y="169193"/>
                  </a:lnTo>
                  <a:lnTo>
                    <a:pt x="157396" y="162984"/>
                  </a:lnTo>
                  <a:lnTo>
                    <a:pt x="178196" y="159880"/>
                  </a:lnTo>
                  <a:lnTo>
                    <a:pt x="195891" y="161742"/>
                  </a:lnTo>
                  <a:lnTo>
                    <a:pt x="214828" y="169193"/>
                  </a:lnTo>
                  <a:lnTo>
                    <a:pt x="225073" y="169193"/>
                  </a:lnTo>
                  <a:lnTo>
                    <a:pt x="234387" y="167020"/>
                  </a:lnTo>
                  <a:lnTo>
                    <a:pt x="244010" y="164847"/>
                  </a:lnTo>
                  <a:lnTo>
                    <a:pt x="241837" y="159880"/>
                  </a:lnTo>
                  <a:lnTo>
                    <a:pt x="241837" y="157706"/>
                  </a:lnTo>
                  <a:lnTo>
                    <a:pt x="241837" y="154602"/>
                  </a:lnTo>
                  <a:lnTo>
                    <a:pt x="239664" y="154602"/>
                  </a:lnTo>
                  <a:lnTo>
                    <a:pt x="237491" y="152429"/>
                  </a:lnTo>
                  <a:lnTo>
                    <a:pt x="234387" y="148083"/>
                  </a:lnTo>
                  <a:lnTo>
                    <a:pt x="234387" y="140942"/>
                  </a:lnTo>
                  <a:lnTo>
                    <a:pt x="237491" y="142805"/>
                  </a:lnTo>
                  <a:lnTo>
                    <a:pt x="239664" y="144978"/>
                  </a:lnTo>
                  <a:lnTo>
                    <a:pt x="241837" y="147151"/>
                  </a:lnTo>
                  <a:lnTo>
                    <a:pt x="244010" y="148083"/>
                  </a:lnTo>
                  <a:lnTo>
                    <a:pt x="247115" y="148083"/>
                  </a:lnTo>
                  <a:lnTo>
                    <a:pt x="244942" y="132560"/>
                  </a:lnTo>
                  <a:lnTo>
                    <a:pt x="239664" y="122937"/>
                  </a:lnTo>
                  <a:lnTo>
                    <a:pt x="230351" y="115486"/>
                  </a:lnTo>
                  <a:lnTo>
                    <a:pt x="219796" y="113623"/>
                  </a:lnTo>
                  <a:lnTo>
                    <a:pt x="203342" y="111450"/>
                  </a:lnTo>
                  <a:lnTo>
                    <a:pt x="198064" y="83199"/>
                  </a:lnTo>
                  <a:lnTo>
                    <a:pt x="192787" y="54638"/>
                  </a:lnTo>
                  <a:lnTo>
                    <a:pt x="185647" y="32597"/>
                  </a:lnTo>
                  <a:lnTo>
                    <a:pt x="171987" y="14901"/>
                  </a:lnTo>
                  <a:lnTo>
                    <a:pt x="150256" y="0"/>
                  </a:lnTo>
                  <a:lnTo>
                    <a:pt x="144978" y="10555"/>
                  </a:lnTo>
                  <a:lnTo>
                    <a:pt x="143736" y="22042"/>
                  </a:lnTo>
                  <a:lnTo>
                    <a:pt x="150256" y="32597"/>
                  </a:lnTo>
                  <a:lnTo>
                    <a:pt x="150256" y="40048"/>
                  </a:lnTo>
                  <a:lnTo>
                    <a:pt x="150256" y="46256"/>
                  </a:lnTo>
                  <a:lnTo>
                    <a:pt x="149014" y="51534"/>
                  </a:lnTo>
                  <a:lnTo>
                    <a:pt x="146841" y="56812"/>
                  </a:lnTo>
                  <a:lnTo>
                    <a:pt x="141874" y="49361"/>
                  </a:lnTo>
                  <a:lnTo>
                    <a:pt x="134423" y="38806"/>
                  </a:lnTo>
                  <a:lnTo>
                    <a:pt x="127283" y="24215"/>
                  </a:lnTo>
                  <a:lnTo>
                    <a:pt x="122005" y="25457"/>
                  </a:lnTo>
                  <a:lnTo>
                    <a:pt x="115796" y="25457"/>
                  </a:lnTo>
                  <a:lnTo>
                    <a:pt x="114555" y="27319"/>
                  </a:lnTo>
                  <a:lnTo>
                    <a:pt x="110519" y="29492"/>
                  </a:lnTo>
                  <a:lnTo>
                    <a:pt x="108346" y="31666"/>
                  </a:lnTo>
                  <a:lnTo>
                    <a:pt x="107414" y="36943"/>
                  </a:lnTo>
                  <a:lnTo>
                    <a:pt x="103068" y="32597"/>
                  </a:lnTo>
                  <a:lnTo>
                    <a:pt x="99964" y="31666"/>
                  </a:lnTo>
                  <a:lnTo>
                    <a:pt x="98101" y="27319"/>
                  </a:lnTo>
                  <a:lnTo>
                    <a:pt x="95928" y="24215"/>
                  </a:lnTo>
                  <a:lnTo>
                    <a:pt x="93755" y="22042"/>
                  </a:lnTo>
                  <a:lnTo>
                    <a:pt x="90650" y="20179"/>
                  </a:lnTo>
                  <a:lnTo>
                    <a:pt x="83510" y="20179"/>
                  </a:lnTo>
                  <a:lnTo>
                    <a:pt x="72023" y="20179"/>
                  </a:lnTo>
                  <a:lnTo>
                    <a:pt x="59295" y="20179"/>
                  </a:lnTo>
                  <a:lnTo>
                    <a:pt x="49982" y="20179"/>
                  </a:lnTo>
                  <a:lnTo>
                    <a:pt x="49982" y="16764"/>
                  </a:lnTo>
                  <a:lnTo>
                    <a:pt x="49050" y="14901"/>
                  </a:lnTo>
                  <a:lnTo>
                    <a:pt x="49050" y="12728"/>
                  </a:lnTo>
                  <a:lnTo>
                    <a:pt x="49982" y="12728"/>
                  </a:lnTo>
                  <a:lnTo>
                    <a:pt x="49982" y="10555"/>
                  </a:lnTo>
                  <a:lnTo>
                    <a:pt x="49982" y="7451"/>
                  </a:lnTo>
                  <a:lnTo>
                    <a:pt x="46877" y="7451"/>
                  </a:lnTo>
                  <a:lnTo>
                    <a:pt x="34459" y="5278"/>
                  </a:lnTo>
                  <a:lnTo>
                    <a:pt x="22973" y="12728"/>
                  </a:lnTo>
                  <a:lnTo>
                    <a:pt x="14591" y="24215"/>
                  </a:lnTo>
                  <a:lnTo>
                    <a:pt x="7451" y="36943"/>
                  </a:lnTo>
                  <a:lnTo>
                    <a:pt x="0" y="47498"/>
                  </a:lnTo>
                  <a:lnTo>
                    <a:pt x="0" y="66125"/>
                  </a:lnTo>
                  <a:lnTo>
                    <a:pt x="3104" y="7668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8ED57F4E-2540-48B7-8B38-B8466F94B5BB}"/>
                </a:ext>
              </a:extLst>
            </p:cNvPr>
            <p:cNvSpPr/>
            <p:nvPr/>
          </p:nvSpPr>
          <p:spPr>
            <a:xfrm>
              <a:off x="2687161" y="4573956"/>
              <a:ext cx="37253" cy="27940"/>
            </a:xfrm>
            <a:custGeom>
              <a:avLst/>
              <a:gdLst>
                <a:gd name="connsiteX0" fmla="*/ 32286 w 37253"/>
                <a:gd name="connsiteY0" fmla="*/ 23283 h 27940"/>
                <a:gd name="connsiteX1" fmla="*/ 36322 w 37253"/>
                <a:gd name="connsiteY1" fmla="*/ 23283 h 27940"/>
                <a:gd name="connsiteX2" fmla="*/ 39737 w 37253"/>
                <a:gd name="connsiteY2" fmla="*/ 19869 h 27940"/>
                <a:gd name="connsiteX3" fmla="*/ 30113 w 37253"/>
                <a:gd name="connsiteY3" fmla="*/ 8382 h 27940"/>
                <a:gd name="connsiteX4" fmla="*/ 17695 w 37253"/>
                <a:gd name="connsiteY4" fmla="*/ 3104 h 27940"/>
                <a:gd name="connsiteX5" fmla="*/ 0 w 37253"/>
                <a:gd name="connsiteY5" fmla="*/ 0 h 27940"/>
                <a:gd name="connsiteX6" fmla="*/ 0 w 37253"/>
                <a:gd name="connsiteY6" fmla="*/ 7451 h 27940"/>
                <a:gd name="connsiteX7" fmla="*/ 0 w 37253"/>
                <a:gd name="connsiteY7" fmla="*/ 10555 h 27940"/>
                <a:gd name="connsiteX8" fmla="*/ 3104 w 37253"/>
                <a:gd name="connsiteY8" fmla="*/ 14901 h 27940"/>
                <a:gd name="connsiteX9" fmla="*/ 5278 w 37253"/>
                <a:gd name="connsiteY9" fmla="*/ 15833 h 27940"/>
                <a:gd name="connsiteX10" fmla="*/ 10555 w 37253"/>
                <a:gd name="connsiteY10" fmla="*/ 18006 h 27940"/>
                <a:gd name="connsiteX11" fmla="*/ 14591 w 37253"/>
                <a:gd name="connsiteY11" fmla="*/ 22042 h 27940"/>
                <a:gd name="connsiteX12" fmla="*/ 19869 w 37253"/>
                <a:gd name="connsiteY12" fmla="*/ 25146 h 27940"/>
                <a:gd name="connsiteX13" fmla="*/ 22973 w 37253"/>
                <a:gd name="connsiteY13" fmla="*/ 29492 h 27940"/>
                <a:gd name="connsiteX14" fmla="*/ 29182 w 37253"/>
                <a:gd name="connsiteY14" fmla="*/ 27319 h 27940"/>
                <a:gd name="connsiteX15" fmla="*/ 30113 w 37253"/>
                <a:gd name="connsiteY15" fmla="*/ 25146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7253" h="27940">
                  <a:moveTo>
                    <a:pt x="32286" y="23283"/>
                  </a:moveTo>
                  <a:lnTo>
                    <a:pt x="36322" y="23283"/>
                  </a:lnTo>
                  <a:lnTo>
                    <a:pt x="39737" y="19869"/>
                  </a:lnTo>
                  <a:lnTo>
                    <a:pt x="30113" y="8382"/>
                  </a:lnTo>
                  <a:lnTo>
                    <a:pt x="17695" y="3104"/>
                  </a:lnTo>
                  <a:lnTo>
                    <a:pt x="0" y="0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3104" y="14901"/>
                  </a:lnTo>
                  <a:lnTo>
                    <a:pt x="5278" y="15833"/>
                  </a:lnTo>
                  <a:lnTo>
                    <a:pt x="10555" y="18006"/>
                  </a:lnTo>
                  <a:lnTo>
                    <a:pt x="14591" y="22042"/>
                  </a:lnTo>
                  <a:lnTo>
                    <a:pt x="19869" y="25146"/>
                  </a:lnTo>
                  <a:lnTo>
                    <a:pt x="22973" y="29492"/>
                  </a:lnTo>
                  <a:lnTo>
                    <a:pt x="29182" y="27319"/>
                  </a:lnTo>
                  <a:lnTo>
                    <a:pt x="30113" y="251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C184D078-DC56-4347-B918-2DD617533B44}"/>
                </a:ext>
              </a:extLst>
            </p:cNvPr>
            <p:cNvSpPr/>
            <p:nvPr/>
          </p:nvSpPr>
          <p:spPr>
            <a:xfrm>
              <a:off x="3878341" y="4529873"/>
              <a:ext cx="93134" cy="86925"/>
            </a:xfrm>
            <a:custGeom>
              <a:avLst/>
              <a:gdLst>
                <a:gd name="connsiteX0" fmla="*/ 60226 w 93133"/>
                <a:gd name="connsiteY0" fmla="*/ 29492 h 86924"/>
                <a:gd name="connsiteX1" fmla="*/ 39427 w 93133"/>
                <a:gd name="connsiteY1" fmla="*/ 29492 h 86924"/>
                <a:gd name="connsiteX2" fmla="*/ 39427 w 93133"/>
                <a:gd name="connsiteY2" fmla="*/ 22042 h 86924"/>
                <a:gd name="connsiteX3" fmla="*/ 39427 w 93133"/>
                <a:gd name="connsiteY3" fmla="*/ 15833 h 86924"/>
                <a:gd name="connsiteX4" fmla="*/ 38495 w 93133"/>
                <a:gd name="connsiteY4" fmla="*/ 12728 h 86924"/>
                <a:gd name="connsiteX5" fmla="*/ 36322 w 93133"/>
                <a:gd name="connsiteY5" fmla="*/ 8382 h 86924"/>
                <a:gd name="connsiteX6" fmla="*/ 36322 w 93133"/>
                <a:gd name="connsiteY6" fmla="*/ 0 h 86924"/>
                <a:gd name="connsiteX7" fmla="*/ 24836 w 93133"/>
                <a:gd name="connsiteY7" fmla="*/ 10555 h 86924"/>
                <a:gd name="connsiteX8" fmla="*/ 17695 w 93133"/>
                <a:gd name="connsiteY8" fmla="*/ 25146 h 86924"/>
                <a:gd name="connsiteX9" fmla="*/ 10245 w 93133"/>
                <a:gd name="connsiteY9" fmla="*/ 40048 h 86924"/>
                <a:gd name="connsiteX10" fmla="*/ 0 w 93133"/>
                <a:gd name="connsiteY10" fmla="*/ 52465 h 86924"/>
                <a:gd name="connsiteX11" fmla="*/ 3104 w 93133"/>
                <a:gd name="connsiteY11" fmla="*/ 56812 h 86924"/>
                <a:gd name="connsiteX12" fmla="*/ 7140 w 93133"/>
                <a:gd name="connsiteY12" fmla="*/ 58985 h 86924"/>
                <a:gd name="connsiteX13" fmla="*/ 9313 w 93133"/>
                <a:gd name="connsiteY13" fmla="*/ 58985 h 86924"/>
                <a:gd name="connsiteX14" fmla="*/ 12418 w 93133"/>
                <a:gd name="connsiteY14" fmla="*/ 59916 h 86924"/>
                <a:gd name="connsiteX15" fmla="*/ 16454 w 93133"/>
                <a:gd name="connsiteY15" fmla="*/ 59916 h 86924"/>
                <a:gd name="connsiteX16" fmla="*/ 19558 w 93133"/>
                <a:gd name="connsiteY16" fmla="*/ 62089 h 86924"/>
                <a:gd name="connsiteX17" fmla="*/ 24836 w 93133"/>
                <a:gd name="connsiteY17" fmla="*/ 63952 h 86924"/>
                <a:gd name="connsiteX18" fmla="*/ 27009 w 93133"/>
                <a:gd name="connsiteY18" fmla="*/ 69229 h 86924"/>
                <a:gd name="connsiteX19" fmla="*/ 29182 w 93133"/>
                <a:gd name="connsiteY19" fmla="*/ 73576 h 86924"/>
                <a:gd name="connsiteX20" fmla="*/ 31045 w 93133"/>
                <a:gd name="connsiteY20" fmla="*/ 76680 h 86924"/>
                <a:gd name="connsiteX21" fmla="*/ 29182 w 93133"/>
                <a:gd name="connsiteY21" fmla="*/ 81026 h 86924"/>
                <a:gd name="connsiteX22" fmla="*/ 29182 w 93133"/>
                <a:gd name="connsiteY22" fmla="*/ 84131 h 86924"/>
                <a:gd name="connsiteX23" fmla="*/ 29182 w 93133"/>
                <a:gd name="connsiteY23" fmla="*/ 89408 h 86924"/>
                <a:gd name="connsiteX24" fmla="*/ 43773 w 93133"/>
                <a:gd name="connsiteY24" fmla="*/ 84131 h 86924"/>
                <a:gd name="connsiteX25" fmla="*/ 54018 w 93133"/>
                <a:gd name="connsiteY25" fmla="*/ 74507 h 86924"/>
                <a:gd name="connsiteX26" fmla="*/ 60226 w 93133"/>
                <a:gd name="connsiteY26" fmla="*/ 59916 h 86924"/>
                <a:gd name="connsiteX27" fmla="*/ 65504 w 93133"/>
                <a:gd name="connsiteY27" fmla="*/ 63952 h 86924"/>
                <a:gd name="connsiteX28" fmla="*/ 68608 w 93133"/>
                <a:gd name="connsiteY28" fmla="*/ 66125 h 86924"/>
                <a:gd name="connsiteX29" fmla="*/ 72955 w 93133"/>
                <a:gd name="connsiteY29" fmla="*/ 69229 h 86924"/>
                <a:gd name="connsiteX30" fmla="*/ 72955 w 93133"/>
                <a:gd name="connsiteY30" fmla="*/ 71403 h 86924"/>
                <a:gd name="connsiteX31" fmla="*/ 72955 w 93133"/>
                <a:gd name="connsiteY31" fmla="*/ 74507 h 86924"/>
                <a:gd name="connsiteX32" fmla="*/ 72955 w 93133"/>
                <a:gd name="connsiteY32" fmla="*/ 81026 h 86924"/>
                <a:gd name="connsiteX33" fmla="*/ 72955 w 93133"/>
                <a:gd name="connsiteY33" fmla="*/ 86304 h 86924"/>
                <a:gd name="connsiteX34" fmla="*/ 77922 w 93133"/>
                <a:gd name="connsiteY34" fmla="*/ 84131 h 86924"/>
                <a:gd name="connsiteX35" fmla="*/ 83199 w 93133"/>
                <a:gd name="connsiteY35" fmla="*/ 84131 h 86924"/>
                <a:gd name="connsiteX36" fmla="*/ 85373 w 93133"/>
                <a:gd name="connsiteY36" fmla="*/ 84131 h 86924"/>
                <a:gd name="connsiteX37" fmla="*/ 87546 w 93133"/>
                <a:gd name="connsiteY37" fmla="*/ 81958 h 86924"/>
                <a:gd name="connsiteX38" fmla="*/ 89408 w 93133"/>
                <a:gd name="connsiteY38" fmla="*/ 81026 h 86924"/>
                <a:gd name="connsiteX39" fmla="*/ 92513 w 93133"/>
                <a:gd name="connsiteY39" fmla="*/ 76680 h 86924"/>
                <a:gd name="connsiteX40" fmla="*/ 94686 w 93133"/>
                <a:gd name="connsiteY40" fmla="*/ 74507 h 86924"/>
                <a:gd name="connsiteX41" fmla="*/ 94686 w 93133"/>
                <a:gd name="connsiteY41" fmla="*/ 73576 h 86924"/>
                <a:gd name="connsiteX42" fmla="*/ 95617 w 93133"/>
                <a:gd name="connsiteY42" fmla="*/ 71403 h 86924"/>
                <a:gd name="connsiteX43" fmla="*/ 95617 w 93133"/>
                <a:gd name="connsiteY43" fmla="*/ 69229 h 86924"/>
                <a:gd name="connsiteX44" fmla="*/ 77922 w 93133"/>
                <a:gd name="connsiteY44" fmla="*/ 49361 h 86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93133" h="86924">
                  <a:moveTo>
                    <a:pt x="60226" y="29492"/>
                  </a:moveTo>
                  <a:lnTo>
                    <a:pt x="39427" y="29492"/>
                  </a:lnTo>
                  <a:lnTo>
                    <a:pt x="39427" y="22042"/>
                  </a:lnTo>
                  <a:lnTo>
                    <a:pt x="39427" y="15833"/>
                  </a:lnTo>
                  <a:lnTo>
                    <a:pt x="38495" y="12728"/>
                  </a:lnTo>
                  <a:lnTo>
                    <a:pt x="36322" y="8382"/>
                  </a:lnTo>
                  <a:lnTo>
                    <a:pt x="36322" y="0"/>
                  </a:lnTo>
                  <a:lnTo>
                    <a:pt x="24836" y="10555"/>
                  </a:lnTo>
                  <a:lnTo>
                    <a:pt x="17695" y="25146"/>
                  </a:lnTo>
                  <a:lnTo>
                    <a:pt x="10245" y="40048"/>
                  </a:lnTo>
                  <a:lnTo>
                    <a:pt x="0" y="52465"/>
                  </a:lnTo>
                  <a:lnTo>
                    <a:pt x="3104" y="56812"/>
                  </a:lnTo>
                  <a:lnTo>
                    <a:pt x="7140" y="58985"/>
                  </a:lnTo>
                  <a:lnTo>
                    <a:pt x="9313" y="58985"/>
                  </a:lnTo>
                  <a:lnTo>
                    <a:pt x="12418" y="59916"/>
                  </a:lnTo>
                  <a:lnTo>
                    <a:pt x="16454" y="59916"/>
                  </a:lnTo>
                  <a:lnTo>
                    <a:pt x="19558" y="62089"/>
                  </a:lnTo>
                  <a:lnTo>
                    <a:pt x="24836" y="63952"/>
                  </a:lnTo>
                  <a:lnTo>
                    <a:pt x="27009" y="69229"/>
                  </a:lnTo>
                  <a:lnTo>
                    <a:pt x="29182" y="73576"/>
                  </a:lnTo>
                  <a:lnTo>
                    <a:pt x="31045" y="76680"/>
                  </a:lnTo>
                  <a:lnTo>
                    <a:pt x="29182" y="81026"/>
                  </a:lnTo>
                  <a:lnTo>
                    <a:pt x="29182" y="84131"/>
                  </a:lnTo>
                  <a:lnTo>
                    <a:pt x="29182" y="89408"/>
                  </a:lnTo>
                  <a:lnTo>
                    <a:pt x="43773" y="84131"/>
                  </a:lnTo>
                  <a:lnTo>
                    <a:pt x="54018" y="74507"/>
                  </a:lnTo>
                  <a:lnTo>
                    <a:pt x="60226" y="59916"/>
                  </a:lnTo>
                  <a:lnTo>
                    <a:pt x="65504" y="63952"/>
                  </a:lnTo>
                  <a:lnTo>
                    <a:pt x="68608" y="66125"/>
                  </a:lnTo>
                  <a:lnTo>
                    <a:pt x="72955" y="69229"/>
                  </a:lnTo>
                  <a:lnTo>
                    <a:pt x="72955" y="71403"/>
                  </a:lnTo>
                  <a:lnTo>
                    <a:pt x="72955" y="74507"/>
                  </a:lnTo>
                  <a:lnTo>
                    <a:pt x="72955" y="81026"/>
                  </a:lnTo>
                  <a:lnTo>
                    <a:pt x="72955" y="86304"/>
                  </a:lnTo>
                  <a:lnTo>
                    <a:pt x="77922" y="84131"/>
                  </a:lnTo>
                  <a:lnTo>
                    <a:pt x="83199" y="84131"/>
                  </a:lnTo>
                  <a:lnTo>
                    <a:pt x="85373" y="84131"/>
                  </a:lnTo>
                  <a:lnTo>
                    <a:pt x="87546" y="81958"/>
                  </a:lnTo>
                  <a:lnTo>
                    <a:pt x="89408" y="81026"/>
                  </a:lnTo>
                  <a:lnTo>
                    <a:pt x="92513" y="76680"/>
                  </a:lnTo>
                  <a:lnTo>
                    <a:pt x="94686" y="74507"/>
                  </a:lnTo>
                  <a:lnTo>
                    <a:pt x="94686" y="73576"/>
                  </a:lnTo>
                  <a:lnTo>
                    <a:pt x="95617" y="71403"/>
                  </a:lnTo>
                  <a:lnTo>
                    <a:pt x="95617" y="69229"/>
                  </a:lnTo>
                  <a:lnTo>
                    <a:pt x="77922" y="4936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8D29627-A803-4193-9B6E-5E0EDB4387CF}"/>
                </a:ext>
              </a:extLst>
            </p:cNvPr>
            <p:cNvSpPr/>
            <p:nvPr/>
          </p:nvSpPr>
          <p:spPr>
            <a:xfrm>
              <a:off x="4263915" y="4941524"/>
              <a:ext cx="93134" cy="111760"/>
            </a:xfrm>
            <a:custGeom>
              <a:avLst/>
              <a:gdLst>
                <a:gd name="connsiteX0" fmla="*/ 54018 w 93133"/>
                <a:gd name="connsiteY0" fmla="*/ 51534 h 111760"/>
                <a:gd name="connsiteX1" fmla="*/ 53086 w 93133"/>
                <a:gd name="connsiteY1" fmla="*/ 39116 h 111760"/>
                <a:gd name="connsiteX2" fmla="*/ 50913 w 93133"/>
                <a:gd name="connsiteY2" fmla="*/ 28561 h 111760"/>
                <a:gd name="connsiteX3" fmla="*/ 50913 w 93133"/>
                <a:gd name="connsiteY3" fmla="*/ 14901 h 111760"/>
                <a:gd name="connsiteX4" fmla="*/ 50913 w 93133"/>
                <a:gd name="connsiteY4" fmla="*/ 0 h 111760"/>
                <a:gd name="connsiteX5" fmla="*/ 39427 w 93133"/>
                <a:gd name="connsiteY5" fmla="*/ 0 h 111760"/>
                <a:gd name="connsiteX6" fmla="*/ 29182 w 93133"/>
                <a:gd name="connsiteY6" fmla="*/ 24215 h 111760"/>
                <a:gd name="connsiteX7" fmla="*/ 21731 w 93133"/>
                <a:gd name="connsiteY7" fmla="*/ 48430 h 111760"/>
                <a:gd name="connsiteX8" fmla="*/ 10245 w 93133"/>
                <a:gd name="connsiteY8" fmla="*/ 70471 h 111760"/>
                <a:gd name="connsiteX9" fmla="*/ 0 w 93133"/>
                <a:gd name="connsiteY9" fmla="*/ 85062 h 111760"/>
                <a:gd name="connsiteX10" fmla="*/ 4036 w 93133"/>
                <a:gd name="connsiteY10" fmla="*/ 88477 h 111760"/>
                <a:gd name="connsiteX11" fmla="*/ 9313 w 93133"/>
                <a:gd name="connsiteY11" fmla="*/ 90340 h 111760"/>
                <a:gd name="connsiteX12" fmla="*/ 14591 w 93133"/>
                <a:gd name="connsiteY12" fmla="*/ 90340 h 111760"/>
                <a:gd name="connsiteX13" fmla="*/ 19558 w 93133"/>
                <a:gd name="connsiteY13" fmla="*/ 92513 h 111760"/>
                <a:gd name="connsiteX14" fmla="*/ 23904 w 93133"/>
                <a:gd name="connsiteY14" fmla="*/ 92513 h 111760"/>
                <a:gd name="connsiteX15" fmla="*/ 27009 w 93133"/>
                <a:gd name="connsiteY15" fmla="*/ 92513 h 111760"/>
                <a:gd name="connsiteX16" fmla="*/ 36322 w 93133"/>
                <a:gd name="connsiteY16" fmla="*/ 92513 h 111760"/>
                <a:gd name="connsiteX17" fmla="*/ 41600 w 93133"/>
                <a:gd name="connsiteY17" fmla="*/ 92513 h 111760"/>
                <a:gd name="connsiteX18" fmla="*/ 45635 w 93133"/>
                <a:gd name="connsiteY18" fmla="*/ 94686 h 111760"/>
                <a:gd name="connsiteX19" fmla="*/ 46877 w 93133"/>
                <a:gd name="connsiteY19" fmla="*/ 95617 h 111760"/>
                <a:gd name="connsiteX20" fmla="*/ 46877 w 93133"/>
                <a:gd name="connsiteY20" fmla="*/ 97790 h 111760"/>
                <a:gd name="connsiteX21" fmla="*/ 46877 w 93133"/>
                <a:gd name="connsiteY21" fmla="*/ 103068 h 111760"/>
                <a:gd name="connsiteX22" fmla="*/ 46877 w 93133"/>
                <a:gd name="connsiteY22" fmla="*/ 108346 h 111760"/>
                <a:gd name="connsiteX23" fmla="*/ 56191 w 93133"/>
                <a:gd name="connsiteY23" fmla="*/ 103068 h 111760"/>
                <a:gd name="connsiteX24" fmla="*/ 63331 w 93133"/>
                <a:gd name="connsiteY24" fmla="*/ 95617 h 111760"/>
                <a:gd name="connsiteX25" fmla="*/ 70782 w 93133"/>
                <a:gd name="connsiteY25" fmla="*/ 88477 h 111760"/>
                <a:gd name="connsiteX26" fmla="*/ 74817 w 93133"/>
                <a:gd name="connsiteY26" fmla="*/ 88477 h 111760"/>
                <a:gd name="connsiteX27" fmla="*/ 74817 w 93133"/>
                <a:gd name="connsiteY27" fmla="*/ 92513 h 111760"/>
                <a:gd name="connsiteX28" fmla="*/ 74817 w 93133"/>
                <a:gd name="connsiteY28" fmla="*/ 95617 h 111760"/>
                <a:gd name="connsiteX29" fmla="*/ 72955 w 93133"/>
                <a:gd name="connsiteY29" fmla="*/ 97790 h 111760"/>
                <a:gd name="connsiteX30" fmla="*/ 72955 w 93133"/>
                <a:gd name="connsiteY30" fmla="*/ 99964 h 111760"/>
                <a:gd name="connsiteX31" fmla="*/ 70782 w 93133"/>
                <a:gd name="connsiteY31" fmla="*/ 100895 h 111760"/>
                <a:gd name="connsiteX32" fmla="*/ 70782 w 93133"/>
                <a:gd name="connsiteY32" fmla="*/ 108346 h 111760"/>
                <a:gd name="connsiteX33" fmla="*/ 74817 w 93133"/>
                <a:gd name="connsiteY33" fmla="*/ 107104 h 111760"/>
                <a:gd name="connsiteX34" fmla="*/ 76059 w 93133"/>
                <a:gd name="connsiteY34" fmla="*/ 107104 h 111760"/>
                <a:gd name="connsiteX35" fmla="*/ 76059 w 93133"/>
                <a:gd name="connsiteY35" fmla="*/ 105241 h 111760"/>
                <a:gd name="connsiteX36" fmla="*/ 77922 w 93133"/>
                <a:gd name="connsiteY36" fmla="*/ 105241 h 111760"/>
                <a:gd name="connsiteX37" fmla="*/ 80095 w 93133"/>
                <a:gd name="connsiteY37" fmla="*/ 100895 h 111760"/>
                <a:gd name="connsiteX38" fmla="*/ 80095 w 93133"/>
                <a:gd name="connsiteY38" fmla="*/ 103068 h 111760"/>
                <a:gd name="connsiteX39" fmla="*/ 82268 w 93133"/>
                <a:gd name="connsiteY39" fmla="*/ 105241 h 111760"/>
                <a:gd name="connsiteX40" fmla="*/ 82268 w 93133"/>
                <a:gd name="connsiteY40" fmla="*/ 107104 h 111760"/>
                <a:gd name="connsiteX41" fmla="*/ 82268 w 93133"/>
                <a:gd name="connsiteY41" fmla="*/ 108346 h 111760"/>
                <a:gd name="connsiteX42" fmla="*/ 83200 w 93133"/>
                <a:gd name="connsiteY42" fmla="*/ 112381 h 111760"/>
                <a:gd name="connsiteX43" fmla="*/ 87546 w 93133"/>
                <a:gd name="connsiteY43" fmla="*/ 112381 h 111760"/>
                <a:gd name="connsiteX44" fmla="*/ 89408 w 93133"/>
                <a:gd name="connsiteY44" fmla="*/ 99964 h 111760"/>
                <a:gd name="connsiteX45" fmla="*/ 92513 w 93133"/>
                <a:gd name="connsiteY45" fmla="*/ 87235 h 111760"/>
                <a:gd name="connsiteX46" fmla="*/ 94686 w 93133"/>
                <a:gd name="connsiteY46" fmla="*/ 75749 h 111760"/>
                <a:gd name="connsiteX47" fmla="*/ 92513 w 93133"/>
                <a:gd name="connsiteY47" fmla="*/ 73576 h 111760"/>
                <a:gd name="connsiteX48" fmla="*/ 90650 w 93133"/>
                <a:gd name="connsiteY48" fmla="*/ 73576 h 111760"/>
                <a:gd name="connsiteX49" fmla="*/ 89408 w 93133"/>
                <a:gd name="connsiteY49" fmla="*/ 73576 h 111760"/>
                <a:gd name="connsiteX50" fmla="*/ 87546 w 93133"/>
                <a:gd name="connsiteY50" fmla="*/ 73576 h 111760"/>
                <a:gd name="connsiteX51" fmla="*/ 85373 w 93133"/>
                <a:gd name="connsiteY51" fmla="*/ 73576 h 111760"/>
                <a:gd name="connsiteX52" fmla="*/ 83200 w 93133"/>
                <a:gd name="connsiteY52" fmla="*/ 72644 h 111760"/>
                <a:gd name="connsiteX53" fmla="*/ 74817 w 93133"/>
                <a:gd name="connsiteY53" fmla="*/ 72644 h 111760"/>
                <a:gd name="connsiteX54" fmla="*/ 74817 w 93133"/>
                <a:gd name="connsiteY54" fmla="*/ 51534 h 111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</a:cxnLst>
              <a:rect l="l" t="t" r="r" b="b"/>
              <a:pathLst>
                <a:path w="93133" h="111760">
                  <a:moveTo>
                    <a:pt x="54018" y="51534"/>
                  </a:moveTo>
                  <a:lnTo>
                    <a:pt x="53086" y="39116"/>
                  </a:lnTo>
                  <a:lnTo>
                    <a:pt x="50913" y="28561"/>
                  </a:lnTo>
                  <a:lnTo>
                    <a:pt x="50913" y="14901"/>
                  </a:lnTo>
                  <a:lnTo>
                    <a:pt x="50913" y="0"/>
                  </a:lnTo>
                  <a:lnTo>
                    <a:pt x="39427" y="0"/>
                  </a:lnTo>
                  <a:lnTo>
                    <a:pt x="29182" y="24215"/>
                  </a:lnTo>
                  <a:lnTo>
                    <a:pt x="21731" y="48430"/>
                  </a:lnTo>
                  <a:lnTo>
                    <a:pt x="10245" y="70471"/>
                  </a:lnTo>
                  <a:lnTo>
                    <a:pt x="0" y="85062"/>
                  </a:lnTo>
                  <a:lnTo>
                    <a:pt x="4036" y="88477"/>
                  </a:lnTo>
                  <a:lnTo>
                    <a:pt x="9313" y="90340"/>
                  </a:lnTo>
                  <a:lnTo>
                    <a:pt x="14591" y="90340"/>
                  </a:lnTo>
                  <a:lnTo>
                    <a:pt x="19558" y="92513"/>
                  </a:lnTo>
                  <a:lnTo>
                    <a:pt x="23904" y="92513"/>
                  </a:lnTo>
                  <a:lnTo>
                    <a:pt x="27009" y="92513"/>
                  </a:lnTo>
                  <a:lnTo>
                    <a:pt x="36322" y="92513"/>
                  </a:lnTo>
                  <a:lnTo>
                    <a:pt x="41600" y="92513"/>
                  </a:lnTo>
                  <a:lnTo>
                    <a:pt x="45635" y="94686"/>
                  </a:lnTo>
                  <a:lnTo>
                    <a:pt x="46877" y="95617"/>
                  </a:lnTo>
                  <a:lnTo>
                    <a:pt x="46877" y="97790"/>
                  </a:lnTo>
                  <a:lnTo>
                    <a:pt x="46877" y="103068"/>
                  </a:lnTo>
                  <a:lnTo>
                    <a:pt x="46877" y="108346"/>
                  </a:lnTo>
                  <a:lnTo>
                    <a:pt x="56191" y="103068"/>
                  </a:lnTo>
                  <a:lnTo>
                    <a:pt x="63331" y="95617"/>
                  </a:lnTo>
                  <a:lnTo>
                    <a:pt x="70782" y="88477"/>
                  </a:lnTo>
                  <a:lnTo>
                    <a:pt x="74817" y="88477"/>
                  </a:lnTo>
                  <a:lnTo>
                    <a:pt x="74817" y="92513"/>
                  </a:lnTo>
                  <a:lnTo>
                    <a:pt x="74817" y="95617"/>
                  </a:lnTo>
                  <a:lnTo>
                    <a:pt x="72955" y="97790"/>
                  </a:lnTo>
                  <a:lnTo>
                    <a:pt x="72955" y="99964"/>
                  </a:lnTo>
                  <a:lnTo>
                    <a:pt x="70782" y="100895"/>
                  </a:lnTo>
                  <a:lnTo>
                    <a:pt x="70782" y="108346"/>
                  </a:lnTo>
                  <a:lnTo>
                    <a:pt x="74817" y="107104"/>
                  </a:lnTo>
                  <a:lnTo>
                    <a:pt x="76059" y="107104"/>
                  </a:lnTo>
                  <a:lnTo>
                    <a:pt x="76059" y="105241"/>
                  </a:lnTo>
                  <a:lnTo>
                    <a:pt x="77922" y="105241"/>
                  </a:lnTo>
                  <a:lnTo>
                    <a:pt x="80095" y="100895"/>
                  </a:lnTo>
                  <a:lnTo>
                    <a:pt x="80095" y="103068"/>
                  </a:lnTo>
                  <a:lnTo>
                    <a:pt x="82268" y="105241"/>
                  </a:lnTo>
                  <a:lnTo>
                    <a:pt x="82268" y="107104"/>
                  </a:lnTo>
                  <a:lnTo>
                    <a:pt x="82268" y="108346"/>
                  </a:lnTo>
                  <a:lnTo>
                    <a:pt x="83200" y="112381"/>
                  </a:lnTo>
                  <a:lnTo>
                    <a:pt x="87546" y="112381"/>
                  </a:lnTo>
                  <a:lnTo>
                    <a:pt x="89408" y="99964"/>
                  </a:lnTo>
                  <a:lnTo>
                    <a:pt x="92513" y="87235"/>
                  </a:lnTo>
                  <a:lnTo>
                    <a:pt x="94686" y="75749"/>
                  </a:lnTo>
                  <a:lnTo>
                    <a:pt x="92513" y="73576"/>
                  </a:lnTo>
                  <a:lnTo>
                    <a:pt x="90650" y="73576"/>
                  </a:lnTo>
                  <a:lnTo>
                    <a:pt x="89408" y="73576"/>
                  </a:lnTo>
                  <a:lnTo>
                    <a:pt x="87546" y="73576"/>
                  </a:lnTo>
                  <a:lnTo>
                    <a:pt x="85373" y="73576"/>
                  </a:lnTo>
                  <a:lnTo>
                    <a:pt x="83200" y="72644"/>
                  </a:lnTo>
                  <a:lnTo>
                    <a:pt x="74817" y="72644"/>
                  </a:lnTo>
                  <a:lnTo>
                    <a:pt x="74817" y="51534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EB7D221B-0D80-40A9-8331-DA6558A1D375}"/>
                </a:ext>
              </a:extLst>
            </p:cNvPr>
            <p:cNvSpPr/>
            <p:nvPr/>
          </p:nvSpPr>
          <p:spPr>
            <a:xfrm>
              <a:off x="4034496" y="4432083"/>
              <a:ext cx="27940" cy="40358"/>
            </a:xfrm>
            <a:custGeom>
              <a:avLst/>
              <a:gdLst>
                <a:gd name="connsiteX0" fmla="*/ 4346 w 27940"/>
                <a:gd name="connsiteY0" fmla="*/ 42221 h 40357"/>
                <a:gd name="connsiteX1" fmla="*/ 12418 w 27940"/>
                <a:gd name="connsiteY1" fmla="*/ 40979 h 40357"/>
                <a:gd name="connsiteX2" fmla="*/ 18937 w 27940"/>
                <a:gd name="connsiteY2" fmla="*/ 40979 h 40357"/>
                <a:gd name="connsiteX3" fmla="*/ 23904 w 27940"/>
                <a:gd name="connsiteY3" fmla="*/ 39116 h 40357"/>
                <a:gd name="connsiteX4" fmla="*/ 29182 w 27940"/>
                <a:gd name="connsiteY4" fmla="*/ 36943 h 40357"/>
                <a:gd name="connsiteX5" fmla="*/ 27009 w 27940"/>
                <a:gd name="connsiteY5" fmla="*/ 29492 h 40357"/>
                <a:gd name="connsiteX6" fmla="*/ 26077 w 27940"/>
                <a:gd name="connsiteY6" fmla="*/ 24215 h 40357"/>
                <a:gd name="connsiteX7" fmla="*/ 23904 w 27940"/>
                <a:gd name="connsiteY7" fmla="*/ 18937 h 40357"/>
                <a:gd name="connsiteX8" fmla="*/ 19869 w 27940"/>
                <a:gd name="connsiteY8" fmla="*/ 12728 h 40357"/>
                <a:gd name="connsiteX9" fmla="*/ 18937 w 27940"/>
                <a:gd name="connsiteY9" fmla="*/ 9624 h 40357"/>
                <a:gd name="connsiteX10" fmla="*/ 18937 w 27940"/>
                <a:gd name="connsiteY10" fmla="*/ 7451 h 40357"/>
                <a:gd name="connsiteX11" fmla="*/ 18937 w 27940"/>
                <a:gd name="connsiteY11" fmla="*/ 5278 h 40357"/>
                <a:gd name="connsiteX12" fmla="*/ 16764 w 27940"/>
                <a:gd name="connsiteY12" fmla="*/ 4346 h 40357"/>
                <a:gd name="connsiteX13" fmla="*/ 14591 w 27940"/>
                <a:gd name="connsiteY13" fmla="*/ 4346 h 40357"/>
                <a:gd name="connsiteX14" fmla="*/ 12418 w 27940"/>
                <a:gd name="connsiteY14" fmla="*/ 2173 h 40357"/>
                <a:gd name="connsiteX15" fmla="*/ 9313 w 27940"/>
                <a:gd name="connsiteY15" fmla="*/ 0 h 40357"/>
                <a:gd name="connsiteX16" fmla="*/ 5278 w 27940"/>
                <a:gd name="connsiteY16" fmla="*/ 5278 h 40357"/>
                <a:gd name="connsiteX17" fmla="*/ 4346 w 27940"/>
                <a:gd name="connsiteY17" fmla="*/ 9624 h 40357"/>
                <a:gd name="connsiteX18" fmla="*/ 0 w 27940"/>
                <a:gd name="connsiteY18" fmla="*/ 12728 h 40357"/>
                <a:gd name="connsiteX19" fmla="*/ 0 w 27940"/>
                <a:gd name="connsiteY19" fmla="*/ 24215 h 40357"/>
                <a:gd name="connsiteX20" fmla="*/ 2173 w 27940"/>
                <a:gd name="connsiteY20" fmla="*/ 33839 h 40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940" h="40357">
                  <a:moveTo>
                    <a:pt x="4346" y="42221"/>
                  </a:moveTo>
                  <a:lnTo>
                    <a:pt x="12418" y="40979"/>
                  </a:lnTo>
                  <a:lnTo>
                    <a:pt x="18937" y="40979"/>
                  </a:lnTo>
                  <a:lnTo>
                    <a:pt x="23904" y="39116"/>
                  </a:lnTo>
                  <a:lnTo>
                    <a:pt x="29182" y="36943"/>
                  </a:lnTo>
                  <a:lnTo>
                    <a:pt x="27009" y="29492"/>
                  </a:lnTo>
                  <a:lnTo>
                    <a:pt x="26077" y="24215"/>
                  </a:lnTo>
                  <a:lnTo>
                    <a:pt x="23904" y="18937"/>
                  </a:lnTo>
                  <a:lnTo>
                    <a:pt x="19869" y="12728"/>
                  </a:lnTo>
                  <a:lnTo>
                    <a:pt x="18937" y="9624"/>
                  </a:lnTo>
                  <a:lnTo>
                    <a:pt x="18937" y="7451"/>
                  </a:lnTo>
                  <a:lnTo>
                    <a:pt x="18937" y="5278"/>
                  </a:lnTo>
                  <a:lnTo>
                    <a:pt x="16764" y="4346"/>
                  </a:lnTo>
                  <a:lnTo>
                    <a:pt x="14591" y="4346"/>
                  </a:lnTo>
                  <a:lnTo>
                    <a:pt x="12418" y="2173"/>
                  </a:lnTo>
                  <a:lnTo>
                    <a:pt x="9313" y="0"/>
                  </a:lnTo>
                  <a:lnTo>
                    <a:pt x="5278" y="5278"/>
                  </a:lnTo>
                  <a:lnTo>
                    <a:pt x="4346" y="9624"/>
                  </a:lnTo>
                  <a:lnTo>
                    <a:pt x="0" y="12728"/>
                  </a:lnTo>
                  <a:lnTo>
                    <a:pt x="0" y="24215"/>
                  </a:lnTo>
                  <a:lnTo>
                    <a:pt x="2173" y="3383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19AB5199-FFB4-46F6-AAB5-4824C9BD8752}"/>
                </a:ext>
              </a:extLst>
            </p:cNvPr>
            <p:cNvSpPr/>
            <p:nvPr/>
          </p:nvSpPr>
          <p:spPr>
            <a:xfrm>
              <a:off x="3958436" y="4877572"/>
              <a:ext cx="15522" cy="9313"/>
            </a:xfrm>
            <a:custGeom>
              <a:avLst/>
              <a:gdLst>
                <a:gd name="connsiteX0" fmla="*/ 0 w 15522"/>
                <a:gd name="connsiteY0" fmla="*/ 11487 h 9313"/>
                <a:gd name="connsiteX1" fmla="*/ 5278 w 15522"/>
                <a:gd name="connsiteY1" fmla="*/ 11487 h 9313"/>
                <a:gd name="connsiteX2" fmla="*/ 7451 w 15522"/>
                <a:gd name="connsiteY2" fmla="*/ 9313 h 9313"/>
                <a:gd name="connsiteX3" fmla="*/ 9313 w 15522"/>
                <a:gd name="connsiteY3" fmla="*/ 9313 h 9313"/>
                <a:gd name="connsiteX4" fmla="*/ 10555 w 15522"/>
                <a:gd name="connsiteY4" fmla="*/ 9313 h 9313"/>
                <a:gd name="connsiteX5" fmla="*/ 12418 w 15522"/>
                <a:gd name="connsiteY5" fmla="*/ 7451 h 9313"/>
                <a:gd name="connsiteX6" fmla="*/ 15522 w 15522"/>
                <a:gd name="connsiteY6" fmla="*/ 7451 h 9313"/>
                <a:gd name="connsiteX7" fmla="*/ 15522 w 15522"/>
                <a:gd name="connsiteY7" fmla="*/ 0 h 9313"/>
                <a:gd name="connsiteX8" fmla="*/ 0 w 15522"/>
                <a:gd name="connsiteY8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5522" h="9313">
                  <a:moveTo>
                    <a:pt x="0" y="11487"/>
                  </a:moveTo>
                  <a:lnTo>
                    <a:pt x="5278" y="11487"/>
                  </a:lnTo>
                  <a:lnTo>
                    <a:pt x="7451" y="9313"/>
                  </a:lnTo>
                  <a:lnTo>
                    <a:pt x="9313" y="9313"/>
                  </a:lnTo>
                  <a:lnTo>
                    <a:pt x="10555" y="9313"/>
                  </a:lnTo>
                  <a:lnTo>
                    <a:pt x="12418" y="7451"/>
                  </a:lnTo>
                  <a:lnTo>
                    <a:pt x="15522" y="7451"/>
                  </a:lnTo>
                  <a:lnTo>
                    <a:pt x="1552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2F689634-627E-459C-80E5-C72E6CD21921}"/>
                </a:ext>
              </a:extLst>
            </p:cNvPr>
            <p:cNvSpPr/>
            <p:nvPr/>
          </p:nvSpPr>
          <p:spPr>
            <a:xfrm>
              <a:off x="4347115" y="4401659"/>
              <a:ext cx="40358" cy="34149"/>
            </a:xfrm>
            <a:custGeom>
              <a:avLst/>
              <a:gdLst>
                <a:gd name="connsiteX0" fmla="*/ 13660 w 40357"/>
                <a:gd name="connsiteY0" fmla="*/ 25457 h 34149"/>
                <a:gd name="connsiteX1" fmla="*/ 18937 w 40357"/>
                <a:gd name="connsiteY1" fmla="*/ 30424 h 34149"/>
                <a:gd name="connsiteX2" fmla="*/ 23904 w 40357"/>
                <a:gd name="connsiteY2" fmla="*/ 35701 h 34149"/>
                <a:gd name="connsiteX3" fmla="*/ 27009 w 40357"/>
                <a:gd name="connsiteY3" fmla="*/ 34770 h 34149"/>
                <a:gd name="connsiteX4" fmla="*/ 29182 w 40357"/>
                <a:gd name="connsiteY4" fmla="*/ 32597 h 34149"/>
                <a:gd name="connsiteX5" fmla="*/ 31355 w 40357"/>
                <a:gd name="connsiteY5" fmla="*/ 32597 h 34149"/>
                <a:gd name="connsiteX6" fmla="*/ 33528 w 40357"/>
                <a:gd name="connsiteY6" fmla="*/ 32597 h 34149"/>
                <a:gd name="connsiteX7" fmla="*/ 33528 w 40357"/>
                <a:gd name="connsiteY7" fmla="*/ 30424 h 34149"/>
                <a:gd name="connsiteX8" fmla="*/ 36633 w 40357"/>
                <a:gd name="connsiteY8" fmla="*/ 27319 h 34149"/>
                <a:gd name="connsiteX9" fmla="*/ 36633 w 40357"/>
                <a:gd name="connsiteY9" fmla="*/ 25457 h 34149"/>
                <a:gd name="connsiteX10" fmla="*/ 38495 w 40357"/>
                <a:gd name="connsiteY10" fmla="*/ 25457 h 34149"/>
                <a:gd name="connsiteX11" fmla="*/ 38495 w 40357"/>
                <a:gd name="connsiteY11" fmla="*/ 23283 h 34149"/>
                <a:gd name="connsiteX12" fmla="*/ 40668 w 40357"/>
                <a:gd name="connsiteY12" fmla="*/ 20179 h 34149"/>
                <a:gd name="connsiteX13" fmla="*/ 34459 w 40357"/>
                <a:gd name="connsiteY13" fmla="*/ 14901 h 34149"/>
                <a:gd name="connsiteX14" fmla="*/ 29182 w 40357"/>
                <a:gd name="connsiteY14" fmla="*/ 10555 h 34149"/>
                <a:gd name="connsiteX15" fmla="*/ 26077 w 40357"/>
                <a:gd name="connsiteY15" fmla="*/ 7451 h 34149"/>
                <a:gd name="connsiteX16" fmla="*/ 18937 w 40357"/>
                <a:gd name="connsiteY16" fmla="*/ 3104 h 34149"/>
                <a:gd name="connsiteX17" fmla="*/ 11487 w 40357"/>
                <a:gd name="connsiteY17" fmla="*/ 0 h 34149"/>
                <a:gd name="connsiteX18" fmla="*/ 9313 w 40357"/>
                <a:gd name="connsiteY18" fmla="*/ 1242 h 34149"/>
                <a:gd name="connsiteX19" fmla="*/ 7451 w 40357"/>
                <a:gd name="connsiteY19" fmla="*/ 3104 h 34149"/>
                <a:gd name="connsiteX20" fmla="*/ 4346 w 40357"/>
                <a:gd name="connsiteY20" fmla="*/ 3104 h 34149"/>
                <a:gd name="connsiteX21" fmla="*/ 0 w 40357"/>
                <a:gd name="connsiteY21" fmla="*/ 15833 h 34149"/>
                <a:gd name="connsiteX22" fmla="*/ 6209 w 40357"/>
                <a:gd name="connsiteY22" fmla="*/ 20179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40357" h="34149">
                  <a:moveTo>
                    <a:pt x="13660" y="25457"/>
                  </a:moveTo>
                  <a:lnTo>
                    <a:pt x="18937" y="30424"/>
                  </a:lnTo>
                  <a:lnTo>
                    <a:pt x="23904" y="35701"/>
                  </a:lnTo>
                  <a:lnTo>
                    <a:pt x="27009" y="34770"/>
                  </a:lnTo>
                  <a:lnTo>
                    <a:pt x="29182" y="32597"/>
                  </a:lnTo>
                  <a:lnTo>
                    <a:pt x="31355" y="32597"/>
                  </a:lnTo>
                  <a:lnTo>
                    <a:pt x="33528" y="32597"/>
                  </a:lnTo>
                  <a:lnTo>
                    <a:pt x="33528" y="30424"/>
                  </a:lnTo>
                  <a:lnTo>
                    <a:pt x="36633" y="27319"/>
                  </a:lnTo>
                  <a:lnTo>
                    <a:pt x="36633" y="25457"/>
                  </a:lnTo>
                  <a:lnTo>
                    <a:pt x="38495" y="25457"/>
                  </a:lnTo>
                  <a:lnTo>
                    <a:pt x="38495" y="23283"/>
                  </a:lnTo>
                  <a:lnTo>
                    <a:pt x="40668" y="20179"/>
                  </a:lnTo>
                  <a:lnTo>
                    <a:pt x="34459" y="14901"/>
                  </a:lnTo>
                  <a:lnTo>
                    <a:pt x="29182" y="10555"/>
                  </a:lnTo>
                  <a:lnTo>
                    <a:pt x="26077" y="7451"/>
                  </a:lnTo>
                  <a:lnTo>
                    <a:pt x="18937" y="3104"/>
                  </a:lnTo>
                  <a:lnTo>
                    <a:pt x="11487" y="0"/>
                  </a:lnTo>
                  <a:lnTo>
                    <a:pt x="9313" y="1242"/>
                  </a:lnTo>
                  <a:lnTo>
                    <a:pt x="7451" y="3104"/>
                  </a:lnTo>
                  <a:lnTo>
                    <a:pt x="4346" y="3104"/>
                  </a:lnTo>
                  <a:lnTo>
                    <a:pt x="0" y="15833"/>
                  </a:lnTo>
                  <a:lnTo>
                    <a:pt x="6209" y="20179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4CAFA144-B2A8-4123-85EB-FFFEAAC587D0}"/>
                </a:ext>
              </a:extLst>
            </p:cNvPr>
            <p:cNvSpPr/>
            <p:nvPr/>
          </p:nvSpPr>
          <p:spPr>
            <a:xfrm>
              <a:off x="4024251" y="4593825"/>
              <a:ext cx="12418" cy="15522"/>
            </a:xfrm>
            <a:custGeom>
              <a:avLst/>
              <a:gdLst>
                <a:gd name="connsiteX0" fmla="*/ 4967 w 12417"/>
                <a:gd name="connsiteY0" fmla="*/ 17075 h 15522"/>
                <a:gd name="connsiteX1" fmla="*/ 7140 w 12417"/>
                <a:gd name="connsiteY1" fmla="*/ 14901 h 15522"/>
                <a:gd name="connsiteX2" fmla="*/ 8072 w 12417"/>
                <a:gd name="connsiteY2" fmla="*/ 14901 h 15522"/>
                <a:gd name="connsiteX3" fmla="*/ 10245 w 12417"/>
                <a:gd name="connsiteY3" fmla="*/ 12728 h 15522"/>
                <a:gd name="connsiteX4" fmla="*/ 12418 w 12417"/>
                <a:gd name="connsiteY4" fmla="*/ 10555 h 15522"/>
                <a:gd name="connsiteX5" fmla="*/ 14591 w 12417"/>
                <a:gd name="connsiteY5" fmla="*/ 9624 h 15522"/>
                <a:gd name="connsiteX6" fmla="*/ 14591 w 12417"/>
                <a:gd name="connsiteY6" fmla="*/ 7451 h 15522"/>
                <a:gd name="connsiteX7" fmla="*/ 14591 w 12417"/>
                <a:gd name="connsiteY7" fmla="*/ 5278 h 15522"/>
                <a:gd name="connsiteX8" fmla="*/ 10245 w 12417"/>
                <a:gd name="connsiteY8" fmla="*/ 5278 h 15522"/>
                <a:gd name="connsiteX9" fmla="*/ 8072 w 12417"/>
                <a:gd name="connsiteY9" fmla="*/ 3415 h 15522"/>
                <a:gd name="connsiteX10" fmla="*/ 7140 w 12417"/>
                <a:gd name="connsiteY10" fmla="*/ 2173 h 15522"/>
                <a:gd name="connsiteX11" fmla="*/ 3104 w 12417"/>
                <a:gd name="connsiteY11" fmla="*/ 0 h 15522"/>
                <a:gd name="connsiteX12" fmla="*/ 931 w 12417"/>
                <a:gd name="connsiteY12" fmla="*/ 5278 h 15522"/>
                <a:gd name="connsiteX13" fmla="*/ 0 w 12417"/>
                <a:gd name="connsiteY13" fmla="*/ 7451 h 15522"/>
                <a:gd name="connsiteX14" fmla="*/ 0 w 12417"/>
                <a:gd name="connsiteY14" fmla="*/ 10555 h 15522"/>
                <a:gd name="connsiteX15" fmla="*/ 0 w 12417"/>
                <a:gd name="connsiteY15" fmla="*/ 17075 h 15522"/>
                <a:gd name="connsiteX16" fmla="*/ 3104 w 12417"/>
                <a:gd name="connsiteY16" fmla="*/ 17075 h 15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2417" h="15522">
                  <a:moveTo>
                    <a:pt x="4967" y="17075"/>
                  </a:moveTo>
                  <a:lnTo>
                    <a:pt x="7140" y="14901"/>
                  </a:lnTo>
                  <a:lnTo>
                    <a:pt x="8072" y="14901"/>
                  </a:lnTo>
                  <a:lnTo>
                    <a:pt x="10245" y="12728"/>
                  </a:lnTo>
                  <a:lnTo>
                    <a:pt x="12418" y="10555"/>
                  </a:lnTo>
                  <a:lnTo>
                    <a:pt x="14591" y="9624"/>
                  </a:lnTo>
                  <a:lnTo>
                    <a:pt x="14591" y="7451"/>
                  </a:lnTo>
                  <a:lnTo>
                    <a:pt x="14591" y="5278"/>
                  </a:lnTo>
                  <a:lnTo>
                    <a:pt x="10245" y="5278"/>
                  </a:lnTo>
                  <a:lnTo>
                    <a:pt x="8072" y="3415"/>
                  </a:lnTo>
                  <a:lnTo>
                    <a:pt x="7140" y="2173"/>
                  </a:lnTo>
                  <a:lnTo>
                    <a:pt x="3104" y="0"/>
                  </a:lnTo>
                  <a:lnTo>
                    <a:pt x="931" y="5278"/>
                  </a:lnTo>
                  <a:lnTo>
                    <a:pt x="0" y="7451"/>
                  </a:lnTo>
                  <a:lnTo>
                    <a:pt x="0" y="10555"/>
                  </a:lnTo>
                  <a:lnTo>
                    <a:pt x="0" y="17075"/>
                  </a:lnTo>
                  <a:lnTo>
                    <a:pt x="3104" y="1707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BB16F44E-9340-4139-97CC-A690559A4304}"/>
                </a:ext>
              </a:extLst>
            </p:cNvPr>
            <p:cNvSpPr/>
            <p:nvPr/>
          </p:nvSpPr>
          <p:spPr>
            <a:xfrm>
              <a:off x="3970854" y="4639150"/>
              <a:ext cx="21731" cy="27940"/>
            </a:xfrm>
            <a:custGeom>
              <a:avLst/>
              <a:gdLst>
                <a:gd name="connsiteX0" fmla="*/ 2173 w 21731"/>
                <a:gd name="connsiteY0" fmla="*/ 13660 h 27940"/>
                <a:gd name="connsiteX1" fmla="*/ 2173 w 21731"/>
                <a:gd name="connsiteY1" fmla="*/ 14591 h 27940"/>
                <a:gd name="connsiteX2" fmla="*/ 2173 w 21731"/>
                <a:gd name="connsiteY2" fmla="*/ 16764 h 27940"/>
                <a:gd name="connsiteX3" fmla="*/ 0 w 21731"/>
                <a:gd name="connsiteY3" fmla="*/ 21110 h 27940"/>
                <a:gd name="connsiteX4" fmla="*/ 2173 w 21731"/>
                <a:gd name="connsiteY4" fmla="*/ 22042 h 27940"/>
                <a:gd name="connsiteX5" fmla="*/ 2173 w 21731"/>
                <a:gd name="connsiteY5" fmla="*/ 24215 h 27940"/>
                <a:gd name="connsiteX6" fmla="*/ 3104 w 21731"/>
                <a:gd name="connsiteY6" fmla="*/ 24215 h 27940"/>
                <a:gd name="connsiteX7" fmla="*/ 3104 w 21731"/>
                <a:gd name="connsiteY7" fmla="*/ 28251 h 27940"/>
                <a:gd name="connsiteX8" fmla="*/ 9624 w 21731"/>
                <a:gd name="connsiteY8" fmla="*/ 28251 h 27940"/>
                <a:gd name="connsiteX9" fmla="*/ 14591 w 21731"/>
                <a:gd name="connsiteY9" fmla="*/ 26388 h 27940"/>
                <a:gd name="connsiteX10" fmla="*/ 16764 w 21731"/>
                <a:gd name="connsiteY10" fmla="*/ 26388 h 27940"/>
                <a:gd name="connsiteX11" fmla="*/ 19869 w 21731"/>
                <a:gd name="connsiteY11" fmla="*/ 24215 h 27940"/>
                <a:gd name="connsiteX12" fmla="*/ 24215 w 21731"/>
                <a:gd name="connsiteY12" fmla="*/ 24215 h 27940"/>
                <a:gd name="connsiteX13" fmla="*/ 22042 w 21731"/>
                <a:gd name="connsiteY13" fmla="*/ 16764 h 27940"/>
                <a:gd name="connsiteX14" fmla="*/ 17695 w 21731"/>
                <a:gd name="connsiteY14" fmla="*/ 9313 h 27940"/>
                <a:gd name="connsiteX15" fmla="*/ 12728 w 21731"/>
                <a:gd name="connsiteY15" fmla="*/ 4346 h 27940"/>
                <a:gd name="connsiteX16" fmla="*/ 7451 w 21731"/>
                <a:gd name="connsiteY16" fmla="*/ 0 h 27940"/>
                <a:gd name="connsiteX17" fmla="*/ 3104 w 21731"/>
                <a:gd name="connsiteY17" fmla="*/ 11487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1731" h="27940">
                  <a:moveTo>
                    <a:pt x="2173" y="13660"/>
                  </a:moveTo>
                  <a:lnTo>
                    <a:pt x="2173" y="14591"/>
                  </a:lnTo>
                  <a:lnTo>
                    <a:pt x="2173" y="16764"/>
                  </a:lnTo>
                  <a:lnTo>
                    <a:pt x="0" y="21110"/>
                  </a:lnTo>
                  <a:lnTo>
                    <a:pt x="2173" y="22042"/>
                  </a:lnTo>
                  <a:lnTo>
                    <a:pt x="2173" y="24215"/>
                  </a:lnTo>
                  <a:lnTo>
                    <a:pt x="3104" y="24215"/>
                  </a:lnTo>
                  <a:lnTo>
                    <a:pt x="3104" y="28251"/>
                  </a:lnTo>
                  <a:lnTo>
                    <a:pt x="9624" y="28251"/>
                  </a:lnTo>
                  <a:lnTo>
                    <a:pt x="14591" y="26388"/>
                  </a:lnTo>
                  <a:lnTo>
                    <a:pt x="16764" y="26388"/>
                  </a:lnTo>
                  <a:lnTo>
                    <a:pt x="19869" y="24215"/>
                  </a:lnTo>
                  <a:lnTo>
                    <a:pt x="24215" y="24215"/>
                  </a:lnTo>
                  <a:lnTo>
                    <a:pt x="22042" y="16764"/>
                  </a:lnTo>
                  <a:lnTo>
                    <a:pt x="17695" y="9313"/>
                  </a:lnTo>
                  <a:lnTo>
                    <a:pt x="12728" y="4346"/>
                  </a:lnTo>
                  <a:lnTo>
                    <a:pt x="7451" y="0"/>
                  </a:lnTo>
                  <a:lnTo>
                    <a:pt x="3104" y="11487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A07537B0-4EF0-4BA7-9690-3C3633CF1124}"/>
                </a:ext>
              </a:extLst>
            </p:cNvPr>
            <p:cNvSpPr/>
            <p:nvPr/>
          </p:nvSpPr>
          <p:spPr>
            <a:xfrm>
              <a:off x="7159753" y="4855531"/>
              <a:ext cx="43462" cy="189372"/>
            </a:xfrm>
            <a:custGeom>
              <a:avLst/>
              <a:gdLst>
                <a:gd name="connsiteX0" fmla="*/ 44704 w 43462"/>
                <a:gd name="connsiteY0" fmla="*/ 130077 h 189371"/>
                <a:gd name="connsiteX1" fmla="*/ 39427 w 43462"/>
                <a:gd name="connsiteY1" fmla="*/ 108035 h 189371"/>
                <a:gd name="connsiteX2" fmla="*/ 30113 w 43462"/>
                <a:gd name="connsiteY2" fmla="*/ 88167 h 189371"/>
                <a:gd name="connsiteX3" fmla="*/ 24836 w 43462"/>
                <a:gd name="connsiteY3" fmla="*/ 70471 h 189371"/>
                <a:gd name="connsiteX4" fmla="*/ 21731 w 43462"/>
                <a:gd name="connsiteY4" fmla="*/ 51534 h 189371"/>
                <a:gd name="connsiteX5" fmla="*/ 21731 w 43462"/>
                <a:gd name="connsiteY5" fmla="*/ 35701 h 189371"/>
                <a:gd name="connsiteX6" fmla="*/ 21731 w 43462"/>
                <a:gd name="connsiteY6" fmla="*/ 18937 h 189371"/>
                <a:gd name="connsiteX7" fmla="*/ 15522 w 43462"/>
                <a:gd name="connsiteY7" fmla="*/ 6209 h 189371"/>
                <a:gd name="connsiteX8" fmla="*/ 15522 w 43462"/>
                <a:gd name="connsiteY8" fmla="*/ 4036 h 189371"/>
                <a:gd name="connsiteX9" fmla="*/ 14591 w 43462"/>
                <a:gd name="connsiteY9" fmla="*/ 4036 h 189371"/>
                <a:gd name="connsiteX10" fmla="*/ 14591 w 43462"/>
                <a:gd name="connsiteY10" fmla="*/ 2173 h 189371"/>
                <a:gd name="connsiteX11" fmla="*/ 12418 w 43462"/>
                <a:gd name="connsiteY11" fmla="*/ 0 h 189371"/>
                <a:gd name="connsiteX12" fmla="*/ 10245 w 43462"/>
                <a:gd name="connsiteY12" fmla="*/ 7451 h 189371"/>
                <a:gd name="connsiteX13" fmla="*/ 9313 w 43462"/>
                <a:gd name="connsiteY13" fmla="*/ 13660 h 189371"/>
                <a:gd name="connsiteX14" fmla="*/ 7140 w 43462"/>
                <a:gd name="connsiteY14" fmla="*/ 16764 h 189371"/>
                <a:gd name="connsiteX15" fmla="*/ 5278 w 43462"/>
                <a:gd name="connsiteY15" fmla="*/ 21110 h 189371"/>
                <a:gd name="connsiteX16" fmla="*/ 3104 w 43462"/>
                <a:gd name="connsiteY16" fmla="*/ 24215 h 189371"/>
                <a:gd name="connsiteX17" fmla="*/ 0 w 43462"/>
                <a:gd name="connsiteY17" fmla="*/ 29492 h 189371"/>
                <a:gd name="connsiteX18" fmla="*/ 0 w 43462"/>
                <a:gd name="connsiteY18" fmla="*/ 70471 h 189371"/>
                <a:gd name="connsiteX19" fmla="*/ 3104 w 43462"/>
                <a:gd name="connsiteY19" fmla="*/ 85993 h 189371"/>
                <a:gd name="connsiteX20" fmla="*/ 3104 w 43462"/>
                <a:gd name="connsiteY20" fmla="*/ 110208 h 189371"/>
                <a:gd name="connsiteX21" fmla="*/ 3104 w 43462"/>
                <a:gd name="connsiteY21" fmla="*/ 136596 h 189371"/>
                <a:gd name="connsiteX22" fmla="*/ 3104 w 43462"/>
                <a:gd name="connsiteY22" fmla="*/ 159569 h 189371"/>
                <a:gd name="connsiteX23" fmla="*/ 5278 w 43462"/>
                <a:gd name="connsiteY23" fmla="*/ 180679 h 189371"/>
                <a:gd name="connsiteX24" fmla="*/ 9313 w 43462"/>
                <a:gd name="connsiteY24" fmla="*/ 191235 h 189371"/>
                <a:gd name="connsiteX25" fmla="*/ 12418 w 43462"/>
                <a:gd name="connsiteY25" fmla="*/ 189061 h 189371"/>
                <a:gd name="connsiteX26" fmla="*/ 14591 w 43462"/>
                <a:gd name="connsiteY26" fmla="*/ 189061 h 189371"/>
                <a:gd name="connsiteX27" fmla="*/ 19869 w 43462"/>
                <a:gd name="connsiteY27" fmla="*/ 186888 h 189371"/>
                <a:gd name="connsiteX28" fmla="*/ 22973 w 43462"/>
                <a:gd name="connsiteY28" fmla="*/ 186888 h 189371"/>
                <a:gd name="connsiteX29" fmla="*/ 29182 w 43462"/>
                <a:gd name="connsiteY29" fmla="*/ 186888 h 189371"/>
                <a:gd name="connsiteX30" fmla="*/ 24836 w 43462"/>
                <a:gd name="connsiteY30" fmla="*/ 169193 h 189371"/>
                <a:gd name="connsiteX31" fmla="*/ 22973 w 43462"/>
                <a:gd name="connsiteY31" fmla="*/ 156465 h 189371"/>
                <a:gd name="connsiteX32" fmla="*/ 19869 w 43462"/>
                <a:gd name="connsiteY32" fmla="*/ 143736 h 189371"/>
                <a:gd name="connsiteX33" fmla="*/ 19869 w 43462"/>
                <a:gd name="connsiteY33" fmla="*/ 126972 h 189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43462" h="189371">
                  <a:moveTo>
                    <a:pt x="44704" y="130077"/>
                  </a:moveTo>
                  <a:lnTo>
                    <a:pt x="39427" y="108035"/>
                  </a:lnTo>
                  <a:lnTo>
                    <a:pt x="30113" y="88167"/>
                  </a:lnTo>
                  <a:lnTo>
                    <a:pt x="24836" y="70471"/>
                  </a:lnTo>
                  <a:lnTo>
                    <a:pt x="21731" y="51534"/>
                  </a:lnTo>
                  <a:lnTo>
                    <a:pt x="21731" y="35701"/>
                  </a:lnTo>
                  <a:lnTo>
                    <a:pt x="21731" y="18937"/>
                  </a:lnTo>
                  <a:lnTo>
                    <a:pt x="15522" y="6209"/>
                  </a:lnTo>
                  <a:lnTo>
                    <a:pt x="15522" y="4036"/>
                  </a:lnTo>
                  <a:lnTo>
                    <a:pt x="14591" y="4036"/>
                  </a:lnTo>
                  <a:lnTo>
                    <a:pt x="14591" y="2173"/>
                  </a:lnTo>
                  <a:lnTo>
                    <a:pt x="12418" y="0"/>
                  </a:lnTo>
                  <a:lnTo>
                    <a:pt x="10245" y="7451"/>
                  </a:lnTo>
                  <a:lnTo>
                    <a:pt x="9313" y="13660"/>
                  </a:lnTo>
                  <a:lnTo>
                    <a:pt x="7140" y="16764"/>
                  </a:lnTo>
                  <a:lnTo>
                    <a:pt x="5278" y="21110"/>
                  </a:lnTo>
                  <a:lnTo>
                    <a:pt x="3104" y="24215"/>
                  </a:lnTo>
                  <a:lnTo>
                    <a:pt x="0" y="29492"/>
                  </a:lnTo>
                  <a:lnTo>
                    <a:pt x="0" y="70471"/>
                  </a:lnTo>
                  <a:lnTo>
                    <a:pt x="3104" y="85993"/>
                  </a:lnTo>
                  <a:lnTo>
                    <a:pt x="3104" y="110208"/>
                  </a:lnTo>
                  <a:lnTo>
                    <a:pt x="3104" y="136596"/>
                  </a:lnTo>
                  <a:lnTo>
                    <a:pt x="3104" y="159569"/>
                  </a:lnTo>
                  <a:lnTo>
                    <a:pt x="5278" y="180679"/>
                  </a:lnTo>
                  <a:lnTo>
                    <a:pt x="9313" y="191235"/>
                  </a:lnTo>
                  <a:lnTo>
                    <a:pt x="12418" y="189061"/>
                  </a:lnTo>
                  <a:lnTo>
                    <a:pt x="14591" y="189061"/>
                  </a:lnTo>
                  <a:lnTo>
                    <a:pt x="19869" y="186888"/>
                  </a:lnTo>
                  <a:lnTo>
                    <a:pt x="22973" y="186888"/>
                  </a:lnTo>
                  <a:lnTo>
                    <a:pt x="29182" y="186888"/>
                  </a:lnTo>
                  <a:lnTo>
                    <a:pt x="24836" y="169193"/>
                  </a:lnTo>
                  <a:lnTo>
                    <a:pt x="22973" y="156465"/>
                  </a:lnTo>
                  <a:lnTo>
                    <a:pt x="19869" y="143736"/>
                  </a:lnTo>
                  <a:lnTo>
                    <a:pt x="19869" y="12697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32519478-5ED1-44E1-B158-1F34BF34C503}"/>
                </a:ext>
              </a:extLst>
            </p:cNvPr>
            <p:cNvSpPr/>
            <p:nvPr/>
          </p:nvSpPr>
          <p:spPr>
            <a:xfrm>
              <a:off x="3223922" y="4869190"/>
              <a:ext cx="34149" cy="43462"/>
            </a:xfrm>
            <a:custGeom>
              <a:avLst/>
              <a:gdLst>
                <a:gd name="connsiteX0" fmla="*/ 29182 w 34149"/>
                <a:gd name="connsiteY0" fmla="*/ 17695 h 43462"/>
                <a:gd name="connsiteX1" fmla="*/ 27009 w 34149"/>
                <a:gd name="connsiteY1" fmla="*/ 3104 h 43462"/>
                <a:gd name="connsiteX2" fmla="*/ 19558 w 34149"/>
                <a:gd name="connsiteY2" fmla="*/ 3104 h 43462"/>
                <a:gd name="connsiteX3" fmla="*/ 14591 w 34149"/>
                <a:gd name="connsiteY3" fmla="*/ 3104 h 43462"/>
                <a:gd name="connsiteX4" fmla="*/ 10245 w 34149"/>
                <a:gd name="connsiteY4" fmla="*/ 931 h 43462"/>
                <a:gd name="connsiteX5" fmla="*/ 7140 w 34149"/>
                <a:gd name="connsiteY5" fmla="*/ 0 h 43462"/>
                <a:gd name="connsiteX6" fmla="*/ 0 w 34149"/>
                <a:gd name="connsiteY6" fmla="*/ 0 h 43462"/>
                <a:gd name="connsiteX7" fmla="*/ 0 w 34149"/>
                <a:gd name="connsiteY7" fmla="*/ 5278 h 43462"/>
                <a:gd name="connsiteX8" fmla="*/ 0 w 34149"/>
                <a:gd name="connsiteY8" fmla="*/ 8382 h 43462"/>
                <a:gd name="connsiteX9" fmla="*/ 931 w 34149"/>
                <a:gd name="connsiteY9" fmla="*/ 12728 h 43462"/>
                <a:gd name="connsiteX10" fmla="*/ 3104 w 34149"/>
                <a:gd name="connsiteY10" fmla="*/ 15833 h 43462"/>
                <a:gd name="connsiteX11" fmla="*/ 7140 w 34149"/>
                <a:gd name="connsiteY11" fmla="*/ 22042 h 43462"/>
                <a:gd name="connsiteX12" fmla="*/ 10245 w 34149"/>
                <a:gd name="connsiteY12" fmla="*/ 27319 h 43462"/>
                <a:gd name="connsiteX13" fmla="*/ 14591 w 34149"/>
                <a:gd name="connsiteY13" fmla="*/ 30424 h 43462"/>
                <a:gd name="connsiteX14" fmla="*/ 19558 w 34149"/>
                <a:gd name="connsiteY14" fmla="*/ 34770 h 43462"/>
                <a:gd name="connsiteX15" fmla="*/ 22973 w 34149"/>
                <a:gd name="connsiteY15" fmla="*/ 37874 h 43462"/>
                <a:gd name="connsiteX16" fmla="*/ 27009 w 34149"/>
                <a:gd name="connsiteY16" fmla="*/ 44083 h 43462"/>
                <a:gd name="connsiteX17" fmla="*/ 34149 w 34149"/>
                <a:gd name="connsiteY17" fmla="*/ 44083 h 43462"/>
                <a:gd name="connsiteX18" fmla="*/ 32286 w 34149"/>
                <a:gd name="connsiteY18" fmla="*/ 29492 h 434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4149" h="43462">
                  <a:moveTo>
                    <a:pt x="29182" y="17695"/>
                  </a:moveTo>
                  <a:lnTo>
                    <a:pt x="27009" y="3104"/>
                  </a:lnTo>
                  <a:lnTo>
                    <a:pt x="19558" y="3104"/>
                  </a:lnTo>
                  <a:lnTo>
                    <a:pt x="14591" y="3104"/>
                  </a:lnTo>
                  <a:lnTo>
                    <a:pt x="10245" y="931"/>
                  </a:lnTo>
                  <a:lnTo>
                    <a:pt x="7140" y="0"/>
                  </a:lnTo>
                  <a:lnTo>
                    <a:pt x="0" y="0"/>
                  </a:lnTo>
                  <a:lnTo>
                    <a:pt x="0" y="5278"/>
                  </a:lnTo>
                  <a:lnTo>
                    <a:pt x="0" y="8382"/>
                  </a:lnTo>
                  <a:lnTo>
                    <a:pt x="931" y="12728"/>
                  </a:lnTo>
                  <a:lnTo>
                    <a:pt x="3104" y="15833"/>
                  </a:lnTo>
                  <a:lnTo>
                    <a:pt x="7140" y="22042"/>
                  </a:lnTo>
                  <a:lnTo>
                    <a:pt x="10245" y="27319"/>
                  </a:lnTo>
                  <a:lnTo>
                    <a:pt x="14591" y="30424"/>
                  </a:lnTo>
                  <a:lnTo>
                    <a:pt x="19558" y="34770"/>
                  </a:lnTo>
                  <a:lnTo>
                    <a:pt x="22973" y="37874"/>
                  </a:lnTo>
                  <a:lnTo>
                    <a:pt x="27009" y="44083"/>
                  </a:lnTo>
                  <a:lnTo>
                    <a:pt x="34149" y="44083"/>
                  </a:lnTo>
                  <a:lnTo>
                    <a:pt x="32286" y="29492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3834F2DF-2CE0-4287-8BCC-DEB165C0D36E}"/>
                </a:ext>
              </a:extLst>
            </p:cNvPr>
            <p:cNvSpPr/>
            <p:nvPr/>
          </p:nvSpPr>
          <p:spPr>
            <a:xfrm>
              <a:off x="5439263" y="4744081"/>
              <a:ext cx="18627" cy="18627"/>
            </a:xfrm>
            <a:custGeom>
              <a:avLst/>
              <a:gdLst>
                <a:gd name="connsiteX0" fmla="*/ 931 w 18626"/>
                <a:gd name="connsiteY0" fmla="*/ 3104 h 18626"/>
                <a:gd name="connsiteX1" fmla="*/ 0 w 18626"/>
                <a:gd name="connsiteY1" fmla="*/ 7451 h 18626"/>
                <a:gd name="connsiteX2" fmla="*/ 0 w 18626"/>
                <a:gd name="connsiteY2" fmla="*/ 9624 h 18626"/>
                <a:gd name="connsiteX3" fmla="*/ 0 w 18626"/>
                <a:gd name="connsiteY3" fmla="*/ 12728 h 18626"/>
                <a:gd name="connsiteX4" fmla="*/ 0 w 18626"/>
                <a:gd name="connsiteY4" fmla="*/ 16764 h 18626"/>
                <a:gd name="connsiteX5" fmla="*/ 931 w 18626"/>
                <a:gd name="connsiteY5" fmla="*/ 16764 h 18626"/>
                <a:gd name="connsiteX6" fmla="*/ 3104 w 18626"/>
                <a:gd name="connsiteY6" fmla="*/ 18006 h 18626"/>
                <a:gd name="connsiteX7" fmla="*/ 5278 w 18626"/>
                <a:gd name="connsiteY7" fmla="*/ 18006 h 18626"/>
                <a:gd name="connsiteX8" fmla="*/ 8382 w 18626"/>
                <a:gd name="connsiteY8" fmla="*/ 20179 h 18626"/>
                <a:gd name="connsiteX9" fmla="*/ 10555 w 18626"/>
                <a:gd name="connsiteY9" fmla="*/ 16764 h 18626"/>
                <a:gd name="connsiteX10" fmla="*/ 14591 w 18626"/>
                <a:gd name="connsiteY10" fmla="*/ 14901 h 18626"/>
                <a:gd name="connsiteX11" fmla="*/ 15522 w 18626"/>
                <a:gd name="connsiteY11" fmla="*/ 12728 h 18626"/>
                <a:gd name="connsiteX12" fmla="*/ 19869 w 18626"/>
                <a:gd name="connsiteY12" fmla="*/ 12728 h 18626"/>
                <a:gd name="connsiteX13" fmla="*/ 19869 w 18626"/>
                <a:gd name="connsiteY13" fmla="*/ 7451 h 18626"/>
                <a:gd name="connsiteX14" fmla="*/ 5278 w 18626"/>
                <a:gd name="connsiteY14" fmla="*/ 0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8626" h="18626">
                  <a:moveTo>
                    <a:pt x="931" y="3104"/>
                  </a:moveTo>
                  <a:lnTo>
                    <a:pt x="0" y="7451"/>
                  </a:lnTo>
                  <a:lnTo>
                    <a:pt x="0" y="9624"/>
                  </a:lnTo>
                  <a:lnTo>
                    <a:pt x="0" y="12728"/>
                  </a:lnTo>
                  <a:lnTo>
                    <a:pt x="0" y="16764"/>
                  </a:lnTo>
                  <a:lnTo>
                    <a:pt x="931" y="16764"/>
                  </a:lnTo>
                  <a:lnTo>
                    <a:pt x="3104" y="18006"/>
                  </a:lnTo>
                  <a:lnTo>
                    <a:pt x="5278" y="18006"/>
                  </a:lnTo>
                  <a:lnTo>
                    <a:pt x="8382" y="20179"/>
                  </a:lnTo>
                  <a:lnTo>
                    <a:pt x="10555" y="16764"/>
                  </a:lnTo>
                  <a:lnTo>
                    <a:pt x="14591" y="14901"/>
                  </a:lnTo>
                  <a:lnTo>
                    <a:pt x="15522" y="12728"/>
                  </a:lnTo>
                  <a:lnTo>
                    <a:pt x="19869" y="12728"/>
                  </a:lnTo>
                  <a:lnTo>
                    <a:pt x="19869" y="7451"/>
                  </a:lnTo>
                  <a:lnTo>
                    <a:pt x="5278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5FA4BADD-3A02-47BB-B196-BC8B6ABBBAE3}"/>
                </a:ext>
              </a:extLst>
            </p:cNvPr>
            <p:cNvSpPr/>
            <p:nvPr/>
          </p:nvSpPr>
          <p:spPr>
            <a:xfrm>
              <a:off x="5039098" y="4734767"/>
              <a:ext cx="111760" cy="217312"/>
            </a:xfrm>
            <a:custGeom>
              <a:avLst/>
              <a:gdLst>
                <a:gd name="connsiteX0" fmla="*/ 103068 w 111760"/>
                <a:gd name="connsiteY0" fmla="*/ 141874 h 217312"/>
                <a:gd name="connsiteX1" fmla="*/ 93755 w 111760"/>
                <a:gd name="connsiteY1" fmla="*/ 122937 h 217312"/>
                <a:gd name="connsiteX2" fmla="*/ 83510 w 111760"/>
                <a:gd name="connsiteY2" fmla="*/ 106173 h 217312"/>
                <a:gd name="connsiteX3" fmla="*/ 70782 w 111760"/>
                <a:gd name="connsiteY3" fmla="*/ 92513 h 217312"/>
                <a:gd name="connsiteX4" fmla="*/ 61468 w 111760"/>
                <a:gd name="connsiteY4" fmla="*/ 78853 h 217312"/>
                <a:gd name="connsiteX5" fmla="*/ 52155 w 111760"/>
                <a:gd name="connsiteY5" fmla="*/ 70471 h 217312"/>
                <a:gd name="connsiteX6" fmla="*/ 56191 w 111760"/>
                <a:gd name="connsiteY6" fmla="*/ 63021 h 217312"/>
                <a:gd name="connsiteX7" fmla="*/ 61468 w 111760"/>
                <a:gd name="connsiteY7" fmla="*/ 53397 h 217312"/>
                <a:gd name="connsiteX8" fmla="*/ 64573 w 111760"/>
                <a:gd name="connsiteY8" fmla="*/ 41910 h 217312"/>
                <a:gd name="connsiteX9" fmla="*/ 59295 w 111760"/>
                <a:gd name="connsiteY9" fmla="*/ 29492 h 217312"/>
                <a:gd name="connsiteX10" fmla="*/ 59295 w 111760"/>
                <a:gd name="connsiteY10" fmla="*/ 22042 h 217312"/>
                <a:gd name="connsiteX11" fmla="*/ 54328 w 111760"/>
                <a:gd name="connsiteY11" fmla="*/ 22042 h 217312"/>
                <a:gd name="connsiteX12" fmla="*/ 49982 w 111760"/>
                <a:gd name="connsiteY12" fmla="*/ 24215 h 217312"/>
                <a:gd name="connsiteX13" fmla="*/ 49051 w 111760"/>
                <a:gd name="connsiteY13" fmla="*/ 26078 h 217312"/>
                <a:gd name="connsiteX14" fmla="*/ 44704 w 111760"/>
                <a:gd name="connsiteY14" fmla="*/ 29492 h 217312"/>
                <a:gd name="connsiteX15" fmla="*/ 35391 w 111760"/>
                <a:gd name="connsiteY15" fmla="*/ 29492 h 217312"/>
                <a:gd name="connsiteX16" fmla="*/ 39737 w 111760"/>
                <a:gd name="connsiteY16" fmla="*/ 24215 h 217312"/>
                <a:gd name="connsiteX17" fmla="*/ 42842 w 111760"/>
                <a:gd name="connsiteY17" fmla="*/ 18937 h 217312"/>
                <a:gd name="connsiteX18" fmla="*/ 44704 w 111760"/>
                <a:gd name="connsiteY18" fmla="*/ 12418 h 217312"/>
                <a:gd name="connsiteX19" fmla="*/ 49051 w 111760"/>
                <a:gd name="connsiteY19" fmla="*/ 5278 h 217312"/>
                <a:gd name="connsiteX20" fmla="*/ 34460 w 111760"/>
                <a:gd name="connsiteY20" fmla="*/ 2173 h 217312"/>
                <a:gd name="connsiteX21" fmla="*/ 15522 w 111760"/>
                <a:gd name="connsiteY21" fmla="*/ 0 h 217312"/>
                <a:gd name="connsiteX22" fmla="*/ 14591 w 111760"/>
                <a:gd name="connsiteY22" fmla="*/ 16764 h 217312"/>
                <a:gd name="connsiteX23" fmla="*/ 8382 w 111760"/>
                <a:gd name="connsiteY23" fmla="*/ 27319 h 217312"/>
                <a:gd name="connsiteX24" fmla="*/ 3104 w 111760"/>
                <a:gd name="connsiteY24" fmla="*/ 36633 h 217312"/>
                <a:gd name="connsiteX25" fmla="*/ 0 w 111760"/>
                <a:gd name="connsiteY25" fmla="*/ 46257 h 217312"/>
                <a:gd name="connsiteX26" fmla="*/ 931 w 111760"/>
                <a:gd name="connsiteY26" fmla="*/ 58674 h 217312"/>
                <a:gd name="connsiteX27" fmla="*/ 5278 w 111760"/>
                <a:gd name="connsiteY27" fmla="*/ 75438 h 217312"/>
                <a:gd name="connsiteX28" fmla="*/ 8382 w 111760"/>
                <a:gd name="connsiteY28" fmla="*/ 93444 h 217312"/>
                <a:gd name="connsiteX29" fmla="*/ 10555 w 111760"/>
                <a:gd name="connsiteY29" fmla="*/ 92513 h 217312"/>
                <a:gd name="connsiteX30" fmla="*/ 12418 w 111760"/>
                <a:gd name="connsiteY30" fmla="*/ 90340 h 217312"/>
                <a:gd name="connsiteX31" fmla="*/ 14591 w 111760"/>
                <a:gd name="connsiteY31" fmla="*/ 90340 h 217312"/>
                <a:gd name="connsiteX32" fmla="*/ 14591 w 111760"/>
                <a:gd name="connsiteY32" fmla="*/ 88167 h 217312"/>
                <a:gd name="connsiteX33" fmla="*/ 14591 w 111760"/>
                <a:gd name="connsiteY33" fmla="*/ 85994 h 217312"/>
                <a:gd name="connsiteX34" fmla="*/ 15522 w 111760"/>
                <a:gd name="connsiteY34" fmla="*/ 82889 h 217312"/>
                <a:gd name="connsiteX35" fmla="*/ 19869 w 111760"/>
                <a:gd name="connsiteY35" fmla="*/ 82889 h 217312"/>
                <a:gd name="connsiteX36" fmla="*/ 19869 w 111760"/>
                <a:gd name="connsiteY36" fmla="*/ 85994 h 217312"/>
                <a:gd name="connsiteX37" fmla="*/ 19869 w 111760"/>
                <a:gd name="connsiteY37" fmla="*/ 88167 h 217312"/>
                <a:gd name="connsiteX38" fmla="*/ 17695 w 111760"/>
                <a:gd name="connsiteY38" fmla="*/ 90340 h 217312"/>
                <a:gd name="connsiteX39" fmla="*/ 17695 w 111760"/>
                <a:gd name="connsiteY39" fmla="*/ 92513 h 217312"/>
                <a:gd name="connsiteX40" fmla="*/ 15522 w 111760"/>
                <a:gd name="connsiteY40" fmla="*/ 93444 h 217312"/>
                <a:gd name="connsiteX41" fmla="*/ 17695 w 111760"/>
                <a:gd name="connsiteY41" fmla="*/ 97480 h 217312"/>
                <a:gd name="connsiteX42" fmla="*/ 17695 w 111760"/>
                <a:gd name="connsiteY42" fmla="*/ 100895 h 217312"/>
                <a:gd name="connsiteX43" fmla="*/ 17695 w 111760"/>
                <a:gd name="connsiteY43" fmla="*/ 102758 h 217312"/>
                <a:gd name="connsiteX44" fmla="*/ 19869 w 111760"/>
                <a:gd name="connsiteY44" fmla="*/ 104931 h 217312"/>
                <a:gd name="connsiteX45" fmla="*/ 19869 w 111760"/>
                <a:gd name="connsiteY45" fmla="*/ 106173 h 217312"/>
                <a:gd name="connsiteX46" fmla="*/ 22973 w 111760"/>
                <a:gd name="connsiteY46" fmla="*/ 106173 h 217312"/>
                <a:gd name="connsiteX47" fmla="*/ 27009 w 111760"/>
                <a:gd name="connsiteY47" fmla="*/ 108035 h 217312"/>
                <a:gd name="connsiteX48" fmla="*/ 30113 w 111760"/>
                <a:gd name="connsiteY48" fmla="*/ 108035 h 217312"/>
                <a:gd name="connsiteX49" fmla="*/ 32286 w 111760"/>
                <a:gd name="connsiteY49" fmla="*/ 108035 h 217312"/>
                <a:gd name="connsiteX50" fmla="*/ 35391 w 111760"/>
                <a:gd name="connsiteY50" fmla="*/ 110208 h 217312"/>
                <a:gd name="connsiteX51" fmla="*/ 39737 w 111760"/>
                <a:gd name="connsiteY51" fmla="*/ 112381 h 217312"/>
                <a:gd name="connsiteX52" fmla="*/ 41600 w 111760"/>
                <a:gd name="connsiteY52" fmla="*/ 112381 h 217312"/>
                <a:gd name="connsiteX53" fmla="*/ 41600 w 111760"/>
                <a:gd name="connsiteY53" fmla="*/ 113313 h 217312"/>
                <a:gd name="connsiteX54" fmla="*/ 42842 w 111760"/>
                <a:gd name="connsiteY54" fmla="*/ 113313 h 217312"/>
                <a:gd name="connsiteX55" fmla="*/ 44704 w 111760"/>
                <a:gd name="connsiteY55" fmla="*/ 117659 h 217312"/>
                <a:gd name="connsiteX56" fmla="*/ 44704 w 111760"/>
                <a:gd name="connsiteY56" fmla="*/ 119832 h 217312"/>
                <a:gd name="connsiteX57" fmla="*/ 46877 w 111760"/>
                <a:gd name="connsiteY57" fmla="*/ 120763 h 217312"/>
                <a:gd name="connsiteX58" fmla="*/ 46877 w 111760"/>
                <a:gd name="connsiteY58" fmla="*/ 122937 h 217312"/>
                <a:gd name="connsiteX59" fmla="*/ 49051 w 111760"/>
                <a:gd name="connsiteY59" fmla="*/ 126972 h 217312"/>
                <a:gd name="connsiteX60" fmla="*/ 42842 w 111760"/>
                <a:gd name="connsiteY60" fmla="*/ 130077 h 217312"/>
                <a:gd name="connsiteX61" fmla="*/ 35391 w 111760"/>
                <a:gd name="connsiteY61" fmla="*/ 134423 h 217312"/>
                <a:gd name="connsiteX62" fmla="*/ 32286 w 111760"/>
                <a:gd name="connsiteY62" fmla="*/ 137528 h 217312"/>
                <a:gd name="connsiteX63" fmla="*/ 27009 w 111760"/>
                <a:gd name="connsiteY63" fmla="*/ 142805 h 217312"/>
                <a:gd name="connsiteX64" fmla="*/ 25146 w 111760"/>
                <a:gd name="connsiteY64" fmla="*/ 150256 h 217312"/>
                <a:gd name="connsiteX65" fmla="*/ 22973 w 111760"/>
                <a:gd name="connsiteY65" fmla="*/ 154292 h 217312"/>
                <a:gd name="connsiteX66" fmla="*/ 22973 w 111760"/>
                <a:gd name="connsiteY66" fmla="*/ 156465 h 217312"/>
                <a:gd name="connsiteX67" fmla="*/ 25146 w 111760"/>
                <a:gd name="connsiteY67" fmla="*/ 157396 h 217312"/>
                <a:gd name="connsiteX68" fmla="*/ 25146 w 111760"/>
                <a:gd name="connsiteY68" fmla="*/ 159569 h 217312"/>
                <a:gd name="connsiteX69" fmla="*/ 29182 w 111760"/>
                <a:gd name="connsiteY69" fmla="*/ 163915 h 217312"/>
                <a:gd name="connsiteX70" fmla="*/ 15522 w 111760"/>
                <a:gd name="connsiteY70" fmla="*/ 167020 h 217312"/>
                <a:gd name="connsiteX71" fmla="*/ 17695 w 111760"/>
                <a:gd name="connsiteY71" fmla="*/ 172297 h 217312"/>
                <a:gd name="connsiteX72" fmla="*/ 17695 w 111760"/>
                <a:gd name="connsiteY72" fmla="*/ 176333 h 217312"/>
                <a:gd name="connsiteX73" fmla="*/ 19869 w 111760"/>
                <a:gd name="connsiteY73" fmla="*/ 178506 h 217312"/>
                <a:gd name="connsiteX74" fmla="*/ 19869 w 111760"/>
                <a:gd name="connsiteY74" fmla="*/ 179438 h 217312"/>
                <a:gd name="connsiteX75" fmla="*/ 22973 w 111760"/>
                <a:gd name="connsiteY75" fmla="*/ 181611 h 217312"/>
                <a:gd name="connsiteX76" fmla="*/ 27009 w 111760"/>
                <a:gd name="connsiteY76" fmla="*/ 181611 h 217312"/>
                <a:gd name="connsiteX77" fmla="*/ 32286 w 111760"/>
                <a:gd name="connsiteY77" fmla="*/ 181611 h 217312"/>
                <a:gd name="connsiteX78" fmla="*/ 22973 w 111760"/>
                <a:gd name="connsiteY78" fmla="*/ 198375 h 217312"/>
                <a:gd name="connsiteX79" fmla="*/ 12418 w 111760"/>
                <a:gd name="connsiteY79" fmla="*/ 214208 h 217312"/>
                <a:gd name="connsiteX80" fmla="*/ 12418 w 111760"/>
                <a:gd name="connsiteY80" fmla="*/ 218554 h 217312"/>
                <a:gd name="connsiteX81" fmla="*/ 29182 w 111760"/>
                <a:gd name="connsiteY81" fmla="*/ 216381 h 217312"/>
                <a:gd name="connsiteX82" fmla="*/ 49051 w 111760"/>
                <a:gd name="connsiteY82" fmla="*/ 211103 h 217312"/>
                <a:gd name="connsiteX83" fmla="*/ 70782 w 111760"/>
                <a:gd name="connsiteY83" fmla="*/ 205826 h 217312"/>
                <a:gd name="connsiteX84" fmla="*/ 88477 w 111760"/>
                <a:gd name="connsiteY84" fmla="*/ 198375 h 217312"/>
                <a:gd name="connsiteX85" fmla="*/ 99964 w 111760"/>
                <a:gd name="connsiteY85" fmla="*/ 191235 h 217312"/>
                <a:gd name="connsiteX86" fmla="*/ 108346 w 111760"/>
                <a:gd name="connsiteY86" fmla="*/ 183784 h 217312"/>
                <a:gd name="connsiteX87" fmla="*/ 112692 w 111760"/>
                <a:gd name="connsiteY87" fmla="*/ 171056 h 217312"/>
                <a:gd name="connsiteX88" fmla="*/ 110519 w 111760"/>
                <a:gd name="connsiteY88" fmla="*/ 157396 h 217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11760" h="217312">
                  <a:moveTo>
                    <a:pt x="103068" y="141874"/>
                  </a:moveTo>
                  <a:lnTo>
                    <a:pt x="93755" y="122937"/>
                  </a:lnTo>
                  <a:lnTo>
                    <a:pt x="83510" y="106173"/>
                  </a:lnTo>
                  <a:lnTo>
                    <a:pt x="70782" y="92513"/>
                  </a:lnTo>
                  <a:lnTo>
                    <a:pt x="61468" y="78853"/>
                  </a:lnTo>
                  <a:lnTo>
                    <a:pt x="52155" y="70471"/>
                  </a:lnTo>
                  <a:lnTo>
                    <a:pt x="56191" y="63021"/>
                  </a:lnTo>
                  <a:lnTo>
                    <a:pt x="61468" y="53397"/>
                  </a:lnTo>
                  <a:lnTo>
                    <a:pt x="64573" y="41910"/>
                  </a:lnTo>
                  <a:lnTo>
                    <a:pt x="59295" y="29492"/>
                  </a:lnTo>
                  <a:lnTo>
                    <a:pt x="59295" y="22042"/>
                  </a:lnTo>
                  <a:lnTo>
                    <a:pt x="54328" y="22042"/>
                  </a:lnTo>
                  <a:lnTo>
                    <a:pt x="49982" y="24215"/>
                  </a:lnTo>
                  <a:lnTo>
                    <a:pt x="49051" y="26078"/>
                  </a:lnTo>
                  <a:lnTo>
                    <a:pt x="44704" y="29492"/>
                  </a:lnTo>
                  <a:lnTo>
                    <a:pt x="35391" y="29492"/>
                  </a:lnTo>
                  <a:lnTo>
                    <a:pt x="39737" y="24215"/>
                  </a:lnTo>
                  <a:lnTo>
                    <a:pt x="42842" y="18937"/>
                  </a:lnTo>
                  <a:lnTo>
                    <a:pt x="44704" y="12418"/>
                  </a:lnTo>
                  <a:lnTo>
                    <a:pt x="49051" y="5278"/>
                  </a:lnTo>
                  <a:lnTo>
                    <a:pt x="34460" y="2173"/>
                  </a:lnTo>
                  <a:lnTo>
                    <a:pt x="15522" y="0"/>
                  </a:lnTo>
                  <a:lnTo>
                    <a:pt x="14591" y="16764"/>
                  </a:lnTo>
                  <a:lnTo>
                    <a:pt x="8382" y="27319"/>
                  </a:lnTo>
                  <a:lnTo>
                    <a:pt x="3104" y="36633"/>
                  </a:lnTo>
                  <a:lnTo>
                    <a:pt x="0" y="46257"/>
                  </a:lnTo>
                  <a:lnTo>
                    <a:pt x="931" y="58674"/>
                  </a:lnTo>
                  <a:lnTo>
                    <a:pt x="5278" y="75438"/>
                  </a:lnTo>
                  <a:lnTo>
                    <a:pt x="8382" y="93444"/>
                  </a:lnTo>
                  <a:lnTo>
                    <a:pt x="10555" y="92513"/>
                  </a:lnTo>
                  <a:lnTo>
                    <a:pt x="12418" y="90340"/>
                  </a:lnTo>
                  <a:lnTo>
                    <a:pt x="14591" y="90340"/>
                  </a:lnTo>
                  <a:lnTo>
                    <a:pt x="14591" y="88167"/>
                  </a:lnTo>
                  <a:lnTo>
                    <a:pt x="14591" y="85994"/>
                  </a:lnTo>
                  <a:lnTo>
                    <a:pt x="15522" y="82889"/>
                  </a:lnTo>
                  <a:lnTo>
                    <a:pt x="19869" y="82889"/>
                  </a:lnTo>
                  <a:lnTo>
                    <a:pt x="19869" y="85994"/>
                  </a:lnTo>
                  <a:lnTo>
                    <a:pt x="19869" y="88167"/>
                  </a:lnTo>
                  <a:lnTo>
                    <a:pt x="17695" y="90340"/>
                  </a:lnTo>
                  <a:lnTo>
                    <a:pt x="17695" y="92513"/>
                  </a:lnTo>
                  <a:lnTo>
                    <a:pt x="15522" y="93444"/>
                  </a:lnTo>
                  <a:lnTo>
                    <a:pt x="17695" y="97480"/>
                  </a:lnTo>
                  <a:lnTo>
                    <a:pt x="17695" y="100895"/>
                  </a:lnTo>
                  <a:lnTo>
                    <a:pt x="17695" y="102758"/>
                  </a:lnTo>
                  <a:lnTo>
                    <a:pt x="19869" y="104931"/>
                  </a:lnTo>
                  <a:lnTo>
                    <a:pt x="19869" y="106173"/>
                  </a:lnTo>
                  <a:lnTo>
                    <a:pt x="22973" y="106173"/>
                  </a:lnTo>
                  <a:lnTo>
                    <a:pt x="27009" y="108035"/>
                  </a:lnTo>
                  <a:lnTo>
                    <a:pt x="30113" y="108035"/>
                  </a:lnTo>
                  <a:lnTo>
                    <a:pt x="32286" y="108035"/>
                  </a:lnTo>
                  <a:lnTo>
                    <a:pt x="35391" y="110208"/>
                  </a:lnTo>
                  <a:lnTo>
                    <a:pt x="39737" y="112381"/>
                  </a:lnTo>
                  <a:lnTo>
                    <a:pt x="41600" y="112381"/>
                  </a:lnTo>
                  <a:lnTo>
                    <a:pt x="41600" y="113313"/>
                  </a:lnTo>
                  <a:lnTo>
                    <a:pt x="42842" y="113313"/>
                  </a:lnTo>
                  <a:lnTo>
                    <a:pt x="44704" y="117659"/>
                  </a:lnTo>
                  <a:lnTo>
                    <a:pt x="44704" y="119832"/>
                  </a:lnTo>
                  <a:lnTo>
                    <a:pt x="46877" y="120763"/>
                  </a:lnTo>
                  <a:lnTo>
                    <a:pt x="46877" y="122937"/>
                  </a:lnTo>
                  <a:lnTo>
                    <a:pt x="49051" y="126972"/>
                  </a:lnTo>
                  <a:lnTo>
                    <a:pt x="42842" y="130077"/>
                  </a:lnTo>
                  <a:lnTo>
                    <a:pt x="35391" y="134423"/>
                  </a:lnTo>
                  <a:lnTo>
                    <a:pt x="32286" y="137528"/>
                  </a:lnTo>
                  <a:lnTo>
                    <a:pt x="27009" y="142805"/>
                  </a:lnTo>
                  <a:lnTo>
                    <a:pt x="25146" y="150256"/>
                  </a:lnTo>
                  <a:lnTo>
                    <a:pt x="22973" y="154292"/>
                  </a:lnTo>
                  <a:lnTo>
                    <a:pt x="22973" y="156465"/>
                  </a:lnTo>
                  <a:lnTo>
                    <a:pt x="25146" y="157396"/>
                  </a:lnTo>
                  <a:lnTo>
                    <a:pt x="25146" y="159569"/>
                  </a:lnTo>
                  <a:lnTo>
                    <a:pt x="29182" y="163915"/>
                  </a:lnTo>
                  <a:lnTo>
                    <a:pt x="15522" y="167020"/>
                  </a:lnTo>
                  <a:lnTo>
                    <a:pt x="17695" y="172297"/>
                  </a:lnTo>
                  <a:lnTo>
                    <a:pt x="17695" y="176333"/>
                  </a:lnTo>
                  <a:lnTo>
                    <a:pt x="19869" y="178506"/>
                  </a:lnTo>
                  <a:lnTo>
                    <a:pt x="19869" y="179438"/>
                  </a:lnTo>
                  <a:lnTo>
                    <a:pt x="22973" y="181611"/>
                  </a:lnTo>
                  <a:lnTo>
                    <a:pt x="27009" y="181611"/>
                  </a:lnTo>
                  <a:lnTo>
                    <a:pt x="32286" y="181611"/>
                  </a:lnTo>
                  <a:lnTo>
                    <a:pt x="22973" y="198375"/>
                  </a:lnTo>
                  <a:lnTo>
                    <a:pt x="12418" y="214208"/>
                  </a:lnTo>
                  <a:lnTo>
                    <a:pt x="12418" y="218554"/>
                  </a:lnTo>
                  <a:lnTo>
                    <a:pt x="29182" y="216381"/>
                  </a:lnTo>
                  <a:lnTo>
                    <a:pt x="49051" y="211103"/>
                  </a:lnTo>
                  <a:lnTo>
                    <a:pt x="70782" y="205826"/>
                  </a:lnTo>
                  <a:lnTo>
                    <a:pt x="88477" y="198375"/>
                  </a:lnTo>
                  <a:lnTo>
                    <a:pt x="99964" y="191235"/>
                  </a:lnTo>
                  <a:lnTo>
                    <a:pt x="108346" y="183784"/>
                  </a:lnTo>
                  <a:lnTo>
                    <a:pt x="112692" y="171056"/>
                  </a:lnTo>
                  <a:lnTo>
                    <a:pt x="110519" y="15739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E02D8199-EC44-4F53-A5E6-513B2FAE3D8E}"/>
                </a:ext>
              </a:extLst>
            </p:cNvPr>
            <p:cNvSpPr/>
            <p:nvPr/>
          </p:nvSpPr>
          <p:spPr>
            <a:xfrm>
              <a:off x="5278762" y="4812379"/>
              <a:ext cx="24836" cy="34149"/>
            </a:xfrm>
            <a:custGeom>
              <a:avLst/>
              <a:gdLst>
                <a:gd name="connsiteX0" fmla="*/ 23904 w 24835"/>
                <a:gd name="connsiteY0" fmla="*/ 10555 h 34149"/>
                <a:gd name="connsiteX1" fmla="*/ 23904 w 24835"/>
                <a:gd name="connsiteY1" fmla="*/ 7451 h 34149"/>
                <a:gd name="connsiteX2" fmla="*/ 22042 w 24835"/>
                <a:gd name="connsiteY2" fmla="*/ 5278 h 34149"/>
                <a:gd name="connsiteX3" fmla="*/ 19869 w 24835"/>
                <a:gd name="connsiteY3" fmla="*/ 3104 h 34149"/>
                <a:gd name="connsiteX4" fmla="*/ 16764 w 24835"/>
                <a:gd name="connsiteY4" fmla="*/ 0 h 34149"/>
                <a:gd name="connsiteX5" fmla="*/ 9313 w 24835"/>
                <a:gd name="connsiteY5" fmla="*/ 10555 h 34149"/>
                <a:gd name="connsiteX6" fmla="*/ 2173 w 24835"/>
                <a:gd name="connsiteY6" fmla="*/ 14901 h 34149"/>
                <a:gd name="connsiteX7" fmla="*/ 0 w 24835"/>
                <a:gd name="connsiteY7" fmla="*/ 15833 h 34149"/>
                <a:gd name="connsiteX8" fmla="*/ 0 w 24835"/>
                <a:gd name="connsiteY8" fmla="*/ 18006 h 34149"/>
                <a:gd name="connsiteX9" fmla="*/ 3104 w 24835"/>
                <a:gd name="connsiteY9" fmla="*/ 23283 h 34149"/>
                <a:gd name="connsiteX10" fmla="*/ 9313 w 24835"/>
                <a:gd name="connsiteY10" fmla="*/ 35701 h 34149"/>
                <a:gd name="connsiteX11" fmla="*/ 12418 w 24835"/>
                <a:gd name="connsiteY11" fmla="*/ 35701 h 34149"/>
                <a:gd name="connsiteX12" fmla="*/ 14591 w 24835"/>
                <a:gd name="connsiteY12" fmla="*/ 34770 h 34149"/>
                <a:gd name="connsiteX13" fmla="*/ 16764 w 24835"/>
                <a:gd name="connsiteY13" fmla="*/ 34770 h 34149"/>
                <a:gd name="connsiteX14" fmla="*/ 17695 w 24835"/>
                <a:gd name="connsiteY14" fmla="*/ 34770 h 34149"/>
                <a:gd name="connsiteX15" fmla="*/ 19869 w 24835"/>
                <a:gd name="connsiteY15" fmla="*/ 32597 h 34149"/>
                <a:gd name="connsiteX16" fmla="*/ 22042 w 24835"/>
                <a:gd name="connsiteY16" fmla="*/ 30424 h 34149"/>
                <a:gd name="connsiteX17" fmla="*/ 22042 w 24835"/>
                <a:gd name="connsiteY17" fmla="*/ 28561 h 34149"/>
                <a:gd name="connsiteX18" fmla="*/ 22042 w 24835"/>
                <a:gd name="connsiteY18" fmla="*/ 27319 h 34149"/>
                <a:gd name="connsiteX19" fmla="*/ 22042 w 24835"/>
                <a:gd name="connsiteY19" fmla="*/ 25146 h 34149"/>
                <a:gd name="connsiteX20" fmla="*/ 23904 w 24835"/>
                <a:gd name="connsiteY20" fmla="*/ 23283 h 34149"/>
                <a:gd name="connsiteX21" fmla="*/ 25146 w 24835"/>
                <a:gd name="connsiteY21" fmla="*/ 19869 h 34149"/>
                <a:gd name="connsiteX22" fmla="*/ 23904 w 24835"/>
                <a:gd name="connsiteY22" fmla="*/ 14901 h 34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835" h="34149">
                  <a:moveTo>
                    <a:pt x="23904" y="10555"/>
                  </a:moveTo>
                  <a:lnTo>
                    <a:pt x="23904" y="7451"/>
                  </a:lnTo>
                  <a:lnTo>
                    <a:pt x="22042" y="5278"/>
                  </a:lnTo>
                  <a:lnTo>
                    <a:pt x="19869" y="3104"/>
                  </a:lnTo>
                  <a:lnTo>
                    <a:pt x="16764" y="0"/>
                  </a:lnTo>
                  <a:lnTo>
                    <a:pt x="9313" y="10555"/>
                  </a:lnTo>
                  <a:lnTo>
                    <a:pt x="2173" y="14901"/>
                  </a:lnTo>
                  <a:lnTo>
                    <a:pt x="0" y="15833"/>
                  </a:lnTo>
                  <a:lnTo>
                    <a:pt x="0" y="18006"/>
                  </a:lnTo>
                  <a:lnTo>
                    <a:pt x="3104" y="23283"/>
                  </a:lnTo>
                  <a:lnTo>
                    <a:pt x="9313" y="35701"/>
                  </a:lnTo>
                  <a:lnTo>
                    <a:pt x="12418" y="35701"/>
                  </a:lnTo>
                  <a:lnTo>
                    <a:pt x="14591" y="34770"/>
                  </a:lnTo>
                  <a:lnTo>
                    <a:pt x="16764" y="34770"/>
                  </a:lnTo>
                  <a:lnTo>
                    <a:pt x="17695" y="34770"/>
                  </a:lnTo>
                  <a:lnTo>
                    <a:pt x="19869" y="32597"/>
                  </a:lnTo>
                  <a:lnTo>
                    <a:pt x="22042" y="30424"/>
                  </a:lnTo>
                  <a:lnTo>
                    <a:pt x="22042" y="28561"/>
                  </a:lnTo>
                  <a:lnTo>
                    <a:pt x="22042" y="27319"/>
                  </a:lnTo>
                  <a:lnTo>
                    <a:pt x="22042" y="25146"/>
                  </a:lnTo>
                  <a:lnTo>
                    <a:pt x="23904" y="23283"/>
                  </a:lnTo>
                  <a:lnTo>
                    <a:pt x="25146" y="19869"/>
                  </a:lnTo>
                  <a:lnTo>
                    <a:pt x="23904" y="1490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D55BB763-EDAD-4F0D-8D03-E8FE70ADDECD}"/>
                </a:ext>
              </a:extLst>
            </p:cNvPr>
            <p:cNvSpPr/>
            <p:nvPr/>
          </p:nvSpPr>
          <p:spPr>
            <a:xfrm>
              <a:off x="7689063" y="4320943"/>
              <a:ext cx="49671" cy="27940"/>
            </a:xfrm>
            <a:custGeom>
              <a:avLst/>
              <a:gdLst>
                <a:gd name="connsiteX0" fmla="*/ 49051 w 49671"/>
                <a:gd name="connsiteY0" fmla="*/ 12418 h 27940"/>
                <a:gd name="connsiteX1" fmla="*/ 44704 w 49671"/>
                <a:gd name="connsiteY1" fmla="*/ 10555 h 27940"/>
                <a:gd name="connsiteX2" fmla="*/ 43773 w 49671"/>
                <a:gd name="connsiteY2" fmla="*/ 10555 h 27940"/>
                <a:gd name="connsiteX3" fmla="*/ 41600 w 49671"/>
                <a:gd name="connsiteY3" fmla="*/ 10555 h 27940"/>
                <a:gd name="connsiteX4" fmla="*/ 37564 w 49671"/>
                <a:gd name="connsiteY4" fmla="*/ 10555 h 27940"/>
                <a:gd name="connsiteX5" fmla="*/ 36322 w 49671"/>
                <a:gd name="connsiteY5" fmla="*/ 10555 h 27940"/>
                <a:gd name="connsiteX6" fmla="*/ 34460 w 49671"/>
                <a:gd name="connsiteY6" fmla="*/ 9313 h 27940"/>
                <a:gd name="connsiteX7" fmla="*/ 30113 w 49671"/>
                <a:gd name="connsiteY7" fmla="*/ 9313 h 27940"/>
                <a:gd name="connsiteX8" fmla="*/ 27009 w 49671"/>
                <a:gd name="connsiteY8" fmla="*/ 5278 h 27940"/>
                <a:gd name="connsiteX9" fmla="*/ 22973 w 49671"/>
                <a:gd name="connsiteY9" fmla="*/ 0 h 27940"/>
                <a:gd name="connsiteX10" fmla="*/ 15522 w 49671"/>
                <a:gd name="connsiteY10" fmla="*/ 3104 h 27940"/>
                <a:gd name="connsiteX11" fmla="*/ 10555 w 49671"/>
                <a:gd name="connsiteY11" fmla="*/ 7451 h 27940"/>
                <a:gd name="connsiteX12" fmla="*/ 5278 w 49671"/>
                <a:gd name="connsiteY12" fmla="*/ 10555 h 27940"/>
                <a:gd name="connsiteX13" fmla="*/ 0 w 49671"/>
                <a:gd name="connsiteY13" fmla="*/ 15833 h 27940"/>
                <a:gd name="connsiteX14" fmla="*/ 0 w 49671"/>
                <a:gd name="connsiteY14" fmla="*/ 30424 h 27940"/>
                <a:gd name="connsiteX15" fmla="*/ 36322 w 49671"/>
                <a:gd name="connsiteY15" fmla="*/ 27319 h 27940"/>
                <a:gd name="connsiteX16" fmla="*/ 43773 w 49671"/>
                <a:gd name="connsiteY16" fmla="*/ 22042 h 27940"/>
                <a:gd name="connsiteX17" fmla="*/ 50913 w 49671"/>
                <a:gd name="connsiteY17" fmla="*/ 15833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9671" h="27940">
                  <a:moveTo>
                    <a:pt x="49051" y="12418"/>
                  </a:moveTo>
                  <a:lnTo>
                    <a:pt x="44704" y="10555"/>
                  </a:lnTo>
                  <a:lnTo>
                    <a:pt x="43773" y="10555"/>
                  </a:lnTo>
                  <a:lnTo>
                    <a:pt x="41600" y="10555"/>
                  </a:lnTo>
                  <a:lnTo>
                    <a:pt x="37564" y="10555"/>
                  </a:lnTo>
                  <a:lnTo>
                    <a:pt x="36322" y="10555"/>
                  </a:lnTo>
                  <a:lnTo>
                    <a:pt x="34460" y="9313"/>
                  </a:lnTo>
                  <a:lnTo>
                    <a:pt x="30113" y="9313"/>
                  </a:lnTo>
                  <a:lnTo>
                    <a:pt x="27009" y="5278"/>
                  </a:lnTo>
                  <a:lnTo>
                    <a:pt x="22973" y="0"/>
                  </a:lnTo>
                  <a:lnTo>
                    <a:pt x="15522" y="3104"/>
                  </a:lnTo>
                  <a:lnTo>
                    <a:pt x="10555" y="7451"/>
                  </a:lnTo>
                  <a:lnTo>
                    <a:pt x="5278" y="10555"/>
                  </a:lnTo>
                  <a:lnTo>
                    <a:pt x="0" y="15833"/>
                  </a:lnTo>
                  <a:lnTo>
                    <a:pt x="0" y="30424"/>
                  </a:lnTo>
                  <a:lnTo>
                    <a:pt x="36322" y="27319"/>
                  </a:lnTo>
                  <a:lnTo>
                    <a:pt x="43773" y="22042"/>
                  </a:lnTo>
                  <a:lnTo>
                    <a:pt x="50913" y="1583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B93783DD-ACCC-4B50-8831-1FB1F66AAA91}"/>
                </a:ext>
              </a:extLst>
            </p:cNvPr>
            <p:cNvSpPr/>
            <p:nvPr/>
          </p:nvSpPr>
          <p:spPr>
            <a:xfrm>
              <a:off x="5774854" y="4394519"/>
              <a:ext cx="15522" cy="9313"/>
            </a:xfrm>
            <a:custGeom>
              <a:avLst/>
              <a:gdLst>
                <a:gd name="connsiteX0" fmla="*/ 0 w 15522"/>
                <a:gd name="connsiteY0" fmla="*/ 931 h 9313"/>
                <a:gd name="connsiteX1" fmla="*/ 2173 w 15522"/>
                <a:gd name="connsiteY1" fmla="*/ 3104 h 9313"/>
                <a:gd name="connsiteX2" fmla="*/ 2173 w 15522"/>
                <a:gd name="connsiteY2" fmla="*/ 5278 h 9313"/>
                <a:gd name="connsiteX3" fmla="*/ 4036 w 15522"/>
                <a:gd name="connsiteY3" fmla="*/ 8382 h 9313"/>
                <a:gd name="connsiteX4" fmla="*/ 4036 w 15522"/>
                <a:gd name="connsiteY4" fmla="*/ 10245 h 9313"/>
                <a:gd name="connsiteX5" fmla="*/ 7140 w 15522"/>
                <a:gd name="connsiteY5" fmla="*/ 10245 h 9313"/>
                <a:gd name="connsiteX6" fmla="*/ 9313 w 15522"/>
                <a:gd name="connsiteY6" fmla="*/ 10245 h 9313"/>
                <a:gd name="connsiteX7" fmla="*/ 13349 w 15522"/>
                <a:gd name="connsiteY7" fmla="*/ 7140 h 9313"/>
                <a:gd name="connsiteX8" fmla="*/ 16764 w 15522"/>
                <a:gd name="connsiteY8" fmla="*/ 7140 h 9313"/>
                <a:gd name="connsiteX9" fmla="*/ 16764 w 15522"/>
                <a:gd name="connsiteY9" fmla="*/ 0 h 9313"/>
                <a:gd name="connsiteX10" fmla="*/ 0 w 15522"/>
                <a:gd name="connsiteY10" fmla="*/ 0 h 9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5522" h="9313">
                  <a:moveTo>
                    <a:pt x="0" y="931"/>
                  </a:moveTo>
                  <a:lnTo>
                    <a:pt x="2173" y="3104"/>
                  </a:lnTo>
                  <a:lnTo>
                    <a:pt x="2173" y="5278"/>
                  </a:lnTo>
                  <a:lnTo>
                    <a:pt x="4036" y="8382"/>
                  </a:lnTo>
                  <a:lnTo>
                    <a:pt x="4036" y="10245"/>
                  </a:lnTo>
                  <a:lnTo>
                    <a:pt x="7140" y="10245"/>
                  </a:lnTo>
                  <a:lnTo>
                    <a:pt x="9313" y="10245"/>
                  </a:lnTo>
                  <a:lnTo>
                    <a:pt x="13349" y="7140"/>
                  </a:lnTo>
                  <a:lnTo>
                    <a:pt x="16764" y="7140"/>
                  </a:lnTo>
                  <a:lnTo>
                    <a:pt x="1676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DCF920D3-7F71-45BB-8D6A-A34208C03F0F}"/>
                </a:ext>
              </a:extLst>
            </p:cNvPr>
            <p:cNvSpPr/>
            <p:nvPr/>
          </p:nvSpPr>
          <p:spPr>
            <a:xfrm>
              <a:off x="7132744" y="4215702"/>
              <a:ext cx="55880" cy="21731"/>
            </a:xfrm>
            <a:custGeom>
              <a:avLst/>
              <a:gdLst>
                <a:gd name="connsiteX0" fmla="*/ 51844 w 55880"/>
                <a:gd name="connsiteY0" fmla="*/ 7451 h 21731"/>
                <a:gd name="connsiteX1" fmla="*/ 36322 w 55880"/>
                <a:gd name="connsiteY1" fmla="*/ 4346 h 21731"/>
                <a:gd name="connsiteX2" fmla="*/ 19558 w 55880"/>
                <a:gd name="connsiteY2" fmla="*/ 0 h 21731"/>
                <a:gd name="connsiteX3" fmla="*/ 0 w 55880"/>
                <a:gd name="connsiteY3" fmla="*/ 0 h 21731"/>
                <a:gd name="connsiteX4" fmla="*/ 0 w 55880"/>
                <a:gd name="connsiteY4" fmla="*/ 7451 h 21731"/>
                <a:gd name="connsiteX5" fmla="*/ 931 w 55880"/>
                <a:gd name="connsiteY5" fmla="*/ 13660 h 21731"/>
                <a:gd name="connsiteX6" fmla="*/ 931 w 55880"/>
                <a:gd name="connsiteY6" fmla="*/ 18937 h 21731"/>
                <a:gd name="connsiteX7" fmla="*/ 3104 w 55880"/>
                <a:gd name="connsiteY7" fmla="*/ 24215 h 21731"/>
                <a:gd name="connsiteX8" fmla="*/ 56191 w 55880"/>
                <a:gd name="connsiteY8" fmla="*/ 24215 h 21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880" h="21731">
                  <a:moveTo>
                    <a:pt x="51844" y="7451"/>
                  </a:moveTo>
                  <a:lnTo>
                    <a:pt x="36322" y="4346"/>
                  </a:lnTo>
                  <a:lnTo>
                    <a:pt x="19558" y="0"/>
                  </a:lnTo>
                  <a:lnTo>
                    <a:pt x="0" y="0"/>
                  </a:lnTo>
                  <a:lnTo>
                    <a:pt x="0" y="7451"/>
                  </a:lnTo>
                  <a:lnTo>
                    <a:pt x="931" y="13660"/>
                  </a:lnTo>
                  <a:lnTo>
                    <a:pt x="931" y="18937"/>
                  </a:lnTo>
                  <a:lnTo>
                    <a:pt x="3104" y="24215"/>
                  </a:lnTo>
                  <a:lnTo>
                    <a:pt x="56191" y="24215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C0954072-CFF0-437B-95D0-44F973F36690}"/>
                </a:ext>
              </a:extLst>
            </p:cNvPr>
            <p:cNvSpPr/>
            <p:nvPr/>
          </p:nvSpPr>
          <p:spPr>
            <a:xfrm>
              <a:off x="5371586" y="4771400"/>
              <a:ext cx="18627" cy="27940"/>
            </a:xfrm>
            <a:custGeom>
              <a:avLst/>
              <a:gdLst>
                <a:gd name="connsiteX0" fmla="*/ 16454 w 18626"/>
                <a:gd name="connsiteY0" fmla="*/ 2173 h 27940"/>
                <a:gd name="connsiteX1" fmla="*/ 14591 w 18626"/>
                <a:gd name="connsiteY1" fmla="*/ 2173 h 27940"/>
                <a:gd name="connsiteX2" fmla="*/ 12418 w 18626"/>
                <a:gd name="connsiteY2" fmla="*/ 2173 h 27940"/>
                <a:gd name="connsiteX3" fmla="*/ 7140 w 18626"/>
                <a:gd name="connsiteY3" fmla="*/ 0 h 27940"/>
                <a:gd name="connsiteX4" fmla="*/ 7140 w 18626"/>
                <a:gd name="connsiteY4" fmla="*/ 5278 h 27940"/>
                <a:gd name="connsiteX5" fmla="*/ 5278 w 18626"/>
                <a:gd name="connsiteY5" fmla="*/ 9624 h 27940"/>
                <a:gd name="connsiteX6" fmla="*/ 3104 w 18626"/>
                <a:gd name="connsiteY6" fmla="*/ 12728 h 27940"/>
                <a:gd name="connsiteX7" fmla="*/ 0 w 18626"/>
                <a:gd name="connsiteY7" fmla="*/ 16764 h 27940"/>
                <a:gd name="connsiteX8" fmla="*/ 1863 w 18626"/>
                <a:gd name="connsiteY8" fmla="*/ 20179 h 27940"/>
                <a:gd name="connsiteX9" fmla="*/ 1863 w 18626"/>
                <a:gd name="connsiteY9" fmla="*/ 22042 h 27940"/>
                <a:gd name="connsiteX10" fmla="*/ 1863 w 18626"/>
                <a:gd name="connsiteY10" fmla="*/ 24215 h 27940"/>
                <a:gd name="connsiteX11" fmla="*/ 3104 w 18626"/>
                <a:gd name="connsiteY11" fmla="*/ 24215 h 27940"/>
                <a:gd name="connsiteX12" fmla="*/ 3104 w 18626"/>
                <a:gd name="connsiteY12" fmla="*/ 29492 h 27940"/>
                <a:gd name="connsiteX13" fmla="*/ 9313 w 18626"/>
                <a:gd name="connsiteY13" fmla="*/ 26388 h 27940"/>
                <a:gd name="connsiteX14" fmla="*/ 12418 w 18626"/>
                <a:gd name="connsiteY14" fmla="*/ 20179 h 27940"/>
                <a:gd name="connsiteX15" fmla="*/ 14591 w 18626"/>
                <a:gd name="connsiteY15" fmla="*/ 14901 h 27940"/>
                <a:gd name="connsiteX16" fmla="*/ 16454 w 18626"/>
                <a:gd name="connsiteY16" fmla="*/ 9624 h 27940"/>
                <a:gd name="connsiteX17" fmla="*/ 19868 w 18626"/>
                <a:gd name="connsiteY17" fmla="*/ 4346 h 27940"/>
                <a:gd name="connsiteX18" fmla="*/ 17695 w 18626"/>
                <a:gd name="connsiteY18" fmla="*/ 4346 h 279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8626" h="27940">
                  <a:moveTo>
                    <a:pt x="16454" y="2173"/>
                  </a:moveTo>
                  <a:lnTo>
                    <a:pt x="14591" y="2173"/>
                  </a:lnTo>
                  <a:lnTo>
                    <a:pt x="12418" y="2173"/>
                  </a:lnTo>
                  <a:lnTo>
                    <a:pt x="7140" y="0"/>
                  </a:lnTo>
                  <a:lnTo>
                    <a:pt x="7140" y="5278"/>
                  </a:lnTo>
                  <a:lnTo>
                    <a:pt x="5278" y="9624"/>
                  </a:lnTo>
                  <a:lnTo>
                    <a:pt x="3104" y="12728"/>
                  </a:lnTo>
                  <a:lnTo>
                    <a:pt x="0" y="16764"/>
                  </a:lnTo>
                  <a:lnTo>
                    <a:pt x="1863" y="20179"/>
                  </a:lnTo>
                  <a:lnTo>
                    <a:pt x="1863" y="22042"/>
                  </a:lnTo>
                  <a:lnTo>
                    <a:pt x="1863" y="24215"/>
                  </a:lnTo>
                  <a:lnTo>
                    <a:pt x="3104" y="24215"/>
                  </a:lnTo>
                  <a:lnTo>
                    <a:pt x="3104" y="29492"/>
                  </a:lnTo>
                  <a:lnTo>
                    <a:pt x="9313" y="26388"/>
                  </a:lnTo>
                  <a:lnTo>
                    <a:pt x="12418" y="20179"/>
                  </a:lnTo>
                  <a:lnTo>
                    <a:pt x="14591" y="14901"/>
                  </a:lnTo>
                  <a:lnTo>
                    <a:pt x="16454" y="9624"/>
                  </a:lnTo>
                  <a:lnTo>
                    <a:pt x="19868" y="4346"/>
                  </a:lnTo>
                  <a:lnTo>
                    <a:pt x="17695" y="4346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08BC99E0-50B7-4A1D-9E9C-60F361531679}"/>
                </a:ext>
              </a:extLst>
            </p:cNvPr>
            <p:cNvSpPr/>
            <p:nvPr/>
          </p:nvSpPr>
          <p:spPr>
            <a:xfrm>
              <a:off x="4983839" y="4840940"/>
              <a:ext cx="52776" cy="80716"/>
            </a:xfrm>
            <a:custGeom>
              <a:avLst/>
              <a:gdLst>
                <a:gd name="connsiteX0" fmla="*/ 34460 w 52775"/>
                <a:gd name="connsiteY0" fmla="*/ 1863 h 80715"/>
                <a:gd name="connsiteX1" fmla="*/ 23904 w 52775"/>
                <a:gd name="connsiteY1" fmla="*/ 7140 h 80715"/>
                <a:gd name="connsiteX2" fmla="*/ 14591 w 52775"/>
                <a:gd name="connsiteY2" fmla="*/ 14591 h 80715"/>
                <a:gd name="connsiteX3" fmla="*/ 4346 w 52775"/>
                <a:gd name="connsiteY3" fmla="*/ 23904 h 80715"/>
                <a:gd name="connsiteX4" fmla="*/ 5278 w 52775"/>
                <a:gd name="connsiteY4" fmla="*/ 42841 h 80715"/>
                <a:gd name="connsiteX5" fmla="*/ 5278 w 52775"/>
                <a:gd name="connsiteY5" fmla="*/ 58674 h 80715"/>
                <a:gd name="connsiteX6" fmla="*/ 0 w 52775"/>
                <a:gd name="connsiteY6" fmla="*/ 72334 h 80715"/>
                <a:gd name="connsiteX7" fmla="*/ 0 w 52775"/>
                <a:gd name="connsiteY7" fmla="*/ 80716 h 80715"/>
                <a:gd name="connsiteX8" fmla="*/ 19869 w 52775"/>
                <a:gd name="connsiteY8" fmla="*/ 79785 h 80715"/>
                <a:gd name="connsiteX9" fmla="*/ 33528 w 52775"/>
                <a:gd name="connsiteY9" fmla="*/ 75438 h 80715"/>
                <a:gd name="connsiteX10" fmla="*/ 48119 w 52775"/>
                <a:gd name="connsiteY10" fmla="*/ 67988 h 80715"/>
                <a:gd name="connsiteX11" fmla="*/ 53086 w 52775"/>
                <a:gd name="connsiteY11" fmla="*/ 44083 h 80715"/>
                <a:gd name="connsiteX12" fmla="*/ 55259 w 52775"/>
                <a:gd name="connsiteY12" fmla="*/ 22042 h 80715"/>
                <a:gd name="connsiteX13" fmla="*/ 51224 w 52775"/>
                <a:gd name="connsiteY13" fmla="*/ 0 h 807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75" h="80715">
                  <a:moveTo>
                    <a:pt x="34460" y="1863"/>
                  </a:moveTo>
                  <a:lnTo>
                    <a:pt x="23904" y="7140"/>
                  </a:lnTo>
                  <a:lnTo>
                    <a:pt x="14591" y="14591"/>
                  </a:lnTo>
                  <a:lnTo>
                    <a:pt x="4346" y="23904"/>
                  </a:lnTo>
                  <a:lnTo>
                    <a:pt x="5278" y="42841"/>
                  </a:lnTo>
                  <a:lnTo>
                    <a:pt x="5278" y="58674"/>
                  </a:lnTo>
                  <a:lnTo>
                    <a:pt x="0" y="72334"/>
                  </a:lnTo>
                  <a:lnTo>
                    <a:pt x="0" y="80716"/>
                  </a:lnTo>
                  <a:lnTo>
                    <a:pt x="19869" y="79785"/>
                  </a:lnTo>
                  <a:lnTo>
                    <a:pt x="33528" y="75438"/>
                  </a:lnTo>
                  <a:lnTo>
                    <a:pt x="48119" y="67988"/>
                  </a:lnTo>
                  <a:lnTo>
                    <a:pt x="53086" y="44083"/>
                  </a:lnTo>
                  <a:lnTo>
                    <a:pt x="55259" y="22042"/>
                  </a:lnTo>
                  <a:lnTo>
                    <a:pt x="51224" y="0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D9FB6A75-70EB-4ABF-8097-A92423E3D599}"/>
                </a:ext>
              </a:extLst>
            </p:cNvPr>
            <p:cNvSpPr/>
            <p:nvPr/>
          </p:nvSpPr>
          <p:spPr>
            <a:xfrm>
              <a:off x="4217969" y="4962635"/>
              <a:ext cx="31045" cy="18627"/>
            </a:xfrm>
            <a:custGeom>
              <a:avLst/>
              <a:gdLst>
                <a:gd name="connsiteX0" fmla="*/ 0 w 31044"/>
                <a:gd name="connsiteY0" fmla="*/ 0 h 18626"/>
                <a:gd name="connsiteX1" fmla="*/ 4036 w 31044"/>
                <a:gd name="connsiteY1" fmla="*/ 5278 h 18626"/>
                <a:gd name="connsiteX2" fmla="*/ 6209 w 31044"/>
                <a:gd name="connsiteY2" fmla="*/ 8382 h 18626"/>
                <a:gd name="connsiteX3" fmla="*/ 7140 w 31044"/>
                <a:gd name="connsiteY3" fmla="*/ 12728 h 18626"/>
                <a:gd name="connsiteX4" fmla="*/ 9313 w 31044"/>
                <a:gd name="connsiteY4" fmla="*/ 14591 h 18626"/>
                <a:gd name="connsiteX5" fmla="*/ 13660 w 31044"/>
                <a:gd name="connsiteY5" fmla="*/ 19869 h 18626"/>
                <a:gd name="connsiteX6" fmla="*/ 18627 w 31044"/>
                <a:gd name="connsiteY6" fmla="*/ 18006 h 18626"/>
                <a:gd name="connsiteX7" fmla="*/ 21731 w 31044"/>
                <a:gd name="connsiteY7" fmla="*/ 18006 h 18626"/>
                <a:gd name="connsiteX8" fmla="*/ 26077 w 31044"/>
                <a:gd name="connsiteY8" fmla="*/ 18006 h 18626"/>
                <a:gd name="connsiteX9" fmla="*/ 29182 w 31044"/>
                <a:gd name="connsiteY9" fmla="*/ 15833 h 18626"/>
                <a:gd name="connsiteX10" fmla="*/ 33218 w 31044"/>
                <a:gd name="connsiteY10" fmla="*/ 15833 h 18626"/>
                <a:gd name="connsiteX11" fmla="*/ 33218 w 31044"/>
                <a:gd name="connsiteY11" fmla="*/ 7451 h 18626"/>
                <a:gd name="connsiteX12" fmla="*/ 21731 w 31044"/>
                <a:gd name="connsiteY12" fmla="*/ 3104 h 18626"/>
                <a:gd name="connsiteX13" fmla="*/ 13660 w 31044"/>
                <a:gd name="connsiteY13" fmla="*/ 931 h 18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1044" h="18626">
                  <a:moveTo>
                    <a:pt x="0" y="0"/>
                  </a:moveTo>
                  <a:lnTo>
                    <a:pt x="4036" y="5278"/>
                  </a:lnTo>
                  <a:lnTo>
                    <a:pt x="6209" y="8382"/>
                  </a:lnTo>
                  <a:lnTo>
                    <a:pt x="7140" y="12728"/>
                  </a:lnTo>
                  <a:lnTo>
                    <a:pt x="9313" y="14591"/>
                  </a:lnTo>
                  <a:lnTo>
                    <a:pt x="13660" y="19869"/>
                  </a:lnTo>
                  <a:lnTo>
                    <a:pt x="18627" y="18006"/>
                  </a:lnTo>
                  <a:lnTo>
                    <a:pt x="21731" y="18006"/>
                  </a:lnTo>
                  <a:lnTo>
                    <a:pt x="26077" y="18006"/>
                  </a:lnTo>
                  <a:lnTo>
                    <a:pt x="29182" y="15833"/>
                  </a:lnTo>
                  <a:lnTo>
                    <a:pt x="33218" y="15833"/>
                  </a:lnTo>
                  <a:lnTo>
                    <a:pt x="33218" y="7451"/>
                  </a:lnTo>
                  <a:lnTo>
                    <a:pt x="21731" y="3104"/>
                  </a:lnTo>
                  <a:lnTo>
                    <a:pt x="13660" y="931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F1B85CFE-8353-4CFD-9369-F918AD513943}"/>
                </a:ext>
              </a:extLst>
            </p:cNvPr>
            <p:cNvSpPr/>
            <p:nvPr/>
          </p:nvSpPr>
          <p:spPr>
            <a:xfrm>
              <a:off x="4778634" y="4498518"/>
              <a:ext cx="158327" cy="117969"/>
            </a:xfrm>
            <a:custGeom>
              <a:avLst/>
              <a:gdLst>
                <a:gd name="connsiteX0" fmla="*/ 156154 w 158327"/>
                <a:gd name="connsiteY0" fmla="*/ 29182 h 117969"/>
                <a:gd name="connsiteX1" fmla="*/ 156154 w 158327"/>
                <a:gd name="connsiteY1" fmla="*/ 23904 h 117969"/>
                <a:gd name="connsiteX2" fmla="*/ 156154 w 158327"/>
                <a:gd name="connsiteY2" fmla="*/ 16764 h 117969"/>
                <a:gd name="connsiteX3" fmla="*/ 154292 w 158327"/>
                <a:gd name="connsiteY3" fmla="*/ 12418 h 117969"/>
                <a:gd name="connsiteX4" fmla="*/ 154292 w 158327"/>
                <a:gd name="connsiteY4" fmla="*/ 9313 h 117969"/>
                <a:gd name="connsiteX5" fmla="*/ 153050 w 158327"/>
                <a:gd name="connsiteY5" fmla="*/ 7140 h 117969"/>
                <a:gd name="connsiteX6" fmla="*/ 151187 w 158327"/>
                <a:gd name="connsiteY6" fmla="*/ 4036 h 117969"/>
                <a:gd name="connsiteX7" fmla="*/ 149014 w 158327"/>
                <a:gd name="connsiteY7" fmla="*/ 0 h 117969"/>
                <a:gd name="connsiteX8" fmla="*/ 134423 w 158327"/>
                <a:gd name="connsiteY8" fmla="*/ 1863 h 117969"/>
                <a:gd name="connsiteX9" fmla="*/ 126972 w 158327"/>
                <a:gd name="connsiteY9" fmla="*/ 7140 h 117969"/>
                <a:gd name="connsiteX10" fmla="*/ 119832 w 158327"/>
                <a:gd name="connsiteY10" fmla="*/ 12418 h 117969"/>
                <a:gd name="connsiteX11" fmla="*/ 114554 w 158327"/>
                <a:gd name="connsiteY11" fmla="*/ 18937 h 117969"/>
                <a:gd name="connsiteX12" fmla="*/ 105241 w 158327"/>
                <a:gd name="connsiteY12" fmla="*/ 23904 h 117969"/>
                <a:gd name="connsiteX13" fmla="*/ 102137 w 158327"/>
                <a:gd name="connsiteY13" fmla="*/ 23904 h 117969"/>
                <a:gd name="connsiteX14" fmla="*/ 99964 w 158327"/>
                <a:gd name="connsiteY14" fmla="*/ 23904 h 117969"/>
                <a:gd name="connsiteX15" fmla="*/ 97790 w 158327"/>
                <a:gd name="connsiteY15" fmla="*/ 23904 h 117969"/>
                <a:gd name="connsiteX16" fmla="*/ 97790 w 158327"/>
                <a:gd name="connsiteY16" fmla="*/ 22042 h 117969"/>
                <a:gd name="connsiteX17" fmla="*/ 94686 w 158327"/>
                <a:gd name="connsiteY17" fmla="*/ 19869 h 117969"/>
                <a:gd name="connsiteX18" fmla="*/ 92823 w 158327"/>
                <a:gd name="connsiteY18" fmla="*/ 14591 h 117969"/>
                <a:gd name="connsiteX19" fmla="*/ 78232 w 158327"/>
                <a:gd name="connsiteY19" fmla="*/ 19869 h 117969"/>
                <a:gd name="connsiteX20" fmla="*/ 67677 w 158327"/>
                <a:gd name="connsiteY20" fmla="*/ 27319 h 117969"/>
                <a:gd name="connsiteX21" fmla="*/ 56191 w 158327"/>
                <a:gd name="connsiteY21" fmla="*/ 36633 h 117969"/>
                <a:gd name="connsiteX22" fmla="*/ 53086 w 158327"/>
                <a:gd name="connsiteY22" fmla="*/ 29182 h 117969"/>
                <a:gd name="connsiteX23" fmla="*/ 49050 w 158327"/>
                <a:gd name="connsiteY23" fmla="*/ 26077 h 117969"/>
                <a:gd name="connsiteX24" fmla="*/ 45946 w 158327"/>
                <a:gd name="connsiteY24" fmla="*/ 19869 h 117969"/>
                <a:gd name="connsiteX25" fmla="*/ 39427 w 158327"/>
                <a:gd name="connsiteY25" fmla="*/ 14591 h 117969"/>
                <a:gd name="connsiteX26" fmla="*/ 24836 w 158327"/>
                <a:gd name="connsiteY26" fmla="*/ 18937 h 117969"/>
                <a:gd name="connsiteX27" fmla="*/ 16764 w 158327"/>
                <a:gd name="connsiteY27" fmla="*/ 22042 h 117969"/>
                <a:gd name="connsiteX28" fmla="*/ 9313 w 158327"/>
                <a:gd name="connsiteY28" fmla="*/ 29182 h 117969"/>
                <a:gd name="connsiteX29" fmla="*/ 0 w 158327"/>
                <a:gd name="connsiteY29" fmla="*/ 36633 h 117969"/>
                <a:gd name="connsiteX30" fmla="*/ 5278 w 158327"/>
                <a:gd name="connsiteY30" fmla="*/ 47188 h 117969"/>
                <a:gd name="connsiteX31" fmla="*/ 32286 w 158327"/>
                <a:gd name="connsiteY31" fmla="*/ 47188 h 117969"/>
                <a:gd name="connsiteX32" fmla="*/ 32286 w 158327"/>
                <a:gd name="connsiteY32" fmla="*/ 60847 h 117969"/>
                <a:gd name="connsiteX33" fmla="*/ 27009 w 158327"/>
                <a:gd name="connsiteY33" fmla="*/ 60847 h 117969"/>
                <a:gd name="connsiteX34" fmla="*/ 21731 w 158327"/>
                <a:gd name="connsiteY34" fmla="*/ 60847 h 117969"/>
                <a:gd name="connsiteX35" fmla="*/ 19868 w 158327"/>
                <a:gd name="connsiteY35" fmla="*/ 61779 h 117969"/>
                <a:gd name="connsiteX36" fmla="*/ 17695 w 158327"/>
                <a:gd name="connsiteY36" fmla="*/ 61779 h 117969"/>
                <a:gd name="connsiteX37" fmla="*/ 16764 w 158327"/>
                <a:gd name="connsiteY37" fmla="*/ 63952 h 117969"/>
                <a:gd name="connsiteX38" fmla="*/ 12418 w 158327"/>
                <a:gd name="connsiteY38" fmla="*/ 68298 h 117969"/>
                <a:gd name="connsiteX39" fmla="*/ 9313 w 158327"/>
                <a:gd name="connsiteY39" fmla="*/ 68298 h 117969"/>
                <a:gd name="connsiteX40" fmla="*/ 14591 w 158327"/>
                <a:gd name="connsiteY40" fmla="*/ 71403 h 117969"/>
                <a:gd name="connsiteX41" fmla="*/ 19868 w 158327"/>
                <a:gd name="connsiteY41" fmla="*/ 75438 h 117969"/>
                <a:gd name="connsiteX42" fmla="*/ 27009 w 158327"/>
                <a:gd name="connsiteY42" fmla="*/ 76680 h 117969"/>
                <a:gd name="connsiteX43" fmla="*/ 32286 w 158327"/>
                <a:gd name="connsiteY43" fmla="*/ 80716 h 117969"/>
                <a:gd name="connsiteX44" fmla="*/ 31355 w 158327"/>
                <a:gd name="connsiteY44" fmla="*/ 83820 h 117969"/>
                <a:gd name="connsiteX45" fmla="*/ 31355 w 158327"/>
                <a:gd name="connsiteY45" fmla="*/ 85993 h 117969"/>
                <a:gd name="connsiteX46" fmla="*/ 29182 w 158327"/>
                <a:gd name="connsiteY46" fmla="*/ 88167 h 117969"/>
                <a:gd name="connsiteX47" fmla="*/ 27009 w 158327"/>
                <a:gd name="connsiteY47" fmla="*/ 90340 h 117969"/>
                <a:gd name="connsiteX48" fmla="*/ 24836 w 158327"/>
                <a:gd name="connsiteY48" fmla="*/ 91271 h 117969"/>
                <a:gd name="connsiteX49" fmla="*/ 29182 w 158327"/>
                <a:gd name="connsiteY49" fmla="*/ 95307 h 117969"/>
                <a:gd name="connsiteX50" fmla="*/ 38495 w 158327"/>
                <a:gd name="connsiteY50" fmla="*/ 100584 h 117969"/>
                <a:gd name="connsiteX51" fmla="*/ 49050 w 158327"/>
                <a:gd name="connsiteY51" fmla="*/ 105862 h 117969"/>
                <a:gd name="connsiteX52" fmla="*/ 61468 w 158327"/>
                <a:gd name="connsiteY52" fmla="*/ 113313 h 117969"/>
                <a:gd name="connsiteX53" fmla="*/ 70782 w 158327"/>
                <a:gd name="connsiteY53" fmla="*/ 117659 h 117969"/>
                <a:gd name="connsiteX54" fmla="*/ 76059 w 158327"/>
                <a:gd name="connsiteY54" fmla="*/ 120763 h 117969"/>
                <a:gd name="connsiteX55" fmla="*/ 94686 w 158327"/>
                <a:gd name="connsiteY55" fmla="*/ 105862 h 117969"/>
                <a:gd name="connsiteX56" fmla="*/ 116728 w 158327"/>
                <a:gd name="connsiteY56" fmla="*/ 95307 h 117969"/>
                <a:gd name="connsiteX57" fmla="*/ 139701 w 158327"/>
                <a:gd name="connsiteY57" fmla="*/ 85993 h 117969"/>
                <a:gd name="connsiteX58" fmla="*/ 160501 w 158327"/>
                <a:gd name="connsiteY58" fmla="*/ 75438 h 117969"/>
                <a:gd name="connsiteX59" fmla="*/ 160501 w 158327"/>
                <a:gd name="connsiteY59" fmla="*/ 60847 h 117969"/>
                <a:gd name="connsiteX60" fmla="*/ 158327 w 158327"/>
                <a:gd name="connsiteY60" fmla="*/ 44083 h 1179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58327" h="117969">
                  <a:moveTo>
                    <a:pt x="156154" y="29182"/>
                  </a:moveTo>
                  <a:lnTo>
                    <a:pt x="156154" y="23904"/>
                  </a:lnTo>
                  <a:lnTo>
                    <a:pt x="156154" y="16764"/>
                  </a:lnTo>
                  <a:lnTo>
                    <a:pt x="154292" y="12418"/>
                  </a:lnTo>
                  <a:lnTo>
                    <a:pt x="154292" y="9313"/>
                  </a:lnTo>
                  <a:lnTo>
                    <a:pt x="153050" y="7140"/>
                  </a:lnTo>
                  <a:lnTo>
                    <a:pt x="151187" y="4036"/>
                  </a:lnTo>
                  <a:lnTo>
                    <a:pt x="149014" y="0"/>
                  </a:lnTo>
                  <a:lnTo>
                    <a:pt x="134423" y="1863"/>
                  </a:lnTo>
                  <a:lnTo>
                    <a:pt x="126972" y="7140"/>
                  </a:lnTo>
                  <a:lnTo>
                    <a:pt x="119832" y="12418"/>
                  </a:lnTo>
                  <a:lnTo>
                    <a:pt x="114554" y="18937"/>
                  </a:lnTo>
                  <a:lnTo>
                    <a:pt x="105241" y="23904"/>
                  </a:lnTo>
                  <a:lnTo>
                    <a:pt x="102137" y="23904"/>
                  </a:lnTo>
                  <a:lnTo>
                    <a:pt x="99964" y="23904"/>
                  </a:lnTo>
                  <a:lnTo>
                    <a:pt x="97790" y="23904"/>
                  </a:lnTo>
                  <a:lnTo>
                    <a:pt x="97790" y="22042"/>
                  </a:lnTo>
                  <a:lnTo>
                    <a:pt x="94686" y="19869"/>
                  </a:lnTo>
                  <a:lnTo>
                    <a:pt x="92823" y="14591"/>
                  </a:lnTo>
                  <a:lnTo>
                    <a:pt x="78232" y="19869"/>
                  </a:lnTo>
                  <a:lnTo>
                    <a:pt x="67677" y="27319"/>
                  </a:lnTo>
                  <a:lnTo>
                    <a:pt x="56191" y="36633"/>
                  </a:lnTo>
                  <a:lnTo>
                    <a:pt x="53086" y="29182"/>
                  </a:lnTo>
                  <a:lnTo>
                    <a:pt x="49050" y="26077"/>
                  </a:lnTo>
                  <a:lnTo>
                    <a:pt x="45946" y="19869"/>
                  </a:lnTo>
                  <a:lnTo>
                    <a:pt x="39427" y="14591"/>
                  </a:lnTo>
                  <a:lnTo>
                    <a:pt x="24836" y="18937"/>
                  </a:lnTo>
                  <a:lnTo>
                    <a:pt x="16764" y="22042"/>
                  </a:lnTo>
                  <a:lnTo>
                    <a:pt x="9313" y="29182"/>
                  </a:lnTo>
                  <a:lnTo>
                    <a:pt x="0" y="36633"/>
                  </a:lnTo>
                  <a:lnTo>
                    <a:pt x="5278" y="47188"/>
                  </a:lnTo>
                  <a:lnTo>
                    <a:pt x="32286" y="47188"/>
                  </a:lnTo>
                  <a:lnTo>
                    <a:pt x="32286" y="60847"/>
                  </a:lnTo>
                  <a:lnTo>
                    <a:pt x="27009" y="60847"/>
                  </a:lnTo>
                  <a:lnTo>
                    <a:pt x="21731" y="60847"/>
                  </a:lnTo>
                  <a:lnTo>
                    <a:pt x="19868" y="61779"/>
                  </a:lnTo>
                  <a:lnTo>
                    <a:pt x="17695" y="61779"/>
                  </a:lnTo>
                  <a:lnTo>
                    <a:pt x="16764" y="63952"/>
                  </a:lnTo>
                  <a:lnTo>
                    <a:pt x="12418" y="68298"/>
                  </a:lnTo>
                  <a:lnTo>
                    <a:pt x="9313" y="68298"/>
                  </a:lnTo>
                  <a:lnTo>
                    <a:pt x="14591" y="71403"/>
                  </a:lnTo>
                  <a:lnTo>
                    <a:pt x="19868" y="75438"/>
                  </a:lnTo>
                  <a:lnTo>
                    <a:pt x="27009" y="76680"/>
                  </a:lnTo>
                  <a:lnTo>
                    <a:pt x="32286" y="80716"/>
                  </a:lnTo>
                  <a:lnTo>
                    <a:pt x="31355" y="83820"/>
                  </a:lnTo>
                  <a:lnTo>
                    <a:pt x="31355" y="85993"/>
                  </a:lnTo>
                  <a:lnTo>
                    <a:pt x="29182" y="88167"/>
                  </a:lnTo>
                  <a:lnTo>
                    <a:pt x="27009" y="90340"/>
                  </a:lnTo>
                  <a:lnTo>
                    <a:pt x="24836" y="91271"/>
                  </a:lnTo>
                  <a:lnTo>
                    <a:pt x="29182" y="95307"/>
                  </a:lnTo>
                  <a:lnTo>
                    <a:pt x="38495" y="100584"/>
                  </a:lnTo>
                  <a:lnTo>
                    <a:pt x="49050" y="105862"/>
                  </a:lnTo>
                  <a:lnTo>
                    <a:pt x="61468" y="113313"/>
                  </a:lnTo>
                  <a:lnTo>
                    <a:pt x="70782" y="117659"/>
                  </a:lnTo>
                  <a:lnTo>
                    <a:pt x="76059" y="120763"/>
                  </a:lnTo>
                  <a:lnTo>
                    <a:pt x="94686" y="105862"/>
                  </a:lnTo>
                  <a:lnTo>
                    <a:pt x="116728" y="95307"/>
                  </a:lnTo>
                  <a:lnTo>
                    <a:pt x="139701" y="85993"/>
                  </a:lnTo>
                  <a:lnTo>
                    <a:pt x="160501" y="75438"/>
                  </a:lnTo>
                  <a:lnTo>
                    <a:pt x="160501" y="60847"/>
                  </a:lnTo>
                  <a:lnTo>
                    <a:pt x="158327" y="44083"/>
                  </a:lnTo>
                  <a:close/>
                </a:path>
              </a:pathLst>
            </a:custGeom>
            <a:grpFill/>
            <a:ln w="31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15" name="Text Placeholder 9">
            <a:extLst>
              <a:ext uri="{FF2B5EF4-FFF2-40B4-BE49-F238E27FC236}">
                <a16:creationId xmlns:a16="http://schemas.microsoft.com/office/drawing/2014/main" xmlns="" id="{EBE979C5-59A9-40E1-A4B9-BF16F64CCB5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72750423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623346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7492340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4868462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34527823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xmlns="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9493627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102661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genda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11085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aam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row: Chevron 4">
            <a:extLst>
              <a:ext uri="{FF2B5EF4-FFF2-40B4-BE49-F238E27FC236}">
                <a16:creationId xmlns:a16="http://schemas.microsoft.com/office/drawing/2014/main" xmlns="" id="{F91D817D-42AC-406F-8992-462616433CC0}"/>
              </a:ext>
            </a:extLst>
          </p:cNvPr>
          <p:cNvSpPr/>
          <p:nvPr userDrawn="1"/>
        </p:nvSpPr>
        <p:spPr>
          <a:xfrm flipH="1">
            <a:off x="706744" y="1827783"/>
            <a:ext cx="2156579" cy="2692456"/>
          </a:xfrm>
          <a:prstGeom prst="chevron">
            <a:avLst>
              <a:gd name="adj" fmla="val 23333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6" name="Arrow: Chevron 5">
            <a:extLst>
              <a:ext uri="{FF2B5EF4-FFF2-40B4-BE49-F238E27FC236}">
                <a16:creationId xmlns:a16="http://schemas.microsoft.com/office/drawing/2014/main" xmlns="" id="{B25403C2-8B82-4969-AE72-6E497CE5EEEF}"/>
              </a:ext>
            </a:extLst>
          </p:cNvPr>
          <p:cNvSpPr/>
          <p:nvPr userDrawn="1"/>
        </p:nvSpPr>
        <p:spPr>
          <a:xfrm flipH="1">
            <a:off x="3455827" y="1827783"/>
            <a:ext cx="2156579" cy="2692456"/>
          </a:xfrm>
          <a:prstGeom prst="chevron">
            <a:avLst>
              <a:gd name="adj" fmla="val 23333"/>
            </a:avLst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7" name="Arrow: Chevron 6">
            <a:extLst>
              <a:ext uri="{FF2B5EF4-FFF2-40B4-BE49-F238E27FC236}">
                <a16:creationId xmlns:a16="http://schemas.microsoft.com/office/drawing/2014/main" xmlns="" id="{D3AC05D6-8180-4CE8-A0E8-F9872B179B12}"/>
              </a:ext>
            </a:extLst>
          </p:cNvPr>
          <p:cNvSpPr/>
          <p:nvPr userDrawn="1"/>
        </p:nvSpPr>
        <p:spPr>
          <a:xfrm flipH="1">
            <a:off x="6204910" y="1827783"/>
            <a:ext cx="2156579" cy="2692456"/>
          </a:xfrm>
          <a:prstGeom prst="chevron">
            <a:avLst>
              <a:gd name="adj" fmla="val 23333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xmlns="" id="{F62E6301-BF9F-403B-8314-60195D054878}"/>
              </a:ext>
            </a:extLst>
          </p:cNvPr>
          <p:cNvSpPr/>
          <p:nvPr userDrawn="1"/>
        </p:nvSpPr>
        <p:spPr>
          <a:xfrm flipH="1">
            <a:off x="8953992" y="1827783"/>
            <a:ext cx="2156579" cy="2692456"/>
          </a:xfrm>
          <a:prstGeom prst="chevron">
            <a:avLst>
              <a:gd name="adj" fmla="val 23333"/>
            </a:avLst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xmlns="" id="{EF70765A-4598-4D75-8EBE-B820808F655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Our Team LAYOU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56C10C1C-79E5-4295-B426-8F2C929EE511}"/>
              </a:ext>
            </a:extLst>
          </p:cNvPr>
          <p:cNvSpPr/>
          <p:nvPr userDrawn="1"/>
        </p:nvSpPr>
        <p:spPr>
          <a:xfrm>
            <a:off x="0" y="2456886"/>
            <a:ext cx="12192000" cy="1434250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89F4AA7-ECDF-4958-8870-F7868FC79F32}"/>
              </a:ext>
            </a:extLst>
          </p:cNvPr>
          <p:cNvGrpSpPr/>
          <p:nvPr userDrawn="1"/>
        </p:nvGrpSpPr>
        <p:grpSpPr>
          <a:xfrm>
            <a:off x="1215508" y="1827783"/>
            <a:ext cx="2164227" cy="2692456"/>
            <a:chOff x="3487166" y="1850315"/>
            <a:chExt cx="1781307" cy="2216076"/>
          </a:xfrm>
        </p:grpSpPr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xmlns="" id="{C9960CBA-7FBA-4310-95D8-EBCE652C09AE}"/>
                </a:ext>
              </a:extLst>
            </p:cNvPr>
            <p:cNvSpPr/>
            <p:nvPr/>
          </p:nvSpPr>
          <p:spPr>
            <a:xfrm>
              <a:off x="3487166" y="1850315"/>
              <a:ext cx="1775013" cy="2216076"/>
            </a:xfrm>
            <a:prstGeom prst="chevron">
              <a:avLst>
                <a:gd name="adj" fmla="val 23333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xmlns="" id="{4EFA4637-95F3-4F02-AF64-2DCDD3E2DE57}"/>
                </a:ext>
              </a:extLst>
            </p:cNvPr>
            <p:cNvSpPr/>
            <p:nvPr/>
          </p:nvSpPr>
          <p:spPr>
            <a:xfrm flipH="1">
              <a:off x="3493461" y="1850315"/>
              <a:ext cx="1775012" cy="1123794"/>
            </a:xfrm>
            <a:prstGeom prst="parallelogram">
              <a:avLst>
                <a:gd name="adj" fmla="val 37228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314EFE26-466B-4A45-9AD1-3BFD06B10144}"/>
              </a:ext>
            </a:extLst>
          </p:cNvPr>
          <p:cNvGrpSpPr/>
          <p:nvPr userDrawn="1"/>
        </p:nvGrpSpPr>
        <p:grpSpPr>
          <a:xfrm>
            <a:off x="3967140" y="1827783"/>
            <a:ext cx="2161678" cy="2692456"/>
            <a:chOff x="5417867" y="1850315"/>
            <a:chExt cx="1779209" cy="2216076"/>
          </a:xfrm>
        </p:grpSpPr>
        <p:sp>
          <p:nvSpPr>
            <p:cNvPr id="17" name="Arrow: Chevron 16">
              <a:extLst>
                <a:ext uri="{FF2B5EF4-FFF2-40B4-BE49-F238E27FC236}">
                  <a16:creationId xmlns:a16="http://schemas.microsoft.com/office/drawing/2014/main" xmlns="" id="{39781837-3ED6-4351-99BA-9A1DAFE710E5}"/>
                </a:ext>
              </a:extLst>
            </p:cNvPr>
            <p:cNvSpPr/>
            <p:nvPr/>
          </p:nvSpPr>
          <p:spPr>
            <a:xfrm>
              <a:off x="5417867" y="1850315"/>
              <a:ext cx="1775013" cy="2216076"/>
            </a:xfrm>
            <a:prstGeom prst="chevron">
              <a:avLst>
                <a:gd name="adj" fmla="val 23333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8" name="Parallelogram 17">
              <a:extLst>
                <a:ext uri="{FF2B5EF4-FFF2-40B4-BE49-F238E27FC236}">
                  <a16:creationId xmlns:a16="http://schemas.microsoft.com/office/drawing/2014/main" xmlns="" id="{C49DE6DC-76E9-4C44-B94C-B17CDDD4873D}"/>
                </a:ext>
              </a:extLst>
            </p:cNvPr>
            <p:cNvSpPr/>
            <p:nvPr/>
          </p:nvSpPr>
          <p:spPr>
            <a:xfrm flipH="1">
              <a:off x="5422064" y="1850315"/>
              <a:ext cx="1775012" cy="1123794"/>
            </a:xfrm>
            <a:prstGeom prst="parallelogram">
              <a:avLst>
                <a:gd name="adj" fmla="val 37228"/>
              </a:avLst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5AED15D2-D741-4DDB-BFB5-D04808F7CC74}"/>
              </a:ext>
            </a:extLst>
          </p:cNvPr>
          <p:cNvGrpSpPr/>
          <p:nvPr userDrawn="1"/>
        </p:nvGrpSpPr>
        <p:grpSpPr>
          <a:xfrm>
            <a:off x="6716223" y="1827783"/>
            <a:ext cx="2159129" cy="2692456"/>
            <a:chOff x="7348568" y="1850315"/>
            <a:chExt cx="1777111" cy="2216076"/>
          </a:xfrm>
        </p:grpSpPr>
        <p:sp>
          <p:nvSpPr>
            <p:cNvPr id="20" name="Arrow: Chevron 19">
              <a:extLst>
                <a:ext uri="{FF2B5EF4-FFF2-40B4-BE49-F238E27FC236}">
                  <a16:creationId xmlns:a16="http://schemas.microsoft.com/office/drawing/2014/main" xmlns="" id="{ED50CA78-1F5E-4AD7-B4B4-90B2A0BC0AB5}"/>
                </a:ext>
              </a:extLst>
            </p:cNvPr>
            <p:cNvSpPr/>
            <p:nvPr/>
          </p:nvSpPr>
          <p:spPr>
            <a:xfrm>
              <a:off x="7348568" y="1850315"/>
              <a:ext cx="1775013" cy="2216076"/>
            </a:xfrm>
            <a:prstGeom prst="chevron">
              <a:avLst>
                <a:gd name="adj" fmla="val 23333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1" name="Parallelogram 20">
              <a:extLst>
                <a:ext uri="{FF2B5EF4-FFF2-40B4-BE49-F238E27FC236}">
                  <a16:creationId xmlns:a16="http://schemas.microsoft.com/office/drawing/2014/main" xmlns="" id="{62FEE9DF-D5EF-4A52-9FCE-9947107046DE}"/>
                </a:ext>
              </a:extLst>
            </p:cNvPr>
            <p:cNvSpPr/>
            <p:nvPr/>
          </p:nvSpPr>
          <p:spPr>
            <a:xfrm flipH="1">
              <a:off x="7350667" y="1850315"/>
              <a:ext cx="1775012" cy="1123794"/>
            </a:xfrm>
            <a:prstGeom prst="parallelogram">
              <a:avLst>
                <a:gd name="adj" fmla="val 37228"/>
              </a:avLst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375B5629-C87D-454E-8AD6-034D2D75D9F0}"/>
              </a:ext>
            </a:extLst>
          </p:cNvPr>
          <p:cNvGrpSpPr/>
          <p:nvPr userDrawn="1"/>
        </p:nvGrpSpPr>
        <p:grpSpPr>
          <a:xfrm>
            <a:off x="9462756" y="1827783"/>
            <a:ext cx="2156580" cy="2692456"/>
            <a:chOff x="9279270" y="1850315"/>
            <a:chExt cx="1775013" cy="2216076"/>
          </a:xfrm>
        </p:grpSpPr>
        <p:sp>
          <p:nvSpPr>
            <p:cNvPr id="23" name="Arrow: Chevron 22">
              <a:extLst>
                <a:ext uri="{FF2B5EF4-FFF2-40B4-BE49-F238E27FC236}">
                  <a16:creationId xmlns:a16="http://schemas.microsoft.com/office/drawing/2014/main" xmlns="" id="{BE20F662-8C83-43D8-B88A-F2DF00833E32}"/>
                </a:ext>
              </a:extLst>
            </p:cNvPr>
            <p:cNvSpPr/>
            <p:nvPr/>
          </p:nvSpPr>
          <p:spPr>
            <a:xfrm>
              <a:off x="9279270" y="1850315"/>
              <a:ext cx="1775013" cy="2216076"/>
            </a:xfrm>
            <a:prstGeom prst="chevron">
              <a:avLst>
                <a:gd name="adj" fmla="val 23333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xmlns="" id="{097D1647-C0E5-4A68-8D71-C07F4CF7D4CC}"/>
                </a:ext>
              </a:extLst>
            </p:cNvPr>
            <p:cNvSpPr/>
            <p:nvPr/>
          </p:nvSpPr>
          <p:spPr>
            <a:xfrm flipH="1">
              <a:off x="9279271" y="1850315"/>
              <a:ext cx="1775012" cy="1123794"/>
            </a:xfrm>
            <a:prstGeom prst="parallelogram">
              <a:avLst>
                <a:gd name="adj" fmla="val 37228"/>
              </a:avLst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xmlns="" id="{C6E031D4-7C96-4991-960F-15488A1643FE}"/>
              </a:ext>
            </a:extLst>
          </p:cNvPr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1296297" y="1869818"/>
            <a:ext cx="2010296" cy="1272757"/>
          </a:xfrm>
          <a:custGeom>
            <a:avLst/>
            <a:gdLst>
              <a:gd name="connsiteX0" fmla="*/ 0 w 1775012"/>
              <a:gd name="connsiteY0" fmla="*/ 0 h 1123794"/>
              <a:gd name="connsiteX1" fmla="*/ 1356646 w 1775012"/>
              <a:gd name="connsiteY1" fmla="*/ 0 h 1123794"/>
              <a:gd name="connsiteX2" fmla="*/ 1775012 w 1775012"/>
              <a:gd name="connsiteY2" fmla="*/ 1123794 h 1123794"/>
              <a:gd name="connsiteX3" fmla="*/ 418366 w 1775012"/>
              <a:gd name="connsiteY3" fmla="*/ 1123794 h 1123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5012" h="1123794">
                <a:moveTo>
                  <a:pt x="0" y="0"/>
                </a:moveTo>
                <a:lnTo>
                  <a:pt x="1356646" y="0"/>
                </a:lnTo>
                <a:lnTo>
                  <a:pt x="1775012" y="1123794"/>
                </a:lnTo>
                <a:lnTo>
                  <a:pt x="418366" y="1123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49">
            <a:extLst>
              <a:ext uri="{FF2B5EF4-FFF2-40B4-BE49-F238E27FC236}">
                <a16:creationId xmlns:a16="http://schemas.microsoft.com/office/drawing/2014/main" xmlns="" id="{ED74A7CE-680E-450D-BA13-E6BAAE8C5DC3}"/>
              </a:ext>
            </a:extLst>
          </p:cNvPr>
          <p:cNvSpPr>
            <a:spLocks noGrp="1"/>
          </p:cNvSpPr>
          <p:nvPr userDrawn="1">
            <p:ph type="pic" sz="quarter" idx="15" hasCustomPrompt="1"/>
          </p:nvPr>
        </p:nvSpPr>
        <p:spPr>
          <a:xfrm>
            <a:off x="4046113" y="1869818"/>
            <a:ext cx="2010296" cy="1272757"/>
          </a:xfrm>
          <a:custGeom>
            <a:avLst/>
            <a:gdLst>
              <a:gd name="connsiteX0" fmla="*/ 0 w 1775012"/>
              <a:gd name="connsiteY0" fmla="*/ 0 h 1123794"/>
              <a:gd name="connsiteX1" fmla="*/ 1356646 w 1775012"/>
              <a:gd name="connsiteY1" fmla="*/ 0 h 1123794"/>
              <a:gd name="connsiteX2" fmla="*/ 1775012 w 1775012"/>
              <a:gd name="connsiteY2" fmla="*/ 1123794 h 1123794"/>
              <a:gd name="connsiteX3" fmla="*/ 418366 w 1775012"/>
              <a:gd name="connsiteY3" fmla="*/ 1123794 h 1123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5012" h="1123794">
                <a:moveTo>
                  <a:pt x="0" y="0"/>
                </a:moveTo>
                <a:lnTo>
                  <a:pt x="1356646" y="0"/>
                </a:lnTo>
                <a:lnTo>
                  <a:pt x="1775012" y="1123794"/>
                </a:lnTo>
                <a:lnTo>
                  <a:pt x="418366" y="1123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1" name="Picture Placeholder 50">
            <a:extLst>
              <a:ext uri="{FF2B5EF4-FFF2-40B4-BE49-F238E27FC236}">
                <a16:creationId xmlns:a16="http://schemas.microsoft.com/office/drawing/2014/main" xmlns="" id="{A1B08C67-8E64-40CA-915D-A094C01A2458}"/>
              </a:ext>
            </a:extLst>
          </p:cNvPr>
          <p:cNvSpPr>
            <a:spLocks noGrp="1"/>
          </p:cNvSpPr>
          <p:nvPr userDrawn="1">
            <p:ph type="pic" sz="quarter" idx="16" hasCustomPrompt="1"/>
          </p:nvPr>
        </p:nvSpPr>
        <p:spPr>
          <a:xfrm>
            <a:off x="6795929" y="1869818"/>
            <a:ext cx="2010296" cy="1272757"/>
          </a:xfrm>
          <a:custGeom>
            <a:avLst/>
            <a:gdLst>
              <a:gd name="connsiteX0" fmla="*/ 0 w 1775012"/>
              <a:gd name="connsiteY0" fmla="*/ 0 h 1123794"/>
              <a:gd name="connsiteX1" fmla="*/ 1356646 w 1775012"/>
              <a:gd name="connsiteY1" fmla="*/ 0 h 1123794"/>
              <a:gd name="connsiteX2" fmla="*/ 1775012 w 1775012"/>
              <a:gd name="connsiteY2" fmla="*/ 1123794 h 1123794"/>
              <a:gd name="connsiteX3" fmla="*/ 418366 w 1775012"/>
              <a:gd name="connsiteY3" fmla="*/ 1123794 h 1123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5012" h="1123794">
                <a:moveTo>
                  <a:pt x="0" y="0"/>
                </a:moveTo>
                <a:lnTo>
                  <a:pt x="1356646" y="0"/>
                </a:lnTo>
                <a:lnTo>
                  <a:pt x="1775012" y="1123794"/>
                </a:lnTo>
                <a:lnTo>
                  <a:pt x="418366" y="1123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xmlns="" id="{E135FB35-8423-4DC2-B6E0-A84848A40487}"/>
              </a:ext>
            </a:extLst>
          </p:cNvPr>
          <p:cNvSpPr>
            <a:spLocks noGrp="1"/>
          </p:cNvSpPr>
          <p:nvPr userDrawn="1">
            <p:ph type="pic" sz="quarter" idx="17" hasCustomPrompt="1"/>
          </p:nvPr>
        </p:nvSpPr>
        <p:spPr>
          <a:xfrm>
            <a:off x="9545745" y="1869818"/>
            <a:ext cx="2010296" cy="1272757"/>
          </a:xfrm>
          <a:custGeom>
            <a:avLst/>
            <a:gdLst>
              <a:gd name="connsiteX0" fmla="*/ 0 w 1775012"/>
              <a:gd name="connsiteY0" fmla="*/ 0 h 1123794"/>
              <a:gd name="connsiteX1" fmla="*/ 1356646 w 1775012"/>
              <a:gd name="connsiteY1" fmla="*/ 0 h 1123794"/>
              <a:gd name="connsiteX2" fmla="*/ 1775012 w 1775012"/>
              <a:gd name="connsiteY2" fmla="*/ 1123794 h 1123794"/>
              <a:gd name="connsiteX3" fmla="*/ 418366 w 1775012"/>
              <a:gd name="connsiteY3" fmla="*/ 1123794 h 11237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75012" h="1123794">
                <a:moveTo>
                  <a:pt x="0" y="0"/>
                </a:moveTo>
                <a:lnTo>
                  <a:pt x="1356646" y="0"/>
                </a:lnTo>
                <a:lnTo>
                  <a:pt x="1775012" y="1123794"/>
                </a:lnTo>
                <a:lnTo>
                  <a:pt x="418366" y="1123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52349322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xmlns="" id="{16EE34E5-ADA6-4EE7-BC24-98C8E9A86B83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661852" y="653142"/>
            <a:ext cx="4454434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FDE143D-2918-4056-AC94-92DF81A575B9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3705502" y="2576900"/>
            <a:ext cx="4454434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xmlns="" id="{1334882F-9259-4D67-9996-302AE17E5F75}"/>
              </a:ext>
            </a:extLst>
          </p:cNvPr>
          <p:cNvSpPr>
            <a:spLocks noGrp="1"/>
          </p:cNvSpPr>
          <p:nvPr>
            <p:ph type="pic" idx="15" hasCustomPrompt="1"/>
          </p:nvPr>
        </p:nvSpPr>
        <p:spPr>
          <a:xfrm>
            <a:off x="2183677" y="4500658"/>
            <a:ext cx="4454434" cy="169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133492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78754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aphic 14">
            <a:extLst>
              <a:ext uri="{FF2B5EF4-FFF2-40B4-BE49-F238E27FC236}">
                <a16:creationId xmlns:a16="http://schemas.microsoft.com/office/drawing/2014/main" xmlns="" id="{2AE845BB-8A29-4779-8B43-B934E6DDFB8B}"/>
              </a:ext>
            </a:extLst>
          </p:cNvPr>
          <p:cNvGrpSpPr/>
          <p:nvPr userDrawn="1"/>
        </p:nvGrpSpPr>
        <p:grpSpPr>
          <a:xfrm>
            <a:off x="4079368" y="2057112"/>
            <a:ext cx="4033264" cy="3172231"/>
            <a:chOff x="2444748" y="555045"/>
            <a:chExt cx="7282048" cy="5727454"/>
          </a:xfrm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xmlns="" id="{D7F19DBF-5292-43E5-94EE-D6AB60DDA78B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75000"/>
                  </a:schemeClr>
                </a:gs>
                <a:gs pos="53000">
                  <a:schemeClr val="bg1">
                    <a:lumMod val="85000"/>
                  </a:schemeClr>
                </a:gs>
                <a:gs pos="83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xmlns="" id="{2FA08303-7450-4465-89B5-546560128F0C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xmlns="" id="{A112214A-ECD6-47B6-B65C-5EF7FE51EF17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xmlns="" id="{7C2EA0A9-6A68-4C40-88D6-048957094460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xmlns="" id="{D6F68883-C3B7-4C94-BD31-32F98D8BE1A1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chemeClr val="tx1">
                <a:lumMod val="50000"/>
                <a:lumOff val="50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xmlns="" id="{ABDEA13E-D294-4005-85D1-E56FE964E046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xmlns="" id="{7AC12858-C367-4E68-B947-5BEE6E2C134E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F8AD4EFD-83E4-4211-9083-D69FFAF1094D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  <p:sp>
        <p:nvSpPr>
          <p:cNvPr id="11" name="그림 개체 틀 2">
            <a:extLst>
              <a:ext uri="{FF2B5EF4-FFF2-40B4-BE49-F238E27FC236}">
                <a16:creationId xmlns:a16="http://schemas.microsoft.com/office/drawing/2014/main" xmlns="" id="{5EED995C-31D2-4B3D-8F59-FF50BED6369B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247170" y="2218668"/>
            <a:ext cx="3678250" cy="21557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540000" anchor="ctr"/>
          <a:lstStyle>
            <a:lvl1pPr marL="0" indent="0" algn="ctr">
              <a:buNone/>
              <a:defRPr sz="1200">
                <a:latin typeface="+mn-lt"/>
                <a:cs typeface="Arial" pitchFamily="34" charset="0"/>
              </a:defRPr>
            </a:lvl1pPr>
          </a:lstStyle>
          <a:p>
            <a:r>
              <a:rPr lang="en-US" altLang="ko-KR" dirty="0"/>
              <a:t>Insert Your Image</a:t>
            </a:r>
            <a:endParaRPr lang="ko-KR" alt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xmlns="" id="{0EE93CA1-2CCC-43DD-A5A9-685B033F3F4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26086240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837181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Images &amp;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자유형: 도형 4">
            <a:extLst>
              <a:ext uri="{FF2B5EF4-FFF2-40B4-BE49-F238E27FC236}">
                <a16:creationId xmlns:a16="http://schemas.microsoft.com/office/drawing/2014/main" xmlns="" id="{35A586F4-88B7-45EE-9708-47716F743070}"/>
              </a:ext>
            </a:extLst>
          </p:cNvPr>
          <p:cNvSpPr/>
          <p:nvPr userDrawn="1"/>
        </p:nvSpPr>
        <p:spPr>
          <a:xfrm flipV="1">
            <a:off x="152400" y="-1"/>
            <a:ext cx="6238876" cy="6848475"/>
          </a:xfrm>
          <a:custGeom>
            <a:avLst/>
            <a:gdLst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5" fmla="*/ 0 w 6238876"/>
              <a:gd name="connsiteY5" fmla="*/ 0 h 6858000"/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522922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  <a:gd name="connsiteX5" fmla="*/ 0 w 6238876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38876" h="6858000">
                <a:moveTo>
                  <a:pt x="0" y="0"/>
                </a:moveTo>
                <a:lnTo>
                  <a:pt x="4819651" y="0"/>
                </a:lnTo>
                <a:cubicBezTo>
                  <a:pt x="4819651" y="1689100"/>
                  <a:pt x="5153027" y="4273550"/>
                  <a:pt x="6238876" y="5229225"/>
                </a:cubicBezTo>
                <a:cubicBezTo>
                  <a:pt x="5286376" y="5778500"/>
                  <a:pt x="4883152" y="6283325"/>
                  <a:pt x="481965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cxnSp>
        <p:nvCxnSpPr>
          <p:cNvPr id="7" name="직선 연결선 6">
            <a:extLst>
              <a:ext uri="{FF2B5EF4-FFF2-40B4-BE49-F238E27FC236}">
                <a16:creationId xmlns:a16="http://schemas.microsoft.com/office/drawing/2014/main" xmlns="" id="{E34B3B3A-542A-46E1-A720-8928C9B91FC2}"/>
              </a:ext>
            </a:extLst>
          </p:cNvPr>
          <p:cNvCxnSpPr>
            <a:cxnSpLocks/>
          </p:cNvCxnSpPr>
          <p:nvPr userDrawn="1"/>
        </p:nvCxnSpPr>
        <p:spPr>
          <a:xfrm>
            <a:off x="6238876" y="1638302"/>
            <a:ext cx="59531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그림 개체 틀 15">
            <a:extLst>
              <a:ext uri="{FF2B5EF4-FFF2-40B4-BE49-F238E27FC236}">
                <a16:creationId xmlns:a16="http://schemas.microsoft.com/office/drawing/2014/main" xmlns="" id="{F31766EE-B13B-4F0C-AAE1-FB140846B86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238876" cy="6858000"/>
          </a:xfrm>
          <a:custGeom>
            <a:avLst/>
            <a:gdLst>
              <a:gd name="connsiteX0" fmla="*/ 0 w 6238876"/>
              <a:gd name="connsiteY0" fmla="*/ 0 h 6858000"/>
              <a:gd name="connsiteX1" fmla="*/ 4819651 w 6238876"/>
              <a:gd name="connsiteY1" fmla="*/ 0 h 6858000"/>
              <a:gd name="connsiteX2" fmla="*/ 6238876 w 6238876"/>
              <a:gd name="connsiteY2" fmla="*/ 1628775 h 6858000"/>
              <a:gd name="connsiteX3" fmla="*/ 4819651 w 6238876"/>
              <a:gd name="connsiteY3" fmla="*/ 6858000 h 6858000"/>
              <a:gd name="connsiteX4" fmla="*/ 0 w 623887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38876" h="6858000">
                <a:moveTo>
                  <a:pt x="0" y="0"/>
                </a:moveTo>
                <a:lnTo>
                  <a:pt x="4819651" y="0"/>
                </a:lnTo>
                <a:cubicBezTo>
                  <a:pt x="4845052" y="371475"/>
                  <a:pt x="5222876" y="1143000"/>
                  <a:pt x="6238876" y="1628775"/>
                </a:cubicBezTo>
                <a:cubicBezTo>
                  <a:pt x="5153027" y="2584450"/>
                  <a:pt x="4819651" y="5168900"/>
                  <a:pt x="4819651" y="6858000"/>
                </a:cubicBez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00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 And Send To Back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7486402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4557430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61394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4">
            <a:extLst>
              <a:ext uri="{FF2B5EF4-FFF2-40B4-BE49-F238E27FC236}">
                <a16:creationId xmlns:a16="http://schemas.microsoft.com/office/drawing/2014/main" xmlns="" id="{2A921263-B14B-4578-8B20-3AC423CD7911}"/>
              </a:ext>
            </a:extLst>
          </p:cNvPr>
          <p:cNvGrpSpPr/>
          <p:nvPr userDrawn="1"/>
        </p:nvGrpSpPr>
        <p:grpSpPr>
          <a:xfrm>
            <a:off x="8758046" y="1910898"/>
            <a:ext cx="2357831" cy="4144944"/>
            <a:chOff x="445712" y="1449040"/>
            <a:chExt cx="2113018" cy="3924176"/>
          </a:xfrm>
        </p:grpSpPr>
        <p:sp>
          <p:nvSpPr>
            <p:cNvPr id="3" name="Rounded Rectangle 15">
              <a:extLst>
                <a:ext uri="{FF2B5EF4-FFF2-40B4-BE49-F238E27FC236}">
                  <a16:creationId xmlns:a16="http://schemas.microsoft.com/office/drawing/2014/main" xmlns="" id="{8C3C820B-CE00-4BAD-9573-FCBB3CE63C19}"/>
                </a:ext>
              </a:extLst>
            </p:cNvPr>
            <p:cNvSpPr/>
            <p:nvPr userDrawn="1"/>
          </p:nvSpPr>
          <p:spPr>
            <a:xfrm>
              <a:off x="445712" y="1449040"/>
              <a:ext cx="2113018" cy="3924176"/>
            </a:xfrm>
            <a:prstGeom prst="roundRect">
              <a:avLst>
                <a:gd name="adj" fmla="val 13580"/>
              </a:avLst>
            </a:prstGeom>
            <a:solidFill>
              <a:srgbClr val="262626"/>
            </a:solidFill>
            <a:ln w="88900">
              <a:noFill/>
            </a:ln>
            <a:effectLst/>
            <a:scene3d>
              <a:camera prst="perspectiveFront"/>
              <a:lightRig rig="threePt" dir="t"/>
            </a:scene3d>
            <a:sp3d prstMaterial="plastic">
              <a:bevelT w="127000" h="50800"/>
              <a:bevelB w="127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sp>
          <p:nvSpPr>
            <p:cNvPr id="4" name="Rectangle 16">
              <a:extLst>
                <a:ext uri="{FF2B5EF4-FFF2-40B4-BE49-F238E27FC236}">
                  <a16:creationId xmlns:a16="http://schemas.microsoft.com/office/drawing/2014/main" xmlns="" id="{335E9A53-BA4A-4973-9374-66FEFEC737CA}"/>
                </a:ext>
              </a:extLst>
            </p:cNvPr>
            <p:cNvSpPr/>
            <p:nvPr userDrawn="1"/>
          </p:nvSpPr>
          <p:spPr>
            <a:xfrm>
              <a:off x="1379920" y="1650572"/>
              <a:ext cx="216024" cy="34350"/>
            </a:xfrm>
            <a:prstGeom prst="rect">
              <a:avLst/>
            </a:prstGeom>
            <a:solidFill>
              <a:srgbClr val="B0B0B0"/>
            </a:solidFill>
            <a:ln w="889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800"/>
            </a:p>
          </p:txBody>
        </p:sp>
        <p:grpSp>
          <p:nvGrpSpPr>
            <p:cNvPr id="5" name="Group 17">
              <a:extLst>
                <a:ext uri="{FF2B5EF4-FFF2-40B4-BE49-F238E27FC236}">
                  <a16:creationId xmlns:a16="http://schemas.microsoft.com/office/drawing/2014/main" xmlns="" id="{C1CEE9FC-3896-4BDC-9E67-DA76492461DB}"/>
                </a:ext>
              </a:extLst>
            </p:cNvPr>
            <p:cNvGrpSpPr/>
            <p:nvPr userDrawn="1"/>
          </p:nvGrpSpPr>
          <p:grpSpPr>
            <a:xfrm>
              <a:off x="1407705" y="5045834"/>
              <a:ext cx="211967" cy="211967"/>
              <a:chOff x="1549420" y="5712364"/>
              <a:chExt cx="312583" cy="312583"/>
            </a:xfrm>
          </p:grpSpPr>
          <p:sp>
            <p:nvSpPr>
              <p:cNvPr id="6" name="Oval 18">
                <a:extLst>
                  <a:ext uri="{FF2B5EF4-FFF2-40B4-BE49-F238E27FC236}">
                    <a16:creationId xmlns:a16="http://schemas.microsoft.com/office/drawing/2014/main" xmlns="" id="{2FC925BD-DB85-4C13-A07E-FCBC2C4EF694}"/>
                  </a:ext>
                </a:extLst>
              </p:cNvPr>
              <p:cNvSpPr/>
              <p:nvPr userDrawn="1"/>
            </p:nvSpPr>
            <p:spPr>
              <a:xfrm>
                <a:off x="1549420" y="5712364"/>
                <a:ext cx="312583" cy="312583"/>
              </a:xfrm>
              <a:prstGeom prst="ellipse">
                <a:avLst/>
              </a:prstGeom>
              <a:gradFill flip="none" rotWithShape="1">
                <a:gsLst>
                  <a:gs pos="0">
                    <a:schemeClr val="tx1">
                      <a:lumMod val="94000"/>
                      <a:lumOff val="6000"/>
                    </a:schemeClr>
                  </a:gs>
                  <a:gs pos="56000">
                    <a:schemeClr val="tx1">
                      <a:lumMod val="65000"/>
                      <a:lumOff val="35000"/>
                    </a:schemeClr>
                  </a:gs>
                  <a:gs pos="91000">
                    <a:schemeClr val="tx1">
                      <a:lumMod val="50000"/>
                      <a:lumOff val="50000"/>
                    </a:schemeClr>
                  </a:gs>
                  <a:gs pos="100000">
                    <a:schemeClr val="bg1">
                      <a:lumMod val="75000"/>
                    </a:schemeClr>
                  </a:gs>
                </a:gsLst>
                <a:lin ang="10800000" scaled="1"/>
                <a:tileRect/>
              </a:gradFill>
              <a:ln w="0">
                <a:solidFill>
                  <a:srgbClr val="262626"/>
                </a:solidFill>
              </a:ln>
              <a:scene3d>
                <a:camera prst="perspectiveFront"/>
                <a:lightRig rig="threePt" dir="t"/>
              </a:scene3d>
              <a:sp3d>
                <a:bevelT w="63500" h="127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  <p:sp>
            <p:nvSpPr>
              <p:cNvPr id="7" name="Rounded Rectangle 19">
                <a:extLst>
                  <a:ext uri="{FF2B5EF4-FFF2-40B4-BE49-F238E27FC236}">
                    <a16:creationId xmlns:a16="http://schemas.microsoft.com/office/drawing/2014/main" xmlns="" id="{B608E06C-085B-438A-88EF-35841D5F7632}"/>
                  </a:ext>
                </a:extLst>
              </p:cNvPr>
              <p:cNvSpPr/>
              <p:nvPr userDrawn="1"/>
            </p:nvSpPr>
            <p:spPr>
              <a:xfrm>
                <a:off x="1634225" y="5796647"/>
                <a:ext cx="142969" cy="144016"/>
              </a:xfrm>
              <a:prstGeom prst="roundRect">
                <a:avLst/>
              </a:prstGeom>
              <a:solidFill>
                <a:srgbClr val="737373"/>
              </a:solidFill>
              <a:ln w="6350">
                <a:solidFill>
                  <a:srgbClr val="B0B0B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ko-KR" altLang="en-US" sz="1800"/>
              </a:p>
            </p:txBody>
          </p:sp>
        </p:grpSp>
      </p:grp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xmlns="" id="{A08B97E3-9D87-44AD-9AA5-DB218399F068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8924348" y="2256777"/>
            <a:ext cx="2025226" cy="332137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50000"/>
              </a:schemeClr>
            </a:solidFill>
          </a:ln>
        </p:spPr>
        <p:txBody>
          <a:bodyPr anchor="ctr"/>
          <a:lstStyle>
            <a:lvl1pPr marL="0" indent="0" algn="ctr">
              <a:buNone/>
              <a:defRPr sz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57223" indent="0">
              <a:buNone/>
              <a:defRPr sz="2800"/>
            </a:lvl2pPr>
            <a:lvl3pPr marL="914446" indent="0">
              <a:buNone/>
              <a:defRPr sz="2400"/>
            </a:lvl3pPr>
            <a:lvl4pPr marL="1371669" indent="0">
              <a:buNone/>
              <a:defRPr sz="2000"/>
            </a:lvl4pPr>
            <a:lvl5pPr marL="1828891" indent="0">
              <a:buNone/>
              <a:defRPr sz="2000"/>
            </a:lvl5pPr>
            <a:lvl6pPr marL="2286114" indent="0">
              <a:buNone/>
              <a:defRPr sz="2000"/>
            </a:lvl6pPr>
            <a:lvl7pPr marL="2743337" indent="0">
              <a:buNone/>
              <a:defRPr sz="2000"/>
            </a:lvl7pPr>
            <a:lvl8pPr marL="3200560" indent="0">
              <a:buNone/>
              <a:defRPr sz="2000"/>
            </a:lvl8pPr>
            <a:lvl9pPr marL="3657783" indent="0">
              <a:buNone/>
              <a:defRPr sz="2000"/>
            </a:lvl9pPr>
          </a:lstStyle>
          <a:p>
            <a:r>
              <a:rPr lang="en-US" altLang="ko-KR" dirty="0"/>
              <a:t>Your Picture Here </a:t>
            </a:r>
            <a:endParaRPr lang="ko-KR" altLang="en-US" dirty="0"/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xmlns="" id="{549CFBFE-8441-461C-BFBA-38F9B1FD5C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0962340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695033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4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2">
            <a:extLst>
              <a:ext uri="{FF2B5EF4-FFF2-40B4-BE49-F238E27FC236}">
                <a16:creationId xmlns:a16="http://schemas.microsoft.com/office/drawing/2014/main" xmlns="" id="{B1200484-72B4-43EB-A307-AC173EECE210}"/>
              </a:ext>
            </a:extLst>
          </p:cNvPr>
          <p:cNvSpPr/>
          <p:nvPr/>
        </p:nvSpPr>
        <p:spPr>
          <a:xfrm rot="2700000">
            <a:off x="7613275" y="909332"/>
            <a:ext cx="2073280" cy="5107827"/>
          </a:xfrm>
          <a:prstGeom prst="rect">
            <a:avLst/>
          </a:prstGeom>
          <a:noFill/>
          <a:ln w="889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Rectangle 33">
            <a:extLst>
              <a:ext uri="{FF2B5EF4-FFF2-40B4-BE49-F238E27FC236}">
                <a16:creationId xmlns:a16="http://schemas.microsoft.com/office/drawing/2014/main" xmlns="" id="{746E5197-E35A-4AF6-8BB9-724E846289AD}"/>
              </a:ext>
            </a:extLst>
          </p:cNvPr>
          <p:cNvSpPr/>
          <p:nvPr/>
        </p:nvSpPr>
        <p:spPr>
          <a:xfrm rot="18900000">
            <a:off x="7613278" y="875086"/>
            <a:ext cx="2073279" cy="5107830"/>
          </a:xfrm>
          <a:prstGeom prst="rect">
            <a:avLst/>
          </a:prstGeom>
          <a:noFill/>
          <a:ln w="889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7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8" name="자유형: 도형 17">
            <a:extLst>
              <a:ext uri="{FF2B5EF4-FFF2-40B4-BE49-F238E27FC236}">
                <a16:creationId xmlns:a16="http://schemas.microsoft.com/office/drawing/2014/main" xmlns="" id="{5C6A544B-DEF5-42CF-B81D-EA204CF5C29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969923" y="2050576"/>
            <a:ext cx="2565552" cy="2565552"/>
          </a:xfrm>
          <a:custGeom>
            <a:avLst/>
            <a:gdLst>
              <a:gd name="connsiteX0" fmla="*/ 1282776 w 2565552"/>
              <a:gd name="connsiteY0" fmla="*/ 0 h 2565552"/>
              <a:gd name="connsiteX1" fmla="*/ 2565552 w 2565552"/>
              <a:gd name="connsiteY1" fmla="*/ 1282777 h 2565552"/>
              <a:gd name="connsiteX2" fmla="*/ 1282776 w 2565552"/>
              <a:gd name="connsiteY2" fmla="*/ 2565552 h 2565552"/>
              <a:gd name="connsiteX3" fmla="*/ 0 w 2565552"/>
              <a:gd name="connsiteY3" fmla="*/ 1282776 h 256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552" h="2565552">
                <a:moveTo>
                  <a:pt x="1282776" y="0"/>
                </a:moveTo>
                <a:lnTo>
                  <a:pt x="2565552" y="1282777"/>
                </a:lnTo>
                <a:lnTo>
                  <a:pt x="1282776" y="2565552"/>
                </a:lnTo>
                <a:lnTo>
                  <a:pt x="0" y="12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7" name="자유형: 도형 16">
            <a:extLst>
              <a:ext uri="{FF2B5EF4-FFF2-40B4-BE49-F238E27FC236}">
                <a16:creationId xmlns:a16="http://schemas.microsoft.com/office/drawing/2014/main" xmlns="" id="{C02AE221-A9B0-4F37-A129-07368400CD5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370697" y="3451350"/>
            <a:ext cx="2565552" cy="2565552"/>
          </a:xfrm>
          <a:custGeom>
            <a:avLst/>
            <a:gdLst>
              <a:gd name="connsiteX0" fmla="*/ 1282775 w 2565552"/>
              <a:gd name="connsiteY0" fmla="*/ 0 h 2565552"/>
              <a:gd name="connsiteX1" fmla="*/ 2565552 w 2565552"/>
              <a:gd name="connsiteY1" fmla="*/ 1282776 h 2565552"/>
              <a:gd name="connsiteX2" fmla="*/ 1282776 w 2565552"/>
              <a:gd name="connsiteY2" fmla="*/ 2565552 h 2565552"/>
              <a:gd name="connsiteX3" fmla="*/ 0 w 2565552"/>
              <a:gd name="connsiteY3" fmla="*/ 1282776 h 256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552" h="2565552">
                <a:moveTo>
                  <a:pt x="1282775" y="0"/>
                </a:moveTo>
                <a:lnTo>
                  <a:pt x="2565552" y="1282776"/>
                </a:lnTo>
                <a:lnTo>
                  <a:pt x="1282776" y="2565552"/>
                </a:lnTo>
                <a:lnTo>
                  <a:pt x="0" y="12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4" name="자유형: 도형 13">
            <a:extLst>
              <a:ext uri="{FF2B5EF4-FFF2-40B4-BE49-F238E27FC236}">
                <a16:creationId xmlns:a16="http://schemas.microsoft.com/office/drawing/2014/main" xmlns="" id="{E5285B70-0363-436C-AB13-3367F4E0FD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758182" y="2063864"/>
            <a:ext cx="2565552" cy="2565552"/>
          </a:xfrm>
          <a:custGeom>
            <a:avLst/>
            <a:gdLst>
              <a:gd name="connsiteX0" fmla="*/ 1282776 w 2565552"/>
              <a:gd name="connsiteY0" fmla="*/ 0 h 2565552"/>
              <a:gd name="connsiteX1" fmla="*/ 2565552 w 2565552"/>
              <a:gd name="connsiteY1" fmla="*/ 1282776 h 2565552"/>
              <a:gd name="connsiteX2" fmla="*/ 1282776 w 2565552"/>
              <a:gd name="connsiteY2" fmla="*/ 2565552 h 2565552"/>
              <a:gd name="connsiteX3" fmla="*/ 0 w 2565552"/>
              <a:gd name="connsiteY3" fmla="*/ 1282776 h 2565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552" h="2565552">
                <a:moveTo>
                  <a:pt x="1282776" y="0"/>
                </a:moveTo>
                <a:lnTo>
                  <a:pt x="2565552" y="1282776"/>
                </a:lnTo>
                <a:lnTo>
                  <a:pt x="1282776" y="2565552"/>
                </a:lnTo>
                <a:lnTo>
                  <a:pt x="0" y="12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13" name="자유형: 도형 12">
            <a:extLst>
              <a:ext uri="{FF2B5EF4-FFF2-40B4-BE49-F238E27FC236}">
                <a16:creationId xmlns:a16="http://schemas.microsoft.com/office/drawing/2014/main" xmlns="" id="{B86ADC2A-A8A4-4EF0-8AEC-78660E2990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357409" y="663092"/>
            <a:ext cx="2565552" cy="2565553"/>
          </a:xfrm>
          <a:custGeom>
            <a:avLst/>
            <a:gdLst>
              <a:gd name="connsiteX0" fmla="*/ 1282775 w 2565552"/>
              <a:gd name="connsiteY0" fmla="*/ 0 h 2565553"/>
              <a:gd name="connsiteX1" fmla="*/ 2565552 w 2565552"/>
              <a:gd name="connsiteY1" fmla="*/ 1282777 h 2565553"/>
              <a:gd name="connsiteX2" fmla="*/ 1282776 w 2565552"/>
              <a:gd name="connsiteY2" fmla="*/ 2565553 h 2565553"/>
              <a:gd name="connsiteX3" fmla="*/ 0 w 2565552"/>
              <a:gd name="connsiteY3" fmla="*/ 1282776 h 25655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552" h="2565553">
                <a:moveTo>
                  <a:pt x="1282775" y="0"/>
                </a:moveTo>
                <a:lnTo>
                  <a:pt x="2565552" y="1282777"/>
                </a:lnTo>
                <a:lnTo>
                  <a:pt x="1282776" y="2565553"/>
                </a:lnTo>
                <a:lnTo>
                  <a:pt x="0" y="128277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64854339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6533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mages &amp;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그림 개체 틀 11">
            <a:extLst>
              <a:ext uri="{FF2B5EF4-FFF2-40B4-BE49-F238E27FC236}">
                <a16:creationId xmlns:a16="http://schemas.microsoft.com/office/drawing/2014/main" xmlns="" id="{9A56A33B-1F69-4BF6-85FA-7D0554CE98D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" y="0"/>
            <a:ext cx="7896225" cy="6858000"/>
          </a:xfrm>
          <a:custGeom>
            <a:avLst/>
            <a:gdLst>
              <a:gd name="connsiteX0" fmla="*/ 6193612 w 7896225"/>
              <a:gd name="connsiteY0" fmla="*/ 0 h 6858000"/>
              <a:gd name="connsiteX1" fmla="*/ 7896225 w 7896225"/>
              <a:gd name="connsiteY1" fmla="*/ 0 h 6858000"/>
              <a:gd name="connsiteX2" fmla="*/ 4598214 w 7896225"/>
              <a:gd name="connsiteY2" fmla="*/ 6858000 h 6858000"/>
              <a:gd name="connsiteX3" fmla="*/ 2895600 w 7896225"/>
              <a:gd name="connsiteY3" fmla="*/ 6858000 h 6858000"/>
              <a:gd name="connsiteX4" fmla="*/ 4383861 w 7896225"/>
              <a:gd name="connsiteY4" fmla="*/ 0 h 6858000"/>
              <a:gd name="connsiteX5" fmla="*/ 6086474 w 7896225"/>
              <a:gd name="connsiteY5" fmla="*/ 0 h 6858000"/>
              <a:gd name="connsiteX6" fmla="*/ 2788462 w 7896225"/>
              <a:gd name="connsiteY6" fmla="*/ 6858000 h 6858000"/>
              <a:gd name="connsiteX7" fmla="*/ 1085849 w 7896225"/>
              <a:gd name="connsiteY7" fmla="*/ 6858000 h 6858000"/>
              <a:gd name="connsiteX8" fmla="*/ 2574110 w 7896225"/>
              <a:gd name="connsiteY8" fmla="*/ 0 h 6858000"/>
              <a:gd name="connsiteX9" fmla="*/ 4276723 w 7896225"/>
              <a:gd name="connsiteY9" fmla="*/ 0 h 6858000"/>
              <a:gd name="connsiteX10" fmla="*/ 978711 w 7896225"/>
              <a:gd name="connsiteY10" fmla="*/ 6858000 h 6858000"/>
              <a:gd name="connsiteX11" fmla="*/ 0 w 7896225"/>
              <a:gd name="connsiteY11" fmla="*/ 6858000 h 6858000"/>
              <a:gd name="connsiteX12" fmla="*/ 0 w 7896225"/>
              <a:gd name="connsiteY12" fmla="*/ 5352694 h 6858000"/>
              <a:gd name="connsiteX13" fmla="*/ 764359 w 7896225"/>
              <a:gd name="connsiteY13" fmla="*/ 0 h 6858000"/>
              <a:gd name="connsiteX14" fmla="*/ 2466972 w 7896225"/>
              <a:gd name="connsiteY14" fmla="*/ 0 h 6858000"/>
              <a:gd name="connsiteX15" fmla="*/ 0 w 7896225"/>
              <a:gd name="connsiteY15" fmla="*/ 5129907 h 6858000"/>
              <a:gd name="connsiteX16" fmla="*/ 0 w 7896225"/>
              <a:gd name="connsiteY16" fmla="*/ 158943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7896225" h="6858000">
                <a:moveTo>
                  <a:pt x="6193612" y="0"/>
                </a:moveTo>
                <a:lnTo>
                  <a:pt x="7896225" y="0"/>
                </a:lnTo>
                <a:lnTo>
                  <a:pt x="4598214" y="6858000"/>
                </a:lnTo>
                <a:lnTo>
                  <a:pt x="2895600" y="6858000"/>
                </a:lnTo>
                <a:close/>
                <a:moveTo>
                  <a:pt x="4383861" y="0"/>
                </a:moveTo>
                <a:lnTo>
                  <a:pt x="6086474" y="0"/>
                </a:lnTo>
                <a:lnTo>
                  <a:pt x="2788462" y="6858000"/>
                </a:lnTo>
                <a:lnTo>
                  <a:pt x="1085849" y="6858000"/>
                </a:lnTo>
                <a:close/>
                <a:moveTo>
                  <a:pt x="2574110" y="0"/>
                </a:moveTo>
                <a:lnTo>
                  <a:pt x="4276723" y="0"/>
                </a:lnTo>
                <a:lnTo>
                  <a:pt x="978711" y="6858000"/>
                </a:lnTo>
                <a:lnTo>
                  <a:pt x="0" y="6858000"/>
                </a:lnTo>
                <a:lnTo>
                  <a:pt x="0" y="5352694"/>
                </a:lnTo>
                <a:close/>
                <a:moveTo>
                  <a:pt x="764359" y="0"/>
                </a:moveTo>
                <a:lnTo>
                  <a:pt x="2466972" y="0"/>
                </a:lnTo>
                <a:lnTo>
                  <a:pt x="0" y="5129907"/>
                </a:lnTo>
                <a:lnTo>
                  <a:pt x="0" y="158943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/>
        </p:spPr>
        <p:txBody>
          <a:bodyPr wrap="square" anchor="ctr">
            <a:noAutofit/>
          </a:bodyPr>
          <a:lstStyle>
            <a:lvl1pPr marL="0" marR="0" indent="0" algn="ctr" defTabSz="914446" rtl="0" eaLnBrk="1" fontAlgn="auto" latinLnBrk="1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/>
            </a:lvl1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413978736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4460222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ntents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024106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NG sets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332482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PNG &amp; Shapes Layout</a:t>
            </a:r>
          </a:p>
        </p:txBody>
      </p:sp>
    </p:spTree>
    <p:extLst>
      <p:ext uri="{BB962C8B-B14F-4D97-AF65-F5344CB8AC3E}">
        <p14:creationId xmlns:p14="http://schemas.microsoft.com/office/powerpoint/2010/main" val="6472495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9" y="123478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sp>
        <p:nvSpPr>
          <p:cNvPr id="3" name="Rounded Rectangle 2"/>
          <p:cNvSpPr/>
          <p:nvPr userDrawn="1"/>
        </p:nvSpPr>
        <p:spPr>
          <a:xfrm>
            <a:off x="354010" y="1131591"/>
            <a:ext cx="3560767" cy="5402561"/>
          </a:xfrm>
          <a:prstGeom prst="roundRect">
            <a:avLst>
              <a:gd name="adj" fmla="val 3968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/>
          </a:p>
        </p:txBody>
      </p:sp>
      <p:sp>
        <p:nvSpPr>
          <p:cNvPr id="4" name="Rounded Rectangle 3"/>
          <p:cNvSpPr/>
          <p:nvPr userDrawn="1"/>
        </p:nvSpPr>
        <p:spPr>
          <a:xfrm>
            <a:off x="531933" y="1347500"/>
            <a:ext cx="153868" cy="5015200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bg1"/>
              </a:solidFill>
            </a:endParaRPr>
          </a:p>
        </p:txBody>
      </p:sp>
      <p:sp>
        <p:nvSpPr>
          <p:cNvPr id="5" name="Half Frame 4"/>
          <p:cNvSpPr/>
          <p:nvPr userDrawn="1"/>
        </p:nvSpPr>
        <p:spPr>
          <a:xfrm rot="5400000">
            <a:off x="3057177" y="1276653"/>
            <a:ext cx="685849" cy="685148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35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5644E8BB-F13A-4AE0-889E-633DE4143787}"/>
              </a:ext>
            </a:extLst>
          </p:cNvPr>
          <p:cNvSpPr txBox="1"/>
          <p:nvPr userDrawn="1"/>
        </p:nvSpPr>
        <p:spPr>
          <a:xfrm>
            <a:off x="711704" y="1637214"/>
            <a:ext cx="2232248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Resize without losing quality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xmlns="" id="{F2CE2B8B-ED32-491A-95B2-D28904BC432C}"/>
              </a:ext>
            </a:extLst>
          </p:cNvPr>
          <p:cNvSpPr txBox="1"/>
          <p:nvPr userDrawn="1"/>
        </p:nvSpPr>
        <p:spPr>
          <a:xfrm>
            <a:off x="711704" y="2127463"/>
            <a:ext cx="2232248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You can Change Fill Color &amp;</a:t>
            </a:r>
          </a:p>
          <a:p>
            <a:r>
              <a:rPr lang="en-US" altLang="ko-KR" sz="14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 Color</a:t>
            </a:r>
            <a:endParaRPr lang="ko-KR" altLang="en-US" sz="14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962A52DF-2523-4479-BFA3-B5ACE9887E1C}"/>
              </a:ext>
            </a:extLst>
          </p:cNvPr>
          <p:cNvSpPr txBox="1"/>
          <p:nvPr userDrawn="1"/>
        </p:nvSpPr>
        <p:spPr>
          <a:xfrm>
            <a:off x="721229" y="5808438"/>
            <a:ext cx="2232000" cy="30777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ww.allppt.com</a:t>
            </a:r>
            <a:endParaRPr lang="ko-KR" alt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BAAC314F-E96A-4408-95DE-A70E9ED054AF}"/>
              </a:ext>
            </a:extLst>
          </p:cNvPr>
          <p:cNvSpPr txBox="1"/>
          <p:nvPr userDrawn="1"/>
        </p:nvSpPr>
        <p:spPr>
          <a:xfrm>
            <a:off x="721229" y="4450324"/>
            <a:ext cx="2717296" cy="13849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FREE </a:t>
            </a:r>
          </a:p>
          <a:p>
            <a:r>
              <a:rPr lang="en-US" altLang="ko-KR" sz="2800" b="1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rPr>
              <a:t>PPT TEMPLATES</a:t>
            </a:r>
          </a:p>
        </p:txBody>
      </p:sp>
    </p:spTree>
    <p:extLst>
      <p:ext uri="{BB962C8B-B14F-4D97-AF65-F5344CB8AC3E}">
        <p14:creationId xmlns:p14="http://schemas.microsoft.com/office/powerpoint/2010/main" val="60042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1.xml"/><Relationship Id="rId1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slideLayout" Target="../slideLayouts/slideLayout150.xml"/><Relationship Id="rId17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40.xml"/><Relationship Id="rId16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48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slideLayout" Target="../slideLayouts/slideLayout152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4.xml"/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3" Type="http://schemas.openxmlformats.org/officeDocument/2006/relationships/slideLayout" Target="../slideLayouts/slideLayout159.xml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66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2.xml"/><Relationship Id="rId13" Type="http://schemas.openxmlformats.org/officeDocument/2006/relationships/theme" Target="../theme/theme12.xml"/><Relationship Id="rId18" Type="http://schemas.openxmlformats.org/officeDocument/2006/relationships/image" Target="../media/image62.emf"/><Relationship Id="rId3" Type="http://schemas.openxmlformats.org/officeDocument/2006/relationships/slideLayout" Target="../slideLayouts/slideLayout177.xml"/><Relationship Id="rId7" Type="http://schemas.openxmlformats.org/officeDocument/2006/relationships/slideLayout" Target="../slideLayouts/slideLayout181.xml"/><Relationship Id="rId12" Type="http://schemas.openxmlformats.org/officeDocument/2006/relationships/slideLayout" Target="../slideLayouts/slideLayout18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76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75.xml"/><Relationship Id="rId6" Type="http://schemas.openxmlformats.org/officeDocument/2006/relationships/slideLayout" Target="../slideLayouts/slideLayout180.xml"/><Relationship Id="rId11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7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84.xml"/><Relationship Id="rId4" Type="http://schemas.openxmlformats.org/officeDocument/2006/relationships/slideLayout" Target="../slideLayouts/slideLayout178.xml"/><Relationship Id="rId9" Type="http://schemas.openxmlformats.org/officeDocument/2006/relationships/slideLayout" Target="../slideLayouts/slideLayout183.xml"/><Relationship Id="rId14" Type="http://schemas.openxmlformats.org/officeDocument/2006/relationships/vmlDrawing" Target="../drawings/vmlDrawing1.v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4.xml"/><Relationship Id="rId3" Type="http://schemas.openxmlformats.org/officeDocument/2006/relationships/slideLayout" Target="../slideLayouts/slideLayout189.xml"/><Relationship Id="rId7" Type="http://schemas.openxmlformats.org/officeDocument/2006/relationships/slideLayout" Target="../slideLayouts/slideLayout193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1" Type="http://schemas.openxmlformats.org/officeDocument/2006/relationships/slideLayout" Target="../slideLayouts/slideLayout197.xml"/><Relationship Id="rId5" Type="http://schemas.openxmlformats.org/officeDocument/2006/relationships/slideLayout" Target="../slideLayouts/slideLayout191.xml"/><Relationship Id="rId10" Type="http://schemas.openxmlformats.org/officeDocument/2006/relationships/slideLayout" Target="../slideLayouts/slideLayout196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theme" Target="../theme/theme5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153115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4" r:id="rId2"/>
    <p:sldLayoutId id="2147483675" r:id="rId3"/>
    <p:sldLayoutId id="2147483676" r:id="rId4"/>
    <p:sldLayoutId id="2147483678" r:id="rId5"/>
    <p:sldLayoutId id="2147483680" r:id="rId6"/>
    <p:sldLayoutId id="2147483681" r:id="rId7"/>
    <p:sldLayoutId id="2147483682" r:id="rId8"/>
    <p:sldLayoutId id="2147483684" r:id="rId9"/>
    <p:sldLayoutId id="2147483686" r:id="rId10"/>
    <p:sldLayoutId id="2147483689" r:id="rId11"/>
    <p:sldLayoutId id="2147483687" r:id="rId12"/>
    <p:sldLayoutId id="2147483688" r:id="rId13"/>
    <p:sldLayoutId id="2147483671" r:id="rId14"/>
    <p:sldLayoutId id="2147483672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7718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  <p:sldLayoutId id="2147483853" r:id="rId17"/>
    <p:sldLayoutId id="2147483854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4378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  <p:sldLayoutId id="2147483865" r:id="rId10"/>
    <p:sldLayoutId id="2147483866" r:id="rId11"/>
    <p:sldLayoutId id="2147483867" r:id="rId12"/>
    <p:sldLayoutId id="2147483868" r:id="rId13"/>
    <p:sldLayoutId id="2147483869" r:id="rId14"/>
    <p:sldLayoutId id="2147483870" r:id="rId15"/>
    <p:sldLayoutId id="2147483871" r:id="rId16"/>
    <p:sldLayoutId id="2147483872" r:id="rId17"/>
    <p:sldLayoutId id="2147483873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DBC3F41C-1950-4175-A0D5-F29309A4B1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DBC3F41C-1950-4175-A0D5-F29309A4B1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3AF71B7F-2C2D-40D3-A393-9F6DCC630C92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21DE9C95-668D-4C97-99D8-074E1701B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400" y="406400"/>
            <a:ext cx="11125200" cy="889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2F9BE55-B1B7-4BDF-8E9F-D05E93906A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33400" y="1524000"/>
            <a:ext cx="11125200" cy="4652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</p:spTree>
    <p:extLst>
      <p:ext uri="{BB962C8B-B14F-4D97-AF65-F5344CB8AC3E}">
        <p14:creationId xmlns:p14="http://schemas.microsoft.com/office/powerpoint/2010/main" val="1461606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Segoe UI" panose="020B0502040204020203" pitchFamily="34" charset="0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Segoe UI Light" panose="020B0502040204020203" pitchFamily="34" charset="0"/>
          <a:ea typeface="+mn-ea"/>
          <a:cs typeface="Segoe UI Light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pos="7344">
          <p15:clr>
            <a:srgbClr val="F26B43"/>
          </p15:clr>
        </p15:guide>
        <p15:guide id="3" orient="horz" pos="3936">
          <p15:clr>
            <a:srgbClr val="F26B43"/>
          </p15:clr>
        </p15:guide>
        <p15:guide id="5" orient="horz" pos="960">
          <p15:clr>
            <a:srgbClr val="F26B43"/>
          </p15:clr>
        </p15:guide>
        <p15:guide id="6" orient="horz" pos="816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DE6C2C38-2AF6-E7FC-2EAD-EF7D733736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ACD446B-3869-3A48-C4FA-0DB50D8B77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7A63497-5C64-BD71-9701-ADD0849759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AB0EA2-F5C9-485F-A5C6-BBE2F71AF79F}" type="datetimeFigureOut">
              <a:rPr lang="en-US" smtClean="0"/>
              <a:t>10/15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6FBA5E9-D899-CE88-18D4-04737A8F31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E50C472-C3A2-BBA7-CDF1-23D350C387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3259C6-7B9F-47CB-84EA-AE2329FC0E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740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7" r:id="rId1"/>
    <p:sldLayoutId id="2147483918" r:id="rId2"/>
    <p:sldLayoutId id="2147483919" r:id="rId3"/>
    <p:sldLayoutId id="2147483920" r:id="rId4"/>
    <p:sldLayoutId id="2147483921" r:id="rId5"/>
    <p:sldLayoutId id="2147483922" r:id="rId6"/>
    <p:sldLayoutId id="2147483923" r:id="rId7"/>
    <p:sldLayoutId id="2147483924" r:id="rId8"/>
    <p:sldLayoutId id="2147483925" r:id="rId9"/>
    <p:sldLayoutId id="2147483926" r:id="rId10"/>
    <p:sldLayoutId id="214748392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98408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5594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60000" y="720000"/>
            <a:ext cx="10272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000"/>
              <a:buFont typeface="Overpass Black"/>
              <a:buNone/>
              <a:defRPr sz="30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Overpass Black"/>
              <a:buNone/>
              <a:defRPr sz="2800">
                <a:solidFill>
                  <a:schemeClr val="dk1"/>
                </a:solidFill>
                <a:latin typeface="Overpass Black"/>
                <a:ea typeface="Overpass Black"/>
                <a:cs typeface="Overpass Black"/>
                <a:sym typeface="Overpass Black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60000" y="2362733"/>
            <a:ext cx="10272000" cy="372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●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1pPr>
            <a:lvl2pPr marL="914400" lvl="1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○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L="1371600" lvl="2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■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L="1828800" lvl="3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●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L="2286000" lvl="4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○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L="2743200" lvl="5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■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L="3200400" lvl="6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●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L="3657600" lvl="7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600"/>
              <a:buFont typeface="Source Sans Pro"/>
              <a:buChar char="○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L="4114800" lvl="8" indent="-3302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600"/>
              <a:buFont typeface="Source Sans Pro"/>
              <a:buChar char="■"/>
              <a:defRPr sz="1600">
                <a:solidFill>
                  <a:schemeClr val="dk2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2903011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29" r:id="rId1"/>
    <p:sldLayoutId id="2147483732" r:id="rId2"/>
    <p:sldLayoutId id="2147483733" r:id="rId3"/>
    <p:sldLayoutId id="2147483931" r:id="rId4"/>
    <p:sldLayoutId id="2147483933" r:id="rId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EA4335"/>
          </p15:clr>
        </p15:guide>
        <p15:guide id="2" pos="2880">
          <p15:clr>
            <a:srgbClr val="EA4335"/>
          </p15:clr>
        </p15:guide>
        <p15:guide id="3" pos="454">
          <p15:clr>
            <a:srgbClr val="EA4335"/>
          </p15:clr>
        </p15:guide>
        <p15:guide id="4" pos="5306">
          <p15:clr>
            <a:srgbClr val="EA4335"/>
          </p15:clr>
        </p15:guide>
        <p15:guide id="5" orient="horz" pos="340">
          <p15:clr>
            <a:srgbClr val="EA4335"/>
          </p15:clr>
        </p15:guide>
        <p15:guide id="6" orient="horz" pos="2900">
          <p15:clr>
            <a:srgbClr val="EA4335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29950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  <p:sldLayoutId id="2147483749" r:id="rId15"/>
    <p:sldLayoutId id="2147483750" r:id="rId16"/>
    <p:sldLayoutId id="2147483751" r:id="rId17"/>
    <p:sldLayoutId id="2147483752" r:id="rId18"/>
    <p:sldLayoutId id="2147483753" r:id="rId19"/>
    <p:sldLayoutId id="2147483754" r:id="rId20"/>
    <p:sldLayoutId id="2147483755" r:id="rId21"/>
    <p:sldLayoutId id="2147483929" r:id="rId22"/>
  </p:sldLayoutIdLst>
  <p:hf hdr="0" ft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91444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9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959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9938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791" r:id="rId15"/>
    <p:sldLayoutId id="2147483792" r:id="rId16"/>
    <p:sldLayoutId id="2147483793" r:id="rId17"/>
    <p:sldLayoutId id="2147483794" r:id="rId18"/>
    <p:sldLayoutId id="2147483795" r:id="rId19"/>
    <p:sldLayoutId id="2147483928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322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  <p:sldLayoutId id="2147483810" r:id="rId14"/>
    <p:sldLayoutId id="2147483811" r:id="rId15"/>
    <p:sldLayoutId id="2147483812" r:id="rId16"/>
    <p:sldLayoutId id="2147483813" r:id="rId17"/>
    <p:sldLayoutId id="2147483814" r:id="rId18"/>
    <p:sldLayoutId id="2147483815" r:id="rId1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06002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  <p:sldLayoutId id="2147483822" r:id="rId6"/>
    <p:sldLayoutId id="2147483823" r:id="rId7"/>
    <p:sldLayoutId id="2147483824" r:id="rId8"/>
    <p:sldLayoutId id="2147483825" r:id="rId9"/>
    <p:sldLayoutId id="2147483826" r:id="rId10"/>
    <p:sldLayoutId id="2147483827" r:id="rId11"/>
    <p:sldLayoutId id="2147483828" r:id="rId12"/>
    <p:sldLayoutId id="2147483829" r:id="rId13"/>
    <p:sldLayoutId id="2147483830" r:id="rId14"/>
    <p:sldLayoutId id="2147483831" r:id="rId15"/>
    <p:sldLayoutId id="2147483832" r:id="rId16"/>
    <p:sldLayoutId id="2147483833" r:id="rId17"/>
    <p:sldLayoutId id="2147483834" r:id="rId18"/>
    <p:sldLayoutId id="2147483835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emf"/><Relationship Id="rId1" Type="http://schemas.openxmlformats.org/officeDocument/2006/relationships/slideLayout" Target="../slideLayouts/slideLayout10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91.xml"/><Relationship Id="rId5" Type="http://schemas.openxmlformats.org/officeDocument/2006/relationships/hyperlink" Target="http://sbt.bkn.go.id/" TargetMode="External"/><Relationship Id="rId4" Type="http://schemas.openxmlformats.org/officeDocument/2006/relationships/image" Target="../media/image7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88.jpe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86.png"/><Relationship Id="rId5" Type="http://schemas.openxmlformats.org/officeDocument/2006/relationships/image" Target="../media/image83.png"/><Relationship Id="rId4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71.png"/><Relationship Id="rId5" Type="http://schemas.openxmlformats.org/officeDocument/2006/relationships/image" Target="../media/image72.png"/><Relationship Id="rId4" Type="http://schemas.openxmlformats.org/officeDocument/2006/relationships/image" Target="../media/image8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92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67.png"/><Relationship Id="rId5" Type="http://schemas.openxmlformats.org/officeDocument/2006/relationships/image" Target="../media/image80.png"/><Relationship Id="rId4" Type="http://schemas.openxmlformats.org/officeDocument/2006/relationships/image" Target="../media/image7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93.png"/><Relationship Id="rId4" Type="http://schemas.openxmlformats.org/officeDocument/2006/relationships/image" Target="../media/image8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4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97.png"/><Relationship Id="rId5" Type="http://schemas.openxmlformats.org/officeDocument/2006/relationships/image" Target="../media/image96.png"/><Relationship Id="rId10" Type="http://schemas.openxmlformats.org/officeDocument/2006/relationships/image" Target="../media/image67.png"/><Relationship Id="rId4" Type="http://schemas.openxmlformats.org/officeDocument/2006/relationships/image" Target="../media/image95.png"/><Relationship Id="rId9" Type="http://schemas.openxmlformats.org/officeDocument/2006/relationships/image" Target="../media/image7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png"/><Relationship Id="rId3" Type="http://schemas.openxmlformats.org/officeDocument/2006/relationships/image" Target="../media/image86.png"/><Relationship Id="rId7" Type="http://schemas.openxmlformats.org/officeDocument/2006/relationships/image" Target="../media/image102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01.png"/><Relationship Id="rId11" Type="http://schemas.openxmlformats.org/officeDocument/2006/relationships/image" Target="../media/image83.png"/><Relationship Id="rId5" Type="http://schemas.openxmlformats.org/officeDocument/2006/relationships/image" Target="../media/image100.pn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110.jpeg"/><Relationship Id="rId5" Type="http://schemas.openxmlformats.org/officeDocument/2006/relationships/image" Target="../media/image109.jpeg"/><Relationship Id="rId4" Type="http://schemas.openxmlformats.org/officeDocument/2006/relationships/image" Target="../media/image10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05.png"/><Relationship Id="rId5" Type="http://schemas.openxmlformats.org/officeDocument/2006/relationships/image" Target="../media/image83.png"/><Relationship Id="rId4" Type="http://schemas.openxmlformats.org/officeDocument/2006/relationships/image" Target="../media/image86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105.png"/><Relationship Id="rId5" Type="http://schemas.openxmlformats.org/officeDocument/2006/relationships/image" Target="../media/image83.png"/><Relationship Id="rId4" Type="http://schemas.openxmlformats.org/officeDocument/2006/relationships/image" Target="../media/image8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3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114.png"/><Relationship Id="rId7" Type="http://schemas.openxmlformats.org/officeDocument/2006/relationships/image" Target="../media/image115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16.png"/><Relationship Id="rId5" Type="http://schemas.openxmlformats.org/officeDocument/2006/relationships/image" Target="../media/image72.png"/><Relationship Id="rId4" Type="http://schemas.openxmlformats.org/officeDocument/2006/relationships/image" Target="../media/image115.png"/><Relationship Id="rId9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17.png"/><Relationship Id="rId5" Type="http://schemas.openxmlformats.org/officeDocument/2006/relationships/image" Target="../media/image105.png"/><Relationship Id="rId4" Type="http://schemas.openxmlformats.org/officeDocument/2006/relationships/image" Target="../media/image8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118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67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image" Target="../media/image66.png"/><Relationship Id="rId7" Type="http://schemas.openxmlformats.org/officeDocument/2006/relationships/image" Target="../media/image1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119.jpeg"/><Relationship Id="rId5" Type="http://schemas.openxmlformats.org/officeDocument/2006/relationships/image" Target="../media/image71.png"/><Relationship Id="rId4" Type="http://schemas.openxmlformats.org/officeDocument/2006/relationships/image" Target="../media/image72.png"/><Relationship Id="rId9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2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122.png"/><Relationship Id="rId5" Type="http://schemas.openxmlformats.org/officeDocument/2006/relationships/image" Target="../media/image105.png"/><Relationship Id="rId4" Type="http://schemas.openxmlformats.org/officeDocument/2006/relationships/image" Target="../media/image8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mailto:bknsurabaya@bkn.go.id" TargetMode="External"/><Relationship Id="rId2" Type="http://schemas.openxmlformats.org/officeDocument/2006/relationships/image" Target="../media/image123.jpeg"/><Relationship Id="rId1" Type="http://schemas.openxmlformats.org/officeDocument/2006/relationships/slideLayout" Target="../slideLayouts/slideLayout39.xml"/><Relationship Id="rId5" Type="http://schemas.openxmlformats.org/officeDocument/2006/relationships/image" Target="../media/image125.png"/><Relationship Id="rId4" Type="http://schemas.openxmlformats.org/officeDocument/2006/relationships/image" Target="../media/image1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7.png"/><Relationship Id="rId5" Type="http://schemas.openxmlformats.org/officeDocument/2006/relationships/image" Target="../media/image73.jpeg"/><Relationship Id="rId4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70.png"/><Relationship Id="rId7" Type="http://schemas.openxmlformats.org/officeDocument/2006/relationships/image" Target="../media/image7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75.png"/><Relationship Id="rId5" Type="http://schemas.openxmlformats.org/officeDocument/2006/relationships/image" Target="../media/image74.png"/><Relationship Id="rId10" Type="http://schemas.openxmlformats.org/officeDocument/2006/relationships/image" Target="../media/image77.png"/><Relationship Id="rId4" Type="http://schemas.openxmlformats.org/officeDocument/2006/relationships/image" Target="../media/image66.png"/><Relationship Id="rId9" Type="http://schemas.openxmlformats.org/officeDocument/2006/relationships/image" Target="../media/image7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60.xml"/><Relationship Id="rId4" Type="http://schemas.openxmlformats.org/officeDocument/2006/relationships/image" Target="../media/image6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7" Type="http://schemas.openxmlformats.org/officeDocument/2006/relationships/image" Target="../media/image6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1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8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72.png"/><Relationship Id="rId7" Type="http://schemas.openxmlformats.org/officeDocument/2006/relationships/image" Target="../media/image8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1.xml"/><Relationship Id="rId6" Type="http://schemas.openxmlformats.org/officeDocument/2006/relationships/image" Target="../media/image66.png"/><Relationship Id="rId5" Type="http://schemas.openxmlformats.org/officeDocument/2006/relationships/image" Target="../media/image81.png"/><Relationship Id="rId4" Type="http://schemas.openxmlformats.org/officeDocument/2006/relationships/image" Target="../media/image7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89.xml"/><Relationship Id="rId6" Type="http://schemas.openxmlformats.org/officeDocument/2006/relationships/image" Target="../media/image67.png"/><Relationship Id="rId5" Type="http://schemas.openxmlformats.org/officeDocument/2006/relationships/image" Target="../media/image71.png"/><Relationship Id="rId4" Type="http://schemas.openxmlformats.org/officeDocument/2006/relationships/image" Target="../media/image7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0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xmlns="" id="{5EECAA73-4679-40F1-9AE5-FCE6E1541258}"/>
              </a:ext>
            </a:extLst>
          </p:cNvPr>
          <p:cNvPicPr>
            <a:picLocks noGrp="1" noChangeAspect="1"/>
          </p:cNvPicPr>
          <p:nvPr>
            <p:ph type="pic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56" r="21969"/>
          <a:stretch/>
        </p:blipFill>
        <p:spPr>
          <a:xfrm>
            <a:off x="6427325" y="0"/>
            <a:ext cx="5747850" cy="6551811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xmlns="" id="{63B11A0F-FF90-4257-9F1E-AE8F426DC92A}"/>
              </a:ext>
            </a:extLst>
          </p:cNvPr>
          <p:cNvSpPr txBox="1"/>
          <p:nvPr/>
        </p:nvSpPr>
        <p:spPr>
          <a:xfrm>
            <a:off x="622109" y="1286422"/>
            <a:ext cx="5692247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3200" b="1" dirty="0">
                <a:solidFill>
                  <a:schemeClr val="accent4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NETRALITAS ASN</a:t>
            </a:r>
            <a:r>
              <a:rPr lang="en-US" altLang="ko-KR" sz="3200" b="1" dirty="0">
                <a:solidFill>
                  <a:srgbClr val="002060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 MENJELANG PILKADA SERENTAK </a:t>
            </a:r>
            <a:r>
              <a:rPr lang="en-US" altLang="ko-KR" sz="3200" b="1" dirty="0">
                <a:solidFill>
                  <a:schemeClr val="accent4"/>
                </a:solidFill>
                <a:latin typeface="Arial" panose="020B0604020202020204" pitchFamily="34" charset="0"/>
                <a:ea typeface="Cambria" panose="02040503050406030204" pitchFamily="18" charset="0"/>
                <a:cs typeface="Arial" panose="020B0604020202020204" pitchFamily="34" charset="0"/>
              </a:rPr>
              <a:t>TAHUN 2024</a:t>
            </a:r>
            <a:endParaRPr lang="ko-KR" altLang="en-US" sz="3200" b="1" dirty="0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B762245-1951-4B18-A267-399D81CD61A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7704" y="6046727"/>
            <a:ext cx="1155226" cy="41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10C0EFB6-7BE3-4B21-9EB5-25550F411C7C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121920" y="6067849"/>
            <a:ext cx="1895784" cy="483962"/>
          </a:xfrm>
          <a:prstGeom prst="rect">
            <a:avLst/>
          </a:prstGeom>
        </p:spPr>
      </p:pic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64D2B83B-5E48-4092-BF59-5C5925EDB253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273893" y="292380"/>
            <a:ext cx="1828816" cy="57978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182D7663-96D6-42E3-A058-ED97DBE9DE98}"/>
              </a:ext>
            </a:extLst>
          </p:cNvPr>
          <p:cNvSpPr/>
          <p:nvPr/>
        </p:nvSpPr>
        <p:spPr>
          <a:xfrm>
            <a:off x="847164" y="4563019"/>
            <a:ext cx="527124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400" dirty="0" smtClean="0">
                <a:solidFill>
                  <a:srgbClr val="002060"/>
                </a:solidFill>
                <a:latin typeface="Bookman Old Style" panose="02050604050505020204" pitchFamily="18" charset="0"/>
              </a:rPr>
              <a:t>KANTOR REGIONAL II</a:t>
            </a:r>
            <a:endParaRPr lang="en-US" sz="1400" dirty="0">
              <a:solidFill>
                <a:srgbClr val="002060"/>
              </a:solidFill>
              <a:latin typeface="Bookman Old Style" panose="02050604050505020204" pitchFamily="18" charset="0"/>
            </a:endParaRPr>
          </a:p>
          <a:p>
            <a:pPr algn="ctr"/>
            <a:r>
              <a:rPr lang="en-US" sz="1400" dirty="0">
                <a:solidFill>
                  <a:srgbClr val="002060"/>
                </a:solidFill>
                <a:latin typeface="Bookman Old Style" panose="02050604050505020204" pitchFamily="18" charset="0"/>
              </a:rPr>
              <a:t>BADAN KEPEGAWAIAN NEGARA</a:t>
            </a:r>
          </a:p>
          <a:p>
            <a:pPr algn="ctr"/>
            <a:r>
              <a:rPr lang="en-US" sz="1400" dirty="0">
                <a:solidFill>
                  <a:srgbClr val="002060"/>
                </a:solidFill>
                <a:latin typeface="Bookman Old Style" panose="02050604050505020204" pitchFamily="18" charset="0"/>
              </a:rPr>
              <a:t>2024</a:t>
            </a:r>
            <a:endParaRPr lang="en-US" sz="1400" dirty="0">
              <a:solidFill>
                <a:srgbClr val="002060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E0027BA-9D26-4F47-B721-6202DB2D1B5A}"/>
              </a:ext>
            </a:extLst>
          </p:cNvPr>
          <p:cNvSpPr/>
          <p:nvPr/>
        </p:nvSpPr>
        <p:spPr>
          <a:xfrm>
            <a:off x="0" y="6551811"/>
            <a:ext cx="12192000" cy="306189"/>
          </a:xfrm>
          <a:prstGeom prst="rect">
            <a:avLst/>
          </a:prstGeom>
          <a:solidFill>
            <a:srgbClr val="CB3D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A8BD655-0E14-C1C6-064B-852B79B461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0881" y="292380"/>
            <a:ext cx="1385573" cy="7045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DFC66598-008A-4410-CB19-8F797F03CCD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5880" y="2872733"/>
            <a:ext cx="4448796" cy="1600423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5566F75-E722-00EC-51E0-511CA8F90C7B}"/>
              </a:ext>
            </a:extLst>
          </p:cNvPr>
          <p:cNvSpPr/>
          <p:nvPr/>
        </p:nvSpPr>
        <p:spPr>
          <a:xfrm>
            <a:off x="5020125" y="6150908"/>
            <a:ext cx="247742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400" b="1" dirty="0" smtClean="0">
                <a:solidFill>
                  <a:srgbClr val="002060"/>
                </a:solidFill>
              </a:rPr>
              <a:t>Ngawi</a:t>
            </a:r>
            <a:r>
              <a:rPr lang="en-US" sz="1400" b="1" dirty="0" smtClean="0">
                <a:solidFill>
                  <a:srgbClr val="002060"/>
                </a:solidFill>
              </a:rPr>
              <a:t>, </a:t>
            </a:r>
            <a:r>
              <a:rPr lang="id-ID" sz="1400" b="1" dirty="0" smtClean="0">
                <a:solidFill>
                  <a:srgbClr val="002060"/>
                </a:solidFill>
              </a:rPr>
              <a:t>16 Oktober 2024</a:t>
            </a:r>
            <a:endParaRPr lang="en-US" sz="14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6700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10</a:t>
            </a:fld>
            <a:endParaRPr lang="en-ID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95662" y="-794041"/>
            <a:ext cx="15583323" cy="8446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1187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ight Arrow 5">
            <a:extLst>
              <a:ext uri="{FF2B5EF4-FFF2-40B4-BE49-F238E27FC236}">
                <a16:creationId xmlns:a16="http://schemas.microsoft.com/office/drawing/2014/main" xmlns="" id="{0E5BC41A-0DFB-4FD4-A426-DF6F621E1AF3}"/>
              </a:ext>
            </a:extLst>
          </p:cNvPr>
          <p:cNvSpPr/>
          <p:nvPr/>
        </p:nvSpPr>
        <p:spPr>
          <a:xfrm flipH="1">
            <a:off x="539523" y="2283150"/>
            <a:ext cx="8218522" cy="936104"/>
          </a:xfrm>
          <a:prstGeom prst="rightArrow">
            <a:avLst>
              <a:gd name="adj1" fmla="val 66050"/>
              <a:gd name="adj2" fmla="val 75679"/>
            </a:avLst>
          </a:prstGeom>
          <a:solidFill>
            <a:srgbClr val="0070C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7" name="Right Arrow 54">
            <a:extLst>
              <a:ext uri="{FF2B5EF4-FFF2-40B4-BE49-F238E27FC236}">
                <a16:creationId xmlns:a16="http://schemas.microsoft.com/office/drawing/2014/main" xmlns="" id="{15B8590C-96FB-4E60-9FB1-6311B4DBE638}"/>
              </a:ext>
            </a:extLst>
          </p:cNvPr>
          <p:cNvSpPr/>
          <p:nvPr/>
        </p:nvSpPr>
        <p:spPr>
          <a:xfrm flipH="1">
            <a:off x="1315676" y="3133260"/>
            <a:ext cx="7442369" cy="936104"/>
          </a:xfrm>
          <a:prstGeom prst="rightArrow">
            <a:avLst>
              <a:gd name="adj1" fmla="val 66050"/>
              <a:gd name="adj2" fmla="val 75679"/>
            </a:avLst>
          </a:prstGeom>
          <a:solidFill>
            <a:srgbClr val="00B05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8" name="Right Arrow 55">
            <a:extLst>
              <a:ext uri="{FF2B5EF4-FFF2-40B4-BE49-F238E27FC236}">
                <a16:creationId xmlns:a16="http://schemas.microsoft.com/office/drawing/2014/main" xmlns="" id="{E8FB8E64-424E-4C1E-9342-1EE057E52629}"/>
              </a:ext>
            </a:extLst>
          </p:cNvPr>
          <p:cNvSpPr/>
          <p:nvPr/>
        </p:nvSpPr>
        <p:spPr>
          <a:xfrm flipH="1">
            <a:off x="2086576" y="3983370"/>
            <a:ext cx="6671469" cy="936104"/>
          </a:xfrm>
          <a:prstGeom prst="rightArrow">
            <a:avLst>
              <a:gd name="adj1" fmla="val 66050"/>
              <a:gd name="adj2" fmla="val 75679"/>
            </a:avLst>
          </a:prstGeom>
          <a:solidFill>
            <a:schemeClr val="accent3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9" name="Right Arrow 56">
            <a:extLst>
              <a:ext uri="{FF2B5EF4-FFF2-40B4-BE49-F238E27FC236}">
                <a16:creationId xmlns:a16="http://schemas.microsoft.com/office/drawing/2014/main" xmlns="" id="{E1F8797F-91E2-431B-9272-B5146A66040D}"/>
              </a:ext>
            </a:extLst>
          </p:cNvPr>
          <p:cNvSpPr/>
          <p:nvPr/>
        </p:nvSpPr>
        <p:spPr>
          <a:xfrm flipH="1">
            <a:off x="2850273" y="4833480"/>
            <a:ext cx="5907772" cy="936104"/>
          </a:xfrm>
          <a:prstGeom prst="rightArrow">
            <a:avLst>
              <a:gd name="adj1" fmla="val 66050"/>
              <a:gd name="adj2" fmla="val 75679"/>
            </a:avLst>
          </a:prstGeom>
          <a:solidFill>
            <a:srgbClr val="FFC00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2" name="Rounded Rectangle 27">
            <a:extLst>
              <a:ext uri="{FF2B5EF4-FFF2-40B4-BE49-F238E27FC236}">
                <a16:creationId xmlns:a16="http://schemas.microsoft.com/office/drawing/2014/main" xmlns="" id="{0A05D50E-5C79-400B-970A-971CD9853A0A}"/>
              </a:ext>
            </a:extLst>
          </p:cNvPr>
          <p:cNvSpPr/>
          <p:nvPr/>
        </p:nvSpPr>
        <p:spPr>
          <a:xfrm>
            <a:off x="1735950" y="3446248"/>
            <a:ext cx="350627" cy="269329"/>
          </a:xfrm>
          <a:custGeom>
            <a:avLst/>
            <a:gdLst/>
            <a:ahLst/>
            <a:cxnLst/>
            <a:rect l="l" t="t" r="r" b="b"/>
            <a:pathLst>
              <a:path w="3186824" h="2447912">
                <a:moveTo>
                  <a:pt x="1917737" y="1021643"/>
                </a:moveTo>
                <a:cubicBezTo>
                  <a:pt x="2188548" y="1021643"/>
                  <a:pt x="2408083" y="1241178"/>
                  <a:pt x="2408083" y="1511989"/>
                </a:cubicBezTo>
                <a:cubicBezTo>
                  <a:pt x="2408083" y="1782800"/>
                  <a:pt x="2188548" y="2002335"/>
                  <a:pt x="1917737" y="2002335"/>
                </a:cubicBezTo>
                <a:cubicBezTo>
                  <a:pt x="1646926" y="2002335"/>
                  <a:pt x="1427391" y="1782800"/>
                  <a:pt x="1427391" y="1511989"/>
                </a:cubicBezTo>
                <a:cubicBezTo>
                  <a:pt x="1427391" y="1241178"/>
                  <a:pt x="1646926" y="1021643"/>
                  <a:pt x="1917737" y="1021643"/>
                </a:cubicBezTo>
                <a:close/>
                <a:moveTo>
                  <a:pt x="1917737" y="827913"/>
                </a:moveTo>
                <a:cubicBezTo>
                  <a:pt x="1539932" y="827913"/>
                  <a:pt x="1233661" y="1134184"/>
                  <a:pt x="1233661" y="1511989"/>
                </a:cubicBezTo>
                <a:cubicBezTo>
                  <a:pt x="1233661" y="1889794"/>
                  <a:pt x="1539932" y="2196065"/>
                  <a:pt x="1917737" y="2196065"/>
                </a:cubicBezTo>
                <a:cubicBezTo>
                  <a:pt x="2295542" y="2196065"/>
                  <a:pt x="2601813" y="1889794"/>
                  <a:pt x="2601813" y="1511989"/>
                </a:cubicBezTo>
                <a:cubicBezTo>
                  <a:pt x="2601813" y="1134184"/>
                  <a:pt x="2295542" y="827913"/>
                  <a:pt x="1917737" y="827913"/>
                </a:cubicBezTo>
                <a:close/>
                <a:moveTo>
                  <a:pt x="1112286" y="675885"/>
                </a:moveTo>
                <a:lnTo>
                  <a:pt x="1112286" y="830188"/>
                </a:lnTo>
                <a:lnTo>
                  <a:pt x="1328310" y="830188"/>
                </a:lnTo>
                <a:lnTo>
                  <a:pt x="1328310" y="675885"/>
                </a:lnTo>
                <a:close/>
                <a:moveTo>
                  <a:pt x="2586084" y="626422"/>
                </a:moveTo>
                <a:lnTo>
                  <a:pt x="2586084" y="830188"/>
                </a:lnTo>
                <a:lnTo>
                  <a:pt x="3001340" y="830188"/>
                </a:lnTo>
                <a:lnTo>
                  <a:pt x="3001340" y="626422"/>
                </a:lnTo>
                <a:close/>
                <a:moveTo>
                  <a:pt x="1593701" y="108218"/>
                </a:moveTo>
                <a:lnTo>
                  <a:pt x="1593701" y="432905"/>
                </a:lnTo>
                <a:lnTo>
                  <a:pt x="2241773" y="432905"/>
                </a:lnTo>
                <a:lnTo>
                  <a:pt x="2241773" y="108218"/>
                </a:lnTo>
                <a:close/>
                <a:moveTo>
                  <a:pt x="1452512" y="0"/>
                </a:moveTo>
                <a:lnTo>
                  <a:pt x="2382963" y="0"/>
                </a:lnTo>
                <a:cubicBezTo>
                  <a:pt x="2433311" y="0"/>
                  <a:pt x="2474127" y="40816"/>
                  <a:pt x="2474127" y="91164"/>
                </a:cubicBezTo>
                <a:lnTo>
                  <a:pt x="2474127" y="432905"/>
                </a:lnTo>
                <a:lnTo>
                  <a:pt x="2933014" y="432905"/>
                </a:lnTo>
                <a:cubicBezTo>
                  <a:pt x="3073189" y="432905"/>
                  <a:pt x="3186824" y="546540"/>
                  <a:pt x="3186824" y="686715"/>
                </a:cubicBezTo>
                <a:lnTo>
                  <a:pt x="3186824" y="2194102"/>
                </a:lnTo>
                <a:cubicBezTo>
                  <a:pt x="3186824" y="2334277"/>
                  <a:pt x="3073189" y="2447912"/>
                  <a:pt x="2933014" y="2447912"/>
                </a:cubicBezTo>
                <a:lnTo>
                  <a:pt x="253810" y="2447912"/>
                </a:lnTo>
                <a:cubicBezTo>
                  <a:pt x="113635" y="2447912"/>
                  <a:pt x="0" y="2334277"/>
                  <a:pt x="0" y="2194102"/>
                </a:cubicBezTo>
                <a:lnTo>
                  <a:pt x="0" y="686715"/>
                </a:lnTo>
                <a:cubicBezTo>
                  <a:pt x="0" y="546540"/>
                  <a:pt x="113635" y="432905"/>
                  <a:pt x="253810" y="432905"/>
                </a:cubicBezTo>
                <a:lnTo>
                  <a:pt x="307082" y="432905"/>
                </a:lnTo>
                <a:lnTo>
                  <a:pt x="307082" y="313169"/>
                </a:lnTo>
                <a:cubicBezTo>
                  <a:pt x="307082" y="287995"/>
                  <a:pt x="327490" y="267587"/>
                  <a:pt x="352664" y="267587"/>
                </a:cubicBezTo>
                <a:lnTo>
                  <a:pt x="817888" y="267587"/>
                </a:lnTo>
                <a:cubicBezTo>
                  <a:pt x="843062" y="267587"/>
                  <a:pt x="863470" y="287995"/>
                  <a:pt x="863470" y="313169"/>
                </a:cubicBezTo>
                <a:lnTo>
                  <a:pt x="863470" y="432905"/>
                </a:lnTo>
                <a:lnTo>
                  <a:pt x="1361348" y="432905"/>
                </a:lnTo>
                <a:lnTo>
                  <a:pt x="1361348" y="91164"/>
                </a:lnTo>
                <a:cubicBezTo>
                  <a:pt x="1361348" y="40816"/>
                  <a:pt x="1402164" y="0"/>
                  <a:pt x="145251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3" name="Rounded Rectangle 7">
            <a:extLst>
              <a:ext uri="{FF2B5EF4-FFF2-40B4-BE49-F238E27FC236}">
                <a16:creationId xmlns:a16="http://schemas.microsoft.com/office/drawing/2014/main" xmlns="" id="{BE0DBD31-E5A9-4725-81C2-4C62E251B7DF}"/>
              </a:ext>
            </a:extLst>
          </p:cNvPr>
          <p:cNvSpPr/>
          <p:nvPr/>
        </p:nvSpPr>
        <p:spPr>
          <a:xfrm>
            <a:off x="929080" y="2550045"/>
            <a:ext cx="356478" cy="307637"/>
          </a:xfrm>
          <a:custGeom>
            <a:avLst/>
            <a:gdLst/>
            <a:ahLst/>
            <a:cxnLst/>
            <a:rect l="l" t="t" r="r" b="b"/>
            <a:pathLst>
              <a:path w="3240006" h="2796091">
                <a:moveTo>
                  <a:pt x="686867" y="612319"/>
                </a:moveTo>
                <a:cubicBezTo>
                  <a:pt x="611281" y="612319"/>
                  <a:pt x="550007" y="673593"/>
                  <a:pt x="550007" y="749179"/>
                </a:cubicBezTo>
                <a:cubicBezTo>
                  <a:pt x="550007" y="824765"/>
                  <a:pt x="611281" y="886039"/>
                  <a:pt x="686867" y="886039"/>
                </a:cubicBezTo>
                <a:cubicBezTo>
                  <a:pt x="762453" y="886039"/>
                  <a:pt x="823727" y="824765"/>
                  <a:pt x="823727" y="749179"/>
                </a:cubicBezTo>
                <a:cubicBezTo>
                  <a:pt x="823727" y="673593"/>
                  <a:pt x="762453" y="612319"/>
                  <a:pt x="686867" y="612319"/>
                </a:cubicBezTo>
                <a:close/>
                <a:moveTo>
                  <a:pt x="1587500" y="281447"/>
                </a:moveTo>
                <a:cubicBezTo>
                  <a:pt x="1432061" y="281447"/>
                  <a:pt x="1306053" y="407455"/>
                  <a:pt x="1306053" y="562894"/>
                </a:cubicBezTo>
                <a:cubicBezTo>
                  <a:pt x="1306053" y="718333"/>
                  <a:pt x="1432061" y="844341"/>
                  <a:pt x="1587500" y="844341"/>
                </a:cubicBezTo>
                <a:cubicBezTo>
                  <a:pt x="1742939" y="844341"/>
                  <a:pt x="1868947" y="718333"/>
                  <a:pt x="1868947" y="562894"/>
                </a:cubicBezTo>
                <a:cubicBezTo>
                  <a:pt x="1868947" y="407455"/>
                  <a:pt x="1742939" y="281447"/>
                  <a:pt x="1587500" y="281447"/>
                </a:cubicBezTo>
                <a:close/>
                <a:moveTo>
                  <a:pt x="1587500" y="0"/>
                </a:moveTo>
                <a:cubicBezTo>
                  <a:pt x="1898378" y="0"/>
                  <a:pt x="2150394" y="252016"/>
                  <a:pt x="2150394" y="562894"/>
                </a:cubicBezTo>
                <a:cubicBezTo>
                  <a:pt x="2150394" y="786167"/>
                  <a:pt x="2020401" y="979078"/>
                  <a:pt x="1831095" y="1068260"/>
                </a:cubicBezTo>
                <a:lnTo>
                  <a:pt x="2215710" y="1068260"/>
                </a:lnTo>
                <a:cubicBezTo>
                  <a:pt x="2374756" y="1068260"/>
                  <a:pt x="2503688" y="1197192"/>
                  <a:pt x="2503688" y="1356238"/>
                </a:cubicBezTo>
                <a:lnTo>
                  <a:pt x="2503688" y="1474975"/>
                </a:lnTo>
                <a:lnTo>
                  <a:pt x="2656086" y="1474975"/>
                </a:lnTo>
                <a:cubicBezTo>
                  <a:pt x="2692420" y="1474975"/>
                  <a:pt x="2722815" y="1500405"/>
                  <a:pt x="2728975" y="1534767"/>
                </a:cubicBezTo>
                <a:lnTo>
                  <a:pt x="3240006" y="1109804"/>
                </a:lnTo>
                <a:lnTo>
                  <a:pt x="3240006" y="2754548"/>
                </a:lnTo>
                <a:lnTo>
                  <a:pt x="2728975" y="2329585"/>
                </a:lnTo>
                <a:cubicBezTo>
                  <a:pt x="2722815" y="2363946"/>
                  <a:pt x="2692420" y="2389375"/>
                  <a:pt x="2656086" y="2389375"/>
                </a:cubicBezTo>
                <a:lnTo>
                  <a:pt x="2503688" y="2389375"/>
                </a:lnTo>
                <a:lnTo>
                  <a:pt x="2503688" y="2508113"/>
                </a:lnTo>
                <a:cubicBezTo>
                  <a:pt x="2503688" y="2667159"/>
                  <a:pt x="2374756" y="2796091"/>
                  <a:pt x="2215710" y="2796091"/>
                </a:cubicBezTo>
                <a:lnTo>
                  <a:pt x="287978" y="2796091"/>
                </a:lnTo>
                <a:cubicBezTo>
                  <a:pt x="128932" y="2796091"/>
                  <a:pt x="0" y="2667159"/>
                  <a:pt x="0" y="2508113"/>
                </a:cubicBezTo>
                <a:lnTo>
                  <a:pt x="0" y="1356238"/>
                </a:lnTo>
                <a:cubicBezTo>
                  <a:pt x="0" y="1197192"/>
                  <a:pt x="128932" y="1068260"/>
                  <a:pt x="287978" y="1068260"/>
                </a:cubicBezTo>
                <a:lnTo>
                  <a:pt x="544513" y="1068260"/>
                </a:lnTo>
                <a:cubicBezTo>
                  <a:pt x="422089" y="1014226"/>
                  <a:pt x="336949" y="891645"/>
                  <a:pt x="336949" y="749179"/>
                </a:cubicBezTo>
                <a:cubicBezTo>
                  <a:pt x="336949" y="555925"/>
                  <a:pt x="493613" y="399261"/>
                  <a:pt x="686867" y="399261"/>
                </a:cubicBezTo>
                <a:cubicBezTo>
                  <a:pt x="880121" y="399261"/>
                  <a:pt x="1036785" y="555925"/>
                  <a:pt x="1036785" y="749179"/>
                </a:cubicBezTo>
                <a:cubicBezTo>
                  <a:pt x="1036785" y="891645"/>
                  <a:pt x="951645" y="1014226"/>
                  <a:pt x="829222" y="1068260"/>
                </a:cubicBezTo>
                <a:lnTo>
                  <a:pt x="1343906" y="1068260"/>
                </a:lnTo>
                <a:cubicBezTo>
                  <a:pt x="1154600" y="979078"/>
                  <a:pt x="1024606" y="786167"/>
                  <a:pt x="1024606" y="562894"/>
                </a:cubicBezTo>
                <a:cubicBezTo>
                  <a:pt x="1024606" y="252016"/>
                  <a:pt x="1276622" y="0"/>
                  <a:pt x="15875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4" name="Rectangle 16">
            <a:extLst>
              <a:ext uri="{FF2B5EF4-FFF2-40B4-BE49-F238E27FC236}">
                <a16:creationId xmlns:a16="http://schemas.microsoft.com/office/drawing/2014/main" xmlns="" id="{08E6D625-209D-4F9C-BBE7-3E0D32501462}"/>
              </a:ext>
            </a:extLst>
          </p:cNvPr>
          <p:cNvSpPr/>
          <p:nvPr/>
        </p:nvSpPr>
        <p:spPr>
          <a:xfrm rot="2700000">
            <a:off x="3326163" y="5094662"/>
            <a:ext cx="250429" cy="448973"/>
          </a:xfrm>
          <a:custGeom>
            <a:avLst/>
            <a:gdLst/>
            <a:ahLst/>
            <a:cxnLst/>
            <a:rect l="l" t="t" r="r" b="b"/>
            <a:pathLst>
              <a:path w="2232248" h="4001999">
                <a:moveTo>
                  <a:pt x="1116887" y="0"/>
                </a:moveTo>
                <a:cubicBezTo>
                  <a:pt x="1270748" y="4762"/>
                  <a:pt x="1433283" y="120651"/>
                  <a:pt x="1447291" y="308459"/>
                </a:cubicBezTo>
                <a:cubicBezTo>
                  <a:pt x="1483174" y="544979"/>
                  <a:pt x="1283237" y="603082"/>
                  <a:pt x="1339988" y="887363"/>
                </a:cubicBezTo>
                <a:lnTo>
                  <a:pt x="2232248" y="887363"/>
                </a:lnTo>
                <a:lnTo>
                  <a:pt x="2232248" y="1778237"/>
                </a:lnTo>
                <a:cubicBezTo>
                  <a:pt x="1956566" y="1829261"/>
                  <a:pt x="1897086" y="1634366"/>
                  <a:pt x="1663321" y="1669832"/>
                </a:cubicBezTo>
                <a:cubicBezTo>
                  <a:pt x="1475513" y="1683840"/>
                  <a:pt x="1359624" y="1846375"/>
                  <a:pt x="1354862" y="2000236"/>
                </a:cubicBezTo>
                <a:cubicBezTo>
                  <a:pt x="1358037" y="2135389"/>
                  <a:pt x="1477787" y="2334920"/>
                  <a:pt x="1701420" y="2336507"/>
                </a:cubicBezTo>
                <a:cubicBezTo>
                  <a:pt x="1972077" y="2308709"/>
                  <a:pt x="1932339" y="2176007"/>
                  <a:pt x="2232248" y="2187989"/>
                </a:cubicBezTo>
                <a:lnTo>
                  <a:pt x="2232248" y="3119611"/>
                </a:lnTo>
                <a:lnTo>
                  <a:pt x="1303259" y="3119611"/>
                </a:lnTo>
                <a:cubicBezTo>
                  <a:pt x="1289664" y="3424971"/>
                  <a:pt x="1423682" y="3383289"/>
                  <a:pt x="1451633" y="3655441"/>
                </a:cubicBezTo>
                <a:cubicBezTo>
                  <a:pt x="1450046" y="3879074"/>
                  <a:pt x="1250515" y="3998824"/>
                  <a:pt x="1115362" y="4001999"/>
                </a:cubicBezTo>
                <a:cubicBezTo>
                  <a:pt x="961501" y="3997237"/>
                  <a:pt x="798966" y="3881348"/>
                  <a:pt x="784958" y="3693540"/>
                </a:cubicBezTo>
                <a:cubicBezTo>
                  <a:pt x="749282" y="3458385"/>
                  <a:pt x="946712" y="3399594"/>
                  <a:pt x="892811" y="3119611"/>
                </a:cubicBezTo>
                <a:lnTo>
                  <a:pt x="0" y="3119611"/>
                </a:lnTo>
                <a:lnTo>
                  <a:pt x="0" y="2203607"/>
                </a:lnTo>
                <a:cubicBezTo>
                  <a:pt x="285884" y="2145799"/>
                  <a:pt x="343730" y="2346665"/>
                  <a:pt x="580754" y="2310706"/>
                </a:cubicBezTo>
                <a:cubicBezTo>
                  <a:pt x="768562" y="2296698"/>
                  <a:pt x="884451" y="2134163"/>
                  <a:pt x="889213" y="1980302"/>
                </a:cubicBezTo>
                <a:cubicBezTo>
                  <a:pt x="886038" y="1845149"/>
                  <a:pt x="766288" y="1645618"/>
                  <a:pt x="542655" y="1644031"/>
                </a:cubicBezTo>
                <a:cubicBezTo>
                  <a:pt x="268493" y="1672188"/>
                  <a:pt x="312817" y="1807984"/>
                  <a:pt x="0" y="1792208"/>
                </a:cubicBezTo>
                <a:lnTo>
                  <a:pt x="0" y="887363"/>
                </a:lnTo>
                <a:lnTo>
                  <a:pt x="928847" y="887363"/>
                </a:lnTo>
                <a:cubicBezTo>
                  <a:pt x="944034" y="576570"/>
                  <a:pt x="808718" y="620178"/>
                  <a:pt x="780616" y="346558"/>
                </a:cubicBezTo>
                <a:cubicBezTo>
                  <a:pt x="782203" y="122925"/>
                  <a:pt x="981734" y="3175"/>
                  <a:pt x="1116887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55" name="Rectangle 9">
            <a:extLst>
              <a:ext uri="{FF2B5EF4-FFF2-40B4-BE49-F238E27FC236}">
                <a16:creationId xmlns:a16="http://schemas.microsoft.com/office/drawing/2014/main" xmlns="" id="{2940671D-0105-4B42-B5C5-E2DD01D1A6B0}"/>
              </a:ext>
            </a:extLst>
          </p:cNvPr>
          <p:cNvSpPr/>
          <p:nvPr/>
        </p:nvSpPr>
        <p:spPr>
          <a:xfrm>
            <a:off x="2511127" y="4282474"/>
            <a:ext cx="339147" cy="317472"/>
          </a:xfrm>
          <a:custGeom>
            <a:avLst/>
            <a:gdLst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833935 w 3239999"/>
              <a:gd name="connsiteY0" fmla="*/ 22 h 3032924"/>
              <a:gd name="connsiteX1" fmla="*/ 1576606 w 3239999"/>
              <a:gd name="connsiteY1" fmla="*/ 402054 h 3032924"/>
              <a:gd name="connsiteX2" fmla="*/ 1576606 w 3239999"/>
              <a:gd name="connsiteY2" fmla="*/ 430441 h 3032924"/>
              <a:gd name="connsiteX3" fmla="*/ 1576606 w 3239999"/>
              <a:gd name="connsiteY3" fmla="*/ 526981 h 3032924"/>
              <a:gd name="connsiteX4" fmla="*/ 1576606 w 3239999"/>
              <a:gd name="connsiteY4" fmla="*/ 2765302 h 3032924"/>
              <a:gd name="connsiteX5" fmla="*/ 378630 w 3239999"/>
              <a:gd name="connsiteY5" fmla="*/ 2472117 h 3032924"/>
              <a:gd name="connsiteX6" fmla="*/ 384918 w 3239999"/>
              <a:gd name="connsiteY6" fmla="*/ 526981 h 3032924"/>
              <a:gd name="connsiteX7" fmla="*/ 239143 w 3239999"/>
              <a:gd name="connsiteY7" fmla="*/ 526981 h 3032924"/>
              <a:gd name="connsiteX8" fmla="*/ 239143 w 3239999"/>
              <a:gd name="connsiteY8" fmla="*/ 2776423 h 3032924"/>
              <a:gd name="connsiteX9" fmla="*/ 1576606 w 3239999"/>
              <a:gd name="connsiteY9" fmla="*/ 2776423 h 3032924"/>
              <a:gd name="connsiteX10" fmla="*/ 1576606 w 3239999"/>
              <a:gd name="connsiteY10" fmla="*/ 2778202 h 3032924"/>
              <a:gd name="connsiteX11" fmla="*/ 1663394 w 3239999"/>
              <a:gd name="connsiteY11" fmla="*/ 2778202 h 3032924"/>
              <a:gd name="connsiteX12" fmla="*/ 1663394 w 3239999"/>
              <a:gd name="connsiteY12" fmla="*/ 2776423 h 3032924"/>
              <a:gd name="connsiteX13" fmla="*/ 3000856 w 3239999"/>
              <a:gd name="connsiteY13" fmla="*/ 2776423 h 3032924"/>
              <a:gd name="connsiteX14" fmla="*/ 3000856 w 3239999"/>
              <a:gd name="connsiteY14" fmla="*/ 526981 h 3032924"/>
              <a:gd name="connsiteX15" fmla="*/ 2855082 w 3239999"/>
              <a:gd name="connsiteY15" fmla="*/ 526981 h 3032924"/>
              <a:gd name="connsiteX16" fmla="*/ 2861369 w 3239999"/>
              <a:gd name="connsiteY16" fmla="*/ 2472117 h 3032924"/>
              <a:gd name="connsiteX17" fmla="*/ 1663394 w 3239999"/>
              <a:gd name="connsiteY17" fmla="*/ 2765302 h 3032924"/>
              <a:gd name="connsiteX18" fmla="*/ 1663394 w 3239999"/>
              <a:gd name="connsiteY18" fmla="*/ 526981 h 3032924"/>
              <a:gd name="connsiteX19" fmla="*/ 1663394 w 3239999"/>
              <a:gd name="connsiteY19" fmla="*/ 430441 h 3032924"/>
              <a:gd name="connsiteX20" fmla="*/ 1663394 w 3239999"/>
              <a:gd name="connsiteY20" fmla="*/ 402054 h 3032924"/>
              <a:gd name="connsiteX21" fmla="*/ 2406065 w 3239999"/>
              <a:gd name="connsiteY21" fmla="*/ 22 h 3032924"/>
              <a:gd name="connsiteX22" fmla="*/ 2853673 w 3239999"/>
              <a:gd name="connsiteY22" fmla="*/ 91100 h 3032924"/>
              <a:gd name="connsiteX23" fmla="*/ 2854770 w 3239999"/>
              <a:gd name="connsiteY23" fmla="*/ 430441 h 3032924"/>
              <a:gd name="connsiteX24" fmla="*/ 3120669 w 3239999"/>
              <a:gd name="connsiteY24" fmla="*/ 428517 h 3032924"/>
              <a:gd name="connsiteX25" fmla="*/ 3120669 w 3239999"/>
              <a:gd name="connsiteY25" fmla="*/ 738345 h 3032924"/>
              <a:gd name="connsiteX26" fmla="*/ 3239999 w 3239999"/>
              <a:gd name="connsiteY26" fmla="*/ 738345 h 3032924"/>
              <a:gd name="connsiteX27" fmla="*/ 3239999 w 3239999"/>
              <a:gd name="connsiteY27" fmla="*/ 3032924 h 3032924"/>
              <a:gd name="connsiteX28" fmla="*/ 0 w 3239999"/>
              <a:gd name="connsiteY28" fmla="*/ 3032924 h 3032924"/>
              <a:gd name="connsiteX29" fmla="*/ 0 w 3239999"/>
              <a:gd name="connsiteY29" fmla="*/ 738345 h 3032924"/>
              <a:gd name="connsiteX30" fmla="*/ 102477 w 3239999"/>
              <a:gd name="connsiteY30" fmla="*/ 738345 h 3032924"/>
              <a:gd name="connsiteX31" fmla="*/ 102477 w 3239999"/>
              <a:gd name="connsiteY31" fmla="*/ 428517 h 3032924"/>
              <a:gd name="connsiteX32" fmla="*/ 385229 w 3239999"/>
              <a:gd name="connsiteY32" fmla="*/ 430441 h 3032924"/>
              <a:gd name="connsiteX33" fmla="*/ 386326 w 3239999"/>
              <a:gd name="connsiteY33" fmla="*/ 91100 h 3032924"/>
              <a:gd name="connsiteX34" fmla="*/ 833935 w 3239999"/>
              <a:gd name="connsiteY34" fmla="*/ 2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34" fmla="*/ 1668046 w 3239999"/>
              <a:gd name="connsiteY34" fmla="*/ 2869642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39143 w 3239999"/>
              <a:gd name="connsiteY32" fmla="*/ 2776423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3000856 w 3239999"/>
              <a:gd name="connsiteY3" fmla="*/ 2776423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  <a:gd name="connsiteX0" fmla="*/ 1576606 w 3239999"/>
              <a:gd name="connsiteY0" fmla="*/ 2778202 h 3032924"/>
              <a:gd name="connsiteX1" fmla="*/ 1663394 w 3239999"/>
              <a:gd name="connsiteY1" fmla="*/ 2778202 h 3032924"/>
              <a:gd name="connsiteX2" fmla="*/ 1663394 w 3239999"/>
              <a:gd name="connsiteY2" fmla="*/ 2776423 h 3032924"/>
              <a:gd name="connsiteX3" fmla="*/ 2991331 w 3239999"/>
              <a:gd name="connsiteY3" fmla="*/ 2709748 h 3032924"/>
              <a:gd name="connsiteX4" fmla="*/ 3000856 w 3239999"/>
              <a:gd name="connsiteY4" fmla="*/ 526981 h 3032924"/>
              <a:gd name="connsiteX5" fmla="*/ 2855082 w 3239999"/>
              <a:gd name="connsiteY5" fmla="*/ 526981 h 3032924"/>
              <a:gd name="connsiteX6" fmla="*/ 2861369 w 3239999"/>
              <a:gd name="connsiteY6" fmla="*/ 2472117 h 3032924"/>
              <a:gd name="connsiteX7" fmla="*/ 1663394 w 3239999"/>
              <a:gd name="connsiteY7" fmla="*/ 2765302 h 3032924"/>
              <a:gd name="connsiteX8" fmla="*/ 1663394 w 3239999"/>
              <a:gd name="connsiteY8" fmla="*/ 526981 h 3032924"/>
              <a:gd name="connsiteX9" fmla="*/ 1663394 w 3239999"/>
              <a:gd name="connsiteY9" fmla="*/ 430441 h 3032924"/>
              <a:gd name="connsiteX10" fmla="*/ 1663394 w 3239999"/>
              <a:gd name="connsiteY10" fmla="*/ 402054 h 3032924"/>
              <a:gd name="connsiteX11" fmla="*/ 2406065 w 3239999"/>
              <a:gd name="connsiteY11" fmla="*/ 22 h 3032924"/>
              <a:gd name="connsiteX12" fmla="*/ 2853673 w 3239999"/>
              <a:gd name="connsiteY12" fmla="*/ 91100 h 3032924"/>
              <a:gd name="connsiteX13" fmla="*/ 2854770 w 3239999"/>
              <a:gd name="connsiteY13" fmla="*/ 430441 h 3032924"/>
              <a:gd name="connsiteX14" fmla="*/ 3120669 w 3239999"/>
              <a:gd name="connsiteY14" fmla="*/ 428517 h 3032924"/>
              <a:gd name="connsiteX15" fmla="*/ 3120669 w 3239999"/>
              <a:gd name="connsiteY15" fmla="*/ 738345 h 3032924"/>
              <a:gd name="connsiteX16" fmla="*/ 3239999 w 3239999"/>
              <a:gd name="connsiteY16" fmla="*/ 738345 h 3032924"/>
              <a:gd name="connsiteX17" fmla="*/ 3239999 w 3239999"/>
              <a:gd name="connsiteY17" fmla="*/ 3032924 h 3032924"/>
              <a:gd name="connsiteX18" fmla="*/ 0 w 3239999"/>
              <a:gd name="connsiteY18" fmla="*/ 3032924 h 3032924"/>
              <a:gd name="connsiteX19" fmla="*/ 0 w 3239999"/>
              <a:gd name="connsiteY19" fmla="*/ 738345 h 3032924"/>
              <a:gd name="connsiteX20" fmla="*/ 102477 w 3239999"/>
              <a:gd name="connsiteY20" fmla="*/ 738345 h 3032924"/>
              <a:gd name="connsiteX21" fmla="*/ 102477 w 3239999"/>
              <a:gd name="connsiteY21" fmla="*/ 428517 h 3032924"/>
              <a:gd name="connsiteX22" fmla="*/ 385229 w 3239999"/>
              <a:gd name="connsiteY22" fmla="*/ 430441 h 3032924"/>
              <a:gd name="connsiteX23" fmla="*/ 386326 w 3239999"/>
              <a:gd name="connsiteY23" fmla="*/ 91100 h 3032924"/>
              <a:gd name="connsiteX24" fmla="*/ 833935 w 3239999"/>
              <a:gd name="connsiteY24" fmla="*/ 22 h 3032924"/>
              <a:gd name="connsiteX25" fmla="*/ 1576606 w 3239999"/>
              <a:gd name="connsiteY25" fmla="*/ 402054 h 3032924"/>
              <a:gd name="connsiteX26" fmla="*/ 1576606 w 3239999"/>
              <a:gd name="connsiteY26" fmla="*/ 430441 h 3032924"/>
              <a:gd name="connsiteX27" fmla="*/ 1576606 w 3239999"/>
              <a:gd name="connsiteY27" fmla="*/ 526981 h 3032924"/>
              <a:gd name="connsiteX28" fmla="*/ 1576606 w 3239999"/>
              <a:gd name="connsiteY28" fmla="*/ 2765302 h 3032924"/>
              <a:gd name="connsiteX29" fmla="*/ 378630 w 3239999"/>
              <a:gd name="connsiteY29" fmla="*/ 2472117 h 3032924"/>
              <a:gd name="connsiteX30" fmla="*/ 384918 w 3239999"/>
              <a:gd name="connsiteY30" fmla="*/ 526981 h 3032924"/>
              <a:gd name="connsiteX31" fmla="*/ 239143 w 3239999"/>
              <a:gd name="connsiteY31" fmla="*/ 526981 h 3032924"/>
              <a:gd name="connsiteX32" fmla="*/ 229618 w 3239999"/>
              <a:gd name="connsiteY32" fmla="*/ 2690698 h 3032924"/>
              <a:gd name="connsiteX33" fmla="*/ 1576606 w 3239999"/>
              <a:gd name="connsiteY33" fmla="*/ 2776423 h 3032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3239999" h="3032924">
                <a:moveTo>
                  <a:pt x="1576606" y="2778202"/>
                </a:moveTo>
                <a:cubicBezTo>
                  <a:pt x="1576606" y="2778795"/>
                  <a:pt x="1663394" y="2792670"/>
                  <a:pt x="1663394" y="2778202"/>
                </a:cubicBezTo>
                <a:lnTo>
                  <a:pt x="1663394" y="2776423"/>
                </a:lnTo>
                <a:cubicBezTo>
                  <a:pt x="2185083" y="2605634"/>
                  <a:pt x="2444552" y="2500589"/>
                  <a:pt x="2991331" y="2709748"/>
                </a:cubicBezTo>
                <a:lnTo>
                  <a:pt x="3000856" y="526981"/>
                </a:lnTo>
                <a:lnTo>
                  <a:pt x="2855082" y="526981"/>
                </a:lnTo>
                <a:cubicBezTo>
                  <a:pt x="2857178" y="1175360"/>
                  <a:pt x="2859273" y="1823738"/>
                  <a:pt x="2861369" y="2472117"/>
                </a:cubicBezTo>
                <a:cubicBezTo>
                  <a:pt x="2483869" y="2318121"/>
                  <a:pt x="2052449" y="2439541"/>
                  <a:pt x="1663394" y="2765302"/>
                </a:cubicBezTo>
                <a:lnTo>
                  <a:pt x="1663394" y="526981"/>
                </a:lnTo>
                <a:lnTo>
                  <a:pt x="1663394" y="430441"/>
                </a:lnTo>
                <a:lnTo>
                  <a:pt x="1663394" y="402054"/>
                </a:lnTo>
                <a:cubicBezTo>
                  <a:pt x="1896442" y="149589"/>
                  <a:pt x="2115835" y="2106"/>
                  <a:pt x="2406065" y="22"/>
                </a:cubicBezTo>
                <a:cubicBezTo>
                  <a:pt x="2537987" y="-925"/>
                  <a:pt x="2684544" y="28169"/>
                  <a:pt x="2853673" y="91100"/>
                </a:cubicBezTo>
                <a:cubicBezTo>
                  <a:pt x="2854039" y="204214"/>
                  <a:pt x="2854404" y="317327"/>
                  <a:pt x="2854770" y="430441"/>
                </a:cubicBezTo>
                <a:lnTo>
                  <a:pt x="3120669" y="428517"/>
                </a:lnTo>
                <a:lnTo>
                  <a:pt x="3120669" y="738345"/>
                </a:lnTo>
                <a:lnTo>
                  <a:pt x="3239999" y="738345"/>
                </a:lnTo>
                <a:lnTo>
                  <a:pt x="3239999" y="3032924"/>
                </a:lnTo>
                <a:lnTo>
                  <a:pt x="0" y="3032924"/>
                </a:lnTo>
                <a:lnTo>
                  <a:pt x="0" y="738345"/>
                </a:lnTo>
                <a:lnTo>
                  <a:pt x="102477" y="738345"/>
                </a:lnTo>
                <a:lnTo>
                  <a:pt x="102477" y="428517"/>
                </a:lnTo>
                <a:lnTo>
                  <a:pt x="385229" y="430441"/>
                </a:lnTo>
                <a:cubicBezTo>
                  <a:pt x="385595" y="317327"/>
                  <a:pt x="385960" y="204214"/>
                  <a:pt x="386326" y="91100"/>
                </a:cubicBezTo>
                <a:cubicBezTo>
                  <a:pt x="555455" y="28169"/>
                  <a:pt x="702013" y="-925"/>
                  <a:pt x="833935" y="22"/>
                </a:cubicBezTo>
                <a:cubicBezTo>
                  <a:pt x="1124164" y="2106"/>
                  <a:pt x="1343558" y="149589"/>
                  <a:pt x="1576606" y="402054"/>
                </a:cubicBezTo>
                <a:lnTo>
                  <a:pt x="1576606" y="430441"/>
                </a:lnTo>
                <a:lnTo>
                  <a:pt x="1576606" y="526981"/>
                </a:lnTo>
                <a:lnTo>
                  <a:pt x="1576606" y="2765302"/>
                </a:lnTo>
                <a:cubicBezTo>
                  <a:pt x="1187550" y="2439541"/>
                  <a:pt x="756130" y="2318121"/>
                  <a:pt x="378630" y="2472117"/>
                </a:cubicBezTo>
                <a:lnTo>
                  <a:pt x="384918" y="526981"/>
                </a:lnTo>
                <a:lnTo>
                  <a:pt x="239143" y="526981"/>
                </a:lnTo>
                <a:lnTo>
                  <a:pt x="229618" y="2690698"/>
                </a:lnTo>
                <a:cubicBezTo>
                  <a:pt x="773243" y="2466244"/>
                  <a:pt x="1081748" y="2626096"/>
                  <a:pt x="1576606" y="2776423"/>
                </a:cubicBezTo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7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B883CC1E-1C79-4EA6-9955-DAA1C66E83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462" t="19968" r="55889" b="15736"/>
          <a:stretch/>
        </p:blipFill>
        <p:spPr>
          <a:xfrm>
            <a:off x="8924348" y="2794057"/>
            <a:ext cx="2025226" cy="2473744"/>
          </a:xfrm>
          <a:prstGeom prst="rect">
            <a:avLst/>
          </a:prstGeom>
        </p:spPr>
      </p:pic>
      <p:pic>
        <p:nvPicPr>
          <p:cNvPr id="27" name="Picture 5">
            <a:extLst>
              <a:ext uri="{FF2B5EF4-FFF2-40B4-BE49-F238E27FC236}">
                <a16:creationId xmlns:a16="http://schemas.microsoft.com/office/drawing/2014/main" xmlns="" id="{B4715B23-6790-4B95-92EE-F9C2F3D8275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436379" y="224736"/>
            <a:ext cx="1828816" cy="579781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9C963E49-5F62-4884-B55B-97AA11DE8400}"/>
              </a:ext>
            </a:extLst>
          </p:cNvPr>
          <p:cNvSpPr/>
          <p:nvPr/>
        </p:nvSpPr>
        <p:spPr>
          <a:xfrm>
            <a:off x="0" y="6551811"/>
            <a:ext cx="12192000" cy="306189"/>
          </a:xfrm>
          <a:prstGeom prst="rect">
            <a:avLst/>
          </a:prstGeom>
          <a:solidFill>
            <a:srgbClr val="CB3D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25ECD90D-6CA6-452D-816D-BBE1F39D5930}"/>
              </a:ext>
            </a:extLst>
          </p:cNvPr>
          <p:cNvSpPr/>
          <p:nvPr/>
        </p:nvSpPr>
        <p:spPr>
          <a:xfrm>
            <a:off x="2086577" y="453722"/>
            <a:ext cx="9123876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n-ID" sz="2400" b="1" dirty="0">
                <a:latin typeface="Bookman Old Style" panose="02050604050505020204" pitchFamily="18" charset="0"/>
              </a:rPr>
              <a:t>PENANGANAN LAPORAN </a:t>
            </a:r>
          </a:p>
          <a:p>
            <a:pPr lvl="0" algn="r"/>
            <a:r>
              <a:rPr lang="en-ID" sz="2400" b="1" dirty="0">
                <a:latin typeface="Bookman Old Style" panose="02050604050505020204" pitchFamily="18" charset="0"/>
              </a:rPr>
              <a:t>PELANGGARAN NETRALITAS ASN</a:t>
            </a:r>
          </a:p>
          <a:p>
            <a:pPr lvl="0" algn="r"/>
            <a:r>
              <a:rPr lang="en-ID" sz="2000" b="1" dirty="0">
                <a:latin typeface="Bookman Old Style" panose="02050604050505020204" pitchFamily="18" charset="0"/>
              </a:rPr>
              <a:t>MELALUI APLIKASI SISTEM BERBAGI TERINTEGRASI (SBT)</a:t>
            </a:r>
            <a:endParaRPr lang="en-ID" sz="2000" dirty="0">
              <a:latin typeface="Bookman Old Style" panose="02050604050505020204" pitchFamily="18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xmlns="" id="{1B77B324-CB50-4EFA-AD16-41A6BD69164E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165773" y="5837433"/>
            <a:ext cx="2239569" cy="571725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A19773CD-B0CF-4919-A0E5-AF68654BF11E}"/>
              </a:ext>
            </a:extLst>
          </p:cNvPr>
          <p:cNvSpPr/>
          <p:nvPr/>
        </p:nvSpPr>
        <p:spPr>
          <a:xfrm>
            <a:off x="2086576" y="3288524"/>
            <a:ext cx="6835996" cy="584775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lvl="0"/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oordinas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Tim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Satgas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lam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rangka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laksanak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angan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lapor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uga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langgar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netralitas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gawa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AS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26661207-27E7-46AF-8ACC-9903B208D01B}"/>
              </a:ext>
            </a:extLst>
          </p:cNvPr>
          <p:cNvSpPr/>
          <p:nvPr/>
        </p:nvSpPr>
        <p:spPr>
          <a:xfrm>
            <a:off x="2848498" y="4128256"/>
            <a:ext cx="60740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laksana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monitoring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evaluas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terhadap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data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informas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yang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bersumber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r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SBT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24B6AE8C-2518-4941-922D-523DD24046B5}"/>
              </a:ext>
            </a:extLst>
          </p:cNvPr>
          <p:cNvSpPr/>
          <p:nvPr/>
        </p:nvSpPr>
        <p:spPr>
          <a:xfrm>
            <a:off x="1297317" y="2435668"/>
            <a:ext cx="746072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yampai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data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informas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rkembang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hasil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angan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langgaran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netralitas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gawa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ASN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4DDAFD6C-EFDB-40A1-9ECE-A45EE9873F0F}"/>
              </a:ext>
            </a:extLst>
          </p:cNvPr>
          <p:cNvSpPr/>
          <p:nvPr/>
        </p:nvSpPr>
        <p:spPr>
          <a:xfrm>
            <a:off x="3698654" y="5038277"/>
            <a:ext cx="49881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Aplikasi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tersebut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pat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iakses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ada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  <a:hlinkClick r:id="rId5"/>
              </a:rPr>
              <a:t>http://sbt.bkn.go.id</a:t>
            </a:r>
            <a:r>
              <a:rPr lang="en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4735853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>
            <a:extLst>
              <a:ext uri="{FF2B5EF4-FFF2-40B4-BE49-F238E27FC236}">
                <a16:creationId xmlns:a16="http://schemas.microsoft.com/office/drawing/2014/main" xmlns="" id="{F4269C8B-DFB3-93F7-FA2B-001B7AB998FC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6258" y="211973"/>
            <a:ext cx="1695449" cy="5016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DC6416E-404F-391E-0C1C-B81D00449C3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84006"/>
            <a:ext cx="12192000" cy="47399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767FEFED-ADCF-5A0E-38C4-1B69CABA96A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50" t="34783" r="21168" b="45021"/>
          <a:stretch/>
        </p:blipFill>
        <p:spPr>
          <a:xfrm>
            <a:off x="10676131" y="211973"/>
            <a:ext cx="964382" cy="48517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D387782-623D-CEFA-D654-10791E3DAE4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0773" t="13883" r="32345" b="14639"/>
          <a:stretch/>
        </p:blipFill>
        <p:spPr>
          <a:xfrm>
            <a:off x="7529885" y="1372518"/>
            <a:ext cx="3772853" cy="4112963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E1AA8841-2511-A48F-C3B1-C125361A2F3D}"/>
              </a:ext>
            </a:extLst>
          </p:cNvPr>
          <p:cNvGrpSpPr/>
          <p:nvPr/>
        </p:nvGrpSpPr>
        <p:grpSpPr>
          <a:xfrm>
            <a:off x="5697724" y="3055943"/>
            <a:ext cx="1147650" cy="484632"/>
            <a:chOff x="3139126" y="3930977"/>
            <a:chExt cx="1147650" cy="484632"/>
          </a:xfrm>
          <a:noFill/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xmlns="" id="{22A89D58-F7C8-D494-0A10-19039E00E2CA}"/>
                </a:ext>
              </a:extLst>
            </p:cNvPr>
            <p:cNvSpPr/>
            <p:nvPr/>
          </p:nvSpPr>
          <p:spPr>
            <a:xfrm>
              <a:off x="3139126" y="3930977"/>
              <a:ext cx="484632" cy="484632"/>
            </a:xfrm>
            <a:prstGeom prst="chevron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xmlns="" id="{503CF204-154E-38CE-C1CE-53F7098EB4E6}"/>
                </a:ext>
              </a:extLst>
            </p:cNvPr>
            <p:cNvSpPr/>
            <p:nvPr/>
          </p:nvSpPr>
          <p:spPr>
            <a:xfrm>
              <a:off x="3470635" y="3930977"/>
              <a:ext cx="484632" cy="484632"/>
            </a:xfrm>
            <a:prstGeom prst="chevron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xmlns="" id="{D37DD427-3D6E-BC22-993F-37F4C1E31414}"/>
                </a:ext>
              </a:extLst>
            </p:cNvPr>
            <p:cNvSpPr/>
            <p:nvPr/>
          </p:nvSpPr>
          <p:spPr>
            <a:xfrm>
              <a:off x="3802144" y="3930977"/>
              <a:ext cx="484632" cy="484632"/>
            </a:xfrm>
            <a:prstGeom prst="chevron">
              <a:avLst/>
            </a:prstGeom>
            <a:grp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D">
                <a:solidFill>
                  <a:schemeClr val="tx1"/>
                </a:solidFill>
              </a:endParaRPr>
            </a:p>
          </p:txBody>
        </p:sp>
      </p:grpSp>
      <p:pic>
        <p:nvPicPr>
          <p:cNvPr id="1028" name="Picture 4" descr="LOGO BAWASLU – Badan Pengawas Pemilihan Umum Kabupaten ...">
            <a:extLst>
              <a:ext uri="{FF2B5EF4-FFF2-40B4-BE49-F238E27FC236}">
                <a16:creationId xmlns:a16="http://schemas.microsoft.com/office/drawing/2014/main" xmlns="" id="{25287BE8-15D3-A4DD-6376-EACBF2786FB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12" b="31009"/>
          <a:stretch/>
        </p:blipFill>
        <p:spPr bwMode="auto">
          <a:xfrm>
            <a:off x="1757161" y="1944690"/>
            <a:ext cx="2456272" cy="650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EAEA0497-2948-33AA-A7C7-47277F36D7C9}"/>
              </a:ext>
            </a:extLst>
          </p:cNvPr>
          <p:cNvSpPr/>
          <p:nvPr/>
        </p:nvSpPr>
        <p:spPr>
          <a:xfrm>
            <a:off x="1125408" y="2643970"/>
            <a:ext cx="3930978" cy="2143572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dirty="0"/>
              <a:t>Data dan </a:t>
            </a:r>
            <a:r>
              <a:rPr lang="en-US" dirty="0" err="1"/>
              <a:t>informasi</a:t>
            </a:r>
            <a:r>
              <a:rPr lang="en-US" dirty="0"/>
              <a:t> </a:t>
            </a:r>
            <a:r>
              <a:rPr lang="en-US" dirty="0" err="1"/>
              <a:t>hasil</a:t>
            </a:r>
            <a:r>
              <a:rPr lang="en-US" dirty="0"/>
              <a:t> </a:t>
            </a:r>
            <a:r>
              <a:rPr lang="en-US" dirty="0" err="1"/>
              <a:t>penanganan</a:t>
            </a:r>
            <a:r>
              <a:rPr lang="en-US" dirty="0"/>
              <a:t> </a:t>
            </a:r>
            <a:r>
              <a:rPr lang="en-US" dirty="0" err="1"/>
              <a:t>pelanggaran</a:t>
            </a:r>
            <a:r>
              <a:rPr lang="en-US" dirty="0"/>
              <a:t> </a:t>
            </a:r>
            <a:r>
              <a:rPr lang="en-US" dirty="0" err="1"/>
              <a:t>netralitas</a:t>
            </a:r>
            <a:r>
              <a:rPr lang="en-US" dirty="0"/>
              <a:t> </a:t>
            </a:r>
            <a:r>
              <a:rPr lang="en-US" dirty="0" err="1"/>
              <a:t>Pegawai</a:t>
            </a:r>
            <a:r>
              <a:rPr lang="en-US" dirty="0"/>
              <a:t> ASN </a:t>
            </a:r>
            <a:r>
              <a:rPr lang="en-US" dirty="0" err="1"/>
              <a:t>termasuk</a:t>
            </a:r>
            <a:r>
              <a:rPr lang="en-US" dirty="0"/>
              <a:t> data yang </a:t>
            </a:r>
            <a:r>
              <a:rPr lang="en-US" dirty="0" err="1"/>
              <a:t>terbukti</a:t>
            </a:r>
            <a:r>
              <a:rPr lang="en-US" dirty="0"/>
              <a:t> </a:t>
            </a:r>
            <a:r>
              <a:rPr lang="en-US" dirty="0" err="1"/>
              <a:t>melanggar</a:t>
            </a:r>
            <a:r>
              <a:rPr lang="en-US" dirty="0"/>
              <a:t> </a:t>
            </a:r>
            <a:r>
              <a:rPr lang="en-US" dirty="0" err="1"/>
              <a:t>tindak</a:t>
            </a:r>
            <a:r>
              <a:rPr lang="en-US" dirty="0"/>
              <a:t> </a:t>
            </a:r>
            <a:r>
              <a:rPr lang="en-US" dirty="0" err="1"/>
              <a:t>pidana</a:t>
            </a:r>
            <a:r>
              <a:rPr lang="en-US" dirty="0"/>
              <a:t> </a:t>
            </a:r>
            <a:r>
              <a:rPr lang="en-US" dirty="0" err="1"/>
              <a:t>Pemilu</a:t>
            </a:r>
            <a:r>
              <a:rPr lang="en-US" dirty="0"/>
              <a:t> dan </a:t>
            </a:r>
            <a:r>
              <a:rPr lang="en-US" dirty="0" err="1"/>
              <a:t>Pemilihan</a:t>
            </a:r>
            <a:r>
              <a:rPr lang="en-US" dirty="0"/>
              <a:t> </a:t>
            </a:r>
            <a:r>
              <a:rPr lang="en-US" dirty="0" err="1"/>
              <a:t>disampaikan</a:t>
            </a:r>
            <a:r>
              <a:rPr lang="en-US" dirty="0"/>
              <a:t> </a:t>
            </a:r>
            <a:r>
              <a:rPr lang="en-US" dirty="0" err="1"/>
              <a:t>kepada</a:t>
            </a:r>
            <a:r>
              <a:rPr lang="en-US" dirty="0"/>
              <a:t> </a:t>
            </a:r>
            <a:r>
              <a:rPr lang="en-US" dirty="0" err="1"/>
              <a:t>Satgas</a:t>
            </a:r>
            <a:r>
              <a:rPr lang="en-US" dirty="0"/>
              <a:t> </a:t>
            </a:r>
            <a:r>
              <a:rPr lang="en-US" dirty="0" err="1"/>
              <a:t>melalui</a:t>
            </a:r>
            <a:r>
              <a:rPr lang="en-US" dirty="0"/>
              <a:t> </a:t>
            </a:r>
            <a:r>
              <a:rPr lang="en-US" b="1" dirty="0" err="1"/>
              <a:t>Sistem</a:t>
            </a:r>
            <a:r>
              <a:rPr lang="en-US" b="1" dirty="0"/>
              <a:t> </a:t>
            </a:r>
            <a:r>
              <a:rPr lang="en-US" b="1" dirty="0" err="1"/>
              <a:t>Berbagi</a:t>
            </a:r>
            <a:r>
              <a:rPr lang="en-US" b="1" dirty="0"/>
              <a:t> </a:t>
            </a:r>
            <a:r>
              <a:rPr lang="en-US" b="1" dirty="0" err="1"/>
              <a:t>Terintegrasi</a:t>
            </a:r>
            <a:r>
              <a:rPr lang="en-US" b="1" dirty="0"/>
              <a:t> </a:t>
            </a:r>
            <a:r>
              <a:rPr lang="en-US" b="1" dirty="0" err="1"/>
              <a:t>atau</a:t>
            </a:r>
            <a:r>
              <a:rPr lang="en-US" b="1" dirty="0"/>
              <a:t> SBT </a:t>
            </a:r>
            <a:r>
              <a:rPr lang="en-US" dirty="0" err="1"/>
              <a:t>dengan</a:t>
            </a:r>
            <a:r>
              <a:rPr lang="en-US" dirty="0"/>
              <a:t> </a:t>
            </a:r>
            <a:r>
              <a:rPr lang="en-US" dirty="0" err="1"/>
              <a:t>alamat</a:t>
            </a:r>
            <a:r>
              <a:rPr lang="en-US" dirty="0"/>
              <a:t> </a:t>
            </a: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sbt.bkn.go.id </a:t>
            </a:r>
            <a:endParaRPr lang="en-ID" b="1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5733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1E5A3702-2CA7-44F7-A6E6-CB14157FA8A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617" t="25890" r="26529" b="12882"/>
          <a:stretch/>
        </p:blipFill>
        <p:spPr>
          <a:xfrm>
            <a:off x="1240970" y="623825"/>
            <a:ext cx="9232183" cy="5760180"/>
          </a:xfrm>
          <a:prstGeom prst="rect">
            <a:avLst/>
          </a:prstGeom>
        </p:spPr>
      </p:pic>
      <p:pic>
        <p:nvPicPr>
          <p:cNvPr id="48" name="object 4">
            <a:extLst>
              <a:ext uri="{FF2B5EF4-FFF2-40B4-BE49-F238E27FC236}">
                <a16:creationId xmlns:a16="http://schemas.microsoft.com/office/drawing/2014/main" xmlns="" id="{E68D65E0-CA9C-43E4-9DDE-EF6BC8765169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6258" y="231409"/>
            <a:ext cx="1695449" cy="501650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xmlns="" id="{9172F2AF-D0D4-4D2B-B86C-696F60920BE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51"/>
          <a:stretch/>
        </p:blipFill>
        <p:spPr>
          <a:xfrm>
            <a:off x="0" y="6451600"/>
            <a:ext cx="12192000" cy="4064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4CC3FCA-7568-4C67-BF63-1C8BBDC9988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84006"/>
            <a:ext cx="12192000" cy="47399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4B42661B-7C90-4891-BED4-4020DEFEE4C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250" t="34783" r="21168" b="45021"/>
          <a:stretch/>
        </p:blipFill>
        <p:spPr>
          <a:xfrm>
            <a:off x="10676131" y="231409"/>
            <a:ext cx="964382" cy="485171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59B9B341-087E-466D-B903-D85ED5342DE0}"/>
              </a:ext>
            </a:extLst>
          </p:cNvPr>
          <p:cNvSpPr/>
          <p:nvPr/>
        </p:nvSpPr>
        <p:spPr>
          <a:xfrm>
            <a:off x="7496549" y="5288380"/>
            <a:ext cx="4467486" cy="707886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SKB 5 SATGAS NETRALITAS TAHUN 2022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latin typeface="Arial Narrow" panose="020B0606020202030204" pitchFamily="34" charset="0"/>
              </a:rPr>
              <a:t>(BENTUK PELANGGARAN KODE ETIK)</a:t>
            </a:r>
            <a:endParaRPr lang="en-ID" sz="20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7174A856-FBCA-4C8C-BAAB-1A75F1B09E77}"/>
              </a:ext>
            </a:extLst>
          </p:cNvPr>
          <p:cNvSpPr/>
          <p:nvPr/>
        </p:nvSpPr>
        <p:spPr>
          <a:xfrm>
            <a:off x="196806" y="5020585"/>
            <a:ext cx="1974901" cy="1169551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r>
              <a:rPr lang="en-US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*</a:t>
            </a:r>
            <a:r>
              <a:rPr lang="en-US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Sanksi</a:t>
            </a:r>
            <a:r>
              <a:rPr lang="en-US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 Moral: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Pernyataan</a:t>
            </a:r>
            <a:r>
              <a:rPr lang="en-ID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ID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Secara</a:t>
            </a:r>
            <a:r>
              <a:rPr lang="en-ID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 Terbuka</a:t>
            </a:r>
          </a:p>
          <a:p>
            <a:pPr marL="342900" indent="-342900">
              <a:buFont typeface="+mj-lt"/>
              <a:buAutoNum type="arabicPeriod"/>
            </a:pPr>
            <a:r>
              <a:rPr lang="en-ID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Pernyataan</a:t>
            </a:r>
            <a:r>
              <a:rPr lang="en-ID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ID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Secara</a:t>
            </a:r>
            <a:r>
              <a:rPr lang="en-ID" sz="1400" b="1" dirty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en-ID" sz="14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Tertutup</a:t>
            </a:r>
            <a:endParaRPr lang="en-ID" sz="14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18" name="object 4">
            <a:extLst>
              <a:ext uri="{FF2B5EF4-FFF2-40B4-BE49-F238E27FC236}">
                <a16:creationId xmlns:a16="http://schemas.microsoft.com/office/drawing/2014/main" xmlns="" id="{40F2E44D-4D8C-4119-B612-BC06396FFDD5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6258" y="231408"/>
            <a:ext cx="1695449" cy="50165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51CCF0FF-197A-4896-BFA6-76A2540CA91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84005"/>
            <a:ext cx="12192000" cy="47399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3138A25B-BB0A-45F8-A9F8-0354ACAFA57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56250" t="34783" r="21168" b="45021"/>
          <a:stretch/>
        </p:blipFill>
        <p:spPr>
          <a:xfrm>
            <a:off x="10676131" y="231408"/>
            <a:ext cx="964382" cy="485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4269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EBC5BEFF-1632-4A02-ACE7-BEF06F6CFD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9018" t="23651" r="25447" b="12540"/>
          <a:stretch/>
        </p:blipFill>
        <p:spPr>
          <a:xfrm>
            <a:off x="1740626" y="0"/>
            <a:ext cx="8567514" cy="6753217"/>
          </a:xfrm>
          <a:prstGeom prst="rect">
            <a:avLst/>
          </a:prstGeom>
        </p:spPr>
      </p:pic>
      <p:pic>
        <p:nvPicPr>
          <p:cNvPr id="7" name="object 4">
            <a:extLst>
              <a:ext uri="{FF2B5EF4-FFF2-40B4-BE49-F238E27FC236}">
                <a16:creationId xmlns:a16="http://schemas.microsoft.com/office/drawing/2014/main" xmlns="" id="{A5EDD841-ECFB-49C9-8194-997026EF6531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6258" y="231408"/>
            <a:ext cx="1695449" cy="5016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E1E28AF9-3DF3-47AC-8D4C-F3CAF913D8F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50" t="34783" r="21168" b="45021"/>
          <a:stretch/>
        </p:blipFill>
        <p:spPr>
          <a:xfrm>
            <a:off x="10676131" y="231408"/>
            <a:ext cx="964382" cy="4851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77AE325E-B1EB-44C7-8717-63143C7DDD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7D263B0-EE9B-49B7-90CB-484AFF346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E3DB8C3-D920-4AB0-8F3B-AB5E9F65FF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14</a:t>
            </a:fld>
            <a:endParaRPr lang="en-ID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D90A29D7-1144-40DE-8BD1-81C72CA8511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755542" y="6102609"/>
            <a:ext cx="2548570" cy="65060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1413ACE3-9BAC-44D3-9004-F26E06EF896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931" y="6102609"/>
            <a:ext cx="1587729" cy="570673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E7D72BD-C82C-40F1-B2EF-13183C7CDCE9}"/>
              </a:ext>
            </a:extLst>
          </p:cNvPr>
          <p:cNvSpPr/>
          <p:nvPr/>
        </p:nvSpPr>
        <p:spPr>
          <a:xfrm>
            <a:off x="125193" y="3982093"/>
            <a:ext cx="4158343" cy="677108"/>
          </a:xfrm>
          <a:prstGeom prst="rect">
            <a:avLst/>
          </a:prstGeom>
          <a:solidFill>
            <a:srgbClr val="C00000"/>
          </a:solidFill>
        </p:spPr>
        <p:txBody>
          <a:bodyPr wrap="square">
            <a:spAutoFit/>
          </a:bodyPr>
          <a:lstStyle/>
          <a:p>
            <a:pPr algn="ctr"/>
            <a:r>
              <a:rPr lang="en-US" sz="1900" b="1" dirty="0">
                <a:solidFill>
                  <a:schemeClr val="bg1"/>
                </a:solidFill>
                <a:latin typeface="Arial Narrow" panose="020B0606020202030204" pitchFamily="34" charset="0"/>
              </a:rPr>
              <a:t>SKB 5 SATGAS NETRALITAS TAHUN 2022</a:t>
            </a:r>
          </a:p>
          <a:p>
            <a:pPr algn="ctr"/>
            <a:r>
              <a:rPr lang="en-US" sz="1900" b="1" dirty="0">
                <a:solidFill>
                  <a:schemeClr val="bg1"/>
                </a:solidFill>
                <a:latin typeface="Arial Narrow" panose="020B0606020202030204" pitchFamily="34" charset="0"/>
              </a:rPr>
              <a:t>(BENTUK PELANGGARAN DISIPLIN)</a:t>
            </a:r>
            <a:endParaRPr lang="en-ID" sz="19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03340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5CEBE067-FB3E-43DC-B8C3-17347D9957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8875" t="32889" r="12625" b="18321"/>
          <a:stretch/>
        </p:blipFill>
        <p:spPr>
          <a:xfrm>
            <a:off x="1154350" y="1171257"/>
            <a:ext cx="9780725" cy="55345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xmlns="" id="{90609CCA-C54F-43FE-93AE-16E437425A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E37F265C-1AEA-4434-A6B7-52D961B85F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A323C3A-A26E-4E05-AC7A-D5418CF4CE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F61E66-78AB-4813-8342-80A4486D90B9}" type="slidenum">
              <a:rPr lang="en-ID" smtClean="0"/>
              <a:t>15</a:t>
            </a:fld>
            <a:endParaRPr lang="en-ID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DA1E64B-3CD9-40C7-BA8A-E59E860E9316}"/>
              </a:ext>
            </a:extLst>
          </p:cNvPr>
          <p:cNvGrpSpPr/>
          <p:nvPr/>
        </p:nvGrpSpPr>
        <p:grpSpPr>
          <a:xfrm>
            <a:off x="5923664" y="6542103"/>
            <a:ext cx="6024526" cy="163739"/>
            <a:chOff x="582090" y="5070393"/>
            <a:chExt cx="11228564" cy="1527054"/>
          </a:xfrm>
        </p:grpSpPr>
        <p:sp>
          <p:nvSpPr>
            <p:cNvPr id="7" name="Pentagon 10">
              <a:extLst>
                <a:ext uri="{FF2B5EF4-FFF2-40B4-BE49-F238E27FC236}">
                  <a16:creationId xmlns:a16="http://schemas.microsoft.com/office/drawing/2014/main" xmlns="" id="{6A517FCB-CA69-4C93-BDD1-7DB2CA983CE1}"/>
                </a:ext>
              </a:extLst>
            </p:cNvPr>
            <p:cNvSpPr/>
            <p:nvPr/>
          </p:nvSpPr>
          <p:spPr>
            <a:xfrm rot="10800000">
              <a:off x="582090" y="5070394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EE6C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8" name="Pentagon 11">
              <a:extLst>
                <a:ext uri="{FF2B5EF4-FFF2-40B4-BE49-F238E27FC236}">
                  <a16:creationId xmlns:a16="http://schemas.microsoft.com/office/drawing/2014/main" xmlns="" id="{A95685D9-B8DD-403F-B9BC-388482F8D616}"/>
                </a:ext>
              </a:extLst>
            </p:cNvPr>
            <p:cNvSpPr/>
            <p:nvPr/>
          </p:nvSpPr>
          <p:spPr>
            <a:xfrm rot="10800000">
              <a:off x="2279163" y="5070396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B982D5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9" name="Pentagon 12">
              <a:extLst>
                <a:ext uri="{FF2B5EF4-FFF2-40B4-BE49-F238E27FC236}">
                  <a16:creationId xmlns:a16="http://schemas.microsoft.com/office/drawing/2014/main" xmlns="" id="{4031B1F6-33C0-4413-925D-0B255135D834}"/>
                </a:ext>
              </a:extLst>
            </p:cNvPr>
            <p:cNvSpPr/>
            <p:nvPr/>
          </p:nvSpPr>
          <p:spPr>
            <a:xfrm rot="10800000">
              <a:off x="3976236" y="5070394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6DB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0" name="Pentagon 13">
              <a:extLst>
                <a:ext uri="{FF2B5EF4-FFF2-40B4-BE49-F238E27FC236}">
                  <a16:creationId xmlns:a16="http://schemas.microsoft.com/office/drawing/2014/main" xmlns="" id="{D781F8BA-4661-489A-A50E-435B173FE1BF}"/>
                </a:ext>
              </a:extLst>
            </p:cNvPr>
            <p:cNvSpPr/>
            <p:nvPr/>
          </p:nvSpPr>
          <p:spPr>
            <a:xfrm rot="10800000">
              <a:off x="5673309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1" name="Pentagon 13">
              <a:extLst>
                <a:ext uri="{FF2B5EF4-FFF2-40B4-BE49-F238E27FC236}">
                  <a16:creationId xmlns:a16="http://schemas.microsoft.com/office/drawing/2014/main" xmlns="" id="{CC7B6ED4-B219-4DB3-9C1F-7CEE6075D8AB}"/>
                </a:ext>
              </a:extLst>
            </p:cNvPr>
            <p:cNvSpPr/>
            <p:nvPr/>
          </p:nvSpPr>
          <p:spPr>
            <a:xfrm rot="10800000">
              <a:off x="7370382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476AD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12" name="Pentagon 13">
              <a:extLst>
                <a:ext uri="{FF2B5EF4-FFF2-40B4-BE49-F238E27FC236}">
                  <a16:creationId xmlns:a16="http://schemas.microsoft.com/office/drawing/2014/main" xmlns="" id="{F621C35E-B5BB-4C60-9D0A-AF83F41D9245}"/>
                </a:ext>
              </a:extLst>
            </p:cNvPr>
            <p:cNvSpPr/>
            <p:nvPr/>
          </p:nvSpPr>
          <p:spPr>
            <a:xfrm rot="10800000">
              <a:off x="9067454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4DA2509-CDDC-40CC-B63B-B574C9509D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1880101" y="6090090"/>
            <a:ext cx="2548570" cy="65060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1A511DFD-7690-4E8B-8A6F-3ACA8B4F6A1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943" y="6053300"/>
            <a:ext cx="1587729" cy="570673"/>
          </a:xfrm>
          <a:prstGeom prst="rect">
            <a:avLst/>
          </a:prstGeom>
        </p:spPr>
      </p:pic>
      <p:pic>
        <p:nvPicPr>
          <p:cNvPr id="15" name="object 4">
            <a:extLst>
              <a:ext uri="{FF2B5EF4-FFF2-40B4-BE49-F238E27FC236}">
                <a16:creationId xmlns:a16="http://schemas.microsoft.com/office/drawing/2014/main" xmlns="" id="{A6B489AF-736A-4B5C-922C-7CA00E98622F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263505" y="303498"/>
            <a:ext cx="1695449" cy="50165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F15C26E3-FA42-4B1B-B06A-86720933881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5925" y="206044"/>
            <a:ext cx="1385573" cy="704529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95B290C2-3064-47ED-9CA4-569665E882CF}"/>
              </a:ext>
            </a:extLst>
          </p:cNvPr>
          <p:cNvSpPr/>
          <p:nvPr/>
        </p:nvSpPr>
        <p:spPr>
          <a:xfrm>
            <a:off x="2396616" y="702361"/>
            <a:ext cx="7398768" cy="67710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en-US" sz="2400" b="1" dirty="0"/>
              <a:t>TINGKAT &amp; JENIS HUKUMAN DISIPLIN</a:t>
            </a:r>
          </a:p>
          <a:p>
            <a:pPr algn="ctr"/>
            <a:r>
              <a:rPr lang="en-US" sz="1400" b="1" dirty="0"/>
              <a:t>(</a:t>
            </a:r>
            <a:r>
              <a:rPr lang="en-US" sz="1400" b="1" dirty="0" err="1"/>
              <a:t>Peraturan</a:t>
            </a:r>
            <a:r>
              <a:rPr lang="en-US" sz="1400" b="1" dirty="0"/>
              <a:t> </a:t>
            </a:r>
            <a:r>
              <a:rPr lang="en-US" sz="1400" b="1" dirty="0" err="1"/>
              <a:t>Pemerintah</a:t>
            </a:r>
            <a:r>
              <a:rPr lang="en-US" sz="1400" b="1" dirty="0"/>
              <a:t> </a:t>
            </a:r>
            <a:r>
              <a:rPr lang="en-US" sz="1400" b="1" dirty="0" err="1"/>
              <a:t>Nomor</a:t>
            </a:r>
            <a:r>
              <a:rPr lang="en-US" sz="1400" b="1" dirty="0"/>
              <a:t> 94 </a:t>
            </a:r>
            <a:r>
              <a:rPr lang="en-US" sz="1400" b="1" dirty="0" err="1"/>
              <a:t>Tahun</a:t>
            </a:r>
            <a:r>
              <a:rPr lang="en-US" sz="1400" b="1" dirty="0"/>
              <a:t> 2021 </a:t>
            </a:r>
            <a:r>
              <a:rPr lang="en-US" sz="1400" b="1" dirty="0" err="1"/>
              <a:t>tentang</a:t>
            </a:r>
            <a:r>
              <a:rPr lang="en-US" sz="1400" b="1" dirty="0"/>
              <a:t> </a:t>
            </a:r>
            <a:r>
              <a:rPr lang="en-US" sz="1400" b="1" dirty="0" err="1"/>
              <a:t>Disiplin</a:t>
            </a:r>
            <a:r>
              <a:rPr lang="en-US" sz="1400" b="1" dirty="0"/>
              <a:t> </a:t>
            </a:r>
            <a:r>
              <a:rPr lang="en-US" sz="1400" b="1" dirty="0" err="1"/>
              <a:t>Pegawai</a:t>
            </a:r>
            <a:r>
              <a:rPr lang="en-US" sz="1400" b="1" dirty="0"/>
              <a:t> Negeri </a:t>
            </a:r>
            <a:r>
              <a:rPr lang="en-US" sz="1400" b="1" dirty="0" err="1"/>
              <a:t>Sipil</a:t>
            </a:r>
            <a:r>
              <a:rPr lang="en-US" sz="1400" b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6664372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4">
            <a:extLst>
              <a:ext uri="{FF2B5EF4-FFF2-40B4-BE49-F238E27FC236}">
                <a16:creationId xmlns:a16="http://schemas.microsoft.com/office/drawing/2014/main" xmlns="" id="{0E60DB9E-A208-69A7-24D2-458D7B6F54A5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6258" y="298392"/>
            <a:ext cx="1695449" cy="5016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9578914-B5AB-C0BE-ADFE-FA2C539C677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84006"/>
            <a:ext cx="12192000" cy="47399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488F0C48-3AA3-A85C-B4DB-F68EBD7FC2B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50" t="34783" r="21168" b="45021"/>
          <a:stretch/>
        </p:blipFill>
        <p:spPr>
          <a:xfrm>
            <a:off x="10676131" y="211973"/>
            <a:ext cx="964382" cy="48517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C1220608-3B46-01C7-9ECE-2751B5FFA74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6973" t="30241" r="16447" b="19635"/>
          <a:stretch/>
        </p:blipFill>
        <p:spPr>
          <a:xfrm>
            <a:off x="721557" y="923424"/>
            <a:ext cx="10748886" cy="53564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2BA0ADE-1AFB-567F-D526-7CE17318F99E}"/>
              </a:ext>
            </a:extLst>
          </p:cNvPr>
          <p:cNvSpPr/>
          <p:nvPr/>
        </p:nvSpPr>
        <p:spPr>
          <a:xfrm>
            <a:off x="3665698" y="5126731"/>
            <a:ext cx="1668379" cy="433137"/>
          </a:xfrm>
          <a:prstGeom prst="rect">
            <a:avLst/>
          </a:prstGeom>
          <a:noFill/>
          <a:ln w="57150">
            <a:solidFill>
              <a:srgbClr val="FF0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2303412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867CADF4-2A82-0ABC-AB34-0E8DFE656C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589" t="20206" r="31031" b="6274"/>
          <a:stretch/>
        </p:blipFill>
        <p:spPr>
          <a:xfrm>
            <a:off x="7391244" y="2444625"/>
            <a:ext cx="3539682" cy="3374454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xmlns="" id="{88C94B6D-0972-4660-ABE9-18600B8998B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630" t="17707" r="18375" b="5488"/>
          <a:stretch/>
        </p:blipFill>
        <p:spPr>
          <a:xfrm rot="21024295">
            <a:off x="773490" y="2463443"/>
            <a:ext cx="3659547" cy="327381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  <p:sp>
        <p:nvSpPr>
          <p:cNvPr id="55" name="TextBox 5">
            <a:extLst>
              <a:ext uri="{FF2B5EF4-FFF2-40B4-BE49-F238E27FC236}">
                <a16:creationId xmlns:a16="http://schemas.microsoft.com/office/drawing/2014/main" xmlns="" id="{F11ABFBE-7021-4A43-AFD1-B4CE85F237CB}"/>
              </a:ext>
            </a:extLst>
          </p:cNvPr>
          <p:cNvSpPr txBox="1"/>
          <p:nvPr/>
        </p:nvSpPr>
        <p:spPr>
          <a:xfrm>
            <a:off x="2195630" y="881556"/>
            <a:ext cx="8238254" cy="1569532"/>
          </a:xfrm>
          <a:prstGeom prst="rect">
            <a:avLst/>
          </a:prstGeom>
          <a:solidFill>
            <a:srgbClr val="0036A2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lIns="0" tIns="0" rIns="0" bIns="0" rtlCol="0" anchor="t">
            <a:spAutoFit/>
          </a:bodyPr>
          <a:lstStyle/>
          <a:p>
            <a:pPr algn="ctr" defTabSz="609630">
              <a:spcAft>
                <a:spcPts val="400"/>
              </a:spcAft>
              <a:defRPr/>
            </a:pP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alam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laksana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mberi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jabat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Pembina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pegawai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aupu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jabat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yang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berwenang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mberik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2133" b="1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wajib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nggunakan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aplikasi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spc="75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i</a:t>
            </a:r>
            <a:r>
              <a:rPr lang="en-US" sz="1600" spc="75" dirty="0">
                <a:solidFill>
                  <a:schemeClr val="bg1"/>
                </a:solidFill>
                <a:latin typeface="Bookman Old Style" panose="02050604050505020204" pitchFamily="18" charset="0"/>
              </a:rPr>
              <a:t>-dis (integrated discipline)</a:t>
            </a:r>
            <a:r>
              <a:rPr lang="id-ID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, yang dapat diakses melalui</a:t>
            </a:r>
            <a:r>
              <a:rPr lang="en-US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2400" b="1" dirty="0">
                <a:solidFill>
                  <a:schemeClr val="bg1"/>
                </a:solidFill>
                <a:latin typeface="Bahnschrift SemiLight Condensed" panose="020B0502040204020203" pitchFamily="34" charset="0"/>
              </a:rPr>
              <a:t>https://idis-siasn.bkn.go.id</a:t>
            </a:r>
            <a:endParaRPr lang="en-ID" sz="2400" b="1" dirty="0">
              <a:solidFill>
                <a:schemeClr val="bg1"/>
              </a:solidFill>
              <a:latin typeface="Bahnschrift SemiLight Condensed" panose="020B0502040204020203" pitchFamily="34" charset="0"/>
            </a:endParaRPr>
          </a:p>
          <a:p>
            <a:pPr algn="ctr" defTabSz="609630">
              <a:spcAft>
                <a:spcPts val="400"/>
              </a:spcAft>
              <a:defRPr/>
            </a:pPr>
            <a:endParaRPr lang="en-US" sz="2133" b="1" spc="75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xmlns="" id="{1B8AA9E0-8EE0-44F5-90BC-E5D7EA148B5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200" y="127000"/>
            <a:ext cx="1913994" cy="585714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xmlns="" id="{A88943A4-8574-4E58-901A-3A90BD0D851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5611" t="23423" r="14027" b="5704"/>
          <a:stretch/>
        </p:blipFill>
        <p:spPr>
          <a:xfrm rot="521960">
            <a:off x="3958447" y="2554176"/>
            <a:ext cx="3769470" cy="3155353"/>
          </a:xfrm>
          <a:prstGeom prst="rect">
            <a:avLst/>
          </a:prstGeom>
          <a:ln>
            <a:solidFill>
              <a:srgbClr val="FFFF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DC22CCE0-55B2-4CE2-8704-1685510ABCEF}"/>
              </a:ext>
            </a:extLst>
          </p:cNvPr>
          <p:cNvSpPr/>
          <p:nvPr/>
        </p:nvSpPr>
        <p:spPr>
          <a:xfrm>
            <a:off x="1106815" y="2061746"/>
            <a:ext cx="10159999" cy="58477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 defTabSz="609630">
              <a:spcAft>
                <a:spcPts val="67"/>
              </a:spcAft>
              <a:defRPr/>
            </a:pP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dokumentasia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eputusa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Hukuma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termasuk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okume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lam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meriksaa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unggah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e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lam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istem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yang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terintegrasi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engan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istem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Informasi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Aparatur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ID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ipil</a:t>
            </a:r>
            <a:r>
              <a:rPr lang="en-ID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Negara.</a:t>
            </a:r>
            <a:endParaRPr lang="id-ID" sz="1600" i="1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xmlns="" id="{D1F79647-C86B-4831-AE11-6D31DF1A9C71}"/>
              </a:ext>
            </a:extLst>
          </p:cNvPr>
          <p:cNvSpPr/>
          <p:nvPr/>
        </p:nvSpPr>
        <p:spPr>
          <a:xfrm rot="527763">
            <a:off x="4445118" y="5726720"/>
            <a:ext cx="2775119" cy="30777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none">
            <a:spAutoFit/>
          </a:bodyPr>
          <a:lstStyle/>
          <a:p>
            <a:pPr defTabSz="609630">
              <a:defRPr/>
            </a:pPr>
            <a:r>
              <a:rPr lang="en-US" sz="1400" b="1" dirty="0">
                <a:solidFill>
                  <a:prstClr val="black"/>
                </a:solidFill>
                <a:latin typeface="Bookman Old Style" panose="02050604050505020204" pitchFamily="18" charset="0"/>
              </a:rPr>
              <a:t>PP NOMOR 94 TAHUN 2021</a:t>
            </a:r>
            <a:endParaRPr lang="en-ID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7C0A2A3D-CBAB-4417-A67B-269036AEF814}"/>
              </a:ext>
            </a:extLst>
          </p:cNvPr>
          <p:cNvSpPr/>
          <p:nvPr/>
        </p:nvSpPr>
        <p:spPr>
          <a:xfrm>
            <a:off x="7159783" y="5853279"/>
            <a:ext cx="4065537" cy="307777"/>
          </a:xfrm>
          <a:prstGeom prst="rect">
            <a:avLst/>
          </a:prstGeom>
          <a:solidFill>
            <a:schemeClr val="accent2"/>
          </a:solidFill>
        </p:spPr>
        <p:txBody>
          <a:bodyPr wrap="none">
            <a:spAutoFit/>
          </a:bodyPr>
          <a:lstStyle/>
          <a:p>
            <a:pPr defTabSz="609630">
              <a:defRPr/>
            </a:pPr>
            <a:r>
              <a:rPr lang="en-US" sz="1400" b="1" dirty="0">
                <a:solidFill>
                  <a:prstClr val="black"/>
                </a:solidFill>
                <a:latin typeface="Bookman Old Style" panose="02050604050505020204" pitchFamily="18" charset="0"/>
              </a:rPr>
              <a:t>PERATURAN BKN NOMOR 6 TAHUN 2022</a:t>
            </a:r>
            <a:endParaRPr lang="en-ID" sz="140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580D2CB6-3846-4ED6-AA10-0C70EC6CBA8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602322" y="6195522"/>
            <a:ext cx="2548570" cy="650608"/>
          </a:xfrm>
          <a:prstGeom prst="rect">
            <a:avLst/>
          </a:prstGeom>
        </p:spPr>
      </p:pic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0BC0E38E-0305-4BFB-AA2D-64EAE0020747}"/>
              </a:ext>
            </a:extLst>
          </p:cNvPr>
          <p:cNvSpPr/>
          <p:nvPr/>
        </p:nvSpPr>
        <p:spPr>
          <a:xfrm rot="20970334">
            <a:off x="1069409" y="5782960"/>
            <a:ext cx="3419526" cy="307777"/>
          </a:xfrm>
          <a:prstGeom prst="rect">
            <a:avLst/>
          </a:prstGeom>
          <a:solidFill>
            <a:srgbClr val="0036A2"/>
          </a:solidFill>
        </p:spPr>
        <p:txBody>
          <a:bodyPr wrap="none">
            <a:spAutoFit/>
          </a:bodyPr>
          <a:lstStyle/>
          <a:p>
            <a:pPr defTabSz="609630">
              <a:defRPr/>
            </a:pPr>
            <a:r>
              <a:rPr lang="en-US" sz="1400" b="1" dirty="0">
                <a:solidFill>
                  <a:schemeClr val="bg1"/>
                </a:solidFill>
                <a:latin typeface="Bookman Old Style" panose="02050604050505020204" pitchFamily="18" charset="0"/>
              </a:rPr>
              <a:t>SE MENPAN RB NO 1 TAHUN 2021</a:t>
            </a:r>
            <a:endParaRPr lang="en-ID" sz="1400" b="1" dirty="0">
              <a:solidFill>
                <a:schemeClr val="bg1"/>
              </a:solidFill>
              <a:latin typeface="Calibri" panose="020F0502020204030204"/>
            </a:endParaRPr>
          </a:p>
        </p:txBody>
      </p:sp>
      <p:pic>
        <p:nvPicPr>
          <p:cNvPr id="11" name="image3.png">
            <a:extLst>
              <a:ext uri="{FF2B5EF4-FFF2-40B4-BE49-F238E27FC236}">
                <a16:creationId xmlns:a16="http://schemas.microsoft.com/office/drawing/2014/main" xmlns="" id="{7B71B7FB-C8F6-4C9C-ABE2-418579E127A9}"/>
              </a:ext>
            </a:extLst>
          </p:cNvPr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8144457" y="6264454"/>
            <a:ext cx="1744240" cy="570673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FA281B43-BB12-2804-8303-4C5B9949C5F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46" y="6195522"/>
            <a:ext cx="1587729" cy="5706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5B489FED-AC6C-DDBC-68ED-C160FF9A096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19152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23">
            <a:extLst>
              <a:ext uri="{FF2B5EF4-FFF2-40B4-BE49-F238E27FC236}">
                <a16:creationId xmlns:a16="http://schemas.microsoft.com/office/drawing/2014/main" xmlns="" id="{C083443B-2FC4-AD9F-7A0B-46F348C6F21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383472" y="660753"/>
            <a:ext cx="5510530" cy="628377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T</a:t>
            </a:r>
            <a:r>
              <a:rPr lang="pt-BR" sz="4000" b="1" spc="-575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E</a:t>
            </a:r>
            <a:r>
              <a:rPr lang="pt-BR" sz="4000" b="1" spc="-58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spc="750" dirty="0">
                <a:solidFill>
                  <a:srgbClr val="1B2429"/>
                </a:solidFill>
                <a:latin typeface="Cambria"/>
                <a:cs typeface="Cambria"/>
              </a:rPr>
              <a:t>R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O</a:t>
            </a:r>
            <a:r>
              <a:rPr lang="pt-BR" sz="4000" b="1" spc="-58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B</a:t>
            </a:r>
            <a:r>
              <a:rPr lang="pt-BR" sz="4000" b="1" spc="-58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O</a:t>
            </a:r>
            <a:r>
              <a:rPr lang="pt-BR" sz="4000" b="1" spc="-58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S</a:t>
            </a:r>
            <a:r>
              <a:rPr lang="pt-BR" sz="4000" b="1" spc="-63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A</a:t>
            </a:r>
            <a:r>
              <a:rPr lang="pt-BR" sz="4000" b="1" spc="-570" dirty="0">
                <a:solidFill>
                  <a:srgbClr val="1B2429"/>
                </a:solidFill>
                <a:latin typeface="Cambria"/>
                <a:cs typeface="Cambria"/>
              </a:rPr>
              <a:t> </a:t>
            </a:r>
            <a:r>
              <a:rPr lang="pt-BR" sz="4000" b="1" dirty="0">
                <a:solidFill>
                  <a:srgbClr val="1B2429"/>
                </a:solidFill>
                <a:latin typeface="Cambria"/>
                <a:cs typeface="Cambria"/>
              </a:rPr>
              <a:t>N</a:t>
            </a:r>
            <a:endParaRPr lang="pt-BR" sz="4000" b="1" dirty="0">
              <a:latin typeface="Cambria"/>
              <a:cs typeface="Cambria"/>
            </a:endParaRPr>
          </a:p>
        </p:txBody>
      </p:sp>
      <p:sp>
        <p:nvSpPr>
          <p:cNvPr id="31" name="object 23">
            <a:extLst>
              <a:ext uri="{FF2B5EF4-FFF2-40B4-BE49-F238E27FC236}">
                <a16:creationId xmlns:a16="http://schemas.microsoft.com/office/drawing/2014/main" xmlns="" id="{2DDFA3B3-4309-FB1B-400E-42DEDBDCFF83}"/>
              </a:ext>
            </a:extLst>
          </p:cNvPr>
          <p:cNvSpPr txBox="1">
            <a:spLocks/>
          </p:cNvSpPr>
          <p:nvPr/>
        </p:nvSpPr>
        <p:spPr>
          <a:xfrm>
            <a:off x="2527895" y="1321217"/>
            <a:ext cx="8644168" cy="38215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>
            <a:lvl1pPr>
              <a:defRPr sz="10800" b="1" i="0">
                <a:solidFill>
                  <a:schemeClr val="bg1"/>
                </a:solidFill>
                <a:latin typeface="Cambria"/>
                <a:ea typeface="+mj-ea"/>
                <a:cs typeface="Cambria"/>
              </a:defRPr>
            </a:lvl1pPr>
          </a:lstStyle>
          <a:p>
            <a:pPr marL="12700">
              <a:spcBef>
                <a:spcPts val="100"/>
              </a:spcBef>
            </a:pPr>
            <a:r>
              <a:rPr lang="pt-BR" sz="2400" b="0" kern="0" dirty="0">
                <a:solidFill>
                  <a:srgbClr val="1B2429"/>
                </a:solidFill>
              </a:rPr>
              <a:t>DEPUTI BIDANG PENGAWASAN DAN PENGENDALIAN</a:t>
            </a:r>
            <a:endParaRPr lang="pt-BR" sz="2400" kern="0" dirty="0"/>
          </a:p>
        </p:txBody>
      </p:sp>
      <p:pic>
        <p:nvPicPr>
          <p:cNvPr id="32" name="object 4">
            <a:extLst>
              <a:ext uri="{FF2B5EF4-FFF2-40B4-BE49-F238E27FC236}">
                <a16:creationId xmlns:a16="http://schemas.microsoft.com/office/drawing/2014/main" xmlns="" id="{96F8EE7D-C823-FE59-8FD0-AD40166A6BF7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6258" y="298392"/>
            <a:ext cx="1695449" cy="50165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xmlns="" id="{B5D8E475-7AF3-3D02-8C3C-E6377F9C0E0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250" t="34783" r="21168" b="45021"/>
          <a:stretch/>
        </p:blipFill>
        <p:spPr>
          <a:xfrm>
            <a:off x="10490453" y="193119"/>
            <a:ext cx="1168914" cy="588069"/>
          </a:xfrm>
          <a:prstGeom prst="rect">
            <a:avLst/>
          </a:prstGeom>
        </p:spPr>
      </p:pic>
      <p:sp>
        <p:nvSpPr>
          <p:cNvPr id="34" name="object 26">
            <a:extLst>
              <a:ext uri="{FF2B5EF4-FFF2-40B4-BE49-F238E27FC236}">
                <a16:creationId xmlns:a16="http://schemas.microsoft.com/office/drawing/2014/main" xmlns="" id="{18DCD120-E425-7F24-329D-B3A3AD5D85DD}"/>
              </a:ext>
            </a:extLst>
          </p:cNvPr>
          <p:cNvSpPr txBox="1"/>
          <p:nvPr/>
        </p:nvSpPr>
        <p:spPr>
          <a:xfrm>
            <a:off x="476258" y="1642897"/>
            <a:ext cx="11485677" cy="389388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</a:pPr>
            <a:endParaRPr sz="2000" dirty="0">
              <a:latin typeface="Cambria"/>
              <a:cs typeface="Cambria"/>
            </a:endParaRPr>
          </a:p>
          <a:p>
            <a:pPr marL="45720" algn="just">
              <a:lnSpc>
                <a:spcPct val="100000"/>
              </a:lnSpc>
              <a:spcBef>
                <a:spcPts val="1910"/>
              </a:spcBef>
            </a:pPr>
            <a:r>
              <a:rPr sz="2000" b="1" spc="75" dirty="0">
                <a:solidFill>
                  <a:srgbClr val="7030A0"/>
                </a:solidFill>
                <a:latin typeface="Cambria"/>
                <a:cs typeface="Cambria"/>
              </a:rPr>
              <a:t>I’DIS</a:t>
            </a:r>
            <a:r>
              <a:rPr sz="2000" b="1" spc="-80" dirty="0">
                <a:solidFill>
                  <a:srgbClr val="7030A0"/>
                </a:solidFill>
                <a:latin typeface="Cambria"/>
                <a:cs typeface="Cambria"/>
              </a:rPr>
              <a:t> </a:t>
            </a:r>
            <a:r>
              <a:rPr sz="2000" b="1" spc="5" dirty="0">
                <a:solidFill>
                  <a:srgbClr val="7030A0"/>
                </a:solidFill>
                <a:latin typeface="Cambria"/>
                <a:cs typeface="Cambria"/>
              </a:rPr>
              <a:t>(INTEGRATED</a:t>
            </a:r>
            <a:r>
              <a:rPr sz="2000" b="1" spc="-125" dirty="0">
                <a:solidFill>
                  <a:srgbClr val="7030A0"/>
                </a:solidFill>
                <a:latin typeface="Cambria"/>
                <a:cs typeface="Cambria"/>
              </a:rPr>
              <a:t> </a:t>
            </a:r>
            <a:r>
              <a:rPr sz="2000" b="1" spc="-25" dirty="0">
                <a:solidFill>
                  <a:srgbClr val="7030A0"/>
                </a:solidFill>
                <a:latin typeface="Cambria"/>
                <a:cs typeface="Cambria"/>
              </a:rPr>
              <a:t>DISCIPLINE)</a:t>
            </a:r>
            <a:endParaRPr sz="2000" dirty="0">
              <a:solidFill>
                <a:srgbClr val="7030A0"/>
              </a:solidFill>
              <a:latin typeface="Cambria"/>
              <a:cs typeface="Cambria"/>
            </a:endParaRPr>
          </a:p>
          <a:p>
            <a:pPr marL="12700" marR="5592445" algn="just">
              <a:lnSpc>
                <a:spcPct val="123000"/>
              </a:lnSpc>
              <a:spcBef>
                <a:spcPts val="500"/>
              </a:spcBef>
            </a:pPr>
            <a:r>
              <a:rPr sz="2000" spc="195" dirty="0">
                <a:latin typeface="Cambria"/>
                <a:cs typeface="Cambria"/>
              </a:rPr>
              <a:t>merupakan</a:t>
            </a:r>
            <a:r>
              <a:rPr sz="2000" spc="200" dirty="0">
                <a:latin typeface="Cambria"/>
                <a:cs typeface="Cambria"/>
              </a:rPr>
              <a:t> </a:t>
            </a:r>
            <a:r>
              <a:rPr sz="2000" spc="150" dirty="0">
                <a:latin typeface="Cambria"/>
                <a:cs typeface="Cambria"/>
              </a:rPr>
              <a:t>sistem</a:t>
            </a:r>
            <a:r>
              <a:rPr sz="2000" spc="155" dirty="0">
                <a:latin typeface="Cambria"/>
                <a:cs typeface="Cambria"/>
              </a:rPr>
              <a:t> </a:t>
            </a:r>
            <a:r>
              <a:rPr sz="2000" spc="130" dirty="0">
                <a:latin typeface="Cambria"/>
                <a:cs typeface="Cambria"/>
              </a:rPr>
              <a:t>informasi</a:t>
            </a:r>
            <a:r>
              <a:rPr sz="2000" spc="135" dirty="0">
                <a:latin typeface="Cambria"/>
                <a:cs typeface="Cambria"/>
              </a:rPr>
              <a:t> pelaporan </a:t>
            </a:r>
            <a:r>
              <a:rPr sz="2000" spc="140" dirty="0">
                <a:latin typeface="Cambria"/>
                <a:cs typeface="Cambria"/>
              </a:rPr>
              <a:t> </a:t>
            </a:r>
            <a:r>
              <a:rPr sz="2000" spc="125" dirty="0">
                <a:latin typeface="Cambria"/>
                <a:cs typeface="Cambria"/>
              </a:rPr>
              <a:t>proses </a:t>
            </a:r>
            <a:r>
              <a:rPr sz="2000" spc="260" dirty="0">
                <a:latin typeface="Cambria"/>
                <a:cs typeface="Cambria"/>
              </a:rPr>
              <a:t>Hukuman </a:t>
            </a:r>
            <a:r>
              <a:rPr sz="2000" spc="145" dirty="0">
                <a:latin typeface="Cambria"/>
                <a:cs typeface="Cambria"/>
              </a:rPr>
              <a:t>Disiplin </a:t>
            </a:r>
            <a:r>
              <a:rPr sz="2000" spc="160" dirty="0">
                <a:latin typeface="Cambria"/>
                <a:cs typeface="Cambria"/>
              </a:rPr>
              <a:t>yang </a:t>
            </a:r>
            <a:r>
              <a:rPr sz="2000" spc="110" dirty="0">
                <a:latin typeface="Cambria"/>
                <a:cs typeface="Cambria"/>
              </a:rPr>
              <a:t>terintegrasi </a:t>
            </a:r>
            <a:r>
              <a:rPr sz="2000" spc="114" dirty="0">
                <a:latin typeface="Cambria"/>
                <a:cs typeface="Cambria"/>
              </a:rPr>
              <a:t> </a:t>
            </a:r>
            <a:r>
              <a:rPr sz="2000" spc="170" dirty="0">
                <a:latin typeface="Cambria"/>
                <a:cs typeface="Cambria"/>
              </a:rPr>
              <a:t>dengan</a:t>
            </a:r>
            <a:r>
              <a:rPr sz="2000" spc="175" dirty="0">
                <a:latin typeface="Cambria"/>
                <a:cs typeface="Cambria"/>
              </a:rPr>
              <a:t> </a:t>
            </a:r>
            <a:r>
              <a:rPr sz="2000" spc="215" dirty="0">
                <a:latin typeface="Cambria"/>
                <a:cs typeface="Cambria"/>
              </a:rPr>
              <a:t>SIASN</a:t>
            </a:r>
            <a:r>
              <a:rPr sz="2000" spc="220" dirty="0">
                <a:latin typeface="Cambria"/>
                <a:cs typeface="Cambria"/>
              </a:rPr>
              <a:t> </a:t>
            </a:r>
            <a:r>
              <a:rPr sz="2000" spc="235" dirty="0">
                <a:latin typeface="Cambria"/>
                <a:cs typeface="Cambria"/>
              </a:rPr>
              <a:t>BKN,</a:t>
            </a:r>
            <a:r>
              <a:rPr sz="2000" spc="1000" dirty="0">
                <a:latin typeface="Cambria"/>
                <a:cs typeface="Cambria"/>
              </a:rPr>
              <a:t> </a:t>
            </a:r>
            <a:r>
              <a:rPr sz="2000" spc="165" dirty="0">
                <a:latin typeface="Cambria"/>
                <a:cs typeface="Cambria"/>
              </a:rPr>
              <a:t>bertujuan</a:t>
            </a:r>
            <a:r>
              <a:rPr sz="2000" spc="170" dirty="0">
                <a:latin typeface="Cambria"/>
                <a:cs typeface="Cambria"/>
              </a:rPr>
              <a:t> </a:t>
            </a:r>
            <a:r>
              <a:rPr sz="2000" spc="229" dirty="0">
                <a:latin typeface="Cambria"/>
                <a:cs typeface="Cambria"/>
              </a:rPr>
              <a:t>untuk </a:t>
            </a:r>
            <a:r>
              <a:rPr sz="2000" spc="235" dirty="0">
                <a:latin typeface="Cambria"/>
                <a:cs typeface="Cambria"/>
              </a:rPr>
              <a:t> </a:t>
            </a:r>
            <a:r>
              <a:rPr sz="2000" spc="160" dirty="0">
                <a:latin typeface="Cambria"/>
                <a:cs typeface="Cambria"/>
              </a:rPr>
              <a:t>memberikan</a:t>
            </a:r>
            <a:r>
              <a:rPr sz="2000" spc="165" dirty="0">
                <a:latin typeface="Cambria"/>
                <a:cs typeface="Cambria"/>
              </a:rPr>
              <a:t> </a:t>
            </a:r>
            <a:r>
              <a:rPr sz="2000" spc="170" dirty="0">
                <a:latin typeface="Cambria"/>
                <a:cs typeface="Cambria"/>
              </a:rPr>
              <a:t>standar</a:t>
            </a:r>
            <a:r>
              <a:rPr sz="2000" spc="175" dirty="0">
                <a:latin typeface="Cambria"/>
                <a:cs typeface="Cambria"/>
              </a:rPr>
              <a:t> </a:t>
            </a:r>
            <a:r>
              <a:rPr sz="2000" spc="200" dirty="0">
                <a:latin typeface="Cambria"/>
                <a:cs typeface="Cambria"/>
              </a:rPr>
              <a:t>dan</a:t>
            </a:r>
            <a:r>
              <a:rPr sz="2000" spc="204" dirty="0">
                <a:latin typeface="Cambria"/>
                <a:cs typeface="Cambria"/>
              </a:rPr>
              <a:t> </a:t>
            </a:r>
            <a:r>
              <a:rPr sz="2000" spc="210" dirty="0">
                <a:latin typeface="Cambria"/>
                <a:cs typeface="Cambria"/>
              </a:rPr>
              <a:t>kemudahan </a:t>
            </a:r>
            <a:r>
              <a:rPr sz="2000" spc="-515" dirty="0">
                <a:latin typeface="Cambria"/>
                <a:cs typeface="Cambria"/>
              </a:rPr>
              <a:t> </a:t>
            </a:r>
            <a:r>
              <a:rPr sz="2000" spc="180" dirty="0">
                <a:latin typeface="Cambria"/>
                <a:cs typeface="Cambria"/>
              </a:rPr>
              <a:t>dalam</a:t>
            </a:r>
            <a:r>
              <a:rPr sz="2000" spc="185" dirty="0">
                <a:latin typeface="Cambria"/>
                <a:cs typeface="Cambria"/>
              </a:rPr>
              <a:t> </a:t>
            </a:r>
            <a:r>
              <a:rPr sz="2000" spc="200" dirty="0">
                <a:latin typeface="Cambria"/>
                <a:cs typeface="Cambria"/>
              </a:rPr>
              <a:t>melakukan</a:t>
            </a:r>
            <a:r>
              <a:rPr sz="2000" spc="204" dirty="0">
                <a:latin typeface="Cambria"/>
                <a:cs typeface="Cambria"/>
              </a:rPr>
              <a:t> </a:t>
            </a:r>
            <a:r>
              <a:rPr sz="2000" spc="130" dirty="0">
                <a:latin typeface="Cambria"/>
                <a:cs typeface="Cambria"/>
              </a:rPr>
              <a:t>proses</a:t>
            </a:r>
            <a:r>
              <a:rPr sz="2000" spc="135" dirty="0">
                <a:latin typeface="Cambria"/>
                <a:cs typeface="Cambria"/>
              </a:rPr>
              <a:t> pelaporan</a:t>
            </a:r>
            <a:r>
              <a:rPr sz="2000" spc="140" dirty="0">
                <a:latin typeface="Cambria"/>
                <a:cs typeface="Cambria"/>
              </a:rPr>
              <a:t> </a:t>
            </a:r>
            <a:r>
              <a:rPr sz="2000" spc="285" dirty="0">
                <a:latin typeface="Cambria"/>
                <a:cs typeface="Cambria"/>
              </a:rPr>
              <a:t>HD, </a:t>
            </a:r>
            <a:r>
              <a:rPr sz="2000" spc="290" dirty="0">
                <a:latin typeface="Cambria"/>
                <a:cs typeface="Cambria"/>
              </a:rPr>
              <a:t> </a:t>
            </a:r>
            <a:r>
              <a:rPr sz="2000" spc="180" dirty="0">
                <a:latin typeface="Cambria"/>
                <a:cs typeface="Cambria"/>
              </a:rPr>
              <a:t>mulai</a:t>
            </a:r>
            <a:r>
              <a:rPr sz="2000" spc="185" dirty="0">
                <a:latin typeface="Cambria"/>
                <a:cs typeface="Cambria"/>
              </a:rPr>
              <a:t> </a:t>
            </a:r>
            <a:r>
              <a:rPr sz="2000" spc="114" dirty="0">
                <a:latin typeface="Cambria"/>
                <a:cs typeface="Cambria"/>
              </a:rPr>
              <a:t>dari</a:t>
            </a:r>
            <a:r>
              <a:rPr sz="2000" spc="120" dirty="0">
                <a:latin typeface="Cambria"/>
                <a:cs typeface="Cambria"/>
              </a:rPr>
              <a:t> identifikasi</a:t>
            </a:r>
            <a:r>
              <a:rPr sz="2000" spc="125" dirty="0">
                <a:latin typeface="Cambria"/>
                <a:cs typeface="Cambria"/>
              </a:rPr>
              <a:t> </a:t>
            </a:r>
            <a:r>
              <a:rPr sz="2000" spc="185" dirty="0">
                <a:latin typeface="Cambria"/>
                <a:cs typeface="Cambria"/>
              </a:rPr>
              <a:t>sampai</a:t>
            </a:r>
            <a:r>
              <a:rPr sz="2000" spc="900" dirty="0">
                <a:latin typeface="Cambria"/>
                <a:cs typeface="Cambria"/>
              </a:rPr>
              <a:t> </a:t>
            </a:r>
            <a:r>
              <a:rPr sz="2000" spc="165" dirty="0">
                <a:latin typeface="Cambria"/>
                <a:cs typeface="Cambria"/>
              </a:rPr>
              <a:t>dengan </a:t>
            </a:r>
            <a:r>
              <a:rPr sz="2000" spc="170" dirty="0">
                <a:latin typeface="Cambria"/>
                <a:cs typeface="Cambria"/>
              </a:rPr>
              <a:t> </a:t>
            </a:r>
            <a:r>
              <a:rPr sz="2000" spc="185" dirty="0">
                <a:latin typeface="Cambria"/>
                <a:cs typeface="Cambria"/>
              </a:rPr>
              <a:t>pembuatan</a:t>
            </a:r>
            <a:r>
              <a:rPr sz="2000" spc="900" dirty="0">
                <a:latin typeface="Cambria"/>
                <a:cs typeface="Cambria"/>
              </a:rPr>
              <a:t> </a:t>
            </a:r>
            <a:r>
              <a:rPr sz="2000" spc="210" dirty="0">
                <a:latin typeface="Cambria"/>
                <a:cs typeface="Cambria"/>
              </a:rPr>
              <a:t>Surat</a:t>
            </a:r>
            <a:r>
              <a:rPr sz="2000" spc="950" dirty="0">
                <a:latin typeface="Cambria"/>
                <a:cs typeface="Cambria"/>
              </a:rPr>
              <a:t> </a:t>
            </a:r>
            <a:r>
              <a:rPr sz="2000" spc="200" dirty="0">
                <a:latin typeface="Cambria"/>
                <a:cs typeface="Cambria"/>
              </a:rPr>
              <a:t>Keputusan</a:t>
            </a:r>
            <a:r>
              <a:rPr sz="2000" spc="204" dirty="0">
                <a:latin typeface="Cambria"/>
                <a:cs typeface="Cambria"/>
              </a:rPr>
              <a:t> </a:t>
            </a:r>
            <a:r>
              <a:rPr sz="2000" spc="260" dirty="0">
                <a:latin typeface="Cambria"/>
                <a:cs typeface="Cambria"/>
              </a:rPr>
              <a:t>Hukuman </a:t>
            </a:r>
            <a:r>
              <a:rPr sz="2000" spc="-515" dirty="0">
                <a:latin typeface="Cambria"/>
                <a:cs typeface="Cambria"/>
              </a:rPr>
              <a:t> </a:t>
            </a:r>
            <a:r>
              <a:rPr sz="2000" spc="145" dirty="0">
                <a:latin typeface="Cambria"/>
                <a:cs typeface="Cambria"/>
              </a:rPr>
              <a:t>Disiplin</a:t>
            </a:r>
            <a:endParaRPr sz="2000" dirty="0">
              <a:latin typeface="Cambria"/>
              <a:cs typeface="Cambria"/>
            </a:endParaRPr>
          </a:p>
          <a:p>
            <a:pPr>
              <a:lnSpc>
                <a:spcPct val="100000"/>
              </a:lnSpc>
              <a:spcBef>
                <a:spcPts val="20"/>
              </a:spcBef>
            </a:pPr>
            <a:endParaRPr sz="2000" dirty="0">
              <a:latin typeface="Cambria"/>
              <a:cs typeface="Cambria"/>
            </a:endParaRPr>
          </a:p>
        </p:txBody>
      </p:sp>
      <p:grpSp>
        <p:nvGrpSpPr>
          <p:cNvPr id="46" name="object 2">
            <a:extLst>
              <a:ext uri="{FF2B5EF4-FFF2-40B4-BE49-F238E27FC236}">
                <a16:creationId xmlns:a16="http://schemas.microsoft.com/office/drawing/2014/main" xmlns="" id="{086170BB-461E-E6B0-F7C7-D1B9BDEEA115}"/>
              </a:ext>
            </a:extLst>
          </p:cNvPr>
          <p:cNvGrpSpPr/>
          <p:nvPr/>
        </p:nvGrpSpPr>
        <p:grpSpPr>
          <a:xfrm>
            <a:off x="6744687" y="2131985"/>
            <a:ext cx="4945438" cy="3535097"/>
            <a:chOff x="8295131" y="2427732"/>
            <a:chExt cx="8803005" cy="6269990"/>
          </a:xfrm>
        </p:grpSpPr>
        <p:pic>
          <p:nvPicPr>
            <p:cNvPr id="47" name="object 3">
              <a:extLst>
                <a:ext uri="{FF2B5EF4-FFF2-40B4-BE49-F238E27FC236}">
                  <a16:creationId xmlns:a16="http://schemas.microsoft.com/office/drawing/2014/main" xmlns="" id="{D8D3F8E6-414A-9796-BC2A-E84CCD9D582D}"/>
                </a:ext>
              </a:extLst>
            </p:cNvPr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925555" y="2427732"/>
              <a:ext cx="6172200" cy="5431536"/>
            </a:xfrm>
            <a:prstGeom prst="rect">
              <a:avLst/>
            </a:prstGeom>
          </p:spPr>
        </p:pic>
        <p:pic>
          <p:nvPicPr>
            <p:cNvPr id="48" name="object 4">
              <a:extLst>
                <a:ext uri="{FF2B5EF4-FFF2-40B4-BE49-F238E27FC236}">
                  <a16:creationId xmlns:a16="http://schemas.microsoft.com/office/drawing/2014/main" xmlns="" id="{93CFE080-8080-DA00-975B-88C2353F5A5A}"/>
                </a:ext>
              </a:extLst>
            </p:cNvPr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295131" y="4744211"/>
              <a:ext cx="2715768" cy="3953255"/>
            </a:xfrm>
            <a:prstGeom prst="rect">
              <a:avLst/>
            </a:prstGeom>
          </p:spPr>
        </p:pic>
        <p:pic>
          <p:nvPicPr>
            <p:cNvPr id="49" name="object 5">
              <a:extLst>
                <a:ext uri="{FF2B5EF4-FFF2-40B4-BE49-F238E27FC236}">
                  <a16:creationId xmlns:a16="http://schemas.microsoft.com/office/drawing/2014/main" xmlns="" id="{93E5445D-7C9F-CAA7-8039-C64729EDCF3E}"/>
                </a:ext>
              </a:extLst>
            </p:cNvPr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14429005" y="8294614"/>
              <a:ext cx="112748" cy="106826"/>
            </a:xfrm>
            <a:prstGeom prst="rect">
              <a:avLst/>
            </a:prstGeom>
          </p:spPr>
        </p:pic>
        <p:pic>
          <p:nvPicPr>
            <p:cNvPr id="50" name="object 6">
              <a:extLst>
                <a:ext uri="{FF2B5EF4-FFF2-40B4-BE49-F238E27FC236}">
                  <a16:creationId xmlns:a16="http://schemas.microsoft.com/office/drawing/2014/main" xmlns="" id="{A4962610-6404-4009-E8B1-A2E991C05913}"/>
                </a:ext>
              </a:extLst>
            </p:cNvPr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16712183" y="7725155"/>
              <a:ext cx="163067" cy="106680"/>
            </a:xfrm>
            <a:prstGeom prst="rect">
              <a:avLst/>
            </a:prstGeom>
          </p:spPr>
        </p:pic>
        <p:pic>
          <p:nvPicPr>
            <p:cNvPr id="51" name="object 7">
              <a:extLst>
                <a:ext uri="{FF2B5EF4-FFF2-40B4-BE49-F238E27FC236}">
                  <a16:creationId xmlns:a16="http://schemas.microsoft.com/office/drawing/2014/main" xmlns="" id="{337FC2A5-1B39-4A25-4BD3-336419D6BDC7}"/>
                </a:ext>
              </a:extLst>
            </p:cNvPr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5349854" y="7412735"/>
              <a:ext cx="217804" cy="225425"/>
            </a:xfrm>
            <a:prstGeom prst="rect">
              <a:avLst/>
            </a:prstGeom>
          </p:spPr>
        </p:pic>
      </p:grpSp>
      <p:pic>
        <p:nvPicPr>
          <p:cNvPr id="52" name="object 13">
            <a:extLst>
              <a:ext uri="{FF2B5EF4-FFF2-40B4-BE49-F238E27FC236}">
                <a16:creationId xmlns:a16="http://schemas.microsoft.com/office/drawing/2014/main" xmlns="" id="{B9442209-82E8-3588-D867-63C83E6CF757}"/>
              </a:ext>
            </a:extLst>
          </p:cNvPr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913224" y="5906683"/>
            <a:ext cx="102093" cy="117424"/>
          </a:xfrm>
          <a:prstGeom prst="rect">
            <a:avLst/>
          </a:prstGeom>
        </p:spPr>
      </p:pic>
      <p:pic>
        <p:nvPicPr>
          <p:cNvPr id="53" name="object 24">
            <a:extLst>
              <a:ext uri="{FF2B5EF4-FFF2-40B4-BE49-F238E27FC236}">
                <a16:creationId xmlns:a16="http://schemas.microsoft.com/office/drawing/2014/main" xmlns="" id="{CF2D01ED-7B01-9E88-D6B1-78BC4DBDCC1D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8518639" y="2697589"/>
            <a:ext cx="2816792" cy="1016492"/>
          </a:xfrm>
          <a:prstGeom prst="rect">
            <a:avLst/>
          </a:prstGeom>
        </p:spPr>
      </p:pic>
      <p:pic>
        <p:nvPicPr>
          <p:cNvPr id="54" name="object 24">
            <a:extLst>
              <a:ext uri="{FF2B5EF4-FFF2-40B4-BE49-F238E27FC236}">
                <a16:creationId xmlns:a16="http://schemas.microsoft.com/office/drawing/2014/main" xmlns="" id="{5D6EF437-6449-80DB-4300-D36594E4727B}"/>
              </a:ext>
            </a:extLst>
          </p:cNvPr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6857700" y="4296433"/>
            <a:ext cx="1299663" cy="512113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xmlns="" id="{77B917B0-9C93-FD04-F687-882CAE91EA2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46324"/>
            <a:ext cx="12192000" cy="559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5926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Picture 85">
            <a:extLst>
              <a:ext uri="{FF2B5EF4-FFF2-40B4-BE49-F238E27FC236}">
                <a16:creationId xmlns:a16="http://schemas.microsoft.com/office/drawing/2014/main" xmlns="" id="{B21ADD9B-F9B1-4A84-BE0D-7540882411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244" y="227140"/>
            <a:ext cx="1913994" cy="585714"/>
          </a:xfrm>
          <a:prstGeom prst="rect">
            <a:avLst/>
          </a:prstGeom>
        </p:spPr>
      </p:pic>
      <p:pic>
        <p:nvPicPr>
          <p:cNvPr id="27" name="Google Shape;248;p36">
            <a:extLst>
              <a:ext uri="{FF2B5EF4-FFF2-40B4-BE49-F238E27FC236}">
                <a16:creationId xmlns:a16="http://schemas.microsoft.com/office/drawing/2014/main" xmlns="" id="{DD38BF0E-B64F-4FE0-997F-B9A2F2DB264A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5571057" y="3372652"/>
            <a:ext cx="2498583" cy="89598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EE21DD4-DA3A-4E53-B50E-D7B307A10FDA}"/>
              </a:ext>
            </a:extLst>
          </p:cNvPr>
          <p:cNvSpPr/>
          <p:nvPr/>
        </p:nvSpPr>
        <p:spPr>
          <a:xfrm>
            <a:off x="418960" y="1993847"/>
            <a:ext cx="3094981" cy="411290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026" name="Picture 2" descr="https://tse3.mm.bing.net/th?id=OIP.b7RWMo37hoR2WJJHKSb7QwHaIK&amp;pid=Api&amp;P=0&amp;w=144&amp;h=159">
            <a:extLst>
              <a:ext uri="{FF2B5EF4-FFF2-40B4-BE49-F238E27FC236}">
                <a16:creationId xmlns:a16="http://schemas.microsoft.com/office/drawing/2014/main" xmlns="" id="{639B236D-AA5B-4323-8CA0-1CAE33D4E7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8" y="2123304"/>
            <a:ext cx="911556" cy="1042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7CD5338-71B2-4CDE-8E3A-E488768B66E8}"/>
              </a:ext>
            </a:extLst>
          </p:cNvPr>
          <p:cNvSpPr txBox="1"/>
          <p:nvPr/>
        </p:nvSpPr>
        <p:spPr>
          <a:xfrm>
            <a:off x="1451972" y="2217708"/>
            <a:ext cx="203400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Unprosedural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lam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proses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jatuh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endParaRPr lang="en-ID" sz="16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1028" name="Picture 4" descr="https://tse2.mm.bing.net/th?id=OIP.mte1C-sds0WVb0jmTwcxjAHaE9&amp;pid=Api&amp;P=0&amp;w=222&amp;h=149">
            <a:extLst>
              <a:ext uri="{FF2B5EF4-FFF2-40B4-BE49-F238E27FC236}">
                <a16:creationId xmlns:a16="http://schemas.microsoft.com/office/drawing/2014/main" xmlns="" id="{E756C4A9-3F65-4BB5-B5D5-170B5F0D3C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742" y="3645256"/>
            <a:ext cx="946829" cy="8100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3324FB0C-7968-4E35-B464-837AEC419F4B}"/>
              </a:ext>
            </a:extLst>
          </p:cNvPr>
          <p:cNvSpPr txBox="1"/>
          <p:nvPr/>
        </p:nvSpPr>
        <p:spPr>
          <a:xfrm>
            <a:off x="1430006" y="3659918"/>
            <a:ext cx="211423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Data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PNS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tidak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realtime</a:t>
            </a:r>
            <a:endParaRPr lang="en-ID" sz="16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pic>
        <p:nvPicPr>
          <p:cNvPr id="1030" name="Picture 6" descr="https://tse2.mm.bing.net/th?id=OIP.vA-Ul6ZUamIoQxmF8ukoWQHaHS&amp;pid=Api&amp;P=0&amp;w=187&amp;h=184">
            <a:extLst>
              <a:ext uri="{FF2B5EF4-FFF2-40B4-BE49-F238E27FC236}">
                <a16:creationId xmlns:a16="http://schemas.microsoft.com/office/drawing/2014/main" xmlns="" id="{ADF7D50D-D811-4393-BC02-8DBCC99BF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379" y="4846284"/>
            <a:ext cx="797447" cy="100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0B5353A9-88AB-4D69-8B4E-FCC37428E072}"/>
              </a:ext>
            </a:extLst>
          </p:cNvPr>
          <p:cNvSpPr txBox="1"/>
          <p:nvPr/>
        </p:nvSpPr>
        <p:spPr>
          <a:xfrm>
            <a:off x="1351719" y="4887116"/>
            <a:ext cx="22125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Lemahnya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gawas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gendalia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600" dirty="0">
                <a:solidFill>
                  <a:prstClr val="black"/>
                </a:solidFill>
                <a:latin typeface="Bookman Old Style" panose="02050604050505020204" pitchFamily="18" charset="0"/>
              </a:rPr>
              <a:t> PNS</a:t>
            </a:r>
            <a:endParaRPr lang="en-ID" sz="16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82B1E688-057A-4FEE-9D2A-D64F305D8D4D}"/>
              </a:ext>
            </a:extLst>
          </p:cNvPr>
          <p:cNvSpPr txBox="1"/>
          <p:nvPr/>
        </p:nvSpPr>
        <p:spPr>
          <a:xfrm>
            <a:off x="418960" y="1586605"/>
            <a:ext cx="3125284" cy="400110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000" b="1" spc="79" dirty="0">
                <a:solidFill>
                  <a:prstClr val="white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ONDISI SEBELUMNYA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xmlns="" id="{32E8EE5E-08C0-42AD-9449-E6642FAA2360}"/>
              </a:ext>
            </a:extLst>
          </p:cNvPr>
          <p:cNvSpPr/>
          <p:nvPr/>
        </p:nvSpPr>
        <p:spPr>
          <a:xfrm>
            <a:off x="3574548" y="2520782"/>
            <a:ext cx="1934722" cy="2512310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endParaRPr lang="en-ID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7A790C50-DC8E-42CB-8EF5-3A181D2618D1}"/>
              </a:ext>
            </a:extLst>
          </p:cNvPr>
          <p:cNvSpPr/>
          <p:nvPr/>
        </p:nvSpPr>
        <p:spPr>
          <a:xfrm>
            <a:off x="3452250" y="3238328"/>
            <a:ext cx="207569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609630"/>
            <a:r>
              <a:rPr lang="id-ID" sz="1600" b="1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urat Edaran Menpan RB Nomor 1 Tahun 2021</a:t>
            </a:r>
            <a:endParaRPr lang="en-ID" sz="1600" b="1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6D6295FC-93A3-46A5-B90B-E87BF5F3D589}"/>
              </a:ext>
            </a:extLst>
          </p:cNvPr>
          <p:cNvSpPr txBox="1"/>
          <p:nvPr/>
        </p:nvSpPr>
        <p:spPr>
          <a:xfrm>
            <a:off x="8250109" y="4127660"/>
            <a:ext cx="3424507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Data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PNS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pat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ketahui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ecara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realtime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oleh Pembina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epegawai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dan data update/valid</a:t>
            </a:r>
            <a:endParaRPr lang="en-ID" sz="1400" spc="14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164ADB9A-7343-493E-9912-415DE07F07C5}"/>
              </a:ext>
            </a:extLst>
          </p:cNvPr>
          <p:cNvSpPr txBox="1"/>
          <p:nvPr/>
        </p:nvSpPr>
        <p:spPr>
          <a:xfrm>
            <a:off x="8273142" y="1032068"/>
            <a:ext cx="3421039" cy="646331"/>
          </a:xfrm>
          <a:prstGeom prst="rect">
            <a:avLst/>
          </a:prstGeom>
          <a:solidFill>
            <a:schemeClr val="accent2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/>
          <a:p>
            <a:pPr algn="ctr" defTabSz="609630"/>
            <a:r>
              <a:rPr lang="en-US" b="1" spc="79" dirty="0">
                <a:solidFill>
                  <a:prstClr val="white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ONDISI YANG DIHARAPKAN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2A2EEE82-2EB8-41D9-873C-7F738019B287}"/>
              </a:ext>
            </a:extLst>
          </p:cNvPr>
          <p:cNvSpPr/>
          <p:nvPr/>
        </p:nvSpPr>
        <p:spPr>
          <a:xfrm>
            <a:off x="8270164" y="1667274"/>
            <a:ext cx="3424017" cy="50078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endParaRPr lang="en-ID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C873C52B-9F4A-4A13-AE10-CA2751A4C8AA}"/>
              </a:ext>
            </a:extLst>
          </p:cNvPr>
          <p:cNvSpPr/>
          <p:nvPr/>
        </p:nvSpPr>
        <p:spPr>
          <a:xfrm>
            <a:off x="8270164" y="2942076"/>
            <a:ext cx="3404453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ecara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nasional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pat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monitoring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terintegrasi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eng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istem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aplikasi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layan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epegawai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(SAPK) BKN</a:t>
            </a:r>
            <a:endParaRPr lang="en-ID" sz="14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84EE8C52-E597-40AC-B9C4-0AB9D5746F03}"/>
              </a:ext>
            </a:extLst>
          </p:cNvPr>
          <p:cNvSpPr/>
          <p:nvPr/>
        </p:nvSpPr>
        <p:spPr>
          <a:xfrm>
            <a:off x="8239370" y="5386430"/>
            <a:ext cx="3454811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1400" i="1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Early warning system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lam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melakuk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gawas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dan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ngendali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manajeme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ASN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hususnya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egawai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ecara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nasional</a:t>
            </a:r>
            <a:endParaRPr lang="en-ID" sz="14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FB58682A-1551-4BAB-AC52-B56FB2D8354F}"/>
              </a:ext>
            </a:extLst>
          </p:cNvPr>
          <p:cNvSpPr/>
          <p:nvPr/>
        </p:nvSpPr>
        <p:spPr>
          <a:xfrm>
            <a:off x="8300467" y="1756493"/>
            <a:ext cx="341537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Pembina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kepegawai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mudah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lam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menetapk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menjatuhk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hukuma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disiplin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sesuai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prosedur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yang </a:t>
            </a:r>
            <a:r>
              <a:rPr lang="en-US" sz="1400" spc="140" dirty="0" err="1">
                <a:solidFill>
                  <a:prstClr val="black"/>
                </a:solidFill>
                <a:latin typeface="Bookman Old Style" panose="02050604050505020204" pitchFamily="18" charset="0"/>
              </a:rPr>
              <a:t>berlaku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i="1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(user friendly</a:t>
            </a:r>
            <a:r>
              <a:rPr lang="en-US" sz="1400" spc="140" dirty="0">
                <a:solidFill>
                  <a:prstClr val="black"/>
                </a:solidFill>
                <a:latin typeface="Bookman Old Style" panose="02050604050505020204" pitchFamily="18" charset="0"/>
              </a:rPr>
              <a:t>)</a:t>
            </a:r>
            <a:endParaRPr lang="en-ID" sz="1400" dirty="0">
              <a:solidFill>
                <a:prstClr val="black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CC939FE0-1068-47EC-A352-C249B8AFE8FD}"/>
              </a:ext>
            </a:extLst>
          </p:cNvPr>
          <p:cNvSpPr txBox="1"/>
          <p:nvPr/>
        </p:nvSpPr>
        <p:spPr>
          <a:xfrm>
            <a:off x="2062883" y="440579"/>
            <a:ext cx="77598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468" algn="ctr" defTabSz="914469">
              <a:spcBef>
                <a:spcPts val="67"/>
              </a:spcBef>
              <a:defRPr/>
            </a:pPr>
            <a:r>
              <a:rPr lang="sv-SE" sz="4000" spc="590" dirty="0">
                <a:solidFill>
                  <a:srgbClr val="1B2529"/>
                </a:solidFill>
                <a:latin typeface="Cambria" panose="02040503050406030204" pitchFamily="18" charset="0"/>
              </a:rPr>
              <a:t>MANFAAT</a:t>
            </a:r>
            <a:endParaRPr lang="sv-SE" sz="4000" spc="513" dirty="0">
              <a:solidFill>
                <a:srgbClr val="1B2529"/>
              </a:solidFill>
              <a:latin typeface="Cambria" panose="020405030504060302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973FF289-6111-424C-817B-0E952D0C3A06}"/>
              </a:ext>
            </a:extLst>
          </p:cNvPr>
          <p:cNvSpPr txBox="1"/>
          <p:nvPr/>
        </p:nvSpPr>
        <p:spPr>
          <a:xfrm>
            <a:off x="3003805" y="1067109"/>
            <a:ext cx="58779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630"/>
            <a:r>
              <a:rPr lang="en-US" sz="2000" spc="79" dirty="0">
                <a:solidFill>
                  <a:prstClr val="black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’DIS (INTEGRATED DISCIPLINE)</a:t>
            </a:r>
          </a:p>
        </p:txBody>
      </p:sp>
    </p:spTree>
    <p:extLst>
      <p:ext uri="{BB962C8B-B14F-4D97-AF65-F5344CB8AC3E}">
        <p14:creationId xmlns:p14="http://schemas.microsoft.com/office/powerpoint/2010/main" val="19058873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3">
            <a:extLst>
              <a:ext uri="{FF2B5EF4-FFF2-40B4-BE49-F238E27FC236}">
                <a16:creationId xmlns:a16="http://schemas.microsoft.com/office/drawing/2014/main" xmlns="" id="{FCF025FC-C70A-9754-3099-3D321B10583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64" r="21164"/>
          <a:stretch>
            <a:fillRect/>
          </a:stretch>
        </p:blipFill>
        <p:spPr>
          <a:xfrm>
            <a:off x="-268905" y="-14288"/>
            <a:ext cx="6611815" cy="6872288"/>
          </a:xfrm>
          <a:custGeom>
            <a:avLst/>
            <a:gdLst>
              <a:gd name="connsiteX0" fmla="*/ 0 w 6923314"/>
              <a:gd name="connsiteY0" fmla="*/ 0 h 6858000"/>
              <a:gd name="connsiteX1" fmla="*/ 5208814 w 6923314"/>
              <a:gd name="connsiteY1" fmla="*/ 0 h 6858000"/>
              <a:gd name="connsiteX2" fmla="*/ 6923314 w 6923314"/>
              <a:gd name="connsiteY2" fmla="*/ 6858000 h 6858000"/>
              <a:gd name="connsiteX3" fmla="*/ 1305197 w 6923314"/>
              <a:gd name="connsiteY3" fmla="*/ 6858000 h 6858000"/>
              <a:gd name="connsiteX4" fmla="*/ 0 w 6923314"/>
              <a:gd name="connsiteY4" fmla="*/ 163721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23314" h="6858000">
                <a:moveTo>
                  <a:pt x="0" y="0"/>
                </a:moveTo>
                <a:lnTo>
                  <a:pt x="5208814" y="0"/>
                </a:lnTo>
                <a:lnTo>
                  <a:pt x="6923314" y="6858000"/>
                </a:lnTo>
                <a:lnTo>
                  <a:pt x="1305197" y="6858000"/>
                </a:lnTo>
                <a:lnTo>
                  <a:pt x="0" y="1637212"/>
                </a:lnTo>
                <a:close/>
              </a:path>
            </a:pathLst>
          </a:custGeom>
          <a:solidFill>
            <a:srgbClr val="EBF6FF"/>
          </a:solidFill>
        </p:spPr>
      </p:pic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2D397CB5-77BF-76B8-6161-4FAC4BD15DB6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73893" y="292380"/>
            <a:ext cx="1828816" cy="57978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3315A2CA-3930-40F6-1A82-D16E71FDCF0E}"/>
              </a:ext>
            </a:extLst>
          </p:cNvPr>
          <p:cNvSpPr/>
          <p:nvPr/>
        </p:nvSpPr>
        <p:spPr>
          <a:xfrm>
            <a:off x="5272347" y="909958"/>
            <a:ext cx="6390641" cy="46166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rgbClr val="C00000"/>
                </a:solidFill>
                <a:latin typeface="Berlin Sans FB Demi" panose="020E0802020502020306" pitchFamily="34" charset="0"/>
              </a:rPr>
              <a:t>NETRALITAS ASN </a:t>
            </a:r>
            <a:r>
              <a:rPr lang="en-US" sz="2400" dirty="0">
                <a:latin typeface="Berlin Sans FB Demi" panose="020E0802020502020306" pitchFamily="34" charset="0"/>
              </a:rPr>
              <a:t>SEBAGAI AMANAT UU ASN </a:t>
            </a:r>
            <a:endParaRPr lang="en-US" sz="2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2EF3124-B7B0-54E1-ABA2-AECAF55DED41}"/>
              </a:ext>
            </a:extLst>
          </p:cNvPr>
          <p:cNvSpPr/>
          <p:nvPr/>
        </p:nvSpPr>
        <p:spPr>
          <a:xfrm>
            <a:off x="5902713" y="1509463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1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E9601E53-55E0-F255-F57A-5C092FDD0B80}"/>
              </a:ext>
            </a:extLst>
          </p:cNvPr>
          <p:cNvSpPr/>
          <p:nvPr/>
        </p:nvSpPr>
        <p:spPr>
          <a:xfrm>
            <a:off x="5893255" y="2051787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2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0FB3625-7BB4-94E3-C197-BF8F2D39A204}"/>
              </a:ext>
            </a:extLst>
          </p:cNvPr>
          <p:cNvSpPr/>
          <p:nvPr/>
        </p:nvSpPr>
        <p:spPr>
          <a:xfrm>
            <a:off x="5904311" y="2577128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3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920672D0-2B1D-24FC-FE63-98CB955C4ED6}"/>
              </a:ext>
            </a:extLst>
          </p:cNvPr>
          <p:cNvSpPr txBox="1"/>
          <p:nvPr/>
        </p:nvSpPr>
        <p:spPr>
          <a:xfrm>
            <a:off x="6459547" y="1575393"/>
            <a:ext cx="1070789" cy="338554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algn="ctr"/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Integrita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B25B65F-64A5-105F-2DC1-A17AD3652D7D}"/>
              </a:ext>
            </a:extLst>
          </p:cNvPr>
          <p:cNvSpPr/>
          <p:nvPr/>
        </p:nvSpPr>
        <p:spPr>
          <a:xfrm>
            <a:off x="5916134" y="3129257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4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85AAA42-6F07-E2C3-E42C-FD728D9BDEF8}"/>
              </a:ext>
            </a:extLst>
          </p:cNvPr>
          <p:cNvSpPr/>
          <p:nvPr/>
        </p:nvSpPr>
        <p:spPr>
          <a:xfrm>
            <a:off x="5916134" y="3656598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5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7F4FCBA3-49B2-1A6A-2D8A-DC992F81979D}"/>
              </a:ext>
            </a:extLst>
          </p:cNvPr>
          <p:cNvSpPr txBox="1"/>
          <p:nvPr/>
        </p:nvSpPr>
        <p:spPr>
          <a:xfrm>
            <a:off x="6273594" y="2151976"/>
            <a:ext cx="1623736" cy="338554"/>
          </a:xfrm>
          <a:prstGeom prst="rect">
            <a:avLst/>
          </a:prstGeom>
          <a:noFill/>
        </p:spPr>
        <p:txBody>
          <a:bodyPr wrap="square" lIns="68580" rIns="68580" rtlCol="0" anchor="b">
            <a:spAutoFit/>
          </a:bodyPr>
          <a:lstStyle/>
          <a:p>
            <a:pPr algn="ctr"/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Profesional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CD935E2E-7967-0873-908B-3019F19CDC9A}"/>
              </a:ext>
            </a:extLst>
          </p:cNvPr>
          <p:cNvSpPr/>
          <p:nvPr/>
        </p:nvSpPr>
        <p:spPr>
          <a:xfrm>
            <a:off x="6482426" y="2709159"/>
            <a:ext cx="458121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Netral dan bebas dari intervensi politik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59BCC09-3635-9E5E-7F18-36BA0E44B94E}"/>
              </a:ext>
            </a:extLst>
          </p:cNvPr>
          <p:cNvSpPr/>
          <p:nvPr/>
        </p:nvSpPr>
        <p:spPr>
          <a:xfrm>
            <a:off x="6482426" y="3234500"/>
            <a:ext cx="313619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Bersih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dari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praktik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KK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BE41CFA1-6FC4-18B3-EFB9-5AE9C581F7D2}"/>
              </a:ext>
            </a:extLst>
          </p:cNvPr>
          <p:cNvSpPr/>
          <p:nvPr/>
        </p:nvSpPr>
        <p:spPr>
          <a:xfrm>
            <a:off x="6505306" y="3676428"/>
            <a:ext cx="498110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>
                <a:latin typeface="Cambria" panose="02040503050406030204" pitchFamily="18" charset="0"/>
                <a:ea typeface="Cambria" panose="02040503050406030204" pitchFamily="18" charset="0"/>
              </a:rPr>
              <a:t>Mampu menyelenggarakan pelayanan publik bagi masyaraka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C814FD49-E199-545F-72C9-6550EF931044}"/>
              </a:ext>
            </a:extLst>
          </p:cNvPr>
          <p:cNvSpPr/>
          <p:nvPr/>
        </p:nvSpPr>
        <p:spPr>
          <a:xfrm>
            <a:off x="5916134" y="4237396"/>
            <a:ext cx="639919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3000" b="1">
                <a:latin typeface="Cambria" panose="02040503050406030204" pitchFamily="18" charset="0"/>
                <a:ea typeface="Cambria" panose="02040503050406030204" pitchFamily="18" charset="0"/>
              </a:rPr>
              <a:t>06</a:t>
            </a:r>
            <a:endParaRPr lang="en-US" sz="135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DD5C3E6B-93E6-130F-737C-3A0BF6DB0B89}"/>
              </a:ext>
            </a:extLst>
          </p:cNvPr>
          <p:cNvSpPr/>
          <p:nvPr/>
        </p:nvSpPr>
        <p:spPr>
          <a:xfrm>
            <a:off x="6482426" y="4294140"/>
            <a:ext cx="50039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Mampu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menjalanka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pera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sebagai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unsur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perekat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persatua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dan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kesatua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bangsa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berdasarka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Pancasila dan UUD Negara RI </a:t>
            </a:r>
            <a:r>
              <a:rPr lang="en-US" sz="1600" b="1" dirty="0" err="1">
                <a:latin typeface="Cambria" panose="02040503050406030204" pitchFamily="18" charset="0"/>
                <a:ea typeface="Cambria" panose="02040503050406030204" pitchFamily="18" charset="0"/>
              </a:rPr>
              <a:t>Tahun</a:t>
            </a:r>
            <a:r>
              <a:rPr lang="en-US" sz="1600" b="1" dirty="0">
                <a:latin typeface="Cambria" panose="02040503050406030204" pitchFamily="18" charset="0"/>
                <a:ea typeface="Cambria" panose="02040503050406030204" pitchFamily="18" charset="0"/>
              </a:rPr>
              <a:t> 1945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C1FA07EC-0627-E0B9-E724-48CCA065F02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D841C8D1-F899-492E-D50D-E839571A98D8}"/>
              </a:ext>
            </a:extLst>
          </p:cNvPr>
          <p:cNvSpPr/>
          <p:nvPr/>
        </p:nvSpPr>
        <p:spPr>
          <a:xfrm>
            <a:off x="1171774" y="5554693"/>
            <a:ext cx="9848451" cy="646331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</a:bodyPr>
          <a:lstStyle/>
          <a:p>
            <a:pPr algn="ctr">
              <a:spcAft>
                <a:spcPts val="500"/>
              </a:spcAft>
            </a:pPr>
            <a:r>
              <a:rPr lang="en-US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Integritas</a:t>
            </a:r>
            <a:r>
              <a:rPr lang="en-US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dan </a:t>
            </a:r>
            <a:r>
              <a:rPr lang="en-US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ofesionalitas</a:t>
            </a:r>
            <a:r>
              <a:rPr lang="en-US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SN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mewujudka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etralitas</a:t>
            </a:r>
            <a:r>
              <a:rPr lang="en-US" dirty="0">
                <a:solidFill>
                  <a:srgbClr val="FF000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S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hingga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laksanaa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ungsi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SN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ebagai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laksana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ebijaka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laya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Publik, dan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erekat-Pemersatu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NKRI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erjalan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fektif</a:t>
            </a:r>
            <a:r>
              <a:rPr lang="en-US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. </a:t>
            </a:r>
          </a:p>
        </p:txBody>
      </p:sp>
      <p:pic>
        <p:nvPicPr>
          <p:cNvPr id="17" name="Picture 14">
            <a:extLst>
              <a:ext uri="{FF2B5EF4-FFF2-40B4-BE49-F238E27FC236}">
                <a16:creationId xmlns:a16="http://schemas.microsoft.com/office/drawing/2014/main" xmlns="" id="{F2C0A68C-988A-D9AD-0D58-BD72EE7DE7F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9835" r="9835"/>
          <a:stretch>
            <a:fillRect/>
          </a:stretch>
        </p:blipFill>
        <p:spPr>
          <a:xfrm>
            <a:off x="10327721" y="6303196"/>
            <a:ext cx="1691245" cy="554804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B6B6DC92-8768-78AD-B405-3E8A098AF74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034" y="6244175"/>
            <a:ext cx="1587729" cy="57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39081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B7229734-CFDE-DD74-F07D-1710D755AE2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158" t="27134" r="13158" b="16258"/>
          <a:stretch/>
        </p:blipFill>
        <p:spPr>
          <a:xfrm>
            <a:off x="1031225" y="831891"/>
            <a:ext cx="10129550" cy="5496303"/>
          </a:xfrm>
          <a:prstGeom prst="rect">
            <a:avLst/>
          </a:prstGeom>
        </p:spPr>
      </p:pic>
      <p:pic>
        <p:nvPicPr>
          <p:cNvPr id="6" name="object 4">
            <a:extLst>
              <a:ext uri="{FF2B5EF4-FFF2-40B4-BE49-F238E27FC236}">
                <a16:creationId xmlns:a16="http://schemas.microsoft.com/office/drawing/2014/main" xmlns="" id="{46D94BE5-20FD-8FF9-7269-B36110D5B4BF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513489" y="330241"/>
            <a:ext cx="1695449" cy="5016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E836540-85AD-8534-F49B-575F1F10E0C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50" t="34783" r="21168" b="45021"/>
          <a:stretch/>
        </p:blipFill>
        <p:spPr>
          <a:xfrm>
            <a:off x="9232219" y="170842"/>
            <a:ext cx="1184400" cy="5958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6DF69CE-F433-4D05-C005-31F1EBCD8EF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34277"/>
            <a:ext cx="12192000" cy="559801"/>
          </a:xfrm>
          <a:prstGeom prst="rect">
            <a:avLst/>
          </a:prstGeom>
        </p:spPr>
      </p:pic>
      <p:pic>
        <p:nvPicPr>
          <p:cNvPr id="9" name="object 24">
            <a:extLst>
              <a:ext uri="{FF2B5EF4-FFF2-40B4-BE49-F238E27FC236}">
                <a16:creationId xmlns:a16="http://schemas.microsoft.com/office/drawing/2014/main" xmlns="" id="{72B65901-C791-1072-2B66-2A91C659B9B3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568575" y="211972"/>
            <a:ext cx="1184400" cy="4851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EE7FFF64-04D1-7312-9DAA-D7CC8528EEF4}"/>
              </a:ext>
            </a:extLst>
          </p:cNvPr>
          <p:cNvSpPr/>
          <p:nvPr/>
        </p:nvSpPr>
        <p:spPr>
          <a:xfrm>
            <a:off x="4901938" y="5499171"/>
            <a:ext cx="2743200" cy="593889"/>
          </a:xfrm>
          <a:prstGeom prst="rect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latin typeface="Book Antiqua" panose="02040602050305030304" pitchFamily="18" charset="0"/>
              </a:rPr>
              <a:t>PP 94/2021</a:t>
            </a:r>
          </a:p>
          <a:p>
            <a:pPr algn="ctr"/>
            <a:r>
              <a:rPr lang="en-US" sz="1600" dirty="0">
                <a:latin typeface="Book Antiqua" panose="02040602050305030304" pitchFamily="18" charset="0"/>
              </a:rPr>
              <a:t>Per-BKN No 6/2022 </a:t>
            </a:r>
            <a:endParaRPr lang="en-ID" sz="160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020717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96242D8-5B07-B3B5-E6D9-B07E93895F6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974" t="35743" r="6973" b="14386"/>
          <a:stretch/>
        </p:blipFill>
        <p:spPr>
          <a:xfrm>
            <a:off x="238128" y="1398149"/>
            <a:ext cx="11715743" cy="4625573"/>
          </a:xfrm>
          <a:prstGeom prst="rect">
            <a:avLst/>
          </a:prstGeom>
        </p:spPr>
      </p:pic>
      <p:pic>
        <p:nvPicPr>
          <p:cNvPr id="6" name="object 4">
            <a:extLst>
              <a:ext uri="{FF2B5EF4-FFF2-40B4-BE49-F238E27FC236}">
                <a16:creationId xmlns:a16="http://schemas.microsoft.com/office/drawing/2014/main" xmlns="" id="{B0B66F08-949C-E8F8-46C2-76FD11B396AE}"/>
              </a:ext>
            </a:extLst>
          </p:cNvPr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6257" y="330241"/>
            <a:ext cx="1695449" cy="5016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313C718-888B-028A-0277-A522DD96CE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6250" t="34783" r="21168" b="45021"/>
          <a:stretch/>
        </p:blipFill>
        <p:spPr>
          <a:xfrm>
            <a:off x="9172747" y="170842"/>
            <a:ext cx="1184400" cy="5958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63C38F5-7ABC-0606-FEF1-D12DCB6E154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34277"/>
            <a:ext cx="12192000" cy="559801"/>
          </a:xfrm>
          <a:prstGeom prst="rect">
            <a:avLst/>
          </a:prstGeom>
        </p:spPr>
      </p:pic>
      <p:pic>
        <p:nvPicPr>
          <p:cNvPr id="9" name="object 24">
            <a:extLst>
              <a:ext uri="{FF2B5EF4-FFF2-40B4-BE49-F238E27FC236}">
                <a16:creationId xmlns:a16="http://schemas.microsoft.com/office/drawing/2014/main" xmlns="" id="{81A41D39-9615-26E0-FCF1-F6E20EC3C862}"/>
              </a:ext>
            </a:extLst>
          </p:cNvPr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0531343" y="211972"/>
            <a:ext cx="1184400" cy="4851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201EB53-D446-CFCE-833C-51A644EC9EC3}"/>
              </a:ext>
            </a:extLst>
          </p:cNvPr>
          <p:cNvSpPr/>
          <p:nvPr/>
        </p:nvSpPr>
        <p:spPr>
          <a:xfrm>
            <a:off x="3561347" y="697144"/>
            <a:ext cx="5005137" cy="5016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Berlin Sans FB" panose="020E0602020502020306" pitchFamily="34" charset="0"/>
              </a:rPr>
              <a:t>WEWENANG USER</a:t>
            </a:r>
            <a:endParaRPr lang="en-ID" sz="2800" b="1" dirty="0">
              <a:solidFill>
                <a:schemeClr val="accent2">
                  <a:lumMod val="60000"/>
                  <a:lumOff val="40000"/>
                </a:schemeClr>
              </a:solidFill>
              <a:latin typeface="Berlin Sans FB" panose="020E0602020502020306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59461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AC868AF9-F3B9-1013-71A1-DD9C9D117AAA}"/>
              </a:ext>
            </a:extLst>
          </p:cNvPr>
          <p:cNvSpPr/>
          <p:nvPr/>
        </p:nvSpPr>
        <p:spPr>
          <a:xfrm>
            <a:off x="0" y="-412994"/>
            <a:ext cx="266700" cy="266700"/>
          </a:xfrm>
          <a:prstGeom prst="rect">
            <a:avLst/>
          </a:prstGeom>
          <a:solidFill>
            <a:srgbClr val="5517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264C810C-324D-9AB6-F503-357E9CBB3FDF}"/>
              </a:ext>
            </a:extLst>
          </p:cNvPr>
          <p:cNvSpPr/>
          <p:nvPr/>
        </p:nvSpPr>
        <p:spPr>
          <a:xfrm>
            <a:off x="367382" y="-412994"/>
            <a:ext cx="266700" cy="266700"/>
          </a:xfrm>
          <a:prstGeom prst="rect">
            <a:avLst/>
          </a:prstGeom>
          <a:solidFill>
            <a:srgbClr val="FF4A4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EEED6E26-4FF9-4C7B-5F9C-C68C4F152859}"/>
              </a:ext>
            </a:extLst>
          </p:cNvPr>
          <p:cNvSpPr/>
          <p:nvPr/>
        </p:nvSpPr>
        <p:spPr>
          <a:xfrm>
            <a:off x="734764" y="-412994"/>
            <a:ext cx="266700" cy="266700"/>
          </a:xfrm>
          <a:prstGeom prst="rect">
            <a:avLst/>
          </a:prstGeom>
          <a:solidFill>
            <a:srgbClr val="FF8D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2F7E40EA-E64E-8024-10A8-A41309FFB5CA}"/>
              </a:ext>
            </a:extLst>
          </p:cNvPr>
          <p:cNvSpPr/>
          <p:nvPr/>
        </p:nvSpPr>
        <p:spPr>
          <a:xfrm>
            <a:off x="1102146" y="-412994"/>
            <a:ext cx="266700" cy="266700"/>
          </a:xfrm>
          <a:prstGeom prst="rect">
            <a:avLst/>
          </a:prstGeom>
          <a:solidFill>
            <a:srgbClr val="FFCD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C9DCFD89-4210-1E65-025F-C8BCB45DE3B3}"/>
              </a:ext>
            </a:extLst>
          </p:cNvPr>
          <p:cNvCxnSpPr>
            <a:cxnSpLocks/>
          </p:cNvCxnSpPr>
          <p:nvPr/>
        </p:nvCxnSpPr>
        <p:spPr>
          <a:xfrm>
            <a:off x="538480" y="6547042"/>
            <a:ext cx="10799445" cy="0"/>
          </a:xfrm>
          <a:prstGeom prst="line">
            <a:avLst/>
          </a:prstGeom>
          <a:ln>
            <a:solidFill>
              <a:srgbClr val="FF4A4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Freeform: Shape 64">
            <a:extLst>
              <a:ext uri="{FF2B5EF4-FFF2-40B4-BE49-F238E27FC236}">
                <a16:creationId xmlns:a16="http://schemas.microsoft.com/office/drawing/2014/main" xmlns="" id="{16770005-E84C-A201-9C6A-9B378EFED1DF}"/>
              </a:ext>
            </a:extLst>
          </p:cNvPr>
          <p:cNvSpPr/>
          <p:nvPr/>
        </p:nvSpPr>
        <p:spPr>
          <a:xfrm flipH="1" flipV="1">
            <a:off x="11390024" y="6308725"/>
            <a:ext cx="289117" cy="289117"/>
          </a:xfrm>
          <a:custGeom>
            <a:avLst/>
            <a:gdLst>
              <a:gd name="connsiteX0" fmla="*/ 429208 w 858416"/>
              <a:gd name="connsiteY0" fmla="*/ 0 h 858416"/>
              <a:gd name="connsiteX1" fmla="*/ 858416 w 858416"/>
              <a:gd name="connsiteY1" fmla="*/ 0 h 858416"/>
              <a:gd name="connsiteX2" fmla="*/ 858416 w 858416"/>
              <a:gd name="connsiteY2" fmla="*/ 429208 h 858416"/>
              <a:gd name="connsiteX3" fmla="*/ 429208 w 858416"/>
              <a:gd name="connsiteY3" fmla="*/ 858416 h 858416"/>
              <a:gd name="connsiteX4" fmla="*/ 0 w 858416"/>
              <a:gd name="connsiteY4" fmla="*/ 858416 h 858416"/>
              <a:gd name="connsiteX5" fmla="*/ 0 w 858416"/>
              <a:gd name="connsiteY5" fmla="*/ 429208 h 858416"/>
              <a:gd name="connsiteX6" fmla="*/ 429208 w 858416"/>
              <a:gd name="connsiteY6" fmla="*/ 0 h 858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8416" h="858416">
                <a:moveTo>
                  <a:pt x="429208" y="0"/>
                </a:moveTo>
                <a:lnTo>
                  <a:pt x="858416" y="0"/>
                </a:lnTo>
                <a:lnTo>
                  <a:pt x="858416" y="429208"/>
                </a:lnTo>
                <a:cubicBezTo>
                  <a:pt x="858416" y="666253"/>
                  <a:pt x="666253" y="858416"/>
                  <a:pt x="429208" y="858416"/>
                </a:cubicBezTo>
                <a:lnTo>
                  <a:pt x="0" y="858416"/>
                </a:lnTo>
                <a:lnTo>
                  <a:pt x="0" y="429208"/>
                </a:lnTo>
                <a:cubicBezTo>
                  <a:pt x="0" y="192163"/>
                  <a:pt x="192163" y="0"/>
                  <a:pt x="429208" y="0"/>
                </a:cubicBezTo>
                <a:close/>
              </a:path>
            </a:pathLst>
          </a:custGeom>
          <a:solidFill>
            <a:srgbClr val="FF8D2A"/>
          </a:solidFill>
          <a:ln w="38100">
            <a:noFill/>
          </a:ln>
          <a:effectLst>
            <a:outerShdw blurRad="127000" dist="63500" dir="5400000" algn="t" rotWithShape="0">
              <a:prstClr val="black">
                <a:alpha val="1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8" name="Slide Number Placeholder 3">
            <a:extLst>
              <a:ext uri="{FF2B5EF4-FFF2-40B4-BE49-F238E27FC236}">
                <a16:creationId xmlns:a16="http://schemas.microsoft.com/office/drawing/2014/main" xmlns="" id="{6813985F-8EA8-E685-F802-BEB2BE161C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90023" y="6308725"/>
            <a:ext cx="289117" cy="289118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93259C6-7B9F-47CB-84EA-AE2329FC0E0A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hnschrift" panose="020B0502040204020203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ahnschrift" panose="020B0502040204020203" pitchFamily="34" charset="0"/>
              <a:ea typeface="+mn-ea"/>
              <a:cs typeface="+mn-cs"/>
            </a:endParaRPr>
          </a:p>
        </p:txBody>
      </p:sp>
      <p:pic>
        <p:nvPicPr>
          <p:cNvPr id="951" name="Picture 950">
            <a:extLst>
              <a:ext uri="{FF2B5EF4-FFF2-40B4-BE49-F238E27FC236}">
                <a16:creationId xmlns:a16="http://schemas.microsoft.com/office/drawing/2014/main" xmlns="" id="{C926DBC1-37AB-4866-9704-2329C7339C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0"/>
            <a:ext cx="1055182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94514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A412129B-D786-4D6B-AE61-8FADBCC3CA5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834" t="20000" r="42000" b="9037"/>
          <a:stretch/>
        </p:blipFill>
        <p:spPr>
          <a:xfrm>
            <a:off x="929035" y="1615627"/>
            <a:ext cx="3741510" cy="424688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solidFill>
              <a:schemeClr val="accent1"/>
            </a:solidFill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E15E91E-DBCD-4047-8438-129F1C98B565}"/>
              </a:ext>
            </a:extLst>
          </p:cNvPr>
          <p:cNvSpPr/>
          <p:nvPr/>
        </p:nvSpPr>
        <p:spPr>
          <a:xfrm>
            <a:off x="5928913" y="2535685"/>
            <a:ext cx="5423754" cy="2677656"/>
          </a:xfrm>
          <a:prstGeom prst="rect">
            <a:avLst/>
          </a:prstGeom>
          <a:solidFill>
            <a:schemeClr val="bg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Unt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ewujud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nyelenggara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anajeme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ASN di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Instan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merint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sesua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e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NSPK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anajeme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ASN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lam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hal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terdap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kekoso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PPK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jab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itunj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tida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p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elaku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ngangkat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mindah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mberhenti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romo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ut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kepegawai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ID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 panose="02050604050505020204" pitchFamily="18" charset="0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lam hal terdapat kebutuhan Instansi Pemerintah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jab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yang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itunjuk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sebagaiman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imaksud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ad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ay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(1)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p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elakuk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ngangkat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mindah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mberhenti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romo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,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d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utasi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kepegawai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setelah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mendapat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pertimbangan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teknis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</a:t>
            </a:r>
            <a:r>
              <a:rPr kumimoji="0" lang="en-ID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Kepala</a:t>
            </a:r>
            <a:r>
              <a:rPr kumimoji="0" lang="en-ID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 BKN.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xmlns="" id="{EC0A61D6-17BC-4CC8-BFE9-D52B79523160}"/>
              </a:ext>
            </a:extLst>
          </p:cNvPr>
          <p:cNvSpPr txBox="1"/>
          <p:nvPr/>
        </p:nvSpPr>
        <p:spPr>
          <a:xfrm>
            <a:off x="3704734" y="888479"/>
            <a:ext cx="7449892" cy="6155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Lato Black" panose="020F0A02020204030203" pitchFamily="34" charset="0"/>
                <a:ea typeface="+mn-ea"/>
                <a:cs typeface="+mn-cs"/>
              </a:rPr>
              <a:t>PENEGASAN BAGI PELAKSANA TUGAS/PENJABAT/PENJABAT SEMENTARA KEPALA DAERAH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Lato Black" panose="020F0A02020204030203" pitchFamily="34" charset="0"/>
              <a:ea typeface="+mn-ea"/>
              <a:cs typeface="+mn-cs"/>
            </a:endParaRPr>
          </a:p>
        </p:txBody>
      </p:sp>
      <p:sp>
        <p:nvSpPr>
          <p:cNvPr id="7" name="TextBox 13">
            <a:extLst>
              <a:ext uri="{FF2B5EF4-FFF2-40B4-BE49-F238E27FC236}">
                <a16:creationId xmlns:a16="http://schemas.microsoft.com/office/drawing/2014/main" xmlns="" id="{AD9A664C-DD91-4793-A507-9A6F2D0273F0}"/>
              </a:ext>
            </a:extLst>
          </p:cNvPr>
          <p:cNvSpPr txBox="1"/>
          <p:nvPr/>
        </p:nvSpPr>
        <p:spPr>
          <a:xfrm>
            <a:off x="6755951" y="1909472"/>
            <a:ext cx="3769678" cy="4308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Lato Black" panose="020F0A02020204030203" pitchFamily="34" charset="0"/>
                <a:ea typeface="+mn-ea"/>
                <a:cs typeface="+mn-cs"/>
              </a:rPr>
              <a:t>PASAL 25 </a:t>
            </a:r>
          </a:p>
          <a:p>
            <a:pPr marL="0" marR="0" lvl="0" indent="0" algn="ctr" defTabSz="6096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Lato Black" panose="020F0A02020204030203" pitchFamily="34" charset="0"/>
                <a:ea typeface="+mn-ea"/>
                <a:cs typeface="+mn-cs"/>
              </a:rPr>
              <a:t>PERPRES 116 TAHUN 2022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Lato Black" panose="020F0A02020204030203" pitchFamily="34" charset="0"/>
              <a:ea typeface="+mn-ea"/>
              <a:cs typeface="+mn-cs"/>
            </a:endParaRP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xmlns="" id="{7C7449C1-0398-4296-B18D-9EF7FC249ED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09" y="260169"/>
            <a:ext cx="1843989" cy="54328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5D4DE18D-0A15-4279-8CE5-93E76E0CE3C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438168" y="6096765"/>
            <a:ext cx="2548570" cy="650608"/>
          </a:xfrm>
          <a:prstGeom prst="rect">
            <a:avLst/>
          </a:prstGeom>
        </p:spPr>
      </p:pic>
      <p:pic>
        <p:nvPicPr>
          <p:cNvPr id="10" name="Picture 24">
            <a:extLst>
              <a:ext uri="{FF2B5EF4-FFF2-40B4-BE49-F238E27FC236}">
                <a16:creationId xmlns:a16="http://schemas.microsoft.com/office/drawing/2014/main" xmlns="" id="{6F88C503-AF1B-42A2-BC38-387D9157581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rcRect/>
          <a:stretch>
            <a:fillRect/>
          </a:stretch>
        </p:blipFill>
        <p:spPr>
          <a:xfrm>
            <a:off x="4855683" y="3003629"/>
            <a:ext cx="752775" cy="73543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94C39CA-CFD2-9052-C846-4372A7A3ED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714950E4-17B9-642E-F5BC-F96F6B4D3B70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39150" y="6136732"/>
            <a:ext cx="1587729" cy="57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0120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object 4">
            <a:extLst>
              <a:ext uri="{FF2B5EF4-FFF2-40B4-BE49-F238E27FC236}">
                <a16:creationId xmlns:a16="http://schemas.microsoft.com/office/drawing/2014/main" xmlns="" id="{EEE37FCB-A715-898F-79EE-BDE6F2B4662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13489" y="330241"/>
            <a:ext cx="1695449" cy="5016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06738F0B-8727-9547-61F5-2D19A48BEA9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250" t="34783" r="21168" b="45021"/>
          <a:stretch/>
        </p:blipFill>
        <p:spPr>
          <a:xfrm>
            <a:off x="9429997" y="243822"/>
            <a:ext cx="964382" cy="48517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A7F35B96-2D6A-B628-BE5E-23482AFAF70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34277"/>
            <a:ext cx="12192000" cy="559801"/>
          </a:xfrm>
          <a:prstGeom prst="rect">
            <a:avLst/>
          </a:prstGeom>
        </p:spPr>
      </p:pic>
      <p:pic>
        <p:nvPicPr>
          <p:cNvPr id="8" name="object 24">
            <a:extLst>
              <a:ext uri="{FF2B5EF4-FFF2-40B4-BE49-F238E27FC236}">
                <a16:creationId xmlns:a16="http://schemas.microsoft.com/office/drawing/2014/main" xmlns="" id="{5C49FFCA-91C7-F41D-5E09-A8255ADED357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568575" y="211972"/>
            <a:ext cx="1184400" cy="485172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C86DCC9-ECCD-80EB-E8C5-831B928B9B81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35"/>
          <a:stretch/>
        </p:blipFill>
        <p:spPr>
          <a:xfrm>
            <a:off x="1163252" y="822463"/>
            <a:ext cx="9884964" cy="5408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85674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4637409E-2E1C-0EA5-F6E3-DE22E849434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4922" t="34502" r="10928" b="20000"/>
          <a:stretch/>
        </p:blipFill>
        <p:spPr>
          <a:xfrm>
            <a:off x="1132178" y="893490"/>
            <a:ext cx="9842454" cy="5957416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7D4D2E46-3BC2-80C3-8C9D-35E0AF80D6A8}"/>
              </a:ext>
            </a:extLst>
          </p:cNvPr>
          <p:cNvGrpSpPr/>
          <p:nvPr/>
        </p:nvGrpSpPr>
        <p:grpSpPr>
          <a:xfrm rot="16200000">
            <a:off x="7991278" y="2645410"/>
            <a:ext cx="6850905" cy="1574276"/>
            <a:chOff x="0" y="4948862"/>
            <a:chExt cx="12192000" cy="190913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B966E655-5694-E031-7782-B432E2E0B635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9B56BD90-9E90-E5A7-24F7-79B2332A6F88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8E79C9A-44BD-BF60-315D-07639F0E9072}"/>
              </a:ext>
            </a:extLst>
          </p:cNvPr>
          <p:cNvGrpSpPr/>
          <p:nvPr/>
        </p:nvGrpSpPr>
        <p:grpSpPr>
          <a:xfrm rot="5400000">
            <a:off x="-2638315" y="2645409"/>
            <a:ext cx="6850905" cy="1574276"/>
            <a:chOff x="0" y="4948862"/>
            <a:chExt cx="12192000" cy="190913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C10CFDD2-C6EE-5C48-BA6F-DDCAAC9C03DC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91C269EE-8773-7732-8B30-5D6DC438599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8B21BD53-07B4-DAF4-1864-8B7B7C811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6324A135-E07D-1189-C010-4992AA545B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73893" y="292380"/>
            <a:ext cx="1828816" cy="5797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57F7299-499A-6936-EDAD-8A98685BCF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1000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5">
            <a:extLst>
              <a:ext uri="{FF2B5EF4-FFF2-40B4-BE49-F238E27FC236}">
                <a16:creationId xmlns:a16="http://schemas.microsoft.com/office/drawing/2014/main" xmlns="" id="{1D799844-34DB-4E8F-8D14-E6653F8F6E0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336635" y="238730"/>
            <a:ext cx="1828816" cy="579781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xmlns="" id="{F13619B4-BA22-4320-BF82-34E4AEE13C6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733130" y="6178389"/>
            <a:ext cx="2548570" cy="650608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2C64EE69-9BAE-48E7-B252-3639E02A63F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5967" y="6221952"/>
            <a:ext cx="1587729" cy="570673"/>
          </a:xfrm>
          <a:prstGeom prst="rect">
            <a:avLst/>
          </a:prstGeom>
        </p:spPr>
      </p:pic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1E6CB83E-E86E-4E58-AFAA-A30C90B768C4}"/>
              </a:ext>
            </a:extLst>
          </p:cNvPr>
          <p:cNvSpPr txBox="1"/>
          <p:nvPr/>
        </p:nvSpPr>
        <p:spPr>
          <a:xfrm>
            <a:off x="1610788" y="916948"/>
            <a:ext cx="8673979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400" b="1" dirty="0">
                <a:latin typeface="Bookman Old Style" panose="02050604050505020204" pitchFamily="18" charset="0"/>
                <a:cs typeface="Arial" pitchFamily="34" charset="0"/>
              </a:rPr>
              <a:t>DATA PELANGGARAN NETRALITAS ASN (SBT) </a:t>
            </a:r>
          </a:p>
          <a:p>
            <a:pPr algn="ctr"/>
            <a:r>
              <a:rPr lang="en-US" altLang="ko-KR" sz="2400" b="1" dirty="0">
                <a:latin typeface="Bookman Old Style" panose="02050604050505020204" pitchFamily="18" charset="0"/>
                <a:cs typeface="Arial" pitchFamily="34" charset="0"/>
              </a:rPr>
              <a:t>TAHUN 2024 </a:t>
            </a:r>
            <a:endParaRPr lang="ko-KR" altLang="en-US" sz="2400" b="1" dirty="0">
              <a:latin typeface="Bookman Old Style" panose="02050604050505020204" pitchFamily="18" charset="0"/>
              <a:cs typeface="Arial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xmlns="" id="{722BAC87-499A-46B4-8356-EA28CDA66095}"/>
              </a:ext>
            </a:extLst>
          </p:cNvPr>
          <p:cNvSpPr txBox="1"/>
          <p:nvPr/>
        </p:nvSpPr>
        <p:spPr>
          <a:xfrm>
            <a:off x="7349282" y="5018705"/>
            <a:ext cx="2930726" cy="923330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TOTAL PELANGGARAN NETRALITAS YANG MASUK KE BKN = 169</a:t>
            </a:r>
          </a:p>
        </p:txBody>
      </p:sp>
      <p:pic>
        <p:nvPicPr>
          <p:cNvPr id="73" name="Picture 72" descr="https://1.bp.blogspot.com/-Zfuk7YXMD4A/X2pRwps9qYI/AAAAAAAAAHU/aF4S3RzwMlYGhwt248h95IV7Ir9uXDwWACLcBGAsYHQ/w1200-h630-p-k-no-nu/Netralitas%2BASN.jpg">
            <a:extLst>
              <a:ext uri="{FF2B5EF4-FFF2-40B4-BE49-F238E27FC236}">
                <a16:creationId xmlns:a16="http://schemas.microsoft.com/office/drawing/2014/main" xmlns="" id="{D4FC71A7-CFFC-4123-91FF-198744278DB0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397" y="5132736"/>
            <a:ext cx="3657456" cy="1575411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Picture 73" descr="https://www.cakrawalamedia.co.id/wp-content/uploads/2016/10/Plt-Gubernur-DKI-Jakarta-Diingatkan-Jaga-Netralitas-PNS.jpg">
            <a:extLst>
              <a:ext uri="{FF2B5EF4-FFF2-40B4-BE49-F238E27FC236}">
                <a16:creationId xmlns:a16="http://schemas.microsoft.com/office/drawing/2014/main" xmlns="" id="{DA8E68E1-01BC-4F33-8038-D63270AF933F}"/>
              </a:ext>
            </a:extLst>
          </p:cNvPr>
          <p:cNvPicPr/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63" r="23266"/>
          <a:stretch/>
        </p:blipFill>
        <p:spPr bwMode="auto">
          <a:xfrm>
            <a:off x="9103553" y="2345971"/>
            <a:ext cx="2768943" cy="239785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106BB454-0668-448E-9742-89E1DEAA8BD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10643952"/>
              </p:ext>
            </p:extLst>
          </p:nvPr>
        </p:nvGraphicFramePr>
        <p:xfrm>
          <a:off x="782320" y="1747946"/>
          <a:ext cx="8829040" cy="4551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EAA8951A-A2B3-C35A-E3B3-4B48D7C7AEF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24940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7D4D2E46-3BC2-80C3-8C9D-35E0AF80D6A8}"/>
              </a:ext>
            </a:extLst>
          </p:cNvPr>
          <p:cNvGrpSpPr/>
          <p:nvPr/>
        </p:nvGrpSpPr>
        <p:grpSpPr>
          <a:xfrm rot="16200000">
            <a:off x="7991278" y="2645410"/>
            <a:ext cx="6850905" cy="1574276"/>
            <a:chOff x="0" y="4948862"/>
            <a:chExt cx="12192000" cy="190913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B966E655-5694-E031-7782-B432E2E0B635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9B56BD90-9E90-E5A7-24F7-79B2332A6F88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8E79C9A-44BD-BF60-315D-07639F0E9072}"/>
              </a:ext>
            </a:extLst>
          </p:cNvPr>
          <p:cNvGrpSpPr/>
          <p:nvPr/>
        </p:nvGrpSpPr>
        <p:grpSpPr>
          <a:xfrm rot="5400000">
            <a:off x="-2638315" y="2645409"/>
            <a:ext cx="6850905" cy="1574276"/>
            <a:chOff x="0" y="4948862"/>
            <a:chExt cx="12192000" cy="190913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C10CFDD2-C6EE-5C48-BA6F-DDCAAC9C03DC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91C269EE-8773-7732-8B30-5D6DC438599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8B21BD53-07B4-DAF4-1864-8B7B7C811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6324A135-E07D-1189-C010-4992AA545B6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273893" y="292380"/>
            <a:ext cx="1828816" cy="5797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57F7299-499A-6936-EDAD-8A98685BCF6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930B6795-009B-E68A-EB0D-6E164B9A6B3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1333" y="893488"/>
            <a:ext cx="9427709" cy="5385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33611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ject 4">
            <a:extLst>
              <a:ext uri="{FF2B5EF4-FFF2-40B4-BE49-F238E27FC236}">
                <a16:creationId xmlns:a16="http://schemas.microsoft.com/office/drawing/2014/main" xmlns="" id="{B0B66F08-949C-E8F8-46C2-76FD11B396AE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76257" y="330241"/>
            <a:ext cx="1695449" cy="5016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C313C718-888B-028A-0277-A522DD96CEA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56250" t="34783" r="21168" b="45021"/>
          <a:stretch/>
        </p:blipFill>
        <p:spPr>
          <a:xfrm>
            <a:off x="9172747" y="170842"/>
            <a:ext cx="1184400" cy="59586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63C38F5-7ABC-0606-FEF1-D12DCB6E154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088"/>
          <a:stretch/>
        </p:blipFill>
        <p:spPr>
          <a:xfrm>
            <a:off x="0" y="6334277"/>
            <a:ext cx="12192000" cy="559801"/>
          </a:xfrm>
          <a:prstGeom prst="rect">
            <a:avLst/>
          </a:prstGeom>
        </p:spPr>
      </p:pic>
      <p:pic>
        <p:nvPicPr>
          <p:cNvPr id="9" name="object 24">
            <a:extLst>
              <a:ext uri="{FF2B5EF4-FFF2-40B4-BE49-F238E27FC236}">
                <a16:creationId xmlns:a16="http://schemas.microsoft.com/office/drawing/2014/main" xmlns="" id="{81A41D39-9615-26E0-FCF1-F6E20EC3C862}"/>
              </a:ext>
            </a:extLst>
          </p:cNvPr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0531343" y="211972"/>
            <a:ext cx="1184400" cy="48517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201EB53-D446-CFCE-833C-51A644EC9EC3}"/>
              </a:ext>
            </a:extLst>
          </p:cNvPr>
          <p:cNvSpPr/>
          <p:nvPr/>
        </p:nvSpPr>
        <p:spPr>
          <a:xfrm>
            <a:off x="2324501" y="795354"/>
            <a:ext cx="7347284" cy="501650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schemeClr val="accent2">
                    <a:lumMod val="60000"/>
                    <a:lumOff val="40000"/>
                  </a:schemeClr>
                </a:solidFill>
                <a:latin typeface="Berlin Sans FB" panose="020E0602020502020306" pitchFamily="34" charset="0"/>
              </a:rPr>
              <a:t>JENIS-JENIS PELANGGARAN NETRALITAS</a:t>
            </a:r>
            <a:endParaRPr lang="en-ID" sz="2800" b="1" dirty="0">
              <a:solidFill>
                <a:schemeClr val="accent2">
                  <a:lumMod val="60000"/>
                  <a:lumOff val="40000"/>
                </a:schemeClr>
              </a:solidFill>
              <a:latin typeface="Berlin Sans FB" panose="020E0602020502020306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22643A61-13E4-AA6F-5C2F-EAD08A37D4B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6503" y="1404763"/>
            <a:ext cx="11003280" cy="479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4495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-1321427" y="-1320866"/>
            <a:ext cx="13826779" cy="8509040"/>
            <a:chOff x="0" y="0"/>
            <a:chExt cx="27653559" cy="17018080"/>
          </a:xfrm>
        </p:grpSpPr>
        <p:pic>
          <p:nvPicPr>
            <p:cNvPr id="3" name="Picture 3"/>
            <p:cNvPicPr>
              <a:picLocks noChangeAspect="1"/>
            </p:cNvPicPr>
            <p:nvPr/>
          </p:nvPicPr>
          <p:blipFill>
            <a:blip r:embed="rId2"/>
            <a:srcRect t="3844" b="3844"/>
            <a:stretch>
              <a:fillRect/>
            </a:stretch>
          </p:blipFill>
          <p:spPr>
            <a:xfrm>
              <a:off x="0" y="0"/>
              <a:ext cx="27653559" cy="17018080"/>
            </a:xfrm>
            <a:prstGeom prst="rect">
              <a:avLst/>
            </a:prstGeom>
          </p:spPr>
        </p:pic>
      </p:grpSp>
      <p:grpSp>
        <p:nvGrpSpPr>
          <p:cNvPr id="4" name="Group 4"/>
          <p:cNvGrpSpPr/>
          <p:nvPr/>
        </p:nvGrpSpPr>
        <p:grpSpPr>
          <a:xfrm>
            <a:off x="-626705" y="-186098"/>
            <a:ext cx="12818705" cy="7157979"/>
            <a:chOff x="0" y="0"/>
            <a:chExt cx="5064180" cy="2827844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5064180" cy="2827844"/>
            </a:xfrm>
            <a:custGeom>
              <a:avLst/>
              <a:gdLst/>
              <a:ahLst/>
              <a:cxnLst/>
              <a:rect l="l" t="t" r="r" b="b"/>
              <a:pathLst>
                <a:path w="5064180" h="2827844">
                  <a:moveTo>
                    <a:pt x="0" y="0"/>
                  </a:moveTo>
                  <a:lnTo>
                    <a:pt x="5064180" y="0"/>
                  </a:lnTo>
                  <a:lnTo>
                    <a:pt x="5064180" y="2827844"/>
                  </a:lnTo>
                  <a:lnTo>
                    <a:pt x="0" y="2827844"/>
                  </a:lnTo>
                  <a:close/>
                </a:path>
              </a:pathLst>
            </a:custGeom>
            <a:solidFill>
              <a:srgbClr val="000000">
                <a:alpha val="71765"/>
              </a:srgbClr>
            </a:solidFill>
          </p:spPr>
          <p:txBody>
            <a:bodyPr/>
            <a:lstStyle/>
            <a:p>
              <a:endParaRPr lang="en-ID" sz="1200" dirty="0"/>
            </a:p>
          </p:txBody>
        </p:sp>
        <p:sp>
          <p:nvSpPr>
            <p:cNvPr id="6" name="TextBox 6"/>
            <p:cNvSpPr txBox="1"/>
            <p:nvPr/>
          </p:nvSpPr>
          <p:spPr>
            <a:xfrm>
              <a:off x="0" y="-57150"/>
              <a:ext cx="812800" cy="8699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1200" dirty="0"/>
            </a:p>
          </p:txBody>
        </p:sp>
      </p:grpSp>
      <p:sp>
        <p:nvSpPr>
          <p:cNvPr id="7" name="TextBox 7"/>
          <p:cNvSpPr txBox="1"/>
          <p:nvPr/>
        </p:nvSpPr>
        <p:spPr>
          <a:xfrm>
            <a:off x="2191709" y="1114403"/>
            <a:ext cx="7808583" cy="8079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6337"/>
              </a:lnSpc>
            </a:pPr>
            <a:r>
              <a:rPr lang="en-US" sz="6466" dirty="0">
                <a:solidFill>
                  <a:srgbClr val="FFFFFF"/>
                </a:solidFill>
                <a:latin typeface="Poppins Bold"/>
              </a:rPr>
              <a:t>Terima kasih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693000" y="3968764"/>
            <a:ext cx="4806000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184" spc="43" dirty="0">
                <a:solidFill>
                  <a:srgbClr val="FFFFFF"/>
                </a:solidFill>
                <a:latin typeface="Muli Bold"/>
              </a:rPr>
              <a:t>Nomor Telepon: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3693000" y="4303578"/>
            <a:ext cx="4806000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1512" spc="30" dirty="0">
                <a:solidFill>
                  <a:srgbClr val="FFFFFF"/>
                </a:solidFill>
                <a:latin typeface="Arimo"/>
              </a:rPr>
              <a:t>(031) 8531038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3693000" y="4725790"/>
            <a:ext cx="4806000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184" spc="43" dirty="0">
                <a:solidFill>
                  <a:srgbClr val="FFFFFF"/>
                </a:solidFill>
                <a:latin typeface="Muli Bold"/>
              </a:rPr>
              <a:t>Alamat e-mail: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3693000" y="5060605"/>
            <a:ext cx="4806000" cy="2949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1512" spc="30" dirty="0">
                <a:solidFill>
                  <a:schemeClr val="bg1"/>
                </a:solidFill>
                <a:latin typeface="Arimo"/>
              </a:rPr>
              <a:t>kanreg2.surabaya@bkn.go.id</a:t>
            </a:r>
            <a:endParaRPr lang="en-US" sz="1512" spc="30" dirty="0">
              <a:solidFill>
                <a:schemeClr val="bg1"/>
              </a:solidFill>
              <a:latin typeface="Arimo"/>
              <a:hlinkClick r:id="rId3" tooltip="mailto:bknsurabaya@bkn.go.id">
                <a:extLst>
                  <a:ext uri="{A12FA001-AC4F-418D-AE19-62706E023703}">
                    <ahyp:hlinkClr xmlns:ahyp="http://schemas.microsoft.com/office/drawing/2018/hyperlinkcolor" xmlns="" val="tx"/>
                  </a:ext>
                </a:extLst>
              </a:hlinkClick>
            </a:endParaRPr>
          </a:p>
        </p:txBody>
      </p:sp>
      <p:sp>
        <p:nvSpPr>
          <p:cNvPr id="12" name="TextBox 12"/>
          <p:cNvSpPr txBox="1"/>
          <p:nvPr/>
        </p:nvSpPr>
        <p:spPr>
          <a:xfrm>
            <a:off x="3693000" y="5525740"/>
            <a:ext cx="4806000" cy="35907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839"/>
              </a:lnSpc>
            </a:pPr>
            <a:r>
              <a:rPr lang="en-US" sz="2184" spc="43" dirty="0">
                <a:solidFill>
                  <a:srgbClr val="FFFFFF"/>
                </a:solidFill>
                <a:latin typeface="Muli Bold"/>
              </a:rPr>
              <a:t>Alamat Kantor: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3794200" y="5816044"/>
            <a:ext cx="4603601" cy="58990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268"/>
              </a:lnSpc>
            </a:pPr>
            <a:r>
              <a:rPr lang="en-US" sz="1512" spc="30" dirty="0">
                <a:solidFill>
                  <a:srgbClr val="FFFFFF"/>
                </a:solidFill>
                <a:latin typeface="Arimo"/>
              </a:rPr>
              <a:t>JL. S. PARMAN NO.6 KECAMATAN WARU KABUPATEN SIDOARJO,  JAWA TIMUR (61256)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AD8D2863-B1AF-0042-9BE4-C1E9F81F9B1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39" y="95160"/>
            <a:ext cx="1308906" cy="1832469"/>
          </a:xfrm>
          <a:prstGeom prst="rect">
            <a:avLst/>
          </a:prstGeom>
        </p:spPr>
      </p:pic>
      <p:sp>
        <p:nvSpPr>
          <p:cNvPr id="18" name="Freeform 35">
            <a:extLst>
              <a:ext uri="{FF2B5EF4-FFF2-40B4-BE49-F238E27FC236}">
                <a16:creationId xmlns:a16="http://schemas.microsoft.com/office/drawing/2014/main" xmlns="" id="{05E6068E-A6E5-051D-3B49-F5C5F071D2D5}"/>
              </a:ext>
            </a:extLst>
          </p:cNvPr>
          <p:cNvSpPr/>
          <p:nvPr/>
        </p:nvSpPr>
        <p:spPr>
          <a:xfrm>
            <a:off x="9935700" y="194008"/>
            <a:ext cx="1814023" cy="690085"/>
          </a:xfrm>
          <a:custGeom>
            <a:avLst/>
            <a:gdLst/>
            <a:ahLst/>
            <a:cxnLst/>
            <a:rect l="l" t="t" r="r" b="b"/>
            <a:pathLst>
              <a:path w="2721034" h="1035127">
                <a:moveTo>
                  <a:pt x="0" y="0"/>
                </a:moveTo>
                <a:lnTo>
                  <a:pt x="2721034" y="0"/>
                </a:lnTo>
                <a:lnTo>
                  <a:pt x="2721034" y="1035126"/>
                </a:lnTo>
                <a:lnTo>
                  <a:pt x="0" y="1035126"/>
                </a:lnTo>
                <a:lnTo>
                  <a:pt x="0" y="0"/>
                </a:lnTo>
                <a:close/>
              </a:path>
            </a:pathLst>
          </a:custGeom>
          <a:blipFill>
            <a:blip r:embed="rId5"/>
            <a:stretch>
              <a:fillRect/>
            </a:stretch>
          </a:blipFill>
        </p:spPr>
        <p:txBody>
          <a:bodyPr/>
          <a:lstStyle/>
          <a:p>
            <a:endParaRPr lang="en-ID" sz="1200" dirty="0"/>
          </a:p>
        </p:txBody>
      </p:sp>
    </p:spTree>
    <p:extLst>
      <p:ext uri="{BB962C8B-B14F-4D97-AF65-F5344CB8AC3E}">
        <p14:creationId xmlns:p14="http://schemas.microsoft.com/office/powerpoint/2010/main" val="30805489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4">
            <a:extLst>
              <a:ext uri="{FF2B5EF4-FFF2-40B4-BE49-F238E27FC236}">
                <a16:creationId xmlns:a16="http://schemas.microsoft.com/office/drawing/2014/main" xmlns="" id="{86FF76B9-219D-4469-AF87-0236D29032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C05EB894-9410-4B20-95E4-7A25101AB89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8900000" flipH="1">
            <a:off x="11198218" y="-231223"/>
            <a:ext cx="1409491" cy="1876653"/>
          </a:xfrm>
          <a:custGeom>
            <a:avLst/>
            <a:gdLst>
              <a:gd name="connsiteX0" fmla="*/ 0 w 1409491"/>
              <a:gd name="connsiteY0" fmla="*/ 643075 h 1876653"/>
              <a:gd name="connsiteX1" fmla="*/ 643075 w 1409491"/>
              <a:gd name="connsiteY1" fmla="*/ 0 h 1876653"/>
              <a:gd name="connsiteX2" fmla="*/ 1409491 w 1409491"/>
              <a:gd name="connsiteY2" fmla="*/ 0 h 1876653"/>
              <a:gd name="connsiteX3" fmla="*/ 1409491 w 1409491"/>
              <a:gd name="connsiteY3" fmla="*/ 1876653 h 1876653"/>
              <a:gd name="connsiteX4" fmla="*/ 1233578 w 1409491"/>
              <a:gd name="connsiteY4" fmla="*/ 1876653 h 1876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9491" h="1876653">
                <a:moveTo>
                  <a:pt x="0" y="643075"/>
                </a:moveTo>
                <a:lnTo>
                  <a:pt x="643075" y="0"/>
                </a:lnTo>
                <a:lnTo>
                  <a:pt x="1409491" y="0"/>
                </a:lnTo>
                <a:lnTo>
                  <a:pt x="1409491" y="1876653"/>
                </a:lnTo>
                <a:lnTo>
                  <a:pt x="1233578" y="1876653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66E38B6-B050-4340-8E8F-3A971DADC0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8900000" flipH="1">
            <a:off x="11405658" y="128278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2E80C965-DB6D-4F81-9E9E-B027384D0B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700000">
            <a:off x="2737196" y="6033666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xmlns="" id="{633C5E46-DAC5-4661-9C87-22B08E2A512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1343436" y="5721108"/>
            <a:ext cx="2261965" cy="1136891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35E31051-9185-4900-8F83-F8FB23593F13}"/>
              </a:ext>
            </a:extLst>
          </p:cNvPr>
          <p:cNvSpPr/>
          <p:nvPr/>
        </p:nvSpPr>
        <p:spPr>
          <a:xfrm>
            <a:off x="0" y="6551811"/>
            <a:ext cx="12192000" cy="306189"/>
          </a:xfrm>
          <a:prstGeom prst="rect">
            <a:avLst/>
          </a:prstGeom>
          <a:solidFill>
            <a:srgbClr val="CB3D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맑은 고딕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xmlns="" id="{6F7E9E29-8505-4CD5-89C5-6D2684B21F92}"/>
              </a:ext>
            </a:extLst>
          </p:cNvPr>
          <p:cNvSpPr/>
          <p:nvPr/>
        </p:nvSpPr>
        <p:spPr>
          <a:xfrm>
            <a:off x="4116822" y="1129907"/>
            <a:ext cx="3924322" cy="3675044"/>
          </a:xfrm>
          <a:prstGeom prst="ellipse">
            <a:avLst/>
          </a:prstGeom>
          <a:solidFill>
            <a:schemeClr val="bg1"/>
          </a:solidFill>
          <a:ln w="28575">
            <a:solidFill>
              <a:srgbClr val="C0000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241CD458-7EEC-46FD-8AA5-16BDFA5D2844}"/>
              </a:ext>
            </a:extLst>
          </p:cNvPr>
          <p:cNvGrpSpPr/>
          <p:nvPr/>
        </p:nvGrpSpPr>
        <p:grpSpPr>
          <a:xfrm>
            <a:off x="5730553" y="2756302"/>
            <a:ext cx="914408" cy="914400"/>
            <a:chOff x="11045825" y="2247900"/>
            <a:chExt cx="258763" cy="258763"/>
          </a:xfrm>
          <a:solidFill>
            <a:schemeClr val="bg1"/>
          </a:solidFill>
        </p:grpSpPr>
        <p:sp>
          <p:nvSpPr>
            <p:cNvPr id="32" name="Freeform 207">
              <a:extLst>
                <a:ext uri="{FF2B5EF4-FFF2-40B4-BE49-F238E27FC236}">
                  <a16:creationId xmlns:a16="http://schemas.microsoft.com/office/drawing/2014/main" xmlns="" id="{645448CC-DAD9-4E24-AB0C-52B3975A4F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55363" y="2478088"/>
              <a:ext cx="38100" cy="9525"/>
            </a:xfrm>
            <a:custGeom>
              <a:avLst/>
              <a:gdLst>
                <a:gd name="T0" fmla="*/ 105 w 120"/>
                <a:gd name="T1" fmla="*/ 0 h 30"/>
                <a:gd name="T2" fmla="*/ 15 w 120"/>
                <a:gd name="T3" fmla="*/ 0 h 30"/>
                <a:gd name="T4" fmla="*/ 12 w 120"/>
                <a:gd name="T5" fmla="*/ 0 h 30"/>
                <a:gd name="T6" fmla="*/ 9 w 120"/>
                <a:gd name="T7" fmla="*/ 1 h 30"/>
                <a:gd name="T8" fmla="*/ 7 w 120"/>
                <a:gd name="T9" fmla="*/ 2 h 30"/>
                <a:gd name="T10" fmla="*/ 5 w 120"/>
                <a:gd name="T11" fmla="*/ 4 h 30"/>
                <a:gd name="T12" fmla="*/ 2 w 120"/>
                <a:gd name="T13" fmla="*/ 6 h 30"/>
                <a:gd name="T14" fmla="*/ 1 w 120"/>
                <a:gd name="T15" fmla="*/ 8 h 30"/>
                <a:gd name="T16" fmla="*/ 0 w 120"/>
                <a:gd name="T17" fmla="*/ 11 h 30"/>
                <a:gd name="T18" fmla="*/ 0 w 120"/>
                <a:gd name="T19" fmla="*/ 15 h 30"/>
                <a:gd name="T20" fmla="*/ 0 w 120"/>
                <a:gd name="T21" fmla="*/ 18 h 30"/>
                <a:gd name="T22" fmla="*/ 1 w 120"/>
                <a:gd name="T23" fmla="*/ 20 h 30"/>
                <a:gd name="T24" fmla="*/ 2 w 120"/>
                <a:gd name="T25" fmla="*/ 23 h 30"/>
                <a:gd name="T26" fmla="*/ 5 w 120"/>
                <a:gd name="T27" fmla="*/ 25 h 30"/>
                <a:gd name="T28" fmla="*/ 7 w 120"/>
                <a:gd name="T29" fmla="*/ 26 h 30"/>
                <a:gd name="T30" fmla="*/ 9 w 120"/>
                <a:gd name="T31" fmla="*/ 29 h 30"/>
                <a:gd name="T32" fmla="*/ 12 w 120"/>
                <a:gd name="T33" fmla="*/ 29 h 30"/>
                <a:gd name="T34" fmla="*/ 15 w 120"/>
                <a:gd name="T35" fmla="*/ 30 h 30"/>
                <a:gd name="T36" fmla="*/ 105 w 120"/>
                <a:gd name="T37" fmla="*/ 30 h 30"/>
                <a:gd name="T38" fmla="*/ 109 w 120"/>
                <a:gd name="T39" fmla="*/ 29 h 30"/>
                <a:gd name="T40" fmla="*/ 111 w 120"/>
                <a:gd name="T41" fmla="*/ 29 h 30"/>
                <a:gd name="T42" fmla="*/ 114 w 120"/>
                <a:gd name="T43" fmla="*/ 26 h 30"/>
                <a:gd name="T44" fmla="*/ 116 w 120"/>
                <a:gd name="T45" fmla="*/ 25 h 30"/>
                <a:gd name="T46" fmla="*/ 118 w 120"/>
                <a:gd name="T47" fmla="*/ 23 h 30"/>
                <a:gd name="T48" fmla="*/ 119 w 120"/>
                <a:gd name="T49" fmla="*/ 20 h 30"/>
                <a:gd name="T50" fmla="*/ 120 w 120"/>
                <a:gd name="T51" fmla="*/ 18 h 30"/>
                <a:gd name="T52" fmla="*/ 120 w 120"/>
                <a:gd name="T53" fmla="*/ 15 h 30"/>
                <a:gd name="T54" fmla="*/ 120 w 120"/>
                <a:gd name="T55" fmla="*/ 11 h 30"/>
                <a:gd name="T56" fmla="*/ 119 w 120"/>
                <a:gd name="T57" fmla="*/ 8 h 30"/>
                <a:gd name="T58" fmla="*/ 118 w 120"/>
                <a:gd name="T59" fmla="*/ 6 h 30"/>
                <a:gd name="T60" fmla="*/ 116 w 120"/>
                <a:gd name="T61" fmla="*/ 4 h 30"/>
                <a:gd name="T62" fmla="*/ 114 w 120"/>
                <a:gd name="T63" fmla="*/ 2 h 30"/>
                <a:gd name="T64" fmla="*/ 111 w 120"/>
                <a:gd name="T65" fmla="*/ 1 h 30"/>
                <a:gd name="T66" fmla="*/ 109 w 120"/>
                <a:gd name="T67" fmla="*/ 0 h 30"/>
                <a:gd name="T68" fmla="*/ 105 w 12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30">
                  <a:moveTo>
                    <a:pt x="10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2" y="6"/>
                  </a:lnTo>
                  <a:lnTo>
                    <a:pt x="1" y="8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2" y="23"/>
                  </a:lnTo>
                  <a:lnTo>
                    <a:pt x="5" y="25"/>
                  </a:lnTo>
                  <a:lnTo>
                    <a:pt x="7" y="26"/>
                  </a:lnTo>
                  <a:lnTo>
                    <a:pt x="9" y="29"/>
                  </a:lnTo>
                  <a:lnTo>
                    <a:pt x="12" y="29"/>
                  </a:lnTo>
                  <a:lnTo>
                    <a:pt x="15" y="30"/>
                  </a:lnTo>
                  <a:lnTo>
                    <a:pt x="105" y="30"/>
                  </a:lnTo>
                  <a:lnTo>
                    <a:pt x="109" y="29"/>
                  </a:lnTo>
                  <a:lnTo>
                    <a:pt x="111" y="29"/>
                  </a:lnTo>
                  <a:lnTo>
                    <a:pt x="114" y="26"/>
                  </a:lnTo>
                  <a:lnTo>
                    <a:pt x="116" y="25"/>
                  </a:lnTo>
                  <a:lnTo>
                    <a:pt x="118" y="23"/>
                  </a:lnTo>
                  <a:lnTo>
                    <a:pt x="119" y="20"/>
                  </a:lnTo>
                  <a:lnTo>
                    <a:pt x="120" y="18"/>
                  </a:lnTo>
                  <a:lnTo>
                    <a:pt x="120" y="15"/>
                  </a:lnTo>
                  <a:lnTo>
                    <a:pt x="120" y="11"/>
                  </a:lnTo>
                  <a:lnTo>
                    <a:pt x="119" y="8"/>
                  </a:lnTo>
                  <a:lnTo>
                    <a:pt x="118" y="6"/>
                  </a:lnTo>
                  <a:lnTo>
                    <a:pt x="116" y="4"/>
                  </a:lnTo>
                  <a:lnTo>
                    <a:pt x="114" y="2"/>
                  </a:lnTo>
                  <a:lnTo>
                    <a:pt x="111" y="1"/>
                  </a:lnTo>
                  <a:lnTo>
                    <a:pt x="109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08">
              <a:extLst>
                <a:ext uri="{FF2B5EF4-FFF2-40B4-BE49-F238E27FC236}">
                  <a16:creationId xmlns:a16="http://schemas.microsoft.com/office/drawing/2014/main" xmlns="" id="{1EAD3359-4A8F-4BAD-A0C0-560817AD02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4888" y="2497138"/>
              <a:ext cx="19050" cy="9525"/>
            </a:xfrm>
            <a:custGeom>
              <a:avLst/>
              <a:gdLst>
                <a:gd name="T0" fmla="*/ 45 w 60"/>
                <a:gd name="T1" fmla="*/ 0 h 30"/>
                <a:gd name="T2" fmla="*/ 15 w 60"/>
                <a:gd name="T3" fmla="*/ 0 h 30"/>
                <a:gd name="T4" fmla="*/ 12 w 60"/>
                <a:gd name="T5" fmla="*/ 0 h 30"/>
                <a:gd name="T6" fmla="*/ 9 w 60"/>
                <a:gd name="T7" fmla="*/ 1 h 30"/>
                <a:gd name="T8" fmla="*/ 7 w 60"/>
                <a:gd name="T9" fmla="*/ 2 h 30"/>
                <a:gd name="T10" fmla="*/ 5 w 60"/>
                <a:gd name="T11" fmla="*/ 4 h 30"/>
                <a:gd name="T12" fmla="*/ 3 w 60"/>
                <a:gd name="T13" fmla="*/ 6 h 30"/>
                <a:gd name="T14" fmla="*/ 1 w 60"/>
                <a:gd name="T15" fmla="*/ 8 h 30"/>
                <a:gd name="T16" fmla="*/ 0 w 60"/>
                <a:gd name="T17" fmla="*/ 12 h 30"/>
                <a:gd name="T18" fmla="*/ 0 w 60"/>
                <a:gd name="T19" fmla="*/ 15 h 30"/>
                <a:gd name="T20" fmla="*/ 0 w 60"/>
                <a:gd name="T21" fmla="*/ 18 h 30"/>
                <a:gd name="T22" fmla="*/ 1 w 60"/>
                <a:gd name="T23" fmla="*/ 20 h 30"/>
                <a:gd name="T24" fmla="*/ 3 w 60"/>
                <a:gd name="T25" fmla="*/ 23 h 30"/>
                <a:gd name="T26" fmla="*/ 5 w 60"/>
                <a:gd name="T27" fmla="*/ 25 h 30"/>
                <a:gd name="T28" fmla="*/ 7 w 60"/>
                <a:gd name="T29" fmla="*/ 28 h 30"/>
                <a:gd name="T30" fmla="*/ 9 w 60"/>
                <a:gd name="T31" fmla="*/ 29 h 30"/>
                <a:gd name="T32" fmla="*/ 12 w 60"/>
                <a:gd name="T33" fmla="*/ 30 h 30"/>
                <a:gd name="T34" fmla="*/ 15 w 60"/>
                <a:gd name="T35" fmla="*/ 30 h 30"/>
                <a:gd name="T36" fmla="*/ 45 w 60"/>
                <a:gd name="T37" fmla="*/ 30 h 30"/>
                <a:gd name="T38" fmla="*/ 49 w 60"/>
                <a:gd name="T39" fmla="*/ 30 h 30"/>
                <a:gd name="T40" fmla="*/ 51 w 60"/>
                <a:gd name="T41" fmla="*/ 29 h 30"/>
                <a:gd name="T42" fmla="*/ 54 w 60"/>
                <a:gd name="T43" fmla="*/ 28 h 30"/>
                <a:gd name="T44" fmla="*/ 56 w 60"/>
                <a:gd name="T45" fmla="*/ 25 h 30"/>
                <a:gd name="T46" fmla="*/ 57 w 60"/>
                <a:gd name="T47" fmla="*/ 23 h 30"/>
                <a:gd name="T48" fmla="*/ 59 w 60"/>
                <a:gd name="T49" fmla="*/ 20 h 30"/>
                <a:gd name="T50" fmla="*/ 60 w 60"/>
                <a:gd name="T51" fmla="*/ 18 h 30"/>
                <a:gd name="T52" fmla="*/ 60 w 60"/>
                <a:gd name="T53" fmla="*/ 15 h 30"/>
                <a:gd name="T54" fmla="*/ 60 w 60"/>
                <a:gd name="T55" fmla="*/ 12 h 30"/>
                <a:gd name="T56" fmla="*/ 59 w 60"/>
                <a:gd name="T57" fmla="*/ 8 h 30"/>
                <a:gd name="T58" fmla="*/ 57 w 60"/>
                <a:gd name="T59" fmla="*/ 6 h 30"/>
                <a:gd name="T60" fmla="*/ 56 w 60"/>
                <a:gd name="T61" fmla="*/ 4 h 30"/>
                <a:gd name="T62" fmla="*/ 54 w 60"/>
                <a:gd name="T63" fmla="*/ 2 h 30"/>
                <a:gd name="T64" fmla="*/ 51 w 60"/>
                <a:gd name="T65" fmla="*/ 1 h 30"/>
                <a:gd name="T66" fmla="*/ 49 w 60"/>
                <a:gd name="T67" fmla="*/ 0 h 30"/>
                <a:gd name="T68" fmla="*/ 45 w 6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30">
                  <a:moveTo>
                    <a:pt x="4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8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0"/>
                  </a:lnTo>
                  <a:lnTo>
                    <a:pt x="3" y="23"/>
                  </a:lnTo>
                  <a:lnTo>
                    <a:pt x="5" y="25"/>
                  </a:lnTo>
                  <a:lnTo>
                    <a:pt x="7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45" y="30"/>
                  </a:lnTo>
                  <a:lnTo>
                    <a:pt x="49" y="30"/>
                  </a:lnTo>
                  <a:lnTo>
                    <a:pt x="51" y="29"/>
                  </a:lnTo>
                  <a:lnTo>
                    <a:pt x="54" y="28"/>
                  </a:lnTo>
                  <a:lnTo>
                    <a:pt x="56" y="25"/>
                  </a:lnTo>
                  <a:lnTo>
                    <a:pt x="57" y="23"/>
                  </a:lnTo>
                  <a:lnTo>
                    <a:pt x="59" y="20"/>
                  </a:lnTo>
                  <a:lnTo>
                    <a:pt x="60" y="18"/>
                  </a:lnTo>
                  <a:lnTo>
                    <a:pt x="60" y="15"/>
                  </a:lnTo>
                  <a:lnTo>
                    <a:pt x="60" y="12"/>
                  </a:lnTo>
                  <a:lnTo>
                    <a:pt x="59" y="8"/>
                  </a:lnTo>
                  <a:lnTo>
                    <a:pt x="57" y="6"/>
                  </a:lnTo>
                  <a:lnTo>
                    <a:pt x="56" y="4"/>
                  </a:lnTo>
                  <a:lnTo>
                    <a:pt x="54" y="2"/>
                  </a:lnTo>
                  <a:lnTo>
                    <a:pt x="51" y="1"/>
                  </a:lnTo>
                  <a:lnTo>
                    <a:pt x="49" y="0"/>
                  </a:lnTo>
                  <a:lnTo>
                    <a:pt x="4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09">
              <a:extLst>
                <a:ext uri="{FF2B5EF4-FFF2-40B4-BE49-F238E27FC236}">
                  <a16:creationId xmlns:a16="http://schemas.microsoft.com/office/drawing/2014/main" xmlns="" id="{8046E06C-53CA-4715-AD57-0230238D19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093450" y="2290763"/>
              <a:ext cx="163513" cy="177800"/>
            </a:xfrm>
            <a:custGeom>
              <a:avLst/>
              <a:gdLst>
                <a:gd name="T0" fmla="*/ 303 w 512"/>
                <a:gd name="T1" fmla="*/ 484 h 558"/>
                <a:gd name="T2" fmla="*/ 211 w 512"/>
                <a:gd name="T3" fmla="*/ 489 h 558"/>
                <a:gd name="T4" fmla="*/ 200 w 512"/>
                <a:gd name="T5" fmla="*/ 475 h 558"/>
                <a:gd name="T6" fmla="*/ 131 w 512"/>
                <a:gd name="T7" fmla="*/ 444 h 558"/>
                <a:gd name="T8" fmla="*/ 77 w 512"/>
                <a:gd name="T9" fmla="*/ 395 h 558"/>
                <a:gd name="T10" fmla="*/ 43 w 512"/>
                <a:gd name="T11" fmla="*/ 330 h 558"/>
                <a:gd name="T12" fmla="*/ 30 w 512"/>
                <a:gd name="T13" fmla="*/ 256 h 558"/>
                <a:gd name="T14" fmla="*/ 35 w 512"/>
                <a:gd name="T15" fmla="*/ 211 h 558"/>
                <a:gd name="T16" fmla="*/ 48 w 512"/>
                <a:gd name="T17" fmla="*/ 168 h 558"/>
                <a:gd name="T18" fmla="*/ 97 w 512"/>
                <a:gd name="T19" fmla="*/ 97 h 558"/>
                <a:gd name="T20" fmla="*/ 168 w 512"/>
                <a:gd name="T21" fmla="*/ 48 h 558"/>
                <a:gd name="T22" fmla="*/ 210 w 512"/>
                <a:gd name="T23" fmla="*/ 35 h 558"/>
                <a:gd name="T24" fmla="*/ 256 w 512"/>
                <a:gd name="T25" fmla="*/ 30 h 558"/>
                <a:gd name="T26" fmla="*/ 301 w 512"/>
                <a:gd name="T27" fmla="*/ 35 h 558"/>
                <a:gd name="T28" fmla="*/ 344 w 512"/>
                <a:gd name="T29" fmla="*/ 48 h 558"/>
                <a:gd name="T30" fmla="*/ 416 w 512"/>
                <a:gd name="T31" fmla="*/ 97 h 558"/>
                <a:gd name="T32" fmla="*/ 464 w 512"/>
                <a:gd name="T33" fmla="*/ 168 h 558"/>
                <a:gd name="T34" fmla="*/ 477 w 512"/>
                <a:gd name="T35" fmla="*/ 211 h 558"/>
                <a:gd name="T36" fmla="*/ 482 w 512"/>
                <a:gd name="T37" fmla="*/ 256 h 558"/>
                <a:gd name="T38" fmla="*/ 470 w 512"/>
                <a:gd name="T39" fmla="*/ 330 h 558"/>
                <a:gd name="T40" fmla="*/ 434 w 512"/>
                <a:gd name="T41" fmla="*/ 395 h 558"/>
                <a:gd name="T42" fmla="*/ 381 w 512"/>
                <a:gd name="T43" fmla="*/ 444 h 558"/>
                <a:gd name="T44" fmla="*/ 312 w 512"/>
                <a:gd name="T45" fmla="*/ 475 h 558"/>
                <a:gd name="T46" fmla="*/ 218 w 512"/>
                <a:gd name="T47" fmla="*/ 3 h 558"/>
                <a:gd name="T48" fmla="*/ 168 w 512"/>
                <a:gd name="T49" fmla="*/ 16 h 558"/>
                <a:gd name="T50" fmla="*/ 123 w 512"/>
                <a:gd name="T51" fmla="*/ 38 h 558"/>
                <a:gd name="T52" fmla="*/ 84 w 512"/>
                <a:gd name="T53" fmla="*/ 67 h 558"/>
                <a:gd name="T54" fmla="*/ 52 w 512"/>
                <a:gd name="T55" fmla="*/ 103 h 558"/>
                <a:gd name="T56" fmla="*/ 26 w 512"/>
                <a:gd name="T57" fmla="*/ 146 h 558"/>
                <a:gd name="T58" fmla="*/ 9 w 512"/>
                <a:gd name="T59" fmla="*/ 192 h 558"/>
                <a:gd name="T60" fmla="*/ 0 w 512"/>
                <a:gd name="T61" fmla="*/ 243 h 558"/>
                <a:gd name="T62" fmla="*/ 8 w 512"/>
                <a:gd name="T63" fmla="*/ 317 h 558"/>
                <a:gd name="T64" fmla="*/ 39 w 512"/>
                <a:gd name="T65" fmla="*/ 391 h 558"/>
                <a:gd name="T66" fmla="*/ 91 w 512"/>
                <a:gd name="T67" fmla="*/ 451 h 558"/>
                <a:gd name="T68" fmla="*/ 161 w 512"/>
                <a:gd name="T69" fmla="*/ 493 h 558"/>
                <a:gd name="T70" fmla="*/ 182 w 512"/>
                <a:gd name="T71" fmla="*/ 548 h 558"/>
                <a:gd name="T72" fmla="*/ 190 w 512"/>
                <a:gd name="T73" fmla="*/ 557 h 558"/>
                <a:gd name="T74" fmla="*/ 320 w 512"/>
                <a:gd name="T75" fmla="*/ 557 h 558"/>
                <a:gd name="T76" fmla="*/ 329 w 512"/>
                <a:gd name="T77" fmla="*/ 550 h 558"/>
                <a:gd name="T78" fmla="*/ 331 w 512"/>
                <a:gd name="T79" fmla="*/ 501 h 558"/>
                <a:gd name="T80" fmla="*/ 404 w 512"/>
                <a:gd name="T81" fmla="*/ 464 h 558"/>
                <a:gd name="T82" fmla="*/ 462 w 512"/>
                <a:gd name="T83" fmla="*/ 409 h 558"/>
                <a:gd name="T84" fmla="*/ 499 w 512"/>
                <a:gd name="T85" fmla="*/ 338 h 558"/>
                <a:gd name="T86" fmla="*/ 512 w 512"/>
                <a:gd name="T87" fmla="*/ 256 h 558"/>
                <a:gd name="T88" fmla="*/ 507 w 512"/>
                <a:gd name="T89" fmla="*/ 205 h 558"/>
                <a:gd name="T90" fmla="*/ 492 w 512"/>
                <a:gd name="T91" fmla="*/ 157 h 558"/>
                <a:gd name="T92" fmla="*/ 469 w 512"/>
                <a:gd name="T93" fmla="*/ 114 h 558"/>
                <a:gd name="T94" fmla="*/ 437 w 512"/>
                <a:gd name="T95" fmla="*/ 75 h 558"/>
                <a:gd name="T96" fmla="*/ 399 w 512"/>
                <a:gd name="T97" fmla="*/ 44 h 558"/>
                <a:gd name="T98" fmla="*/ 356 w 512"/>
                <a:gd name="T99" fmla="*/ 20 h 558"/>
                <a:gd name="T100" fmla="*/ 308 w 512"/>
                <a:gd name="T101" fmla="*/ 5 h 558"/>
                <a:gd name="T102" fmla="*/ 256 w 512"/>
                <a:gd name="T103" fmla="*/ 0 h 5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12" h="558">
                  <a:moveTo>
                    <a:pt x="312" y="475"/>
                  </a:moveTo>
                  <a:lnTo>
                    <a:pt x="308" y="476"/>
                  </a:lnTo>
                  <a:lnTo>
                    <a:pt x="305" y="480"/>
                  </a:lnTo>
                  <a:lnTo>
                    <a:pt x="303" y="484"/>
                  </a:lnTo>
                  <a:lnTo>
                    <a:pt x="301" y="489"/>
                  </a:lnTo>
                  <a:lnTo>
                    <a:pt x="301" y="528"/>
                  </a:lnTo>
                  <a:lnTo>
                    <a:pt x="211" y="528"/>
                  </a:lnTo>
                  <a:lnTo>
                    <a:pt x="211" y="489"/>
                  </a:lnTo>
                  <a:lnTo>
                    <a:pt x="210" y="484"/>
                  </a:lnTo>
                  <a:lnTo>
                    <a:pt x="208" y="480"/>
                  </a:lnTo>
                  <a:lnTo>
                    <a:pt x="204" y="476"/>
                  </a:lnTo>
                  <a:lnTo>
                    <a:pt x="200" y="475"/>
                  </a:lnTo>
                  <a:lnTo>
                    <a:pt x="181" y="469"/>
                  </a:lnTo>
                  <a:lnTo>
                    <a:pt x="164" y="462"/>
                  </a:lnTo>
                  <a:lnTo>
                    <a:pt x="147" y="454"/>
                  </a:lnTo>
                  <a:lnTo>
                    <a:pt x="131" y="444"/>
                  </a:lnTo>
                  <a:lnTo>
                    <a:pt x="116" y="433"/>
                  </a:lnTo>
                  <a:lnTo>
                    <a:pt x="102" y="421"/>
                  </a:lnTo>
                  <a:lnTo>
                    <a:pt x="89" y="409"/>
                  </a:lnTo>
                  <a:lnTo>
                    <a:pt x="77" y="395"/>
                  </a:lnTo>
                  <a:lnTo>
                    <a:pt x="67" y="380"/>
                  </a:lnTo>
                  <a:lnTo>
                    <a:pt x="58" y="364"/>
                  </a:lnTo>
                  <a:lnTo>
                    <a:pt x="49" y="347"/>
                  </a:lnTo>
                  <a:lnTo>
                    <a:pt x="43" y="330"/>
                  </a:lnTo>
                  <a:lnTo>
                    <a:pt x="38" y="312"/>
                  </a:lnTo>
                  <a:lnTo>
                    <a:pt x="33" y="294"/>
                  </a:lnTo>
                  <a:lnTo>
                    <a:pt x="31" y="276"/>
                  </a:lnTo>
                  <a:lnTo>
                    <a:pt x="30" y="256"/>
                  </a:lnTo>
                  <a:lnTo>
                    <a:pt x="31" y="245"/>
                  </a:lnTo>
                  <a:lnTo>
                    <a:pt x="31" y="233"/>
                  </a:lnTo>
                  <a:lnTo>
                    <a:pt x="33" y="222"/>
                  </a:lnTo>
                  <a:lnTo>
                    <a:pt x="35" y="211"/>
                  </a:lnTo>
                  <a:lnTo>
                    <a:pt x="38" y="199"/>
                  </a:lnTo>
                  <a:lnTo>
                    <a:pt x="41" y="189"/>
                  </a:lnTo>
                  <a:lnTo>
                    <a:pt x="44" y="179"/>
                  </a:lnTo>
                  <a:lnTo>
                    <a:pt x="48" y="168"/>
                  </a:lnTo>
                  <a:lnTo>
                    <a:pt x="58" y="149"/>
                  </a:lnTo>
                  <a:lnTo>
                    <a:pt x="69" y="130"/>
                  </a:lnTo>
                  <a:lnTo>
                    <a:pt x="82" y="113"/>
                  </a:lnTo>
                  <a:lnTo>
                    <a:pt x="97" y="97"/>
                  </a:lnTo>
                  <a:lnTo>
                    <a:pt x="113" y="83"/>
                  </a:lnTo>
                  <a:lnTo>
                    <a:pt x="130" y="69"/>
                  </a:lnTo>
                  <a:lnTo>
                    <a:pt x="149" y="58"/>
                  </a:lnTo>
                  <a:lnTo>
                    <a:pt x="168" y="48"/>
                  </a:lnTo>
                  <a:lnTo>
                    <a:pt x="178" y="44"/>
                  </a:lnTo>
                  <a:lnTo>
                    <a:pt x="189" y="41"/>
                  </a:lnTo>
                  <a:lnTo>
                    <a:pt x="200" y="38"/>
                  </a:lnTo>
                  <a:lnTo>
                    <a:pt x="210" y="35"/>
                  </a:lnTo>
                  <a:lnTo>
                    <a:pt x="222" y="33"/>
                  </a:lnTo>
                  <a:lnTo>
                    <a:pt x="233" y="32"/>
                  </a:lnTo>
                  <a:lnTo>
                    <a:pt x="245" y="31"/>
                  </a:lnTo>
                  <a:lnTo>
                    <a:pt x="256" y="30"/>
                  </a:lnTo>
                  <a:lnTo>
                    <a:pt x="268" y="31"/>
                  </a:lnTo>
                  <a:lnTo>
                    <a:pt x="279" y="31"/>
                  </a:lnTo>
                  <a:lnTo>
                    <a:pt x="291" y="33"/>
                  </a:lnTo>
                  <a:lnTo>
                    <a:pt x="301" y="35"/>
                  </a:lnTo>
                  <a:lnTo>
                    <a:pt x="312" y="38"/>
                  </a:lnTo>
                  <a:lnTo>
                    <a:pt x="323" y="41"/>
                  </a:lnTo>
                  <a:lnTo>
                    <a:pt x="334" y="44"/>
                  </a:lnTo>
                  <a:lnTo>
                    <a:pt x="344" y="48"/>
                  </a:lnTo>
                  <a:lnTo>
                    <a:pt x="364" y="58"/>
                  </a:lnTo>
                  <a:lnTo>
                    <a:pt x="382" y="69"/>
                  </a:lnTo>
                  <a:lnTo>
                    <a:pt x="400" y="83"/>
                  </a:lnTo>
                  <a:lnTo>
                    <a:pt x="416" y="97"/>
                  </a:lnTo>
                  <a:lnTo>
                    <a:pt x="430" y="113"/>
                  </a:lnTo>
                  <a:lnTo>
                    <a:pt x="443" y="130"/>
                  </a:lnTo>
                  <a:lnTo>
                    <a:pt x="455" y="149"/>
                  </a:lnTo>
                  <a:lnTo>
                    <a:pt x="464" y="168"/>
                  </a:lnTo>
                  <a:lnTo>
                    <a:pt x="468" y="179"/>
                  </a:lnTo>
                  <a:lnTo>
                    <a:pt x="472" y="189"/>
                  </a:lnTo>
                  <a:lnTo>
                    <a:pt x="475" y="199"/>
                  </a:lnTo>
                  <a:lnTo>
                    <a:pt x="477" y="211"/>
                  </a:lnTo>
                  <a:lnTo>
                    <a:pt x="479" y="222"/>
                  </a:lnTo>
                  <a:lnTo>
                    <a:pt x="481" y="233"/>
                  </a:lnTo>
                  <a:lnTo>
                    <a:pt x="482" y="245"/>
                  </a:lnTo>
                  <a:lnTo>
                    <a:pt x="482" y="256"/>
                  </a:lnTo>
                  <a:lnTo>
                    <a:pt x="482" y="276"/>
                  </a:lnTo>
                  <a:lnTo>
                    <a:pt x="478" y="294"/>
                  </a:lnTo>
                  <a:lnTo>
                    <a:pt x="475" y="312"/>
                  </a:lnTo>
                  <a:lnTo>
                    <a:pt x="470" y="330"/>
                  </a:lnTo>
                  <a:lnTo>
                    <a:pt x="462" y="347"/>
                  </a:lnTo>
                  <a:lnTo>
                    <a:pt x="455" y="364"/>
                  </a:lnTo>
                  <a:lnTo>
                    <a:pt x="445" y="380"/>
                  </a:lnTo>
                  <a:lnTo>
                    <a:pt x="434" y="395"/>
                  </a:lnTo>
                  <a:lnTo>
                    <a:pt x="423" y="409"/>
                  </a:lnTo>
                  <a:lnTo>
                    <a:pt x="410" y="421"/>
                  </a:lnTo>
                  <a:lnTo>
                    <a:pt x="396" y="433"/>
                  </a:lnTo>
                  <a:lnTo>
                    <a:pt x="381" y="444"/>
                  </a:lnTo>
                  <a:lnTo>
                    <a:pt x="365" y="454"/>
                  </a:lnTo>
                  <a:lnTo>
                    <a:pt x="349" y="462"/>
                  </a:lnTo>
                  <a:lnTo>
                    <a:pt x="331" y="469"/>
                  </a:lnTo>
                  <a:lnTo>
                    <a:pt x="312" y="475"/>
                  </a:lnTo>
                  <a:close/>
                  <a:moveTo>
                    <a:pt x="256" y="0"/>
                  </a:moveTo>
                  <a:lnTo>
                    <a:pt x="244" y="1"/>
                  </a:lnTo>
                  <a:lnTo>
                    <a:pt x="230" y="2"/>
                  </a:lnTo>
                  <a:lnTo>
                    <a:pt x="218" y="3"/>
                  </a:lnTo>
                  <a:lnTo>
                    <a:pt x="205" y="5"/>
                  </a:lnTo>
                  <a:lnTo>
                    <a:pt x="192" y="9"/>
                  </a:lnTo>
                  <a:lnTo>
                    <a:pt x="180" y="12"/>
                  </a:lnTo>
                  <a:lnTo>
                    <a:pt x="168" y="16"/>
                  </a:lnTo>
                  <a:lnTo>
                    <a:pt x="157" y="20"/>
                  </a:lnTo>
                  <a:lnTo>
                    <a:pt x="145" y="26"/>
                  </a:lnTo>
                  <a:lnTo>
                    <a:pt x="134" y="31"/>
                  </a:lnTo>
                  <a:lnTo>
                    <a:pt x="123" y="38"/>
                  </a:lnTo>
                  <a:lnTo>
                    <a:pt x="113" y="44"/>
                  </a:lnTo>
                  <a:lnTo>
                    <a:pt x="103" y="52"/>
                  </a:lnTo>
                  <a:lnTo>
                    <a:pt x="93" y="59"/>
                  </a:lnTo>
                  <a:lnTo>
                    <a:pt x="84" y="67"/>
                  </a:lnTo>
                  <a:lnTo>
                    <a:pt x="75" y="75"/>
                  </a:lnTo>
                  <a:lnTo>
                    <a:pt x="67" y="85"/>
                  </a:lnTo>
                  <a:lnTo>
                    <a:pt x="59" y="93"/>
                  </a:lnTo>
                  <a:lnTo>
                    <a:pt x="52" y="103"/>
                  </a:lnTo>
                  <a:lnTo>
                    <a:pt x="44" y="114"/>
                  </a:lnTo>
                  <a:lnTo>
                    <a:pt x="38" y="123"/>
                  </a:lnTo>
                  <a:lnTo>
                    <a:pt x="31" y="134"/>
                  </a:lnTo>
                  <a:lnTo>
                    <a:pt x="26" y="146"/>
                  </a:lnTo>
                  <a:lnTo>
                    <a:pt x="20" y="157"/>
                  </a:lnTo>
                  <a:lnTo>
                    <a:pt x="16" y="168"/>
                  </a:lnTo>
                  <a:lnTo>
                    <a:pt x="12" y="180"/>
                  </a:lnTo>
                  <a:lnTo>
                    <a:pt x="9" y="192"/>
                  </a:lnTo>
                  <a:lnTo>
                    <a:pt x="5" y="205"/>
                  </a:lnTo>
                  <a:lnTo>
                    <a:pt x="3" y="218"/>
                  </a:lnTo>
                  <a:lnTo>
                    <a:pt x="1" y="231"/>
                  </a:lnTo>
                  <a:lnTo>
                    <a:pt x="0" y="243"/>
                  </a:lnTo>
                  <a:lnTo>
                    <a:pt x="0" y="256"/>
                  </a:lnTo>
                  <a:lnTo>
                    <a:pt x="1" y="277"/>
                  </a:lnTo>
                  <a:lnTo>
                    <a:pt x="3" y="298"/>
                  </a:lnTo>
                  <a:lnTo>
                    <a:pt x="8" y="317"/>
                  </a:lnTo>
                  <a:lnTo>
                    <a:pt x="13" y="338"/>
                  </a:lnTo>
                  <a:lnTo>
                    <a:pt x="20" y="356"/>
                  </a:lnTo>
                  <a:lnTo>
                    <a:pt x="29" y="374"/>
                  </a:lnTo>
                  <a:lnTo>
                    <a:pt x="39" y="391"/>
                  </a:lnTo>
                  <a:lnTo>
                    <a:pt x="50" y="409"/>
                  </a:lnTo>
                  <a:lnTo>
                    <a:pt x="63" y="424"/>
                  </a:lnTo>
                  <a:lnTo>
                    <a:pt x="77" y="439"/>
                  </a:lnTo>
                  <a:lnTo>
                    <a:pt x="91" y="451"/>
                  </a:lnTo>
                  <a:lnTo>
                    <a:pt x="107" y="464"/>
                  </a:lnTo>
                  <a:lnTo>
                    <a:pt x="124" y="475"/>
                  </a:lnTo>
                  <a:lnTo>
                    <a:pt x="143" y="485"/>
                  </a:lnTo>
                  <a:lnTo>
                    <a:pt x="161" y="493"/>
                  </a:lnTo>
                  <a:lnTo>
                    <a:pt x="181" y="501"/>
                  </a:lnTo>
                  <a:lnTo>
                    <a:pt x="181" y="543"/>
                  </a:lnTo>
                  <a:lnTo>
                    <a:pt x="181" y="545"/>
                  </a:lnTo>
                  <a:lnTo>
                    <a:pt x="182" y="548"/>
                  </a:lnTo>
                  <a:lnTo>
                    <a:pt x="183" y="550"/>
                  </a:lnTo>
                  <a:lnTo>
                    <a:pt x="186" y="553"/>
                  </a:lnTo>
                  <a:lnTo>
                    <a:pt x="188" y="554"/>
                  </a:lnTo>
                  <a:lnTo>
                    <a:pt x="190" y="557"/>
                  </a:lnTo>
                  <a:lnTo>
                    <a:pt x="193" y="557"/>
                  </a:lnTo>
                  <a:lnTo>
                    <a:pt x="196" y="558"/>
                  </a:lnTo>
                  <a:lnTo>
                    <a:pt x="316" y="558"/>
                  </a:lnTo>
                  <a:lnTo>
                    <a:pt x="320" y="557"/>
                  </a:lnTo>
                  <a:lnTo>
                    <a:pt x="322" y="557"/>
                  </a:lnTo>
                  <a:lnTo>
                    <a:pt x="325" y="554"/>
                  </a:lnTo>
                  <a:lnTo>
                    <a:pt x="327" y="553"/>
                  </a:lnTo>
                  <a:lnTo>
                    <a:pt x="329" y="550"/>
                  </a:lnTo>
                  <a:lnTo>
                    <a:pt x="330" y="548"/>
                  </a:lnTo>
                  <a:lnTo>
                    <a:pt x="331" y="545"/>
                  </a:lnTo>
                  <a:lnTo>
                    <a:pt x="331" y="543"/>
                  </a:lnTo>
                  <a:lnTo>
                    <a:pt x="331" y="501"/>
                  </a:lnTo>
                  <a:lnTo>
                    <a:pt x="351" y="493"/>
                  </a:lnTo>
                  <a:lnTo>
                    <a:pt x="370" y="485"/>
                  </a:lnTo>
                  <a:lnTo>
                    <a:pt x="388" y="475"/>
                  </a:lnTo>
                  <a:lnTo>
                    <a:pt x="404" y="464"/>
                  </a:lnTo>
                  <a:lnTo>
                    <a:pt x="420" y="451"/>
                  </a:lnTo>
                  <a:lnTo>
                    <a:pt x="436" y="439"/>
                  </a:lnTo>
                  <a:lnTo>
                    <a:pt x="449" y="424"/>
                  </a:lnTo>
                  <a:lnTo>
                    <a:pt x="462" y="409"/>
                  </a:lnTo>
                  <a:lnTo>
                    <a:pt x="473" y="391"/>
                  </a:lnTo>
                  <a:lnTo>
                    <a:pt x="483" y="374"/>
                  </a:lnTo>
                  <a:lnTo>
                    <a:pt x="491" y="356"/>
                  </a:lnTo>
                  <a:lnTo>
                    <a:pt x="499" y="338"/>
                  </a:lnTo>
                  <a:lnTo>
                    <a:pt x="504" y="317"/>
                  </a:lnTo>
                  <a:lnTo>
                    <a:pt x="508" y="298"/>
                  </a:lnTo>
                  <a:lnTo>
                    <a:pt x="512" y="277"/>
                  </a:lnTo>
                  <a:lnTo>
                    <a:pt x="512" y="256"/>
                  </a:lnTo>
                  <a:lnTo>
                    <a:pt x="512" y="243"/>
                  </a:lnTo>
                  <a:lnTo>
                    <a:pt x="511" y="231"/>
                  </a:lnTo>
                  <a:lnTo>
                    <a:pt x="510" y="218"/>
                  </a:lnTo>
                  <a:lnTo>
                    <a:pt x="507" y="205"/>
                  </a:lnTo>
                  <a:lnTo>
                    <a:pt x="504" y="192"/>
                  </a:lnTo>
                  <a:lnTo>
                    <a:pt x="501" y="180"/>
                  </a:lnTo>
                  <a:lnTo>
                    <a:pt x="497" y="168"/>
                  </a:lnTo>
                  <a:lnTo>
                    <a:pt x="492" y="157"/>
                  </a:lnTo>
                  <a:lnTo>
                    <a:pt x="487" y="146"/>
                  </a:lnTo>
                  <a:lnTo>
                    <a:pt x="482" y="134"/>
                  </a:lnTo>
                  <a:lnTo>
                    <a:pt x="475" y="123"/>
                  </a:lnTo>
                  <a:lnTo>
                    <a:pt x="469" y="114"/>
                  </a:lnTo>
                  <a:lnTo>
                    <a:pt x="461" y="103"/>
                  </a:lnTo>
                  <a:lnTo>
                    <a:pt x="454" y="93"/>
                  </a:lnTo>
                  <a:lnTo>
                    <a:pt x="445" y="85"/>
                  </a:lnTo>
                  <a:lnTo>
                    <a:pt x="437" y="75"/>
                  </a:lnTo>
                  <a:lnTo>
                    <a:pt x="428" y="67"/>
                  </a:lnTo>
                  <a:lnTo>
                    <a:pt x="418" y="59"/>
                  </a:lnTo>
                  <a:lnTo>
                    <a:pt x="409" y="52"/>
                  </a:lnTo>
                  <a:lnTo>
                    <a:pt x="399" y="44"/>
                  </a:lnTo>
                  <a:lnTo>
                    <a:pt x="388" y="38"/>
                  </a:lnTo>
                  <a:lnTo>
                    <a:pt x="378" y="31"/>
                  </a:lnTo>
                  <a:lnTo>
                    <a:pt x="367" y="26"/>
                  </a:lnTo>
                  <a:lnTo>
                    <a:pt x="356" y="20"/>
                  </a:lnTo>
                  <a:lnTo>
                    <a:pt x="344" y="16"/>
                  </a:lnTo>
                  <a:lnTo>
                    <a:pt x="333" y="12"/>
                  </a:lnTo>
                  <a:lnTo>
                    <a:pt x="320" y="9"/>
                  </a:lnTo>
                  <a:lnTo>
                    <a:pt x="308" y="5"/>
                  </a:lnTo>
                  <a:lnTo>
                    <a:pt x="295" y="3"/>
                  </a:lnTo>
                  <a:lnTo>
                    <a:pt x="282" y="2"/>
                  </a:lnTo>
                  <a:lnTo>
                    <a:pt x="269" y="1"/>
                  </a:lnTo>
                  <a:lnTo>
                    <a:pt x="25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10">
              <a:extLst>
                <a:ext uri="{FF2B5EF4-FFF2-40B4-BE49-F238E27FC236}">
                  <a16:creationId xmlns:a16="http://schemas.microsoft.com/office/drawing/2014/main" xmlns="" id="{110AE1C2-2C08-4711-B38E-8FE02ED10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45825" y="23637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9 w 90"/>
                <a:gd name="T7" fmla="*/ 1 h 30"/>
                <a:gd name="T8" fmla="*/ 6 w 90"/>
                <a:gd name="T9" fmla="*/ 2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9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4 w 90"/>
                <a:gd name="T43" fmla="*/ 27 h 30"/>
                <a:gd name="T44" fmla="*/ 86 w 90"/>
                <a:gd name="T45" fmla="*/ 26 h 30"/>
                <a:gd name="T46" fmla="*/ 88 w 90"/>
                <a:gd name="T47" fmla="*/ 24 h 30"/>
                <a:gd name="T48" fmla="*/ 89 w 90"/>
                <a:gd name="T49" fmla="*/ 21 h 30"/>
                <a:gd name="T50" fmla="*/ 90 w 90"/>
                <a:gd name="T51" fmla="*/ 19 h 30"/>
                <a:gd name="T52" fmla="*/ 90 w 90"/>
                <a:gd name="T53" fmla="*/ 15 h 30"/>
                <a:gd name="T54" fmla="*/ 90 w 90"/>
                <a:gd name="T55" fmla="*/ 12 h 30"/>
                <a:gd name="T56" fmla="*/ 89 w 90"/>
                <a:gd name="T57" fmla="*/ 9 h 30"/>
                <a:gd name="T58" fmla="*/ 88 w 90"/>
                <a:gd name="T59" fmla="*/ 7 h 30"/>
                <a:gd name="T60" fmla="*/ 86 w 90"/>
                <a:gd name="T61" fmla="*/ 5 h 30"/>
                <a:gd name="T62" fmla="*/ 84 w 90"/>
                <a:gd name="T63" fmla="*/ 2 h 30"/>
                <a:gd name="T64" fmla="*/ 80 w 90"/>
                <a:gd name="T65" fmla="*/ 1 h 30"/>
                <a:gd name="T66" fmla="*/ 78 w 90"/>
                <a:gd name="T67" fmla="*/ 0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9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4" y="27"/>
                  </a:lnTo>
                  <a:lnTo>
                    <a:pt x="86" y="26"/>
                  </a:lnTo>
                  <a:lnTo>
                    <a:pt x="88" y="24"/>
                  </a:lnTo>
                  <a:lnTo>
                    <a:pt x="89" y="21"/>
                  </a:lnTo>
                  <a:lnTo>
                    <a:pt x="90" y="19"/>
                  </a:lnTo>
                  <a:lnTo>
                    <a:pt x="90" y="15"/>
                  </a:lnTo>
                  <a:lnTo>
                    <a:pt x="90" y="12"/>
                  </a:lnTo>
                  <a:lnTo>
                    <a:pt x="89" y="9"/>
                  </a:lnTo>
                  <a:lnTo>
                    <a:pt x="88" y="7"/>
                  </a:lnTo>
                  <a:lnTo>
                    <a:pt x="86" y="5"/>
                  </a:lnTo>
                  <a:lnTo>
                    <a:pt x="84" y="2"/>
                  </a:lnTo>
                  <a:lnTo>
                    <a:pt x="80" y="1"/>
                  </a:lnTo>
                  <a:lnTo>
                    <a:pt x="78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11">
              <a:extLst>
                <a:ext uri="{FF2B5EF4-FFF2-40B4-BE49-F238E27FC236}">
                  <a16:creationId xmlns:a16="http://schemas.microsoft.com/office/drawing/2014/main" xmlns="" id="{AB711B53-E5D2-4CAF-82C6-76CEFD308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74400" y="2276475"/>
              <a:ext cx="33338" cy="33338"/>
            </a:xfrm>
            <a:custGeom>
              <a:avLst/>
              <a:gdLst>
                <a:gd name="T0" fmla="*/ 90 w 105"/>
                <a:gd name="T1" fmla="*/ 105 h 105"/>
                <a:gd name="T2" fmla="*/ 93 w 105"/>
                <a:gd name="T3" fmla="*/ 105 h 105"/>
                <a:gd name="T4" fmla="*/ 97 w 105"/>
                <a:gd name="T5" fmla="*/ 104 h 105"/>
                <a:gd name="T6" fmla="*/ 99 w 105"/>
                <a:gd name="T7" fmla="*/ 103 h 105"/>
                <a:gd name="T8" fmla="*/ 101 w 105"/>
                <a:gd name="T9" fmla="*/ 101 h 105"/>
                <a:gd name="T10" fmla="*/ 103 w 105"/>
                <a:gd name="T11" fmla="*/ 99 h 105"/>
                <a:gd name="T12" fmla="*/ 104 w 105"/>
                <a:gd name="T13" fmla="*/ 97 h 105"/>
                <a:gd name="T14" fmla="*/ 105 w 105"/>
                <a:gd name="T15" fmla="*/ 93 h 105"/>
                <a:gd name="T16" fmla="*/ 105 w 105"/>
                <a:gd name="T17" fmla="*/ 90 h 105"/>
                <a:gd name="T18" fmla="*/ 105 w 105"/>
                <a:gd name="T19" fmla="*/ 88 h 105"/>
                <a:gd name="T20" fmla="*/ 104 w 105"/>
                <a:gd name="T21" fmla="*/ 85 h 105"/>
                <a:gd name="T22" fmla="*/ 103 w 105"/>
                <a:gd name="T23" fmla="*/ 83 h 105"/>
                <a:gd name="T24" fmla="*/ 101 w 105"/>
                <a:gd name="T25" fmla="*/ 79 h 105"/>
                <a:gd name="T26" fmla="*/ 26 w 105"/>
                <a:gd name="T27" fmla="*/ 4 h 105"/>
                <a:gd name="T28" fmla="*/ 24 w 105"/>
                <a:gd name="T29" fmla="*/ 2 h 105"/>
                <a:gd name="T30" fmla="*/ 20 w 105"/>
                <a:gd name="T31" fmla="*/ 1 h 105"/>
                <a:gd name="T32" fmla="*/ 18 w 105"/>
                <a:gd name="T33" fmla="*/ 0 h 105"/>
                <a:gd name="T34" fmla="*/ 15 w 105"/>
                <a:gd name="T35" fmla="*/ 0 h 105"/>
                <a:gd name="T36" fmla="*/ 12 w 105"/>
                <a:gd name="T37" fmla="*/ 0 h 105"/>
                <a:gd name="T38" fmla="*/ 10 w 105"/>
                <a:gd name="T39" fmla="*/ 1 h 105"/>
                <a:gd name="T40" fmla="*/ 6 w 105"/>
                <a:gd name="T41" fmla="*/ 3 h 105"/>
                <a:gd name="T42" fmla="*/ 4 w 105"/>
                <a:gd name="T43" fmla="*/ 4 h 105"/>
                <a:gd name="T44" fmla="*/ 2 w 105"/>
                <a:gd name="T45" fmla="*/ 6 h 105"/>
                <a:gd name="T46" fmla="*/ 1 w 105"/>
                <a:gd name="T47" fmla="*/ 10 h 105"/>
                <a:gd name="T48" fmla="*/ 0 w 105"/>
                <a:gd name="T49" fmla="*/ 13 h 105"/>
                <a:gd name="T50" fmla="*/ 0 w 105"/>
                <a:gd name="T51" fmla="*/ 15 h 105"/>
                <a:gd name="T52" fmla="*/ 0 w 105"/>
                <a:gd name="T53" fmla="*/ 18 h 105"/>
                <a:gd name="T54" fmla="*/ 1 w 105"/>
                <a:gd name="T55" fmla="*/ 21 h 105"/>
                <a:gd name="T56" fmla="*/ 2 w 105"/>
                <a:gd name="T57" fmla="*/ 24 h 105"/>
                <a:gd name="T58" fmla="*/ 4 w 105"/>
                <a:gd name="T59" fmla="*/ 26 h 105"/>
                <a:gd name="T60" fmla="*/ 79 w 105"/>
                <a:gd name="T61" fmla="*/ 101 h 105"/>
                <a:gd name="T62" fmla="*/ 83 w 105"/>
                <a:gd name="T63" fmla="*/ 103 h 105"/>
                <a:gd name="T64" fmla="*/ 85 w 105"/>
                <a:gd name="T65" fmla="*/ 104 h 105"/>
                <a:gd name="T66" fmla="*/ 88 w 105"/>
                <a:gd name="T67" fmla="*/ 105 h 105"/>
                <a:gd name="T68" fmla="*/ 90 w 105"/>
                <a:gd name="T69" fmla="*/ 10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5" h="105">
                  <a:moveTo>
                    <a:pt x="90" y="105"/>
                  </a:moveTo>
                  <a:lnTo>
                    <a:pt x="93" y="105"/>
                  </a:lnTo>
                  <a:lnTo>
                    <a:pt x="97" y="104"/>
                  </a:lnTo>
                  <a:lnTo>
                    <a:pt x="99" y="103"/>
                  </a:lnTo>
                  <a:lnTo>
                    <a:pt x="101" y="101"/>
                  </a:lnTo>
                  <a:lnTo>
                    <a:pt x="103" y="99"/>
                  </a:lnTo>
                  <a:lnTo>
                    <a:pt x="104" y="97"/>
                  </a:lnTo>
                  <a:lnTo>
                    <a:pt x="105" y="93"/>
                  </a:lnTo>
                  <a:lnTo>
                    <a:pt x="105" y="90"/>
                  </a:lnTo>
                  <a:lnTo>
                    <a:pt x="105" y="88"/>
                  </a:lnTo>
                  <a:lnTo>
                    <a:pt x="104" y="85"/>
                  </a:lnTo>
                  <a:lnTo>
                    <a:pt x="103" y="83"/>
                  </a:lnTo>
                  <a:lnTo>
                    <a:pt x="101" y="79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10" y="1"/>
                  </a:lnTo>
                  <a:lnTo>
                    <a:pt x="6" y="3"/>
                  </a:lnTo>
                  <a:lnTo>
                    <a:pt x="4" y="4"/>
                  </a:lnTo>
                  <a:lnTo>
                    <a:pt x="2" y="6"/>
                  </a:lnTo>
                  <a:lnTo>
                    <a:pt x="1" y="1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79" y="101"/>
                  </a:lnTo>
                  <a:lnTo>
                    <a:pt x="83" y="103"/>
                  </a:lnTo>
                  <a:lnTo>
                    <a:pt x="85" y="104"/>
                  </a:lnTo>
                  <a:lnTo>
                    <a:pt x="88" y="105"/>
                  </a:lnTo>
                  <a:lnTo>
                    <a:pt x="90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12">
              <a:extLst>
                <a:ext uri="{FF2B5EF4-FFF2-40B4-BE49-F238E27FC236}">
                  <a16:creationId xmlns:a16="http://schemas.microsoft.com/office/drawing/2014/main" xmlns="" id="{B4CB4928-2BC1-41A5-8936-8AE1D3304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69650" y="2247900"/>
              <a:ext cx="9525" cy="28575"/>
            </a:xfrm>
            <a:custGeom>
              <a:avLst/>
              <a:gdLst>
                <a:gd name="T0" fmla="*/ 15 w 30"/>
                <a:gd name="T1" fmla="*/ 90 h 90"/>
                <a:gd name="T2" fmla="*/ 19 w 30"/>
                <a:gd name="T3" fmla="*/ 90 h 90"/>
                <a:gd name="T4" fmla="*/ 21 w 30"/>
                <a:gd name="T5" fmla="*/ 89 h 90"/>
                <a:gd name="T6" fmla="*/ 24 w 30"/>
                <a:gd name="T7" fmla="*/ 88 h 90"/>
                <a:gd name="T8" fmla="*/ 26 w 30"/>
                <a:gd name="T9" fmla="*/ 86 h 90"/>
                <a:gd name="T10" fmla="*/ 27 w 30"/>
                <a:gd name="T11" fmla="*/ 84 h 90"/>
                <a:gd name="T12" fmla="*/ 29 w 30"/>
                <a:gd name="T13" fmla="*/ 81 h 90"/>
                <a:gd name="T14" fmla="*/ 30 w 30"/>
                <a:gd name="T15" fmla="*/ 78 h 90"/>
                <a:gd name="T16" fmla="*/ 30 w 30"/>
                <a:gd name="T17" fmla="*/ 75 h 90"/>
                <a:gd name="T18" fmla="*/ 30 w 30"/>
                <a:gd name="T19" fmla="*/ 15 h 90"/>
                <a:gd name="T20" fmla="*/ 30 w 30"/>
                <a:gd name="T21" fmla="*/ 12 h 90"/>
                <a:gd name="T22" fmla="*/ 29 w 30"/>
                <a:gd name="T23" fmla="*/ 10 h 90"/>
                <a:gd name="T24" fmla="*/ 27 w 30"/>
                <a:gd name="T25" fmla="*/ 6 h 90"/>
                <a:gd name="T26" fmla="*/ 26 w 30"/>
                <a:gd name="T27" fmla="*/ 4 h 90"/>
                <a:gd name="T28" fmla="*/ 24 w 30"/>
                <a:gd name="T29" fmla="*/ 2 h 90"/>
                <a:gd name="T30" fmla="*/ 21 w 30"/>
                <a:gd name="T31" fmla="*/ 1 h 90"/>
                <a:gd name="T32" fmla="*/ 19 w 30"/>
                <a:gd name="T33" fmla="*/ 0 h 90"/>
                <a:gd name="T34" fmla="*/ 15 w 30"/>
                <a:gd name="T35" fmla="*/ 0 h 90"/>
                <a:gd name="T36" fmla="*/ 12 w 30"/>
                <a:gd name="T37" fmla="*/ 0 h 90"/>
                <a:gd name="T38" fmla="*/ 9 w 30"/>
                <a:gd name="T39" fmla="*/ 1 h 90"/>
                <a:gd name="T40" fmla="*/ 7 w 30"/>
                <a:gd name="T41" fmla="*/ 2 h 90"/>
                <a:gd name="T42" fmla="*/ 5 w 30"/>
                <a:gd name="T43" fmla="*/ 4 h 90"/>
                <a:gd name="T44" fmla="*/ 3 w 30"/>
                <a:gd name="T45" fmla="*/ 6 h 90"/>
                <a:gd name="T46" fmla="*/ 1 w 30"/>
                <a:gd name="T47" fmla="*/ 10 h 90"/>
                <a:gd name="T48" fmla="*/ 0 w 30"/>
                <a:gd name="T49" fmla="*/ 12 h 90"/>
                <a:gd name="T50" fmla="*/ 0 w 30"/>
                <a:gd name="T51" fmla="*/ 15 h 90"/>
                <a:gd name="T52" fmla="*/ 0 w 30"/>
                <a:gd name="T53" fmla="*/ 75 h 90"/>
                <a:gd name="T54" fmla="*/ 0 w 30"/>
                <a:gd name="T55" fmla="*/ 78 h 90"/>
                <a:gd name="T56" fmla="*/ 1 w 30"/>
                <a:gd name="T57" fmla="*/ 81 h 90"/>
                <a:gd name="T58" fmla="*/ 3 w 30"/>
                <a:gd name="T59" fmla="*/ 84 h 90"/>
                <a:gd name="T60" fmla="*/ 5 w 30"/>
                <a:gd name="T61" fmla="*/ 86 h 90"/>
                <a:gd name="T62" fmla="*/ 7 w 30"/>
                <a:gd name="T63" fmla="*/ 88 h 90"/>
                <a:gd name="T64" fmla="*/ 9 w 30"/>
                <a:gd name="T65" fmla="*/ 89 h 90"/>
                <a:gd name="T66" fmla="*/ 12 w 30"/>
                <a:gd name="T67" fmla="*/ 90 h 90"/>
                <a:gd name="T68" fmla="*/ 15 w 30"/>
                <a:gd name="T69" fmla="*/ 9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0" h="90">
                  <a:moveTo>
                    <a:pt x="15" y="90"/>
                  </a:moveTo>
                  <a:lnTo>
                    <a:pt x="19" y="90"/>
                  </a:lnTo>
                  <a:lnTo>
                    <a:pt x="21" y="89"/>
                  </a:lnTo>
                  <a:lnTo>
                    <a:pt x="24" y="88"/>
                  </a:lnTo>
                  <a:lnTo>
                    <a:pt x="26" y="86"/>
                  </a:lnTo>
                  <a:lnTo>
                    <a:pt x="27" y="84"/>
                  </a:lnTo>
                  <a:lnTo>
                    <a:pt x="29" y="81"/>
                  </a:lnTo>
                  <a:lnTo>
                    <a:pt x="30" y="78"/>
                  </a:lnTo>
                  <a:lnTo>
                    <a:pt x="30" y="75"/>
                  </a:lnTo>
                  <a:lnTo>
                    <a:pt x="30" y="15"/>
                  </a:lnTo>
                  <a:lnTo>
                    <a:pt x="30" y="12"/>
                  </a:lnTo>
                  <a:lnTo>
                    <a:pt x="29" y="10"/>
                  </a:lnTo>
                  <a:lnTo>
                    <a:pt x="27" y="6"/>
                  </a:lnTo>
                  <a:lnTo>
                    <a:pt x="26" y="4"/>
                  </a:lnTo>
                  <a:lnTo>
                    <a:pt x="24" y="2"/>
                  </a:lnTo>
                  <a:lnTo>
                    <a:pt x="21" y="1"/>
                  </a:lnTo>
                  <a:lnTo>
                    <a:pt x="19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7" y="2"/>
                  </a:lnTo>
                  <a:lnTo>
                    <a:pt x="5" y="4"/>
                  </a:lnTo>
                  <a:lnTo>
                    <a:pt x="3" y="6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5"/>
                  </a:lnTo>
                  <a:lnTo>
                    <a:pt x="0" y="78"/>
                  </a:lnTo>
                  <a:lnTo>
                    <a:pt x="1" y="81"/>
                  </a:lnTo>
                  <a:lnTo>
                    <a:pt x="3" y="84"/>
                  </a:lnTo>
                  <a:lnTo>
                    <a:pt x="5" y="86"/>
                  </a:lnTo>
                  <a:lnTo>
                    <a:pt x="7" y="88"/>
                  </a:lnTo>
                  <a:lnTo>
                    <a:pt x="9" y="89"/>
                  </a:lnTo>
                  <a:lnTo>
                    <a:pt x="12" y="90"/>
                  </a:lnTo>
                  <a:lnTo>
                    <a:pt x="15" y="9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13">
              <a:extLst>
                <a:ext uri="{FF2B5EF4-FFF2-40B4-BE49-F238E27FC236}">
                  <a16:creationId xmlns:a16="http://schemas.microsoft.com/office/drawing/2014/main" xmlns="" id="{EF5D514B-1996-448D-B471-7FF72285642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42675" y="2276475"/>
              <a:ext cx="33338" cy="33338"/>
            </a:xfrm>
            <a:custGeom>
              <a:avLst/>
              <a:gdLst>
                <a:gd name="T0" fmla="*/ 100 w 106"/>
                <a:gd name="T1" fmla="*/ 4 h 105"/>
                <a:gd name="T2" fmla="*/ 98 w 106"/>
                <a:gd name="T3" fmla="*/ 2 h 105"/>
                <a:gd name="T4" fmla="*/ 96 w 106"/>
                <a:gd name="T5" fmla="*/ 1 h 105"/>
                <a:gd name="T6" fmla="*/ 93 w 106"/>
                <a:gd name="T7" fmla="*/ 0 h 105"/>
                <a:gd name="T8" fmla="*/ 90 w 106"/>
                <a:gd name="T9" fmla="*/ 0 h 105"/>
                <a:gd name="T10" fmla="*/ 88 w 106"/>
                <a:gd name="T11" fmla="*/ 0 h 105"/>
                <a:gd name="T12" fmla="*/ 84 w 106"/>
                <a:gd name="T13" fmla="*/ 1 h 105"/>
                <a:gd name="T14" fmla="*/ 82 w 106"/>
                <a:gd name="T15" fmla="*/ 3 h 105"/>
                <a:gd name="T16" fmla="*/ 80 w 106"/>
                <a:gd name="T17" fmla="*/ 4 h 105"/>
                <a:gd name="T18" fmla="*/ 4 w 106"/>
                <a:gd name="T19" fmla="*/ 79 h 105"/>
                <a:gd name="T20" fmla="*/ 3 w 106"/>
                <a:gd name="T21" fmla="*/ 83 h 105"/>
                <a:gd name="T22" fmla="*/ 1 w 106"/>
                <a:gd name="T23" fmla="*/ 85 h 105"/>
                <a:gd name="T24" fmla="*/ 0 w 106"/>
                <a:gd name="T25" fmla="*/ 88 h 105"/>
                <a:gd name="T26" fmla="*/ 0 w 106"/>
                <a:gd name="T27" fmla="*/ 90 h 105"/>
                <a:gd name="T28" fmla="*/ 0 w 106"/>
                <a:gd name="T29" fmla="*/ 93 h 105"/>
                <a:gd name="T30" fmla="*/ 1 w 106"/>
                <a:gd name="T31" fmla="*/ 97 h 105"/>
                <a:gd name="T32" fmla="*/ 3 w 106"/>
                <a:gd name="T33" fmla="*/ 99 h 105"/>
                <a:gd name="T34" fmla="*/ 4 w 106"/>
                <a:gd name="T35" fmla="*/ 101 h 105"/>
                <a:gd name="T36" fmla="*/ 7 w 106"/>
                <a:gd name="T37" fmla="*/ 103 h 105"/>
                <a:gd name="T38" fmla="*/ 9 w 106"/>
                <a:gd name="T39" fmla="*/ 104 h 105"/>
                <a:gd name="T40" fmla="*/ 12 w 106"/>
                <a:gd name="T41" fmla="*/ 105 h 105"/>
                <a:gd name="T42" fmla="*/ 15 w 106"/>
                <a:gd name="T43" fmla="*/ 105 h 105"/>
                <a:gd name="T44" fmla="*/ 18 w 106"/>
                <a:gd name="T45" fmla="*/ 105 h 105"/>
                <a:gd name="T46" fmla="*/ 21 w 106"/>
                <a:gd name="T47" fmla="*/ 104 h 105"/>
                <a:gd name="T48" fmla="*/ 23 w 106"/>
                <a:gd name="T49" fmla="*/ 103 h 105"/>
                <a:gd name="T50" fmla="*/ 25 w 106"/>
                <a:gd name="T51" fmla="*/ 101 h 105"/>
                <a:gd name="T52" fmla="*/ 100 w 106"/>
                <a:gd name="T53" fmla="*/ 26 h 105"/>
                <a:gd name="T54" fmla="*/ 103 w 106"/>
                <a:gd name="T55" fmla="*/ 24 h 105"/>
                <a:gd name="T56" fmla="*/ 105 w 106"/>
                <a:gd name="T57" fmla="*/ 21 h 105"/>
                <a:gd name="T58" fmla="*/ 105 w 106"/>
                <a:gd name="T59" fmla="*/ 18 h 105"/>
                <a:gd name="T60" fmla="*/ 106 w 106"/>
                <a:gd name="T61" fmla="*/ 15 h 105"/>
                <a:gd name="T62" fmla="*/ 105 w 106"/>
                <a:gd name="T63" fmla="*/ 13 h 105"/>
                <a:gd name="T64" fmla="*/ 105 w 106"/>
                <a:gd name="T65" fmla="*/ 10 h 105"/>
                <a:gd name="T66" fmla="*/ 103 w 106"/>
                <a:gd name="T67" fmla="*/ 6 h 105"/>
                <a:gd name="T68" fmla="*/ 100 w 106"/>
                <a:gd name="T69" fmla="*/ 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6" h="105">
                  <a:moveTo>
                    <a:pt x="100" y="4"/>
                  </a:moveTo>
                  <a:lnTo>
                    <a:pt x="98" y="2"/>
                  </a:lnTo>
                  <a:lnTo>
                    <a:pt x="96" y="1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84" y="1"/>
                  </a:lnTo>
                  <a:lnTo>
                    <a:pt x="82" y="3"/>
                  </a:lnTo>
                  <a:lnTo>
                    <a:pt x="80" y="4"/>
                  </a:lnTo>
                  <a:lnTo>
                    <a:pt x="4" y="79"/>
                  </a:lnTo>
                  <a:lnTo>
                    <a:pt x="3" y="83"/>
                  </a:lnTo>
                  <a:lnTo>
                    <a:pt x="1" y="85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0" y="93"/>
                  </a:lnTo>
                  <a:lnTo>
                    <a:pt x="1" y="97"/>
                  </a:lnTo>
                  <a:lnTo>
                    <a:pt x="3" y="99"/>
                  </a:lnTo>
                  <a:lnTo>
                    <a:pt x="4" y="101"/>
                  </a:lnTo>
                  <a:lnTo>
                    <a:pt x="7" y="103"/>
                  </a:lnTo>
                  <a:lnTo>
                    <a:pt x="9" y="104"/>
                  </a:lnTo>
                  <a:lnTo>
                    <a:pt x="12" y="105"/>
                  </a:lnTo>
                  <a:lnTo>
                    <a:pt x="15" y="105"/>
                  </a:lnTo>
                  <a:lnTo>
                    <a:pt x="18" y="105"/>
                  </a:lnTo>
                  <a:lnTo>
                    <a:pt x="21" y="104"/>
                  </a:lnTo>
                  <a:lnTo>
                    <a:pt x="23" y="103"/>
                  </a:lnTo>
                  <a:lnTo>
                    <a:pt x="25" y="101"/>
                  </a:lnTo>
                  <a:lnTo>
                    <a:pt x="100" y="26"/>
                  </a:lnTo>
                  <a:lnTo>
                    <a:pt x="103" y="24"/>
                  </a:lnTo>
                  <a:lnTo>
                    <a:pt x="105" y="21"/>
                  </a:lnTo>
                  <a:lnTo>
                    <a:pt x="105" y="18"/>
                  </a:lnTo>
                  <a:lnTo>
                    <a:pt x="106" y="15"/>
                  </a:lnTo>
                  <a:lnTo>
                    <a:pt x="105" y="13"/>
                  </a:lnTo>
                  <a:lnTo>
                    <a:pt x="105" y="10"/>
                  </a:lnTo>
                  <a:lnTo>
                    <a:pt x="103" y="6"/>
                  </a:lnTo>
                  <a:lnTo>
                    <a:pt x="10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14">
              <a:extLst>
                <a:ext uri="{FF2B5EF4-FFF2-40B4-BE49-F238E27FC236}">
                  <a16:creationId xmlns:a16="http://schemas.microsoft.com/office/drawing/2014/main" xmlns="" id="{DDE9369B-182F-46AF-B55B-E8BF78D02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76013" y="2363788"/>
              <a:ext cx="28575" cy="9525"/>
            </a:xfrm>
            <a:custGeom>
              <a:avLst/>
              <a:gdLst>
                <a:gd name="T0" fmla="*/ 75 w 90"/>
                <a:gd name="T1" fmla="*/ 0 h 30"/>
                <a:gd name="T2" fmla="*/ 15 w 90"/>
                <a:gd name="T3" fmla="*/ 0 h 30"/>
                <a:gd name="T4" fmla="*/ 12 w 90"/>
                <a:gd name="T5" fmla="*/ 0 h 30"/>
                <a:gd name="T6" fmla="*/ 8 w 90"/>
                <a:gd name="T7" fmla="*/ 1 h 30"/>
                <a:gd name="T8" fmla="*/ 6 w 90"/>
                <a:gd name="T9" fmla="*/ 2 h 30"/>
                <a:gd name="T10" fmla="*/ 4 w 90"/>
                <a:gd name="T11" fmla="*/ 5 h 30"/>
                <a:gd name="T12" fmla="*/ 2 w 90"/>
                <a:gd name="T13" fmla="*/ 7 h 30"/>
                <a:gd name="T14" fmla="*/ 1 w 90"/>
                <a:gd name="T15" fmla="*/ 9 h 30"/>
                <a:gd name="T16" fmla="*/ 0 w 90"/>
                <a:gd name="T17" fmla="*/ 12 h 30"/>
                <a:gd name="T18" fmla="*/ 0 w 90"/>
                <a:gd name="T19" fmla="*/ 15 h 30"/>
                <a:gd name="T20" fmla="*/ 0 w 90"/>
                <a:gd name="T21" fmla="*/ 19 h 30"/>
                <a:gd name="T22" fmla="*/ 1 w 90"/>
                <a:gd name="T23" fmla="*/ 21 h 30"/>
                <a:gd name="T24" fmla="*/ 2 w 90"/>
                <a:gd name="T25" fmla="*/ 24 h 30"/>
                <a:gd name="T26" fmla="*/ 4 w 90"/>
                <a:gd name="T27" fmla="*/ 26 h 30"/>
                <a:gd name="T28" fmla="*/ 6 w 90"/>
                <a:gd name="T29" fmla="*/ 28 h 30"/>
                <a:gd name="T30" fmla="*/ 8 w 90"/>
                <a:gd name="T31" fmla="*/ 29 h 30"/>
                <a:gd name="T32" fmla="*/ 12 w 90"/>
                <a:gd name="T33" fmla="*/ 30 h 30"/>
                <a:gd name="T34" fmla="*/ 15 w 90"/>
                <a:gd name="T35" fmla="*/ 30 h 30"/>
                <a:gd name="T36" fmla="*/ 75 w 90"/>
                <a:gd name="T37" fmla="*/ 30 h 30"/>
                <a:gd name="T38" fmla="*/ 78 w 90"/>
                <a:gd name="T39" fmla="*/ 30 h 30"/>
                <a:gd name="T40" fmla="*/ 80 w 90"/>
                <a:gd name="T41" fmla="*/ 29 h 30"/>
                <a:gd name="T42" fmla="*/ 83 w 90"/>
                <a:gd name="T43" fmla="*/ 27 h 30"/>
                <a:gd name="T44" fmla="*/ 86 w 90"/>
                <a:gd name="T45" fmla="*/ 26 h 30"/>
                <a:gd name="T46" fmla="*/ 87 w 90"/>
                <a:gd name="T47" fmla="*/ 24 h 30"/>
                <a:gd name="T48" fmla="*/ 89 w 90"/>
                <a:gd name="T49" fmla="*/ 21 h 30"/>
                <a:gd name="T50" fmla="*/ 89 w 90"/>
                <a:gd name="T51" fmla="*/ 19 h 30"/>
                <a:gd name="T52" fmla="*/ 90 w 90"/>
                <a:gd name="T53" fmla="*/ 15 h 30"/>
                <a:gd name="T54" fmla="*/ 89 w 90"/>
                <a:gd name="T55" fmla="*/ 12 h 30"/>
                <a:gd name="T56" fmla="*/ 89 w 90"/>
                <a:gd name="T57" fmla="*/ 9 h 30"/>
                <a:gd name="T58" fmla="*/ 87 w 90"/>
                <a:gd name="T59" fmla="*/ 7 h 30"/>
                <a:gd name="T60" fmla="*/ 86 w 90"/>
                <a:gd name="T61" fmla="*/ 5 h 30"/>
                <a:gd name="T62" fmla="*/ 83 w 90"/>
                <a:gd name="T63" fmla="*/ 2 h 30"/>
                <a:gd name="T64" fmla="*/ 80 w 90"/>
                <a:gd name="T65" fmla="*/ 1 h 30"/>
                <a:gd name="T66" fmla="*/ 77 w 90"/>
                <a:gd name="T67" fmla="*/ 0 h 30"/>
                <a:gd name="T68" fmla="*/ 75 w 90"/>
                <a:gd name="T6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0" h="30">
                  <a:moveTo>
                    <a:pt x="75" y="0"/>
                  </a:moveTo>
                  <a:lnTo>
                    <a:pt x="15" y="0"/>
                  </a:lnTo>
                  <a:lnTo>
                    <a:pt x="12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4" y="5"/>
                  </a:lnTo>
                  <a:lnTo>
                    <a:pt x="2" y="7"/>
                  </a:lnTo>
                  <a:lnTo>
                    <a:pt x="1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1" y="21"/>
                  </a:lnTo>
                  <a:lnTo>
                    <a:pt x="2" y="24"/>
                  </a:lnTo>
                  <a:lnTo>
                    <a:pt x="4" y="26"/>
                  </a:lnTo>
                  <a:lnTo>
                    <a:pt x="6" y="28"/>
                  </a:lnTo>
                  <a:lnTo>
                    <a:pt x="8" y="29"/>
                  </a:lnTo>
                  <a:lnTo>
                    <a:pt x="12" y="30"/>
                  </a:lnTo>
                  <a:lnTo>
                    <a:pt x="15" y="30"/>
                  </a:lnTo>
                  <a:lnTo>
                    <a:pt x="75" y="30"/>
                  </a:lnTo>
                  <a:lnTo>
                    <a:pt x="78" y="30"/>
                  </a:lnTo>
                  <a:lnTo>
                    <a:pt x="80" y="29"/>
                  </a:lnTo>
                  <a:lnTo>
                    <a:pt x="83" y="27"/>
                  </a:lnTo>
                  <a:lnTo>
                    <a:pt x="86" y="26"/>
                  </a:lnTo>
                  <a:lnTo>
                    <a:pt x="87" y="24"/>
                  </a:lnTo>
                  <a:lnTo>
                    <a:pt x="89" y="21"/>
                  </a:lnTo>
                  <a:lnTo>
                    <a:pt x="89" y="19"/>
                  </a:lnTo>
                  <a:lnTo>
                    <a:pt x="90" y="15"/>
                  </a:lnTo>
                  <a:lnTo>
                    <a:pt x="89" y="12"/>
                  </a:lnTo>
                  <a:lnTo>
                    <a:pt x="89" y="9"/>
                  </a:lnTo>
                  <a:lnTo>
                    <a:pt x="87" y="7"/>
                  </a:lnTo>
                  <a:lnTo>
                    <a:pt x="86" y="5"/>
                  </a:lnTo>
                  <a:lnTo>
                    <a:pt x="83" y="2"/>
                  </a:lnTo>
                  <a:lnTo>
                    <a:pt x="80" y="1"/>
                  </a:lnTo>
                  <a:lnTo>
                    <a:pt x="77" y="0"/>
                  </a:lnTo>
                  <a:lnTo>
                    <a:pt x="7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79E112B5-D4F1-4D1B-83D6-BF5E77673529}"/>
              </a:ext>
            </a:extLst>
          </p:cNvPr>
          <p:cNvSpPr/>
          <p:nvPr/>
        </p:nvSpPr>
        <p:spPr>
          <a:xfrm>
            <a:off x="3859272" y="3132979"/>
            <a:ext cx="720832" cy="720832"/>
          </a:xfrm>
          <a:prstGeom prst="ellipse">
            <a:avLst/>
          </a:prstGeom>
          <a:solidFill>
            <a:srgbClr val="42526B"/>
          </a:solidFill>
          <a:ln w="38100">
            <a:solidFill>
              <a:schemeClr val="bg1"/>
            </a:solidFill>
          </a:ln>
          <a:effectLst>
            <a:outerShdw blurRad="254000" dist="38100" dir="8100000" algn="tr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1" name="Freeform 298">
            <a:extLst>
              <a:ext uri="{FF2B5EF4-FFF2-40B4-BE49-F238E27FC236}">
                <a16:creationId xmlns:a16="http://schemas.microsoft.com/office/drawing/2014/main" xmlns="" id="{8575F180-E0C6-4F4E-A3E7-6D8AE036ABFE}"/>
              </a:ext>
            </a:extLst>
          </p:cNvPr>
          <p:cNvSpPr>
            <a:spLocks noEditPoints="1"/>
          </p:cNvSpPr>
          <p:nvPr/>
        </p:nvSpPr>
        <p:spPr bwMode="auto">
          <a:xfrm>
            <a:off x="4072155" y="3324247"/>
            <a:ext cx="295071" cy="338296"/>
          </a:xfrm>
          <a:custGeom>
            <a:avLst/>
            <a:gdLst>
              <a:gd name="T0" fmla="*/ 541 w 781"/>
              <a:gd name="T1" fmla="*/ 315 h 901"/>
              <a:gd name="T2" fmla="*/ 540 w 781"/>
              <a:gd name="T3" fmla="*/ 310 h 901"/>
              <a:gd name="T4" fmla="*/ 536 w 781"/>
              <a:gd name="T5" fmla="*/ 305 h 901"/>
              <a:gd name="T6" fmla="*/ 354 w 781"/>
              <a:gd name="T7" fmla="*/ 123 h 901"/>
              <a:gd name="T8" fmla="*/ 349 w 781"/>
              <a:gd name="T9" fmla="*/ 121 h 901"/>
              <a:gd name="T10" fmla="*/ 241 w 781"/>
              <a:gd name="T11" fmla="*/ 120 h 901"/>
              <a:gd name="T12" fmla="*/ 571 w 781"/>
              <a:gd name="T13" fmla="*/ 30 h 901"/>
              <a:gd name="T14" fmla="*/ 571 w 781"/>
              <a:gd name="T15" fmla="*/ 198 h 901"/>
              <a:gd name="T16" fmla="*/ 573 w 781"/>
              <a:gd name="T17" fmla="*/ 203 h 901"/>
              <a:gd name="T18" fmla="*/ 578 w 781"/>
              <a:gd name="T19" fmla="*/ 208 h 901"/>
              <a:gd name="T20" fmla="*/ 583 w 781"/>
              <a:gd name="T21" fmla="*/ 210 h 901"/>
              <a:gd name="T22" fmla="*/ 751 w 781"/>
              <a:gd name="T23" fmla="*/ 210 h 901"/>
              <a:gd name="T24" fmla="*/ 541 w 781"/>
              <a:gd name="T25" fmla="*/ 750 h 901"/>
              <a:gd name="T26" fmla="*/ 360 w 781"/>
              <a:gd name="T27" fmla="*/ 300 h 901"/>
              <a:gd name="T28" fmla="*/ 490 w 781"/>
              <a:gd name="T29" fmla="*/ 300 h 901"/>
              <a:gd name="T30" fmla="*/ 30 w 781"/>
              <a:gd name="T31" fmla="*/ 871 h 901"/>
              <a:gd name="T32" fmla="*/ 330 w 781"/>
              <a:gd name="T33" fmla="*/ 150 h 901"/>
              <a:gd name="T34" fmla="*/ 330 w 781"/>
              <a:gd name="T35" fmla="*/ 319 h 901"/>
              <a:gd name="T36" fmla="*/ 334 w 781"/>
              <a:gd name="T37" fmla="*/ 324 h 901"/>
              <a:gd name="T38" fmla="*/ 337 w 781"/>
              <a:gd name="T39" fmla="*/ 327 h 901"/>
              <a:gd name="T40" fmla="*/ 342 w 781"/>
              <a:gd name="T41" fmla="*/ 330 h 901"/>
              <a:gd name="T42" fmla="*/ 511 w 781"/>
              <a:gd name="T43" fmla="*/ 331 h 901"/>
              <a:gd name="T44" fmla="*/ 601 w 781"/>
              <a:gd name="T45" fmla="*/ 52 h 901"/>
              <a:gd name="T46" fmla="*/ 601 w 781"/>
              <a:gd name="T47" fmla="*/ 180 h 901"/>
              <a:gd name="T48" fmla="*/ 780 w 781"/>
              <a:gd name="T49" fmla="*/ 190 h 901"/>
              <a:gd name="T50" fmla="*/ 777 w 781"/>
              <a:gd name="T51" fmla="*/ 184 h 901"/>
              <a:gd name="T52" fmla="*/ 595 w 781"/>
              <a:gd name="T53" fmla="*/ 3 h 901"/>
              <a:gd name="T54" fmla="*/ 588 w 781"/>
              <a:gd name="T55" fmla="*/ 0 h 901"/>
              <a:gd name="T56" fmla="*/ 226 w 781"/>
              <a:gd name="T57" fmla="*/ 0 h 901"/>
              <a:gd name="T58" fmla="*/ 219 w 781"/>
              <a:gd name="T59" fmla="*/ 1 h 901"/>
              <a:gd name="T60" fmla="*/ 215 w 781"/>
              <a:gd name="T61" fmla="*/ 4 h 901"/>
              <a:gd name="T62" fmla="*/ 212 w 781"/>
              <a:gd name="T63" fmla="*/ 10 h 901"/>
              <a:gd name="T64" fmla="*/ 211 w 781"/>
              <a:gd name="T65" fmla="*/ 15 h 901"/>
              <a:gd name="T66" fmla="*/ 15 w 781"/>
              <a:gd name="T67" fmla="*/ 120 h 901"/>
              <a:gd name="T68" fmla="*/ 9 w 781"/>
              <a:gd name="T69" fmla="*/ 121 h 901"/>
              <a:gd name="T70" fmla="*/ 4 w 781"/>
              <a:gd name="T71" fmla="*/ 124 h 901"/>
              <a:gd name="T72" fmla="*/ 1 w 781"/>
              <a:gd name="T73" fmla="*/ 129 h 901"/>
              <a:gd name="T74" fmla="*/ 0 w 781"/>
              <a:gd name="T75" fmla="*/ 135 h 901"/>
              <a:gd name="T76" fmla="*/ 1 w 781"/>
              <a:gd name="T77" fmla="*/ 889 h 901"/>
              <a:gd name="T78" fmla="*/ 3 w 781"/>
              <a:gd name="T79" fmla="*/ 895 h 901"/>
              <a:gd name="T80" fmla="*/ 7 w 781"/>
              <a:gd name="T81" fmla="*/ 899 h 901"/>
              <a:gd name="T82" fmla="*/ 13 w 781"/>
              <a:gd name="T83" fmla="*/ 901 h 901"/>
              <a:gd name="T84" fmla="*/ 526 w 781"/>
              <a:gd name="T85" fmla="*/ 901 h 901"/>
              <a:gd name="T86" fmla="*/ 532 w 781"/>
              <a:gd name="T87" fmla="*/ 900 h 901"/>
              <a:gd name="T88" fmla="*/ 536 w 781"/>
              <a:gd name="T89" fmla="*/ 897 h 901"/>
              <a:gd name="T90" fmla="*/ 539 w 781"/>
              <a:gd name="T91" fmla="*/ 892 h 901"/>
              <a:gd name="T92" fmla="*/ 541 w 781"/>
              <a:gd name="T93" fmla="*/ 886 h 901"/>
              <a:gd name="T94" fmla="*/ 766 w 781"/>
              <a:gd name="T95" fmla="*/ 781 h 901"/>
              <a:gd name="T96" fmla="*/ 772 w 781"/>
              <a:gd name="T97" fmla="*/ 780 h 901"/>
              <a:gd name="T98" fmla="*/ 777 w 781"/>
              <a:gd name="T99" fmla="*/ 777 h 901"/>
              <a:gd name="T100" fmla="*/ 780 w 781"/>
              <a:gd name="T101" fmla="*/ 772 h 901"/>
              <a:gd name="T102" fmla="*/ 781 w 781"/>
              <a:gd name="T103" fmla="*/ 766 h 901"/>
              <a:gd name="T104" fmla="*/ 781 w 781"/>
              <a:gd name="T105" fmla="*/ 193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781" h="901">
                <a:moveTo>
                  <a:pt x="541" y="750"/>
                </a:moveTo>
                <a:lnTo>
                  <a:pt x="541" y="315"/>
                </a:lnTo>
                <a:lnTo>
                  <a:pt x="540" y="312"/>
                </a:lnTo>
                <a:lnTo>
                  <a:pt x="540" y="310"/>
                </a:lnTo>
                <a:lnTo>
                  <a:pt x="538" y="307"/>
                </a:lnTo>
                <a:lnTo>
                  <a:pt x="536" y="305"/>
                </a:lnTo>
                <a:lnTo>
                  <a:pt x="356" y="124"/>
                </a:lnTo>
                <a:lnTo>
                  <a:pt x="354" y="123"/>
                </a:lnTo>
                <a:lnTo>
                  <a:pt x="352" y="121"/>
                </a:lnTo>
                <a:lnTo>
                  <a:pt x="349" y="121"/>
                </a:lnTo>
                <a:lnTo>
                  <a:pt x="345" y="120"/>
                </a:lnTo>
                <a:lnTo>
                  <a:pt x="241" y="120"/>
                </a:lnTo>
                <a:lnTo>
                  <a:pt x="241" y="30"/>
                </a:lnTo>
                <a:lnTo>
                  <a:pt x="571" y="30"/>
                </a:lnTo>
                <a:lnTo>
                  <a:pt x="571" y="195"/>
                </a:lnTo>
                <a:lnTo>
                  <a:pt x="571" y="198"/>
                </a:lnTo>
                <a:lnTo>
                  <a:pt x="572" y="201"/>
                </a:lnTo>
                <a:lnTo>
                  <a:pt x="573" y="203"/>
                </a:lnTo>
                <a:lnTo>
                  <a:pt x="575" y="205"/>
                </a:lnTo>
                <a:lnTo>
                  <a:pt x="578" y="208"/>
                </a:lnTo>
                <a:lnTo>
                  <a:pt x="580" y="209"/>
                </a:lnTo>
                <a:lnTo>
                  <a:pt x="583" y="210"/>
                </a:lnTo>
                <a:lnTo>
                  <a:pt x="586" y="210"/>
                </a:lnTo>
                <a:lnTo>
                  <a:pt x="751" y="210"/>
                </a:lnTo>
                <a:lnTo>
                  <a:pt x="751" y="750"/>
                </a:lnTo>
                <a:lnTo>
                  <a:pt x="541" y="750"/>
                </a:lnTo>
                <a:close/>
                <a:moveTo>
                  <a:pt x="490" y="300"/>
                </a:moveTo>
                <a:lnTo>
                  <a:pt x="360" y="300"/>
                </a:lnTo>
                <a:lnTo>
                  <a:pt x="360" y="172"/>
                </a:lnTo>
                <a:lnTo>
                  <a:pt x="490" y="300"/>
                </a:lnTo>
                <a:close/>
                <a:moveTo>
                  <a:pt x="511" y="871"/>
                </a:moveTo>
                <a:lnTo>
                  <a:pt x="30" y="871"/>
                </a:lnTo>
                <a:lnTo>
                  <a:pt x="30" y="150"/>
                </a:lnTo>
                <a:lnTo>
                  <a:pt x="330" y="150"/>
                </a:lnTo>
                <a:lnTo>
                  <a:pt x="330" y="315"/>
                </a:lnTo>
                <a:lnTo>
                  <a:pt x="330" y="319"/>
                </a:lnTo>
                <a:lnTo>
                  <a:pt x="332" y="321"/>
                </a:lnTo>
                <a:lnTo>
                  <a:pt x="334" y="324"/>
                </a:lnTo>
                <a:lnTo>
                  <a:pt x="335" y="326"/>
                </a:lnTo>
                <a:lnTo>
                  <a:pt x="337" y="327"/>
                </a:lnTo>
                <a:lnTo>
                  <a:pt x="340" y="330"/>
                </a:lnTo>
                <a:lnTo>
                  <a:pt x="342" y="330"/>
                </a:lnTo>
                <a:lnTo>
                  <a:pt x="345" y="331"/>
                </a:lnTo>
                <a:lnTo>
                  <a:pt x="511" y="331"/>
                </a:lnTo>
                <a:lnTo>
                  <a:pt x="511" y="871"/>
                </a:lnTo>
                <a:close/>
                <a:moveTo>
                  <a:pt x="601" y="52"/>
                </a:moveTo>
                <a:lnTo>
                  <a:pt x="730" y="180"/>
                </a:lnTo>
                <a:lnTo>
                  <a:pt x="601" y="180"/>
                </a:lnTo>
                <a:lnTo>
                  <a:pt x="601" y="52"/>
                </a:lnTo>
                <a:close/>
                <a:moveTo>
                  <a:pt x="780" y="190"/>
                </a:moveTo>
                <a:lnTo>
                  <a:pt x="779" y="187"/>
                </a:lnTo>
                <a:lnTo>
                  <a:pt x="777" y="184"/>
                </a:lnTo>
                <a:lnTo>
                  <a:pt x="597" y="4"/>
                </a:lnTo>
                <a:lnTo>
                  <a:pt x="595" y="3"/>
                </a:lnTo>
                <a:lnTo>
                  <a:pt x="592" y="1"/>
                </a:lnTo>
                <a:lnTo>
                  <a:pt x="588" y="0"/>
                </a:lnTo>
                <a:lnTo>
                  <a:pt x="586" y="0"/>
                </a:lnTo>
                <a:lnTo>
                  <a:pt x="226" y="0"/>
                </a:lnTo>
                <a:lnTo>
                  <a:pt x="222" y="0"/>
                </a:lnTo>
                <a:lnTo>
                  <a:pt x="219" y="1"/>
                </a:lnTo>
                <a:lnTo>
                  <a:pt x="217" y="2"/>
                </a:lnTo>
                <a:lnTo>
                  <a:pt x="215" y="4"/>
                </a:lnTo>
                <a:lnTo>
                  <a:pt x="213" y="6"/>
                </a:lnTo>
                <a:lnTo>
                  <a:pt x="212" y="10"/>
                </a:lnTo>
                <a:lnTo>
                  <a:pt x="211" y="12"/>
                </a:lnTo>
                <a:lnTo>
                  <a:pt x="211" y="15"/>
                </a:lnTo>
                <a:lnTo>
                  <a:pt x="211" y="120"/>
                </a:lnTo>
                <a:lnTo>
                  <a:pt x="15" y="120"/>
                </a:lnTo>
                <a:lnTo>
                  <a:pt x="13" y="120"/>
                </a:lnTo>
                <a:lnTo>
                  <a:pt x="9" y="121"/>
                </a:lnTo>
                <a:lnTo>
                  <a:pt x="7" y="123"/>
                </a:lnTo>
                <a:lnTo>
                  <a:pt x="4" y="124"/>
                </a:lnTo>
                <a:lnTo>
                  <a:pt x="3" y="127"/>
                </a:lnTo>
                <a:lnTo>
                  <a:pt x="1" y="129"/>
                </a:lnTo>
                <a:lnTo>
                  <a:pt x="1" y="132"/>
                </a:lnTo>
                <a:lnTo>
                  <a:pt x="0" y="135"/>
                </a:lnTo>
                <a:lnTo>
                  <a:pt x="0" y="886"/>
                </a:lnTo>
                <a:lnTo>
                  <a:pt x="1" y="889"/>
                </a:lnTo>
                <a:lnTo>
                  <a:pt x="1" y="892"/>
                </a:lnTo>
                <a:lnTo>
                  <a:pt x="3" y="895"/>
                </a:lnTo>
                <a:lnTo>
                  <a:pt x="4" y="897"/>
                </a:lnTo>
                <a:lnTo>
                  <a:pt x="7" y="899"/>
                </a:lnTo>
                <a:lnTo>
                  <a:pt x="9" y="900"/>
                </a:lnTo>
                <a:lnTo>
                  <a:pt x="13" y="901"/>
                </a:lnTo>
                <a:lnTo>
                  <a:pt x="15" y="901"/>
                </a:lnTo>
                <a:lnTo>
                  <a:pt x="526" y="901"/>
                </a:lnTo>
                <a:lnTo>
                  <a:pt x="528" y="901"/>
                </a:lnTo>
                <a:lnTo>
                  <a:pt x="532" y="900"/>
                </a:lnTo>
                <a:lnTo>
                  <a:pt x="534" y="899"/>
                </a:lnTo>
                <a:lnTo>
                  <a:pt x="536" y="897"/>
                </a:lnTo>
                <a:lnTo>
                  <a:pt x="538" y="895"/>
                </a:lnTo>
                <a:lnTo>
                  <a:pt x="539" y="892"/>
                </a:lnTo>
                <a:lnTo>
                  <a:pt x="540" y="889"/>
                </a:lnTo>
                <a:lnTo>
                  <a:pt x="541" y="886"/>
                </a:lnTo>
                <a:lnTo>
                  <a:pt x="541" y="781"/>
                </a:lnTo>
                <a:lnTo>
                  <a:pt x="766" y="781"/>
                </a:lnTo>
                <a:lnTo>
                  <a:pt x="769" y="780"/>
                </a:lnTo>
                <a:lnTo>
                  <a:pt x="772" y="780"/>
                </a:lnTo>
                <a:lnTo>
                  <a:pt x="774" y="778"/>
                </a:lnTo>
                <a:lnTo>
                  <a:pt x="777" y="777"/>
                </a:lnTo>
                <a:lnTo>
                  <a:pt x="779" y="775"/>
                </a:lnTo>
                <a:lnTo>
                  <a:pt x="780" y="772"/>
                </a:lnTo>
                <a:lnTo>
                  <a:pt x="781" y="769"/>
                </a:lnTo>
                <a:lnTo>
                  <a:pt x="781" y="766"/>
                </a:lnTo>
                <a:lnTo>
                  <a:pt x="781" y="195"/>
                </a:lnTo>
                <a:lnTo>
                  <a:pt x="781" y="193"/>
                </a:lnTo>
                <a:lnTo>
                  <a:pt x="780" y="19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xmlns="" id="{A34F8057-81BD-4CCC-BAB6-14EFB484F7D7}"/>
              </a:ext>
            </a:extLst>
          </p:cNvPr>
          <p:cNvSpPr/>
          <p:nvPr/>
        </p:nvSpPr>
        <p:spPr>
          <a:xfrm>
            <a:off x="4375104" y="1200504"/>
            <a:ext cx="720832" cy="720832"/>
          </a:xfrm>
          <a:prstGeom prst="ellipse">
            <a:avLst/>
          </a:prstGeom>
          <a:solidFill>
            <a:srgbClr val="42526B"/>
          </a:solidFill>
          <a:ln w="38100">
            <a:solidFill>
              <a:schemeClr val="bg1"/>
            </a:solidFill>
          </a:ln>
          <a:effectLst>
            <a:outerShdw blurRad="254000" dist="38100" dir="8100000" algn="tr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2E0E3774-98AA-4AA9-8222-DCAB423C51D7}"/>
              </a:ext>
            </a:extLst>
          </p:cNvPr>
          <p:cNvGrpSpPr/>
          <p:nvPr/>
        </p:nvGrpSpPr>
        <p:grpSpPr>
          <a:xfrm>
            <a:off x="4566370" y="1391771"/>
            <a:ext cx="338300" cy="338298"/>
            <a:chOff x="11601450" y="3078163"/>
            <a:chExt cx="285751" cy="285751"/>
          </a:xfrm>
          <a:solidFill>
            <a:schemeClr val="bg1"/>
          </a:solidFill>
        </p:grpSpPr>
        <p:sp>
          <p:nvSpPr>
            <p:cNvPr id="44" name="Freeform 266">
              <a:extLst>
                <a:ext uri="{FF2B5EF4-FFF2-40B4-BE49-F238E27FC236}">
                  <a16:creationId xmlns:a16="http://schemas.microsoft.com/office/drawing/2014/main" xmlns="" id="{7AF5352D-8E41-49E6-88A0-FBEFDFDACE0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601450" y="3078163"/>
              <a:ext cx="200025" cy="257175"/>
            </a:xfrm>
            <a:custGeom>
              <a:avLst/>
              <a:gdLst>
                <a:gd name="T0" fmla="*/ 451 w 630"/>
                <a:gd name="T1" fmla="*/ 53 h 812"/>
                <a:gd name="T2" fmla="*/ 579 w 630"/>
                <a:gd name="T3" fmla="*/ 180 h 812"/>
                <a:gd name="T4" fmla="*/ 451 w 630"/>
                <a:gd name="T5" fmla="*/ 180 h 812"/>
                <a:gd name="T6" fmla="*/ 451 w 630"/>
                <a:gd name="T7" fmla="*/ 53 h 812"/>
                <a:gd name="T8" fmla="*/ 600 w 630"/>
                <a:gd name="T9" fmla="*/ 357 h 812"/>
                <a:gd name="T10" fmla="*/ 630 w 630"/>
                <a:gd name="T11" fmla="*/ 357 h 812"/>
                <a:gd name="T12" fmla="*/ 630 w 630"/>
                <a:gd name="T13" fmla="*/ 196 h 812"/>
                <a:gd name="T14" fmla="*/ 630 w 630"/>
                <a:gd name="T15" fmla="*/ 193 h 812"/>
                <a:gd name="T16" fmla="*/ 629 w 630"/>
                <a:gd name="T17" fmla="*/ 191 h 812"/>
                <a:gd name="T18" fmla="*/ 628 w 630"/>
                <a:gd name="T19" fmla="*/ 188 h 812"/>
                <a:gd name="T20" fmla="*/ 626 w 630"/>
                <a:gd name="T21" fmla="*/ 186 h 812"/>
                <a:gd name="T22" fmla="*/ 446 w 630"/>
                <a:gd name="T23" fmla="*/ 5 h 812"/>
                <a:gd name="T24" fmla="*/ 444 w 630"/>
                <a:gd name="T25" fmla="*/ 4 h 812"/>
                <a:gd name="T26" fmla="*/ 441 w 630"/>
                <a:gd name="T27" fmla="*/ 1 h 812"/>
                <a:gd name="T28" fmla="*/ 439 w 630"/>
                <a:gd name="T29" fmla="*/ 1 h 812"/>
                <a:gd name="T30" fmla="*/ 436 w 630"/>
                <a:gd name="T31" fmla="*/ 0 h 812"/>
                <a:gd name="T32" fmla="*/ 15 w 630"/>
                <a:gd name="T33" fmla="*/ 0 h 812"/>
                <a:gd name="T34" fmla="*/ 12 w 630"/>
                <a:gd name="T35" fmla="*/ 0 h 812"/>
                <a:gd name="T36" fmla="*/ 9 w 630"/>
                <a:gd name="T37" fmla="*/ 1 h 812"/>
                <a:gd name="T38" fmla="*/ 6 w 630"/>
                <a:gd name="T39" fmla="*/ 4 h 812"/>
                <a:gd name="T40" fmla="*/ 4 w 630"/>
                <a:gd name="T41" fmla="*/ 5 h 812"/>
                <a:gd name="T42" fmla="*/ 2 w 630"/>
                <a:gd name="T43" fmla="*/ 8 h 812"/>
                <a:gd name="T44" fmla="*/ 1 w 630"/>
                <a:gd name="T45" fmla="*/ 10 h 812"/>
                <a:gd name="T46" fmla="*/ 0 w 630"/>
                <a:gd name="T47" fmla="*/ 12 h 812"/>
                <a:gd name="T48" fmla="*/ 0 w 630"/>
                <a:gd name="T49" fmla="*/ 15 h 812"/>
                <a:gd name="T50" fmla="*/ 0 w 630"/>
                <a:gd name="T51" fmla="*/ 797 h 812"/>
                <a:gd name="T52" fmla="*/ 0 w 630"/>
                <a:gd name="T53" fmla="*/ 800 h 812"/>
                <a:gd name="T54" fmla="*/ 1 w 630"/>
                <a:gd name="T55" fmla="*/ 803 h 812"/>
                <a:gd name="T56" fmla="*/ 2 w 630"/>
                <a:gd name="T57" fmla="*/ 805 h 812"/>
                <a:gd name="T58" fmla="*/ 4 w 630"/>
                <a:gd name="T59" fmla="*/ 807 h 812"/>
                <a:gd name="T60" fmla="*/ 6 w 630"/>
                <a:gd name="T61" fmla="*/ 809 h 812"/>
                <a:gd name="T62" fmla="*/ 9 w 630"/>
                <a:gd name="T63" fmla="*/ 811 h 812"/>
                <a:gd name="T64" fmla="*/ 12 w 630"/>
                <a:gd name="T65" fmla="*/ 812 h 812"/>
                <a:gd name="T66" fmla="*/ 15 w 630"/>
                <a:gd name="T67" fmla="*/ 812 h 812"/>
                <a:gd name="T68" fmla="*/ 394 w 630"/>
                <a:gd name="T69" fmla="*/ 812 h 812"/>
                <a:gd name="T70" fmla="*/ 394 w 630"/>
                <a:gd name="T71" fmla="*/ 782 h 812"/>
                <a:gd name="T72" fmla="*/ 30 w 630"/>
                <a:gd name="T73" fmla="*/ 782 h 812"/>
                <a:gd name="T74" fmla="*/ 30 w 630"/>
                <a:gd name="T75" fmla="*/ 30 h 812"/>
                <a:gd name="T76" fmla="*/ 421 w 630"/>
                <a:gd name="T77" fmla="*/ 30 h 812"/>
                <a:gd name="T78" fmla="*/ 421 w 630"/>
                <a:gd name="T79" fmla="*/ 196 h 812"/>
                <a:gd name="T80" fmla="*/ 421 w 630"/>
                <a:gd name="T81" fmla="*/ 199 h 812"/>
                <a:gd name="T82" fmla="*/ 422 w 630"/>
                <a:gd name="T83" fmla="*/ 202 h 812"/>
                <a:gd name="T84" fmla="*/ 423 w 630"/>
                <a:gd name="T85" fmla="*/ 205 h 812"/>
                <a:gd name="T86" fmla="*/ 425 w 630"/>
                <a:gd name="T87" fmla="*/ 207 h 812"/>
                <a:gd name="T88" fmla="*/ 427 w 630"/>
                <a:gd name="T89" fmla="*/ 208 h 812"/>
                <a:gd name="T90" fmla="*/ 429 w 630"/>
                <a:gd name="T91" fmla="*/ 210 h 812"/>
                <a:gd name="T92" fmla="*/ 432 w 630"/>
                <a:gd name="T93" fmla="*/ 210 h 812"/>
                <a:gd name="T94" fmla="*/ 436 w 630"/>
                <a:gd name="T95" fmla="*/ 211 h 812"/>
                <a:gd name="T96" fmla="*/ 600 w 630"/>
                <a:gd name="T97" fmla="*/ 211 h 812"/>
                <a:gd name="T98" fmla="*/ 600 w 630"/>
                <a:gd name="T99" fmla="*/ 357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30" h="812">
                  <a:moveTo>
                    <a:pt x="451" y="53"/>
                  </a:moveTo>
                  <a:lnTo>
                    <a:pt x="579" y="180"/>
                  </a:lnTo>
                  <a:lnTo>
                    <a:pt x="451" y="180"/>
                  </a:lnTo>
                  <a:lnTo>
                    <a:pt x="451" y="53"/>
                  </a:lnTo>
                  <a:close/>
                  <a:moveTo>
                    <a:pt x="600" y="357"/>
                  </a:moveTo>
                  <a:lnTo>
                    <a:pt x="630" y="357"/>
                  </a:lnTo>
                  <a:lnTo>
                    <a:pt x="630" y="196"/>
                  </a:lnTo>
                  <a:lnTo>
                    <a:pt x="630" y="193"/>
                  </a:lnTo>
                  <a:lnTo>
                    <a:pt x="629" y="191"/>
                  </a:lnTo>
                  <a:lnTo>
                    <a:pt x="628" y="188"/>
                  </a:lnTo>
                  <a:lnTo>
                    <a:pt x="626" y="186"/>
                  </a:lnTo>
                  <a:lnTo>
                    <a:pt x="446" y="5"/>
                  </a:lnTo>
                  <a:lnTo>
                    <a:pt x="444" y="4"/>
                  </a:lnTo>
                  <a:lnTo>
                    <a:pt x="441" y="1"/>
                  </a:lnTo>
                  <a:lnTo>
                    <a:pt x="439" y="1"/>
                  </a:lnTo>
                  <a:lnTo>
                    <a:pt x="436" y="0"/>
                  </a:lnTo>
                  <a:lnTo>
                    <a:pt x="15" y="0"/>
                  </a:lnTo>
                  <a:lnTo>
                    <a:pt x="12" y="0"/>
                  </a:lnTo>
                  <a:lnTo>
                    <a:pt x="9" y="1"/>
                  </a:lnTo>
                  <a:lnTo>
                    <a:pt x="6" y="4"/>
                  </a:lnTo>
                  <a:lnTo>
                    <a:pt x="4" y="5"/>
                  </a:lnTo>
                  <a:lnTo>
                    <a:pt x="2" y="8"/>
                  </a:lnTo>
                  <a:lnTo>
                    <a:pt x="1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0" y="797"/>
                  </a:lnTo>
                  <a:lnTo>
                    <a:pt x="0" y="800"/>
                  </a:lnTo>
                  <a:lnTo>
                    <a:pt x="1" y="803"/>
                  </a:lnTo>
                  <a:lnTo>
                    <a:pt x="2" y="805"/>
                  </a:lnTo>
                  <a:lnTo>
                    <a:pt x="4" y="807"/>
                  </a:lnTo>
                  <a:lnTo>
                    <a:pt x="6" y="809"/>
                  </a:lnTo>
                  <a:lnTo>
                    <a:pt x="9" y="811"/>
                  </a:lnTo>
                  <a:lnTo>
                    <a:pt x="12" y="812"/>
                  </a:lnTo>
                  <a:lnTo>
                    <a:pt x="15" y="812"/>
                  </a:lnTo>
                  <a:lnTo>
                    <a:pt x="394" y="812"/>
                  </a:lnTo>
                  <a:lnTo>
                    <a:pt x="394" y="782"/>
                  </a:lnTo>
                  <a:lnTo>
                    <a:pt x="30" y="782"/>
                  </a:lnTo>
                  <a:lnTo>
                    <a:pt x="30" y="30"/>
                  </a:lnTo>
                  <a:lnTo>
                    <a:pt x="421" y="30"/>
                  </a:lnTo>
                  <a:lnTo>
                    <a:pt x="421" y="196"/>
                  </a:lnTo>
                  <a:lnTo>
                    <a:pt x="421" y="199"/>
                  </a:lnTo>
                  <a:lnTo>
                    <a:pt x="422" y="202"/>
                  </a:lnTo>
                  <a:lnTo>
                    <a:pt x="423" y="205"/>
                  </a:lnTo>
                  <a:lnTo>
                    <a:pt x="425" y="207"/>
                  </a:lnTo>
                  <a:lnTo>
                    <a:pt x="427" y="208"/>
                  </a:lnTo>
                  <a:lnTo>
                    <a:pt x="429" y="210"/>
                  </a:lnTo>
                  <a:lnTo>
                    <a:pt x="432" y="210"/>
                  </a:lnTo>
                  <a:lnTo>
                    <a:pt x="436" y="211"/>
                  </a:lnTo>
                  <a:lnTo>
                    <a:pt x="600" y="211"/>
                  </a:lnTo>
                  <a:lnTo>
                    <a:pt x="600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7">
              <a:extLst>
                <a:ext uri="{FF2B5EF4-FFF2-40B4-BE49-F238E27FC236}">
                  <a16:creationId xmlns:a16="http://schemas.microsoft.com/office/drawing/2014/main" xmlns="" id="{D37B6722-8408-4658-B84D-481A353666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758613" y="3225801"/>
              <a:ext cx="128588" cy="138113"/>
            </a:xfrm>
            <a:custGeom>
              <a:avLst/>
              <a:gdLst>
                <a:gd name="T0" fmla="*/ 34 w 406"/>
                <a:gd name="T1" fmla="*/ 138 h 435"/>
                <a:gd name="T2" fmla="*/ 46 w 406"/>
                <a:gd name="T3" fmla="*/ 102 h 435"/>
                <a:gd name="T4" fmla="*/ 70 w 406"/>
                <a:gd name="T5" fmla="*/ 71 h 435"/>
                <a:gd name="T6" fmla="*/ 101 w 406"/>
                <a:gd name="T7" fmla="*/ 47 h 435"/>
                <a:gd name="T8" fmla="*/ 139 w 406"/>
                <a:gd name="T9" fmla="*/ 33 h 435"/>
                <a:gd name="T10" fmla="*/ 179 w 406"/>
                <a:gd name="T11" fmla="*/ 31 h 435"/>
                <a:gd name="T12" fmla="*/ 219 w 406"/>
                <a:gd name="T13" fmla="*/ 41 h 435"/>
                <a:gd name="T14" fmla="*/ 252 w 406"/>
                <a:gd name="T15" fmla="*/ 61 h 435"/>
                <a:gd name="T16" fmla="*/ 278 w 406"/>
                <a:gd name="T17" fmla="*/ 90 h 435"/>
                <a:gd name="T18" fmla="*/ 295 w 406"/>
                <a:gd name="T19" fmla="*/ 125 h 435"/>
                <a:gd name="T20" fmla="*/ 301 w 406"/>
                <a:gd name="T21" fmla="*/ 166 h 435"/>
                <a:gd name="T22" fmla="*/ 295 w 406"/>
                <a:gd name="T23" fmla="*/ 205 h 435"/>
                <a:gd name="T24" fmla="*/ 278 w 406"/>
                <a:gd name="T25" fmla="*/ 241 h 435"/>
                <a:gd name="T26" fmla="*/ 252 w 406"/>
                <a:gd name="T27" fmla="*/ 270 h 435"/>
                <a:gd name="T28" fmla="*/ 219 w 406"/>
                <a:gd name="T29" fmla="*/ 290 h 435"/>
                <a:gd name="T30" fmla="*/ 179 w 406"/>
                <a:gd name="T31" fmla="*/ 300 h 435"/>
                <a:gd name="T32" fmla="*/ 139 w 406"/>
                <a:gd name="T33" fmla="*/ 297 h 435"/>
                <a:gd name="T34" fmla="*/ 101 w 406"/>
                <a:gd name="T35" fmla="*/ 285 h 435"/>
                <a:gd name="T36" fmla="*/ 70 w 406"/>
                <a:gd name="T37" fmla="*/ 261 h 435"/>
                <a:gd name="T38" fmla="*/ 46 w 406"/>
                <a:gd name="T39" fmla="*/ 230 h 435"/>
                <a:gd name="T40" fmla="*/ 34 w 406"/>
                <a:gd name="T41" fmla="*/ 193 h 435"/>
                <a:gd name="T42" fmla="*/ 402 w 406"/>
                <a:gd name="T43" fmla="*/ 410 h 435"/>
                <a:gd name="T44" fmla="*/ 300 w 406"/>
                <a:gd name="T45" fmla="*/ 262 h 435"/>
                <a:gd name="T46" fmla="*/ 323 w 406"/>
                <a:gd name="T47" fmla="*/ 217 h 435"/>
                <a:gd name="T48" fmla="*/ 331 w 406"/>
                <a:gd name="T49" fmla="*/ 166 h 435"/>
                <a:gd name="T50" fmla="*/ 324 w 406"/>
                <a:gd name="T51" fmla="*/ 117 h 435"/>
                <a:gd name="T52" fmla="*/ 302 w 406"/>
                <a:gd name="T53" fmla="*/ 74 h 435"/>
                <a:gd name="T54" fmla="*/ 271 w 406"/>
                <a:gd name="T55" fmla="*/ 38 h 435"/>
                <a:gd name="T56" fmla="*/ 229 w 406"/>
                <a:gd name="T57" fmla="*/ 13 h 435"/>
                <a:gd name="T58" fmla="*/ 182 w 406"/>
                <a:gd name="T59" fmla="*/ 1 h 435"/>
                <a:gd name="T60" fmla="*/ 132 w 406"/>
                <a:gd name="T61" fmla="*/ 3 h 435"/>
                <a:gd name="T62" fmla="*/ 87 w 406"/>
                <a:gd name="T63" fmla="*/ 20 h 435"/>
                <a:gd name="T64" fmla="*/ 49 w 406"/>
                <a:gd name="T65" fmla="*/ 49 h 435"/>
                <a:gd name="T66" fmla="*/ 21 w 406"/>
                <a:gd name="T67" fmla="*/ 87 h 435"/>
                <a:gd name="T68" fmla="*/ 4 w 406"/>
                <a:gd name="T69" fmla="*/ 133 h 435"/>
                <a:gd name="T70" fmla="*/ 2 w 406"/>
                <a:gd name="T71" fmla="*/ 182 h 435"/>
                <a:gd name="T72" fmla="*/ 13 w 406"/>
                <a:gd name="T73" fmla="*/ 230 h 435"/>
                <a:gd name="T74" fmla="*/ 38 w 406"/>
                <a:gd name="T75" fmla="*/ 271 h 435"/>
                <a:gd name="T76" fmla="*/ 73 w 406"/>
                <a:gd name="T77" fmla="*/ 303 h 435"/>
                <a:gd name="T78" fmla="*/ 117 w 406"/>
                <a:gd name="T79" fmla="*/ 323 h 435"/>
                <a:gd name="T80" fmla="*/ 165 w 406"/>
                <a:gd name="T81" fmla="*/ 331 h 435"/>
                <a:gd name="T82" fmla="*/ 202 w 406"/>
                <a:gd name="T83" fmla="*/ 326 h 435"/>
                <a:gd name="T84" fmla="*/ 234 w 406"/>
                <a:gd name="T85" fmla="*/ 316 h 435"/>
                <a:gd name="T86" fmla="*/ 380 w 406"/>
                <a:gd name="T87" fmla="*/ 431 h 435"/>
                <a:gd name="T88" fmla="*/ 388 w 406"/>
                <a:gd name="T89" fmla="*/ 435 h 435"/>
                <a:gd name="T90" fmla="*/ 396 w 406"/>
                <a:gd name="T91" fmla="*/ 434 h 435"/>
                <a:gd name="T92" fmla="*/ 404 w 406"/>
                <a:gd name="T93" fmla="*/ 429 h 435"/>
                <a:gd name="T94" fmla="*/ 406 w 406"/>
                <a:gd name="T95" fmla="*/ 422 h 435"/>
                <a:gd name="T96" fmla="*/ 404 w 406"/>
                <a:gd name="T97" fmla="*/ 413 h 4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6" h="435">
                  <a:moveTo>
                    <a:pt x="30" y="166"/>
                  </a:moveTo>
                  <a:lnTo>
                    <a:pt x="32" y="152"/>
                  </a:lnTo>
                  <a:lnTo>
                    <a:pt x="34" y="138"/>
                  </a:lnTo>
                  <a:lnTo>
                    <a:pt x="37" y="125"/>
                  </a:lnTo>
                  <a:lnTo>
                    <a:pt x="41" y="113"/>
                  </a:lnTo>
                  <a:lnTo>
                    <a:pt x="46" y="102"/>
                  </a:lnTo>
                  <a:lnTo>
                    <a:pt x="54" y="90"/>
                  </a:lnTo>
                  <a:lnTo>
                    <a:pt x="61" y="80"/>
                  </a:lnTo>
                  <a:lnTo>
                    <a:pt x="70" y="71"/>
                  </a:lnTo>
                  <a:lnTo>
                    <a:pt x="80" y="61"/>
                  </a:lnTo>
                  <a:lnTo>
                    <a:pt x="90" y="53"/>
                  </a:lnTo>
                  <a:lnTo>
                    <a:pt x="101" y="47"/>
                  </a:lnTo>
                  <a:lnTo>
                    <a:pt x="113" y="41"/>
                  </a:lnTo>
                  <a:lnTo>
                    <a:pt x="126" y="36"/>
                  </a:lnTo>
                  <a:lnTo>
                    <a:pt x="139" y="33"/>
                  </a:lnTo>
                  <a:lnTo>
                    <a:pt x="152" y="31"/>
                  </a:lnTo>
                  <a:lnTo>
                    <a:pt x="165" y="30"/>
                  </a:lnTo>
                  <a:lnTo>
                    <a:pt x="179" y="31"/>
                  </a:lnTo>
                  <a:lnTo>
                    <a:pt x="193" y="33"/>
                  </a:lnTo>
                  <a:lnTo>
                    <a:pt x="206" y="36"/>
                  </a:lnTo>
                  <a:lnTo>
                    <a:pt x="219" y="41"/>
                  </a:lnTo>
                  <a:lnTo>
                    <a:pt x="231" y="47"/>
                  </a:lnTo>
                  <a:lnTo>
                    <a:pt x="241" y="53"/>
                  </a:lnTo>
                  <a:lnTo>
                    <a:pt x="252" y="61"/>
                  </a:lnTo>
                  <a:lnTo>
                    <a:pt x="262" y="71"/>
                  </a:lnTo>
                  <a:lnTo>
                    <a:pt x="270" y="80"/>
                  </a:lnTo>
                  <a:lnTo>
                    <a:pt x="278" y="90"/>
                  </a:lnTo>
                  <a:lnTo>
                    <a:pt x="284" y="102"/>
                  </a:lnTo>
                  <a:lnTo>
                    <a:pt x="290" y="113"/>
                  </a:lnTo>
                  <a:lnTo>
                    <a:pt x="295" y="125"/>
                  </a:lnTo>
                  <a:lnTo>
                    <a:pt x="298" y="138"/>
                  </a:lnTo>
                  <a:lnTo>
                    <a:pt x="300" y="152"/>
                  </a:lnTo>
                  <a:lnTo>
                    <a:pt x="301" y="166"/>
                  </a:lnTo>
                  <a:lnTo>
                    <a:pt x="300" y="180"/>
                  </a:lnTo>
                  <a:lnTo>
                    <a:pt x="298" y="193"/>
                  </a:lnTo>
                  <a:lnTo>
                    <a:pt x="295" y="205"/>
                  </a:lnTo>
                  <a:lnTo>
                    <a:pt x="290" y="218"/>
                  </a:lnTo>
                  <a:lnTo>
                    <a:pt x="284" y="230"/>
                  </a:lnTo>
                  <a:lnTo>
                    <a:pt x="278" y="241"/>
                  </a:lnTo>
                  <a:lnTo>
                    <a:pt x="270" y="251"/>
                  </a:lnTo>
                  <a:lnTo>
                    <a:pt x="262" y="261"/>
                  </a:lnTo>
                  <a:lnTo>
                    <a:pt x="252" y="270"/>
                  </a:lnTo>
                  <a:lnTo>
                    <a:pt x="241" y="277"/>
                  </a:lnTo>
                  <a:lnTo>
                    <a:pt x="231" y="285"/>
                  </a:lnTo>
                  <a:lnTo>
                    <a:pt x="219" y="290"/>
                  </a:lnTo>
                  <a:lnTo>
                    <a:pt x="206" y="294"/>
                  </a:lnTo>
                  <a:lnTo>
                    <a:pt x="193" y="297"/>
                  </a:lnTo>
                  <a:lnTo>
                    <a:pt x="179" y="300"/>
                  </a:lnTo>
                  <a:lnTo>
                    <a:pt x="165" y="301"/>
                  </a:lnTo>
                  <a:lnTo>
                    <a:pt x="152" y="300"/>
                  </a:lnTo>
                  <a:lnTo>
                    <a:pt x="139" y="297"/>
                  </a:lnTo>
                  <a:lnTo>
                    <a:pt x="126" y="294"/>
                  </a:lnTo>
                  <a:lnTo>
                    <a:pt x="113" y="290"/>
                  </a:lnTo>
                  <a:lnTo>
                    <a:pt x="101" y="285"/>
                  </a:lnTo>
                  <a:lnTo>
                    <a:pt x="90" y="277"/>
                  </a:lnTo>
                  <a:lnTo>
                    <a:pt x="80" y="270"/>
                  </a:lnTo>
                  <a:lnTo>
                    <a:pt x="70" y="261"/>
                  </a:lnTo>
                  <a:lnTo>
                    <a:pt x="61" y="251"/>
                  </a:lnTo>
                  <a:lnTo>
                    <a:pt x="54" y="241"/>
                  </a:lnTo>
                  <a:lnTo>
                    <a:pt x="46" y="230"/>
                  </a:lnTo>
                  <a:lnTo>
                    <a:pt x="41" y="218"/>
                  </a:lnTo>
                  <a:lnTo>
                    <a:pt x="37" y="205"/>
                  </a:lnTo>
                  <a:lnTo>
                    <a:pt x="34" y="193"/>
                  </a:lnTo>
                  <a:lnTo>
                    <a:pt x="32" y="179"/>
                  </a:lnTo>
                  <a:lnTo>
                    <a:pt x="30" y="166"/>
                  </a:lnTo>
                  <a:close/>
                  <a:moveTo>
                    <a:pt x="402" y="410"/>
                  </a:moveTo>
                  <a:lnTo>
                    <a:pt x="278" y="287"/>
                  </a:lnTo>
                  <a:lnTo>
                    <a:pt x="289" y="275"/>
                  </a:lnTo>
                  <a:lnTo>
                    <a:pt x="300" y="262"/>
                  </a:lnTo>
                  <a:lnTo>
                    <a:pt x="309" y="248"/>
                  </a:lnTo>
                  <a:lnTo>
                    <a:pt x="316" y="233"/>
                  </a:lnTo>
                  <a:lnTo>
                    <a:pt x="323" y="217"/>
                  </a:lnTo>
                  <a:lnTo>
                    <a:pt x="327" y="200"/>
                  </a:lnTo>
                  <a:lnTo>
                    <a:pt x="330" y="183"/>
                  </a:lnTo>
                  <a:lnTo>
                    <a:pt x="331" y="166"/>
                  </a:lnTo>
                  <a:lnTo>
                    <a:pt x="330" y="149"/>
                  </a:lnTo>
                  <a:lnTo>
                    <a:pt x="328" y="133"/>
                  </a:lnTo>
                  <a:lnTo>
                    <a:pt x="324" y="117"/>
                  </a:lnTo>
                  <a:lnTo>
                    <a:pt x="318" y="102"/>
                  </a:lnTo>
                  <a:lnTo>
                    <a:pt x="311" y="87"/>
                  </a:lnTo>
                  <a:lnTo>
                    <a:pt x="302" y="74"/>
                  </a:lnTo>
                  <a:lnTo>
                    <a:pt x="294" y="61"/>
                  </a:lnTo>
                  <a:lnTo>
                    <a:pt x="283" y="49"/>
                  </a:lnTo>
                  <a:lnTo>
                    <a:pt x="271" y="38"/>
                  </a:lnTo>
                  <a:lnTo>
                    <a:pt x="258" y="29"/>
                  </a:lnTo>
                  <a:lnTo>
                    <a:pt x="244" y="20"/>
                  </a:lnTo>
                  <a:lnTo>
                    <a:pt x="229" y="13"/>
                  </a:lnTo>
                  <a:lnTo>
                    <a:pt x="214" y="7"/>
                  </a:lnTo>
                  <a:lnTo>
                    <a:pt x="198" y="3"/>
                  </a:lnTo>
                  <a:lnTo>
                    <a:pt x="182" y="1"/>
                  </a:lnTo>
                  <a:lnTo>
                    <a:pt x="165" y="0"/>
                  </a:lnTo>
                  <a:lnTo>
                    <a:pt x="149" y="1"/>
                  </a:lnTo>
                  <a:lnTo>
                    <a:pt x="132" y="3"/>
                  </a:lnTo>
                  <a:lnTo>
                    <a:pt x="117" y="7"/>
                  </a:lnTo>
                  <a:lnTo>
                    <a:pt x="101" y="13"/>
                  </a:lnTo>
                  <a:lnTo>
                    <a:pt x="87" y="20"/>
                  </a:lnTo>
                  <a:lnTo>
                    <a:pt x="73" y="29"/>
                  </a:lnTo>
                  <a:lnTo>
                    <a:pt x="60" y="38"/>
                  </a:lnTo>
                  <a:lnTo>
                    <a:pt x="49" y="49"/>
                  </a:lnTo>
                  <a:lnTo>
                    <a:pt x="38" y="61"/>
                  </a:lnTo>
                  <a:lnTo>
                    <a:pt x="28" y="74"/>
                  </a:lnTo>
                  <a:lnTo>
                    <a:pt x="21" y="87"/>
                  </a:lnTo>
                  <a:lnTo>
                    <a:pt x="13" y="102"/>
                  </a:lnTo>
                  <a:lnTo>
                    <a:pt x="8" y="117"/>
                  </a:lnTo>
                  <a:lnTo>
                    <a:pt x="4" y="133"/>
                  </a:lnTo>
                  <a:lnTo>
                    <a:pt x="2" y="149"/>
                  </a:lnTo>
                  <a:lnTo>
                    <a:pt x="0" y="166"/>
                  </a:lnTo>
                  <a:lnTo>
                    <a:pt x="2" y="182"/>
                  </a:lnTo>
                  <a:lnTo>
                    <a:pt x="4" y="199"/>
                  </a:lnTo>
                  <a:lnTo>
                    <a:pt x="8" y="215"/>
                  </a:lnTo>
                  <a:lnTo>
                    <a:pt x="13" y="230"/>
                  </a:lnTo>
                  <a:lnTo>
                    <a:pt x="21" y="244"/>
                  </a:lnTo>
                  <a:lnTo>
                    <a:pt x="28" y="258"/>
                  </a:lnTo>
                  <a:lnTo>
                    <a:pt x="38" y="271"/>
                  </a:lnTo>
                  <a:lnTo>
                    <a:pt x="49" y="282"/>
                  </a:lnTo>
                  <a:lnTo>
                    <a:pt x="60" y="293"/>
                  </a:lnTo>
                  <a:lnTo>
                    <a:pt x="73" y="303"/>
                  </a:lnTo>
                  <a:lnTo>
                    <a:pt x="87" y="310"/>
                  </a:lnTo>
                  <a:lnTo>
                    <a:pt x="101" y="318"/>
                  </a:lnTo>
                  <a:lnTo>
                    <a:pt x="117" y="323"/>
                  </a:lnTo>
                  <a:lnTo>
                    <a:pt x="132" y="327"/>
                  </a:lnTo>
                  <a:lnTo>
                    <a:pt x="149" y="330"/>
                  </a:lnTo>
                  <a:lnTo>
                    <a:pt x="165" y="331"/>
                  </a:lnTo>
                  <a:lnTo>
                    <a:pt x="178" y="331"/>
                  </a:lnTo>
                  <a:lnTo>
                    <a:pt x="190" y="328"/>
                  </a:lnTo>
                  <a:lnTo>
                    <a:pt x="202" y="326"/>
                  </a:lnTo>
                  <a:lnTo>
                    <a:pt x="212" y="324"/>
                  </a:lnTo>
                  <a:lnTo>
                    <a:pt x="223" y="320"/>
                  </a:lnTo>
                  <a:lnTo>
                    <a:pt x="234" y="316"/>
                  </a:lnTo>
                  <a:lnTo>
                    <a:pt x="244" y="311"/>
                  </a:lnTo>
                  <a:lnTo>
                    <a:pt x="254" y="305"/>
                  </a:lnTo>
                  <a:lnTo>
                    <a:pt x="380" y="431"/>
                  </a:lnTo>
                  <a:lnTo>
                    <a:pt x="382" y="433"/>
                  </a:lnTo>
                  <a:lnTo>
                    <a:pt x="386" y="434"/>
                  </a:lnTo>
                  <a:lnTo>
                    <a:pt x="388" y="435"/>
                  </a:lnTo>
                  <a:lnTo>
                    <a:pt x="391" y="435"/>
                  </a:lnTo>
                  <a:lnTo>
                    <a:pt x="394" y="435"/>
                  </a:lnTo>
                  <a:lnTo>
                    <a:pt x="396" y="434"/>
                  </a:lnTo>
                  <a:lnTo>
                    <a:pt x="400" y="433"/>
                  </a:lnTo>
                  <a:lnTo>
                    <a:pt x="402" y="431"/>
                  </a:lnTo>
                  <a:lnTo>
                    <a:pt x="404" y="429"/>
                  </a:lnTo>
                  <a:lnTo>
                    <a:pt x="405" y="427"/>
                  </a:lnTo>
                  <a:lnTo>
                    <a:pt x="406" y="424"/>
                  </a:lnTo>
                  <a:lnTo>
                    <a:pt x="406" y="422"/>
                  </a:lnTo>
                  <a:lnTo>
                    <a:pt x="406" y="418"/>
                  </a:lnTo>
                  <a:lnTo>
                    <a:pt x="405" y="415"/>
                  </a:lnTo>
                  <a:lnTo>
                    <a:pt x="404" y="413"/>
                  </a:lnTo>
                  <a:lnTo>
                    <a:pt x="402" y="4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6" name="Oval 45">
            <a:extLst>
              <a:ext uri="{FF2B5EF4-FFF2-40B4-BE49-F238E27FC236}">
                <a16:creationId xmlns:a16="http://schemas.microsoft.com/office/drawing/2014/main" xmlns="" id="{4A70B376-2F44-430B-AE41-28FE31D5B47E}"/>
              </a:ext>
            </a:extLst>
          </p:cNvPr>
          <p:cNvSpPr/>
          <p:nvPr/>
        </p:nvSpPr>
        <p:spPr>
          <a:xfrm>
            <a:off x="7159256" y="1273133"/>
            <a:ext cx="720832" cy="720832"/>
          </a:xfrm>
          <a:prstGeom prst="ellipse">
            <a:avLst/>
          </a:prstGeom>
          <a:solidFill>
            <a:srgbClr val="42526B"/>
          </a:solidFill>
          <a:ln w="38100">
            <a:solidFill>
              <a:schemeClr val="bg1"/>
            </a:solidFill>
          </a:ln>
          <a:effectLst>
            <a:outerShdw blurRad="254000" dist="38100" dir="8100000" algn="tr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xmlns="" id="{D7706EDF-1EED-4951-BFC8-0B6733CD8CD3}"/>
              </a:ext>
            </a:extLst>
          </p:cNvPr>
          <p:cNvGrpSpPr/>
          <p:nvPr/>
        </p:nvGrpSpPr>
        <p:grpSpPr>
          <a:xfrm>
            <a:off x="7399188" y="1442313"/>
            <a:ext cx="338298" cy="338298"/>
            <a:chOff x="7596188" y="3078163"/>
            <a:chExt cx="285750" cy="285750"/>
          </a:xfrm>
          <a:solidFill>
            <a:schemeClr val="bg1"/>
          </a:solidFill>
        </p:grpSpPr>
        <p:sp>
          <p:nvSpPr>
            <p:cNvPr id="48" name="Freeform 250">
              <a:extLst>
                <a:ext uri="{FF2B5EF4-FFF2-40B4-BE49-F238E27FC236}">
                  <a16:creationId xmlns:a16="http://schemas.microsoft.com/office/drawing/2014/main" xmlns="" id="{6A42BE8A-A502-480B-91A2-3A015F98EE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96188" y="3078163"/>
              <a:ext cx="200025" cy="257175"/>
            </a:xfrm>
            <a:custGeom>
              <a:avLst/>
              <a:gdLst>
                <a:gd name="T0" fmla="*/ 450 w 631"/>
                <a:gd name="T1" fmla="*/ 53 h 812"/>
                <a:gd name="T2" fmla="*/ 580 w 631"/>
                <a:gd name="T3" fmla="*/ 180 h 812"/>
                <a:gd name="T4" fmla="*/ 450 w 631"/>
                <a:gd name="T5" fmla="*/ 180 h 812"/>
                <a:gd name="T6" fmla="*/ 450 w 631"/>
                <a:gd name="T7" fmla="*/ 53 h 812"/>
                <a:gd name="T8" fmla="*/ 601 w 631"/>
                <a:gd name="T9" fmla="*/ 357 h 812"/>
                <a:gd name="T10" fmla="*/ 631 w 631"/>
                <a:gd name="T11" fmla="*/ 357 h 812"/>
                <a:gd name="T12" fmla="*/ 631 w 631"/>
                <a:gd name="T13" fmla="*/ 196 h 812"/>
                <a:gd name="T14" fmla="*/ 631 w 631"/>
                <a:gd name="T15" fmla="*/ 193 h 812"/>
                <a:gd name="T16" fmla="*/ 630 w 631"/>
                <a:gd name="T17" fmla="*/ 191 h 812"/>
                <a:gd name="T18" fmla="*/ 628 w 631"/>
                <a:gd name="T19" fmla="*/ 188 h 812"/>
                <a:gd name="T20" fmla="*/ 627 w 631"/>
                <a:gd name="T21" fmla="*/ 186 h 812"/>
                <a:gd name="T22" fmla="*/ 446 w 631"/>
                <a:gd name="T23" fmla="*/ 5 h 812"/>
                <a:gd name="T24" fmla="*/ 444 w 631"/>
                <a:gd name="T25" fmla="*/ 4 h 812"/>
                <a:gd name="T26" fmla="*/ 442 w 631"/>
                <a:gd name="T27" fmla="*/ 1 h 812"/>
                <a:gd name="T28" fmla="*/ 438 w 631"/>
                <a:gd name="T29" fmla="*/ 1 h 812"/>
                <a:gd name="T30" fmla="*/ 435 w 631"/>
                <a:gd name="T31" fmla="*/ 0 h 812"/>
                <a:gd name="T32" fmla="*/ 15 w 631"/>
                <a:gd name="T33" fmla="*/ 0 h 812"/>
                <a:gd name="T34" fmla="*/ 13 w 631"/>
                <a:gd name="T35" fmla="*/ 0 h 812"/>
                <a:gd name="T36" fmla="*/ 9 w 631"/>
                <a:gd name="T37" fmla="*/ 1 h 812"/>
                <a:gd name="T38" fmla="*/ 7 w 631"/>
                <a:gd name="T39" fmla="*/ 4 h 812"/>
                <a:gd name="T40" fmla="*/ 5 w 631"/>
                <a:gd name="T41" fmla="*/ 5 h 812"/>
                <a:gd name="T42" fmla="*/ 3 w 631"/>
                <a:gd name="T43" fmla="*/ 8 h 812"/>
                <a:gd name="T44" fmla="*/ 2 w 631"/>
                <a:gd name="T45" fmla="*/ 10 h 812"/>
                <a:gd name="T46" fmla="*/ 1 w 631"/>
                <a:gd name="T47" fmla="*/ 12 h 812"/>
                <a:gd name="T48" fmla="*/ 0 w 631"/>
                <a:gd name="T49" fmla="*/ 15 h 812"/>
                <a:gd name="T50" fmla="*/ 0 w 631"/>
                <a:gd name="T51" fmla="*/ 797 h 812"/>
                <a:gd name="T52" fmla="*/ 1 w 631"/>
                <a:gd name="T53" fmla="*/ 800 h 812"/>
                <a:gd name="T54" fmla="*/ 2 w 631"/>
                <a:gd name="T55" fmla="*/ 803 h 812"/>
                <a:gd name="T56" fmla="*/ 3 w 631"/>
                <a:gd name="T57" fmla="*/ 805 h 812"/>
                <a:gd name="T58" fmla="*/ 5 w 631"/>
                <a:gd name="T59" fmla="*/ 807 h 812"/>
                <a:gd name="T60" fmla="*/ 7 w 631"/>
                <a:gd name="T61" fmla="*/ 809 h 812"/>
                <a:gd name="T62" fmla="*/ 9 w 631"/>
                <a:gd name="T63" fmla="*/ 811 h 812"/>
                <a:gd name="T64" fmla="*/ 13 w 631"/>
                <a:gd name="T65" fmla="*/ 812 h 812"/>
                <a:gd name="T66" fmla="*/ 15 w 631"/>
                <a:gd name="T67" fmla="*/ 812 h 812"/>
                <a:gd name="T68" fmla="*/ 394 w 631"/>
                <a:gd name="T69" fmla="*/ 812 h 812"/>
                <a:gd name="T70" fmla="*/ 394 w 631"/>
                <a:gd name="T71" fmla="*/ 782 h 812"/>
                <a:gd name="T72" fmla="*/ 30 w 631"/>
                <a:gd name="T73" fmla="*/ 782 h 812"/>
                <a:gd name="T74" fmla="*/ 30 w 631"/>
                <a:gd name="T75" fmla="*/ 30 h 812"/>
                <a:gd name="T76" fmla="*/ 420 w 631"/>
                <a:gd name="T77" fmla="*/ 30 h 812"/>
                <a:gd name="T78" fmla="*/ 420 w 631"/>
                <a:gd name="T79" fmla="*/ 196 h 812"/>
                <a:gd name="T80" fmla="*/ 421 w 631"/>
                <a:gd name="T81" fmla="*/ 199 h 812"/>
                <a:gd name="T82" fmla="*/ 421 w 631"/>
                <a:gd name="T83" fmla="*/ 202 h 812"/>
                <a:gd name="T84" fmla="*/ 423 w 631"/>
                <a:gd name="T85" fmla="*/ 205 h 812"/>
                <a:gd name="T86" fmla="*/ 425 w 631"/>
                <a:gd name="T87" fmla="*/ 207 h 812"/>
                <a:gd name="T88" fmla="*/ 428 w 631"/>
                <a:gd name="T89" fmla="*/ 208 h 812"/>
                <a:gd name="T90" fmla="*/ 430 w 631"/>
                <a:gd name="T91" fmla="*/ 210 h 812"/>
                <a:gd name="T92" fmla="*/ 433 w 631"/>
                <a:gd name="T93" fmla="*/ 210 h 812"/>
                <a:gd name="T94" fmla="*/ 435 w 631"/>
                <a:gd name="T95" fmla="*/ 211 h 812"/>
                <a:gd name="T96" fmla="*/ 601 w 631"/>
                <a:gd name="T97" fmla="*/ 211 h 812"/>
                <a:gd name="T98" fmla="*/ 601 w 631"/>
                <a:gd name="T99" fmla="*/ 357 h 8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31" h="812">
                  <a:moveTo>
                    <a:pt x="450" y="53"/>
                  </a:moveTo>
                  <a:lnTo>
                    <a:pt x="580" y="180"/>
                  </a:lnTo>
                  <a:lnTo>
                    <a:pt x="450" y="180"/>
                  </a:lnTo>
                  <a:lnTo>
                    <a:pt x="450" y="53"/>
                  </a:lnTo>
                  <a:close/>
                  <a:moveTo>
                    <a:pt x="601" y="357"/>
                  </a:moveTo>
                  <a:lnTo>
                    <a:pt x="631" y="357"/>
                  </a:lnTo>
                  <a:lnTo>
                    <a:pt x="631" y="196"/>
                  </a:lnTo>
                  <a:lnTo>
                    <a:pt x="631" y="193"/>
                  </a:lnTo>
                  <a:lnTo>
                    <a:pt x="630" y="191"/>
                  </a:lnTo>
                  <a:lnTo>
                    <a:pt x="628" y="188"/>
                  </a:lnTo>
                  <a:lnTo>
                    <a:pt x="627" y="186"/>
                  </a:lnTo>
                  <a:lnTo>
                    <a:pt x="446" y="5"/>
                  </a:lnTo>
                  <a:lnTo>
                    <a:pt x="444" y="4"/>
                  </a:lnTo>
                  <a:lnTo>
                    <a:pt x="442" y="1"/>
                  </a:lnTo>
                  <a:lnTo>
                    <a:pt x="438" y="1"/>
                  </a:lnTo>
                  <a:lnTo>
                    <a:pt x="435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9" y="1"/>
                  </a:lnTo>
                  <a:lnTo>
                    <a:pt x="7" y="4"/>
                  </a:lnTo>
                  <a:lnTo>
                    <a:pt x="5" y="5"/>
                  </a:lnTo>
                  <a:lnTo>
                    <a:pt x="3" y="8"/>
                  </a:lnTo>
                  <a:lnTo>
                    <a:pt x="2" y="10"/>
                  </a:lnTo>
                  <a:lnTo>
                    <a:pt x="1" y="12"/>
                  </a:lnTo>
                  <a:lnTo>
                    <a:pt x="0" y="15"/>
                  </a:lnTo>
                  <a:lnTo>
                    <a:pt x="0" y="797"/>
                  </a:lnTo>
                  <a:lnTo>
                    <a:pt x="1" y="800"/>
                  </a:lnTo>
                  <a:lnTo>
                    <a:pt x="2" y="803"/>
                  </a:lnTo>
                  <a:lnTo>
                    <a:pt x="3" y="805"/>
                  </a:lnTo>
                  <a:lnTo>
                    <a:pt x="5" y="807"/>
                  </a:lnTo>
                  <a:lnTo>
                    <a:pt x="7" y="809"/>
                  </a:lnTo>
                  <a:lnTo>
                    <a:pt x="9" y="811"/>
                  </a:lnTo>
                  <a:lnTo>
                    <a:pt x="13" y="812"/>
                  </a:lnTo>
                  <a:lnTo>
                    <a:pt x="15" y="812"/>
                  </a:lnTo>
                  <a:lnTo>
                    <a:pt x="394" y="812"/>
                  </a:lnTo>
                  <a:lnTo>
                    <a:pt x="394" y="782"/>
                  </a:lnTo>
                  <a:lnTo>
                    <a:pt x="30" y="782"/>
                  </a:lnTo>
                  <a:lnTo>
                    <a:pt x="30" y="30"/>
                  </a:lnTo>
                  <a:lnTo>
                    <a:pt x="420" y="30"/>
                  </a:lnTo>
                  <a:lnTo>
                    <a:pt x="420" y="196"/>
                  </a:lnTo>
                  <a:lnTo>
                    <a:pt x="421" y="199"/>
                  </a:lnTo>
                  <a:lnTo>
                    <a:pt x="421" y="202"/>
                  </a:lnTo>
                  <a:lnTo>
                    <a:pt x="423" y="205"/>
                  </a:lnTo>
                  <a:lnTo>
                    <a:pt x="425" y="207"/>
                  </a:lnTo>
                  <a:lnTo>
                    <a:pt x="428" y="208"/>
                  </a:lnTo>
                  <a:lnTo>
                    <a:pt x="430" y="210"/>
                  </a:lnTo>
                  <a:lnTo>
                    <a:pt x="433" y="210"/>
                  </a:lnTo>
                  <a:lnTo>
                    <a:pt x="435" y="211"/>
                  </a:lnTo>
                  <a:lnTo>
                    <a:pt x="601" y="211"/>
                  </a:lnTo>
                  <a:lnTo>
                    <a:pt x="601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51">
              <a:extLst>
                <a:ext uri="{FF2B5EF4-FFF2-40B4-BE49-F238E27FC236}">
                  <a16:creationId xmlns:a16="http://schemas.microsoft.com/office/drawing/2014/main" xmlns="" id="{072F86BA-EA86-4F8C-90A6-ADBCB87D52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739063" y="3221038"/>
              <a:ext cx="142875" cy="142875"/>
            </a:xfrm>
            <a:custGeom>
              <a:avLst/>
              <a:gdLst>
                <a:gd name="T0" fmla="*/ 186 w 452"/>
                <a:gd name="T1" fmla="*/ 416 h 450"/>
                <a:gd name="T2" fmla="*/ 133 w 452"/>
                <a:gd name="T3" fmla="*/ 397 h 450"/>
                <a:gd name="T4" fmla="*/ 88 w 452"/>
                <a:gd name="T5" fmla="*/ 364 h 450"/>
                <a:gd name="T6" fmla="*/ 55 w 452"/>
                <a:gd name="T7" fmla="*/ 319 h 450"/>
                <a:gd name="T8" fmla="*/ 34 w 452"/>
                <a:gd name="T9" fmla="*/ 264 h 450"/>
                <a:gd name="T10" fmla="*/ 31 w 452"/>
                <a:gd name="T11" fmla="*/ 205 h 450"/>
                <a:gd name="T12" fmla="*/ 46 w 452"/>
                <a:gd name="T13" fmla="*/ 150 h 450"/>
                <a:gd name="T14" fmla="*/ 75 w 452"/>
                <a:gd name="T15" fmla="*/ 102 h 450"/>
                <a:gd name="T16" fmla="*/ 117 w 452"/>
                <a:gd name="T17" fmla="*/ 64 h 450"/>
                <a:gd name="T18" fmla="*/ 168 w 452"/>
                <a:gd name="T19" fmla="*/ 38 h 450"/>
                <a:gd name="T20" fmla="*/ 226 w 452"/>
                <a:gd name="T21" fmla="*/ 30 h 450"/>
                <a:gd name="T22" fmla="*/ 284 w 452"/>
                <a:gd name="T23" fmla="*/ 38 h 450"/>
                <a:gd name="T24" fmla="*/ 335 w 452"/>
                <a:gd name="T25" fmla="*/ 64 h 450"/>
                <a:gd name="T26" fmla="*/ 377 w 452"/>
                <a:gd name="T27" fmla="*/ 102 h 450"/>
                <a:gd name="T28" fmla="*/ 406 w 452"/>
                <a:gd name="T29" fmla="*/ 150 h 450"/>
                <a:gd name="T30" fmla="*/ 420 w 452"/>
                <a:gd name="T31" fmla="*/ 205 h 450"/>
                <a:gd name="T32" fmla="*/ 418 w 452"/>
                <a:gd name="T33" fmla="*/ 264 h 450"/>
                <a:gd name="T34" fmla="*/ 397 w 452"/>
                <a:gd name="T35" fmla="*/ 319 h 450"/>
                <a:gd name="T36" fmla="*/ 364 w 452"/>
                <a:gd name="T37" fmla="*/ 364 h 450"/>
                <a:gd name="T38" fmla="*/ 319 w 452"/>
                <a:gd name="T39" fmla="*/ 397 h 450"/>
                <a:gd name="T40" fmla="*/ 266 w 452"/>
                <a:gd name="T41" fmla="*/ 416 h 450"/>
                <a:gd name="T42" fmla="*/ 226 w 452"/>
                <a:gd name="T43" fmla="*/ 0 h 450"/>
                <a:gd name="T44" fmla="*/ 192 w 452"/>
                <a:gd name="T45" fmla="*/ 3 h 450"/>
                <a:gd name="T46" fmla="*/ 159 w 452"/>
                <a:gd name="T47" fmla="*/ 11 h 450"/>
                <a:gd name="T48" fmla="*/ 119 w 452"/>
                <a:gd name="T49" fmla="*/ 28 h 450"/>
                <a:gd name="T50" fmla="*/ 67 w 452"/>
                <a:gd name="T51" fmla="*/ 66 h 450"/>
                <a:gd name="T52" fmla="*/ 28 w 452"/>
                <a:gd name="T53" fmla="*/ 119 h 450"/>
                <a:gd name="T54" fmla="*/ 11 w 452"/>
                <a:gd name="T55" fmla="*/ 158 h 450"/>
                <a:gd name="T56" fmla="*/ 3 w 452"/>
                <a:gd name="T57" fmla="*/ 191 h 450"/>
                <a:gd name="T58" fmla="*/ 0 w 452"/>
                <a:gd name="T59" fmla="*/ 226 h 450"/>
                <a:gd name="T60" fmla="*/ 3 w 452"/>
                <a:gd name="T61" fmla="*/ 260 h 450"/>
                <a:gd name="T62" fmla="*/ 11 w 452"/>
                <a:gd name="T63" fmla="*/ 292 h 450"/>
                <a:gd name="T64" fmla="*/ 28 w 452"/>
                <a:gd name="T65" fmla="*/ 333 h 450"/>
                <a:gd name="T66" fmla="*/ 67 w 452"/>
                <a:gd name="T67" fmla="*/ 385 h 450"/>
                <a:gd name="T68" fmla="*/ 119 w 452"/>
                <a:gd name="T69" fmla="*/ 424 h 450"/>
                <a:gd name="T70" fmla="*/ 159 w 452"/>
                <a:gd name="T71" fmla="*/ 441 h 450"/>
                <a:gd name="T72" fmla="*/ 192 w 452"/>
                <a:gd name="T73" fmla="*/ 448 h 450"/>
                <a:gd name="T74" fmla="*/ 226 w 452"/>
                <a:gd name="T75" fmla="*/ 450 h 450"/>
                <a:gd name="T76" fmla="*/ 260 w 452"/>
                <a:gd name="T77" fmla="*/ 448 h 450"/>
                <a:gd name="T78" fmla="*/ 293 w 452"/>
                <a:gd name="T79" fmla="*/ 441 h 450"/>
                <a:gd name="T80" fmla="*/ 333 w 452"/>
                <a:gd name="T81" fmla="*/ 424 h 450"/>
                <a:gd name="T82" fmla="*/ 385 w 452"/>
                <a:gd name="T83" fmla="*/ 385 h 450"/>
                <a:gd name="T84" fmla="*/ 424 w 452"/>
                <a:gd name="T85" fmla="*/ 333 h 450"/>
                <a:gd name="T86" fmla="*/ 441 w 452"/>
                <a:gd name="T87" fmla="*/ 292 h 450"/>
                <a:gd name="T88" fmla="*/ 449 w 452"/>
                <a:gd name="T89" fmla="*/ 260 h 450"/>
                <a:gd name="T90" fmla="*/ 452 w 452"/>
                <a:gd name="T91" fmla="*/ 226 h 450"/>
                <a:gd name="T92" fmla="*/ 449 w 452"/>
                <a:gd name="T93" fmla="*/ 191 h 450"/>
                <a:gd name="T94" fmla="*/ 441 w 452"/>
                <a:gd name="T95" fmla="*/ 158 h 450"/>
                <a:gd name="T96" fmla="*/ 424 w 452"/>
                <a:gd name="T97" fmla="*/ 119 h 450"/>
                <a:gd name="T98" fmla="*/ 385 w 452"/>
                <a:gd name="T99" fmla="*/ 66 h 450"/>
                <a:gd name="T100" fmla="*/ 333 w 452"/>
                <a:gd name="T101" fmla="*/ 28 h 450"/>
                <a:gd name="T102" fmla="*/ 293 w 452"/>
                <a:gd name="T103" fmla="*/ 11 h 450"/>
                <a:gd name="T104" fmla="*/ 260 w 452"/>
                <a:gd name="T105" fmla="*/ 3 h 450"/>
                <a:gd name="T106" fmla="*/ 226 w 452"/>
                <a:gd name="T107" fmla="*/ 0 h 4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52" h="450">
                  <a:moveTo>
                    <a:pt x="226" y="421"/>
                  </a:moveTo>
                  <a:lnTo>
                    <a:pt x="206" y="419"/>
                  </a:lnTo>
                  <a:lnTo>
                    <a:pt x="186" y="416"/>
                  </a:lnTo>
                  <a:lnTo>
                    <a:pt x="168" y="412"/>
                  </a:lnTo>
                  <a:lnTo>
                    <a:pt x="150" y="406"/>
                  </a:lnTo>
                  <a:lnTo>
                    <a:pt x="133" y="397"/>
                  </a:lnTo>
                  <a:lnTo>
                    <a:pt x="117" y="387"/>
                  </a:lnTo>
                  <a:lnTo>
                    <a:pt x="102" y="377"/>
                  </a:lnTo>
                  <a:lnTo>
                    <a:pt x="88" y="364"/>
                  </a:lnTo>
                  <a:lnTo>
                    <a:pt x="75" y="350"/>
                  </a:lnTo>
                  <a:lnTo>
                    <a:pt x="64" y="335"/>
                  </a:lnTo>
                  <a:lnTo>
                    <a:pt x="55" y="319"/>
                  </a:lnTo>
                  <a:lnTo>
                    <a:pt x="46" y="302"/>
                  </a:lnTo>
                  <a:lnTo>
                    <a:pt x="40" y="284"/>
                  </a:lnTo>
                  <a:lnTo>
                    <a:pt x="34" y="264"/>
                  </a:lnTo>
                  <a:lnTo>
                    <a:pt x="31" y="245"/>
                  </a:lnTo>
                  <a:lnTo>
                    <a:pt x="31" y="226"/>
                  </a:lnTo>
                  <a:lnTo>
                    <a:pt x="31" y="205"/>
                  </a:lnTo>
                  <a:lnTo>
                    <a:pt x="34" y="186"/>
                  </a:lnTo>
                  <a:lnTo>
                    <a:pt x="40" y="168"/>
                  </a:lnTo>
                  <a:lnTo>
                    <a:pt x="46" y="150"/>
                  </a:lnTo>
                  <a:lnTo>
                    <a:pt x="55" y="133"/>
                  </a:lnTo>
                  <a:lnTo>
                    <a:pt x="64" y="117"/>
                  </a:lnTo>
                  <a:lnTo>
                    <a:pt x="75" y="102"/>
                  </a:lnTo>
                  <a:lnTo>
                    <a:pt x="88" y="88"/>
                  </a:lnTo>
                  <a:lnTo>
                    <a:pt x="102" y="75"/>
                  </a:lnTo>
                  <a:lnTo>
                    <a:pt x="117" y="64"/>
                  </a:lnTo>
                  <a:lnTo>
                    <a:pt x="133" y="53"/>
                  </a:lnTo>
                  <a:lnTo>
                    <a:pt x="150" y="46"/>
                  </a:lnTo>
                  <a:lnTo>
                    <a:pt x="168" y="38"/>
                  </a:lnTo>
                  <a:lnTo>
                    <a:pt x="186" y="34"/>
                  </a:lnTo>
                  <a:lnTo>
                    <a:pt x="206" y="31"/>
                  </a:lnTo>
                  <a:lnTo>
                    <a:pt x="226" y="30"/>
                  </a:lnTo>
                  <a:lnTo>
                    <a:pt x="246" y="31"/>
                  </a:lnTo>
                  <a:lnTo>
                    <a:pt x="266" y="34"/>
                  </a:lnTo>
                  <a:lnTo>
                    <a:pt x="284" y="38"/>
                  </a:lnTo>
                  <a:lnTo>
                    <a:pt x="302" y="46"/>
                  </a:lnTo>
                  <a:lnTo>
                    <a:pt x="319" y="53"/>
                  </a:lnTo>
                  <a:lnTo>
                    <a:pt x="335" y="64"/>
                  </a:lnTo>
                  <a:lnTo>
                    <a:pt x="350" y="75"/>
                  </a:lnTo>
                  <a:lnTo>
                    <a:pt x="364" y="88"/>
                  </a:lnTo>
                  <a:lnTo>
                    <a:pt x="377" y="102"/>
                  </a:lnTo>
                  <a:lnTo>
                    <a:pt x="388" y="117"/>
                  </a:lnTo>
                  <a:lnTo>
                    <a:pt x="397" y="133"/>
                  </a:lnTo>
                  <a:lnTo>
                    <a:pt x="406" y="150"/>
                  </a:lnTo>
                  <a:lnTo>
                    <a:pt x="412" y="168"/>
                  </a:lnTo>
                  <a:lnTo>
                    <a:pt x="418" y="186"/>
                  </a:lnTo>
                  <a:lnTo>
                    <a:pt x="420" y="205"/>
                  </a:lnTo>
                  <a:lnTo>
                    <a:pt x="421" y="226"/>
                  </a:lnTo>
                  <a:lnTo>
                    <a:pt x="420" y="245"/>
                  </a:lnTo>
                  <a:lnTo>
                    <a:pt x="418" y="264"/>
                  </a:lnTo>
                  <a:lnTo>
                    <a:pt x="412" y="284"/>
                  </a:lnTo>
                  <a:lnTo>
                    <a:pt x="406" y="302"/>
                  </a:lnTo>
                  <a:lnTo>
                    <a:pt x="397" y="319"/>
                  </a:lnTo>
                  <a:lnTo>
                    <a:pt x="388" y="335"/>
                  </a:lnTo>
                  <a:lnTo>
                    <a:pt x="377" y="350"/>
                  </a:lnTo>
                  <a:lnTo>
                    <a:pt x="364" y="364"/>
                  </a:lnTo>
                  <a:lnTo>
                    <a:pt x="350" y="377"/>
                  </a:lnTo>
                  <a:lnTo>
                    <a:pt x="335" y="387"/>
                  </a:lnTo>
                  <a:lnTo>
                    <a:pt x="319" y="397"/>
                  </a:lnTo>
                  <a:lnTo>
                    <a:pt x="302" y="406"/>
                  </a:lnTo>
                  <a:lnTo>
                    <a:pt x="284" y="412"/>
                  </a:lnTo>
                  <a:lnTo>
                    <a:pt x="266" y="416"/>
                  </a:lnTo>
                  <a:lnTo>
                    <a:pt x="246" y="419"/>
                  </a:lnTo>
                  <a:lnTo>
                    <a:pt x="226" y="421"/>
                  </a:lnTo>
                  <a:close/>
                  <a:moveTo>
                    <a:pt x="226" y="0"/>
                  </a:moveTo>
                  <a:lnTo>
                    <a:pt x="214" y="0"/>
                  </a:lnTo>
                  <a:lnTo>
                    <a:pt x="202" y="1"/>
                  </a:lnTo>
                  <a:lnTo>
                    <a:pt x="192" y="3"/>
                  </a:lnTo>
                  <a:lnTo>
                    <a:pt x="181" y="4"/>
                  </a:lnTo>
                  <a:lnTo>
                    <a:pt x="169" y="7"/>
                  </a:lnTo>
                  <a:lnTo>
                    <a:pt x="159" y="11"/>
                  </a:lnTo>
                  <a:lnTo>
                    <a:pt x="149" y="14"/>
                  </a:lnTo>
                  <a:lnTo>
                    <a:pt x="138" y="18"/>
                  </a:lnTo>
                  <a:lnTo>
                    <a:pt x="119" y="28"/>
                  </a:lnTo>
                  <a:lnTo>
                    <a:pt x="100" y="38"/>
                  </a:lnTo>
                  <a:lnTo>
                    <a:pt x="83" y="52"/>
                  </a:lnTo>
                  <a:lnTo>
                    <a:pt x="67" y="66"/>
                  </a:lnTo>
                  <a:lnTo>
                    <a:pt x="53" y="82"/>
                  </a:lnTo>
                  <a:lnTo>
                    <a:pt x="39" y="99"/>
                  </a:lnTo>
                  <a:lnTo>
                    <a:pt x="28" y="119"/>
                  </a:lnTo>
                  <a:lnTo>
                    <a:pt x="18" y="138"/>
                  </a:lnTo>
                  <a:lnTo>
                    <a:pt x="14" y="149"/>
                  </a:lnTo>
                  <a:lnTo>
                    <a:pt x="11" y="158"/>
                  </a:lnTo>
                  <a:lnTo>
                    <a:pt x="8" y="169"/>
                  </a:lnTo>
                  <a:lnTo>
                    <a:pt x="6" y="181"/>
                  </a:lnTo>
                  <a:lnTo>
                    <a:pt x="3" y="191"/>
                  </a:lnTo>
                  <a:lnTo>
                    <a:pt x="2" y="202"/>
                  </a:lnTo>
                  <a:lnTo>
                    <a:pt x="1" y="214"/>
                  </a:lnTo>
                  <a:lnTo>
                    <a:pt x="0" y="226"/>
                  </a:lnTo>
                  <a:lnTo>
                    <a:pt x="1" y="236"/>
                  </a:lnTo>
                  <a:lnTo>
                    <a:pt x="2" y="248"/>
                  </a:lnTo>
                  <a:lnTo>
                    <a:pt x="3" y="260"/>
                  </a:lnTo>
                  <a:lnTo>
                    <a:pt x="6" y="271"/>
                  </a:lnTo>
                  <a:lnTo>
                    <a:pt x="8" y="281"/>
                  </a:lnTo>
                  <a:lnTo>
                    <a:pt x="11" y="292"/>
                  </a:lnTo>
                  <a:lnTo>
                    <a:pt x="14" y="303"/>
                  </a:lnTo>
                  <a:lnTo>
                    <a:pt x="18" y="313"/>
                  </a:lnTo>
                  <a:lnTo>
                    <a:pt x="28" y="333"/>
                  </a:lnTo>
                  <a:lnTo>
                    <a:pt x="39" y="351"/>
                  </a:lnTo>
                  <a:lnTo>
                    <a:pt x="53" y="369"/>
                  </a:lnTo>
                  <a:lnTo>
                    <a:pt x="67" y="385"/>
                  </a:lnTo>
                  <a:lnTo>
                    <a:pt x="83" y="399"/>
                  </a:lnTo>
                  <a:lnTo>
                    <a:pt x="100" y="412"/>
                  </a:lnTo>
                  <a:lnTo>
                    <a:pt x="119" y="424"/>
                  </a:lnTo>
                  <a:lnTo>
                    <a:pt x="138" y="433"/>
                  </a:lnTo>
                  <a:lnTo>
                    <a:pt x="149" y="437"/>
                  </a:lnTo>
                  <a:lnTo>
                    <a:pt x="159" y="441"/>
                  </a:lnTo>
                  <a:lnTo>
                    <a:pt x="169" y="444"/>
                  </a:lnTo>
                  <a:lnTo>
                    <a:pt x="181" y="446"/>
                  </a:lnTo>
                  <a:lnTo>
                    <a:pt x="192" y="448"/>
                  </a:lnTo>
                  <a:lnTo>
                    <a:pt x="202" y="449"/>
                  </a:lnTo>
                  <a:lnTo>
                    <a:pt x="214" y="450"/>
                  </a:lnTo>
                  <a:lnTo>
                    <a:pt x="226" y="450"/>
                  </a:lnTo>
                  <a:lnTo>
                    <a:pt x="238" y="450"/>
                  </a:lnTo>
                  <a:lnTo>
                    <a:pt x="248" y="449"/>
                  </a:lnTo>
                  <a:lnTo>
                    <a:pt x="260" y="448"/>
                  </a:lnTo>
                  <a:lnTo>
                    <a:pt x="271" y="446"/>
                  </a:lnTo>
                  <a:lnTo>
                    <a:pt x="283" y="444"/>
                  </a:lnTo>
                  <a:lnTo>
                    <a:pt x="293" y="441"/>
                  </a:lnTo>
                  <a:lnTo>
                    <a:pt x="303" y="437"/>
                  </a:lnTo>
                  <a:lnTo>
                    <a:pt x="314" y="433"/>
                  </a:lnTo>
                  <a:lnTo>
                    <a:pt x="333" y="424"/>
                  </a:lnTo>
                  <a:lnTo>
                    <a:pt x="352" y="412"/>
                  </a:lnTo>
                  <a:lnTo>
                    <a:pt x="369" y="399"/>
                  </a:lnTo>
                  <a:lnTo>
                    <a:pt x="385" y="385"/>
                  </a:lnTo>
                  <a:lnTo>
                    <a:pt x="399" y="369"/>
                  </a:lnTo>
                  <a:lnTo>
                    <a:pt x="413" y="351"/>
                  </a:lnTo>
                  <a:lnTo>
                    <a:pt x="424" y="333"/>
                  </a:lnTo>
                  <a:lnTo>
                    <a:pt x="434" y="313"/>
                  </a:lnTo>
                  <a:lnTo>
                    <a:pt x="438" y="303"/>
                  </a:lnTo>
                  <a:lnTo>
                    <a:pt x="441" y="292"/>
                  </a:lnTo>
                  <a:lnTo>
                    <a:pt x="444" y="281"/>
                  </a:lnTo>
                  <a:lnTo>
                    <a:pt x="446" y="271"/>
                  </a:lnTo>
                  <a:lnTo>
                    <a:pt x="449" y="260"/>
                  </a:lnTo>
                  <a:lnTo>
                    <a:pt x="450" y="248"/>
                  </a:lnTo>
                  <a:lnTo>
                    <a:pt x="451" y="236"/>
                  </a:lnTo>
                  <a:lnTo>
                    <a:pt x="452" y="226"/>
                  </a:lnTo>
                  <a:lnTo>
                    <a:pt x="451" y="214"/>
                  </a:lnTo>
                  <a:lnTo>
                    <a:pt x="450" y="202"/>
                  </a:lnTo>
                  <a:lnTo>
                    <a:pt x="449" y="191"/>
                  </a:lnTo>
                  <a:lnTo>
                    <a:pt x="446" y="181"/>
                  </a:lnTo>
                  <a:lnTo>
                    <a:pt x="444" y="169"/>
                  </a:lnTo>
                  <a:lnTo>
                    <a:pt x="441" y="158"/>
                  </a:lnTo>
                  <a:lnTo>
                    <a:pt x="438" y="149"/>
                  </a:lnTo>
                  <a:lnTo>
                    <a:pt x="434" y="138"/>
                  </a:lnTo>
                  <a:lnTo>
                    <a:pt x="424" y="119"/>
                  </a:lnTo>
                  <a:lnTo>
                    <a:pt x="413" y="99"/>
                  </a:lnTo>
                  <a:lnTo>
                    <a:pt x="399" y="82"/>
                  </a:lnTo>
                  <a:lnTo>
                    <a:pt x="385" y="66"/>
                  </a:lnTo>
                  <a:lnTo>
                    <a:pt x="369" y="52"/>
                  </a:lnTo>
                  <a:lnTo>
                    <a:pt x="352" y="38"/>
                  </a:lnTo>
                  <a:lnTo>
                    <a:pt x="333" y="28"/>
                  </a:lnTo>
                  <a:lnTo>
                    <a:pt x="314" y="18"/>
                  </a:lnTo>
                  <a:lnTo>
                    <a:pt x="303" y="14"/>
                  </a:lnTo>
                  <a:lnTo>
                    <a:pt x="293" y="11"/>
                  </a:lnTo>
                  <a:lnTo>
                    <a:pt x="283" y="7"/>
                  </a:lnTo>
                  <a:lnTo>
                    <a:pt x="271" y="4"/>
                  </a:lnTo>
                  <a:lnTo>
                    <a:pt x="260" y="3"/>
                  </a:lnTo>
                  <a:lnTo>
                    <a:pt x="248" y="1"/>
                  </a:lnTo>
                  <a:lnTo>
                    <a:pt x="238" y="0"/>
                  </a:lnTo>
                  <a:lnTo>
                    <a:pt x="2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52">
              <a:extLst>
                <a:ext uri="{FF2B5EF4-FFF2-40B4-BE49-F238E27FC236}">
                  <a16:creationId xmlns:a16="http://schemas.microsoft.com/office/drawing/2014/main" xmlns="" id="{8B164D08-C859-49E8-A0DC-7CDD57A5C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72400" y="3263901"/>
              <a:ext cx="76200" cy="63500"/>
            </a:xfrm>
            <a:custGeom>
              <a:avLst/>
              <a:gdLst>
                <a:gd name="T0" fmla="*/ 213 w 240"/>
                <a:gd name="T1" fmla="*/ 5 h 202"/>
                <a:gd name="T2" fmla="*/ 89 w 240"/>
                <a:gd name="T3" fmla="*/ 157 h 202"/>
                <a:gd name="T4" fmla="*/ 26 w 240"/>
                <a:gd name="T5" fmla="*/ 94 h 202"/>
                <a:gd name="T6" fmla="*/ 23 w 240"/>
                <a:gd name="T7" fmla="*/ 92 h 202"/>
                <a:gd name="T8" fmla="*/ 20 w 240"/>
                <a:gd name="T9" fmla="*/ 91 h 202"/>
                <a:gd name="T10" fmla="*/ 17 w 240"/>
                <a:gd name="T11" fmla="*/ 90 h 202"/>
                <a:gd name="T12" fmla="*/ 15 w 240"/>
                <a:gd name="T13" fmla="*/ 90 h 202"/>
                <a:gd name="T14" fmla="*/ 12 w 240"/>
                <a:gd name="T15" fmla="*/ 90 h 202"/>
                <a:gd name="T16" fmla="*/ 9 w 240"/>
                <a:gd name="T17" fmla="*/ 91 h 202"/>
                <a:gd name="T18" fmla="*/ 7 w 240"/>
                <a:gd name="T19" fmla="*/ 92 h 202"/>
                <a:gd name="T20" fmla="*/ 4 w 240"/>
                <a:gd name="T21" fmla="*/ 94 h 202"/>
                <a:gd name="T22" fmla="*/ 2 w 240"/>
                <a:gd name="T23" fmla="*/ 96 h 202"/>
                <a:gd name="T24" fmla="*/ 1 w 240"/>
                <a:gd name="T25" fmla="*/ 99 h 202"/>
                <a:gd name="T26" fmla="*/ 0 w 240"/>
                <a:gd name="T27" fmla="*/ 102 h 202"/>
                <a:gd name="T28" fmla="*/ 0 w 240"/>
                <a:gd name="T29" fmla="*/ 105 h 202"/>
                <a:gd name="T30" fmla="*/ 0 w 240"/>
                <a:gd name="T31" fmla="*/ 108 h 202"/>
                <a:gd name="T32" fmla="*/ 1 w 240"/>
                <a:gd name="T33" fmla="*/ 110 h 202"/>
                <a:gd name="T34" fmla="*/ 2 w 240"/>
                <a:gd name="T35" fmla="*/ 113 h 202"/>
                <a:gd name="T36" fmla="*/ 4 w 240"/>
                <a:gd name="T37" fmla="*/ 114 h 202"/>
                <a:gd name="T38" fmla="*/ 91 w 240"/>
                <a:gd name="T39" fmla="*/ 202 h 202"/>
                <a:gd name="T40" fmla="*/ 237 w 240"/>
                <a:gd name="T41" fmla="*/ 24 h 202"/>
                <a:gd name="T42" fmla="*/ 239 w 240"/>
                <a:gd name="T43" fmla="*/ 22 h 202"/>
                <a:gd name="T44" fmla="*/ 240 w 240"/>
                <a:gd name="T45" fmla="*/ 19 h 202"/>
                <a:gd name="T46" fmla="*/ 240 w 240"/>
                <a:gd name="T47" fmla="*/ 16 h 202"/>
                <a:gd name="T48" fmla="*/ 240 w 240"/>
                <a:gd name="T49" fmla="*/ 13 h 202"/>
                <a:gd name="T50" fmla="*/ 240 w 240"/>
                <a:gd name="T51" fmla="*/ 11 h 202"/>
                <a:gd name="T52" fmla="*/ 239 w 240"/>
                <a:gd name="T53" fmla="*/ 7 h 202"/>
                <a:gd name="T54" fmla="*/ 237 w 240"/>
                <a:gd name="T55" fmla="*/ 5 h 202"/>
                <a:gd name="T56" fmla="*/ 234 w 240"/>
                <a:gd name="T57" fmla="*/ 4 h 202"/>
                <a:gd name="T58" fmla="*/ 232 w 240"/>
                <a:gd name="T59" fmla="*/ 2 h 202"/>
                <a:gd name="T60" fmla="*/ 229 w 240"/>
                <a:gd name="T61" fmla="*/ 1 h 202"/>
                <a:gd name="T62" fmla="*/ 227 w 240"/>
                <a:gd name="T63" fmla="*/ 0 h 202"/>
                <a:gd name="T64" fmla="*/ 224 w 240"/>
                <a:gd name="T65" fmla="*/ 0 h 202"/>
                <a:gd name="T66" fmla="*/ 221 w 240"/>
                <a:gd name="T67" fmla="*/ 1 h 202"/>
                <a:gd name="T68" fmla="*/ 218 w 240"/>
                <a:gd name="T69" fmla="*/ 2 h 202"/>
                <a:gd name="T70" fmla="*/ 215 w 240"/>
                <a:gd name="T71" fmla="*/ 3 h 202"/>
                <a:gd name="T72" fmla="*/ 213 w 240"/>
                <a:gd name="T73" fmla="*/ 5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0" h="202">
                  <a:moveTo>
                    <a:pt x="213" y="5"/>
                  </a:moveTo>
                  <a:lnTo>
                    <a:pt x="89" y="157"/>
                  </a:lnTo>
                  <a:lnTo>
                    <a:pt x="26" y="94"/>
                  </a:lnTo>
                  <a:lnTo>
                    <a:pt x="23" y="92"/>
                  </a:lnTo>
                  <a:lnTo>
                    <a:pt x="20" y="91"/>
                  </a:lnTo>
                  <a:lnTo>
                    <a:pt x="17" y="90"/>
                  </a:lnTo>
                  <a:lnTo>
                    <a:pt x="15" y="90"/>
                  </a:lnTo>
                  <a:lnTo>
                    <a:pt x="12" y="90"/>
                  </a:lnTo>
                  <a:lnTo>
                    <a:pt x="9" y="91"/>
                  </a:lnTo>
                  <a:lnTo>
                    <a:pt x="7" y="92"/>
                  </a:lnTo>
                  <a:lnTo>
                    <a:pt x="4" y="94"/>
                  </a:lnTo>
                  <a:lnTo>
                    <a:pt x="2" y="96"/>
                  </a:lnTo>
                  <a:lnTo>
                    <a:pt x="1" y="99"/>
                  </a:lnTo>
                  <a:lnTo>
                    <a:pt x="0" y="102"/>
                  </a:lnTo>
                  <a:lnTo>
                    <a:pt x="0" y="105"/>
                  </a:lnTo>
                  <a:lnTo>
                    <a:pt x="0" y="108"/>
                  </a:lnTo>
                  <a:lnTo>
                    <a:pt x="1" y="110"/>
                  </a:lnTo>
                  <a:lnTo>
                    <a:pt x="2" y="113"/>
                  </a:lnTo>
                  <a:lnTo>
                    <a:pt x="4" y="114"/>
                  </a:lnTo>
                  <a:lnTo>
                    <a:pt x="91" y="202"/>
                  </a:lnTo>
                  <a:lnTo>
                    <a:pt x="237" y="24"/>
                  </a:lnTo>
                  <a:lnTo>
                    <a:pt x="239" y="22"/>
                  </a:lnTo>
                  <a:lnTo>
                    <a:pt x="240" y="19"/>
                  </a:lnTo>
                  <a:lnTo>
                    <a:pt x="240" y="16"/>
                  </a:lnTo>
                  <a:lnTo>
                    <a:pt x="240" y="13"/>
                  </a:lnTo>
                  <a:lnTo>
                    <a:pt x="240" y="11"/>
                  </a:lnTo>
                  <a:lnTo>
                    <a:pt x="239" y="7"/>
                  </a:lnTo>
                  <a:lnTo>
                    <a:pt x="237" y="5"/>
                  </a:lnTo>
                  <a:lnTo>
                    <a:pt x="234" y="4"/>
                  </a:lnTo>
                  <a:lnTo>
                    <a:pt x="232" y="2"/>
                  </a:lnTo>
                  <a:lnTo>
                    <a:pt x="229" y="1"/>
                  </a:lnTo>
                  <a:lnTo>
                    <a:pt x="227" y="0"/>
                  </a:lnTo>
                  <a:lnTo>
                    <a:pt x="224" y="0"/>
                  </a:lnTo>
                  <a:lnTo>
                    <a:pt x="221" y="1"/>
                  </a:lnTo>
                  <a:lnTo>
                    <a:pt x="218" y="2"/>
                  </a:lnTo>
                  <a:lnTo>
                    <a:pt x="215" y="3"/>
                  </a:lnTo>
                  <a:lnTo>
                    <a:pt x="213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6" name="Title 1">
            <a:extLst>
              <a:ext uri="{FF2B5EF4-FFF2-40B4-BE49-F238E27FC236}">
                <a16:creationId xmlns:a16="http://schemas.microsoft.com/office/drawing/2014/main" xmlns="" id="{7828164D-26BC-450E-8D59-D36496784BE1}"/>
              </a:ext>
            </a:extLst>
          </p:cNvPr>
          <p:cNvSpPr txBox="1">
            <a:spLocks/>
          </p:cNvSpPr>
          <p:nvPr/>
        </p:nvSpPr>
        <p:spPr bwMode="auto">
          <a:xfrm>
            <a:off x="3074412" y="436584"/>
            <a:ext cx="6172200" cy="5262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en-ID" altLang="x-none" sz="2800" b="1" dirty="0" err="1">
                <a:latin typeface="Perpetua Titling MT" panose="02020502060505020804" pitchFamily="18" charset="0"/>
              </a:rPr>
              <a:t>Asas</a:t>
            </a:r>
            <a:r>
              <a:rPr lang="en-ID" altLang="x-none" sz="2800" b="1" dirty="0">
                <a:latin typeface="Perpetua Titling MT" panose="02020502060505020804" pitchFamily="18" charset="0"/>
              </a:rPr>
              <a:t> NETRALITAS</a:t>
            </a:r>
            <a:endParaRPr lang="en-US" altLang="x-none" sz="3200" b="1" dirty="0">
              <a:latin typeface="Perpetua Titling MT" panose="02020502060505020804" pitchFamily="18" charset="0"/>
            </a:endParaRPr>
          </a:p>
        </p:txBody>
      </p:sp>
      <p:pic>
        <p:nvPicPr>
          <p:cNvPr id="66" name="Picture 5">
            <a:extLst>
              <a:ext uri="{FF2B5EF4-FFF2-40B4-BE49-F238E27FC236}">
                <a16:creationId xmlns:a16="http://schemas.microsoft.com/office/drawing/2014/main" xmlns="" id="{73EB9C61-1194-4B51-AD07-05CB744A72D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>
          <a:xfrm>
            <a:off x="336635" y="238730"/>
            <a:ext cx="1828816" cy="579781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xmlns="" id="{E563AA13-3EAC-4226-B7C3-222A2758AB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266363" y="6145234"/>
            <a:ext cx="2548570" cy="650608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xmlns="" id="{A3E5328A-C403-4BC9-AE32-7B84E1D698D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015" y="6193744"/>
            <a:ext cx="1587729" cy="570673"/>
          </a:xfrm>
          <a:prstGeom prst="rect">
            <a:avLst/>
          </a:prstGeom>
        </p:spPr>
      </p:pic>
      <p:pic>
        <p:nvPicPr>
          <p:cNvPr id="69" name="Picture 2" descr="https://tse4.mm.bing.net/th?id=OIP.xKZCWnBl8-K3wlFUxZmiyQHaEy&amp;pid=Api&amp;P=0">
            <a:extLst>
              <a:ext uri="{FF2B5EF4-FFF2-40B4-BE49-F238E27FC236}">
                <a16:creationId xmlns:a16="http://schemas.microsoft.com/office/drawing/2014/main" xmlns="" id="{5B39D860-C207-463D-9D5B-F3D14C3CCFD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42" r="15995"/>
          <a:stretch/>
        </p:blipFill>
        <p:spPr bwMode="auto">
          <a:xfrm>
            <a:off x="4190005" y="1325770"/>
            <a:ext cx="3867488" cy="332617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0" name="Google Shape;278;p18">
            <a:extLst>
              <a:ext uri="{FF2B5EF4-FFF2-40B4-BE49-F238E27FC236}">
                <a16:creationId xmlns:a16="http://schemas.microsoft.com/office/drawing/2014/main" xmlns="" id="{FC06D24A-CF51-4B70-A1E1-9F6A7357963A}"/>
              </a:ext>
            </a:extLst>
          </p:cNvPr>
          <p:cNvGrpSpPr/>
          <p:nvPr/>
        </p:nvGrpSpPr>
        <p:grpSpPr>
          <a:xfrm>
            <a:off x="833480" y="1220110"/>
            <a:ext cx="2644504" cy="1980249"/>
            <a:chOff x="1177790" y="1135074"/>
            <a:chExt cx="1412709" cy="1108076"/>
          </a:xfrm>
        </p:grpSpPr>
        <p:sp>
          <p:nvSpPr>
            <p:cNvPr id="72" name="Google Shape;281;p18">
              <a:extLst>
                <a:ext uri="{FF2B5EF4-FFF2-40B4-BE49-F238E27FC236}">
                  <a16:creationId xmlns:a16="http://schemas.microsoft.com/office/drawing/2014/main" xmlns="" id="{A7DED428-D954-44B6-A166-BA134DBF300A}"/>
                </a:ext>
              </a:extLst>
            </p:cNvPr>
            <p:cNvSpPr/>
            <p:nvPr/>
          </p:nvSpPr>
          <p:spPr>
            <a:xfrm>
              <a:off x="1177790" y="1135074"/>
              <a:ext cx="1412709" cy="1108076"/>
            </a:xfrm>
            <a:custGeom>
              <a:avLst/>
              <a:gdLst/>
              <a:ahLst/>
              <a:cxnLst/>
              <a:rect l="l" t="t" r="r" b="b"/>
              <a:pathLst>
                <a:path w="45185" h="31591" extrusionOk="0">
                  <a:moveTo>
                    <a:pt x="2858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21669"/>
                  </a:lnTo>
                  <a:cubicBezTo>
                    <a:pt x="0" y="25753"/>
                    <a:pt x="3310" y="29063"/>
                    <a:pt x="7394" y="29063"/>
                  </a:cubicBezTo>
                  <a:lnTo>
                    <a:pt x="18121" y="29063"/>
                  </a:lnTo>
                  <a:cubicBezTo>
                    <a:pt x="18157" y="29111"/>
                    <a:pt x="18193" y="29170"/>
                    <a:pt x="18240" y="29206"/>
                  </a:cubicBezTo>
                  <a:lnTo>
                    <a:pt x="19241" y="30206"/>
                  </a:lnTo>
                  <a:cubicBezTo>
                    <a:pt x="20163" y="31129"/>
                    <a:pt x="21375" y="31590"/>
                    <a:pt x="22586" y="31590"/>
                  </a:cubicBezTo>
                  <a:cubicBezTo>
                    <a:pt x="23798" y="31590"/>
                    <a:pt x="25009" y="31129"/>
                    <a:pt x="25932" y="30206"/>
                  </a:cubicBezTo>
                  <a:lnTo>
                    <a:pt x="26932" y="29206"/>
                  </a:lnTo>
                  <a:cubicBezTo>
                    <a:pt x="26980" y="29170"/>
                    <a:pt x="27003" y="29111"/>
                    <a:pt x="27051" y="29063"/>
                  </a:cubicBezTo>
                  <a:lnTo>
                    <a:pt x="37779" y="29063"/>
                  </a:lnTo>
                  <a:cubicBezTo>
                    <a:pt x="41874" y="29063"/>
                    <a:pt x="45184" y="25753"/>
                    <a:pt x="45184" y="21669"/>
                  </a:cubicBezTo>
                  <a:lnTo>
                    <a:pt x="45184" y="2846"/>
                  </a:lnTo>
                  <a:cubicBezTo>
                    <a:pt x="45184" y="1274"/>
                    <a:pt x="43898" y="0"/>
                    <a:pt x="4232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73" name="Google Shape;282;p18">
              <a:extLst>
                <a:ext uri="{FF2B5EF4-FFF2-40B4-BE49-F238E27FC236}">
                  <a16:creationId xmlns:a16="http://schemas.microsoft.com/office/drawing/2014/main" xmlns="" id="{1353241E-09E0-421D-AD24-30A0C29CF62E}"/>
                </a:ext>
              </a:extLst>
            </p:cNvPr>
            <p:cNvSpPr/>
            <p:nvPr/>
          </p:nvSpPr>
          <p:spPr>
            <a:xfrm>
              <a:off x="1177790" y="1135074"/>
              <a:ext cx="1412709" cy="336536"/>
            </a:xfrm>
            <a:custGeom>
              <a:avLst/>
              <a:gdLst/>
              <a:ahLst/>
              <a:cxnLst/>
              <a:rect l="l" t="t" r="r" b="b"/>
              <a:pathLst>
                <a:path w="45185" h="10764" extrusionOk="0">
                  <a:moveTo>
                    <a:pt x="2846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10763"/>
                  </a:lnTo>
                  <a:lnTo>
                    <a:pt x="45184" y="10763"/>
                  </a:lnTo>
                  <a:lnTo>
                    <a:pt x="45184" y="2846"/>
                  </a:lnTo>
                  <a:cubicBezTo>
                    <a:pt x="45184" y="1274"/>
                    <a:pt x="43910" y="0"/>
                    <a:pt x="42339" y="0"/>
                  </a:cubicBezTo>
                  <a:close/>
                </a:path>
              </a:pathLst>
            </a:custGeom>
            <a:solidFill>
              <a:srgbClr val="FCBD24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Fira Sans Extra Condensed Medium"/>
                  <a:cs typeface="Fira Sans Extra Condensed Medium"/>
                  <a:sym typeface="Fira Sans Extra Condensed Medium"/>
                </a:rPr>
                <a:t>FUNGSI ASN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75" name="Google Shape;286;p18">
              <a:extLst>
                <a:ext uri="{FF2B5EF4-FFF2-40B4-BE49-F238E27FC236}">
                  <a16:creationId xmlns:a16="http://schemas.microsoft.com/office/drawing/2014/main" xmlns="" id="{B095A35D-B208-4D61-BFCD-3D878AF915DA}"/>
                </a:ext>
              </a:extLst>
            </p:cNvPr>
            <p:cNvSpPr txBox="1"/>
            <p:nvPr/>
          </p:nvSpPr>
          <p:spPr>
            <a:xfrm>
              <a:off x="1272165" y="1471599"/>
              <a:ext cx="1224000" cy="68635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pelaksana kebijakan publik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pelayan publik; dan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perekat dan pemersatu bangsa.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Bookman Old Style" panose="02050604050505020204" pitchFamily="18" charset="0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76" name="Google Shape;278;p18">
            <a:extLst>
              <a:ext uri="{FF2B5EF4-FFF2-40B4-BE49-F238E27FC236}">
                <a16:creationId xmlns:a16="http://schemas.microsoft.com/office/drawing/2014/main" xmlns="" id="{1FF4A659-57F0-42CF-B815-48FAB15CB169}"/>
              </a:ext>
            </a:extLst>
          </p:cNvPr>
          <p:cNvGrpSpPr/>
          <p:nvPr/>
        </p:nvGrpSpPr>
        <p:grpSpPr>
          <a:xfrm>
            <a:off x="360680" y="3291173"/>
            <a:ext cx="3370410" cy="3119512"/>
            <a:chOff x="1032558" y="1121000"/>
            <a:chExt cx="1720729" cy="1745567"/>
          </a:xfrm>
        </p:grpSpPr>
        <p:sp>
          <p:nvSpPr>
            <p:cNvPr id="78" name="Google Shape;281;p18">
              <a:extLst>
                <a:ext uri="{FF2B5EF4-FFF2-40B4-BE49-F238E27FC236}">
                  <a16:creationId xmlns:a16="http://schemas.microsoft.com/office/drawing/2014/main" xmlns="" id="{06029318-0450-4861-8A02-B7416A6E4732}"/>
                </a:ext>
              </a:extLst>
            </p:cNvPr>
            <p:cNvSpPr/>
            <p:nvPr/>
          </p:nvSpPr>
          <p:spPr>
            <a:xfrm>
              <a:off x="1036275" y="1121000"/>
              <a:ext cx="1644007" cy="1745567"/>
            </a:xfrm>
            <a:custGeom>
              <a:avLst/>
              <a:gdLst/>
              <a:ahLst/>
              <a:cxnLst/>
              <a:rect l="l" t="t" r="r" b="b"/>
              <a:pathLst>
                <a:path w="45185" h="31591" extrusionOk="0">
                  <a:moveTo>
                    <a:pt x="2858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21669"/>
                  </a:lnTo>
                  <a:cubicBezTo>
                    <a:pt x="0" y="25753"/>
                    <a:pt x="3310" y="29063"/>
                    <a:pt x="7394" y="29063"/>
                  </a:cubicBezTo>
                  <a:lnTo>
                    <a:pt x="18121" y="29063"/>
                  </a:lnTo>
                  <a:cubicBezTo>
                    <a:pt x="18157" y="29111"/>
                    <a:pt x="18193" y="29170"/>
                    <a:pt x="18240" y="29206"/>
                  </a:cubicBezTo>
                  <a:lnTo>
                    <a:pt x="19241" y="30206"/>
                  </a:lnTo>
                  <a:cubicBezTo>
                    <a:pt x="20163" y="31129"/>
                    <a:pt x="21375" y="31590"/>
                    <a:pt x="22586" y="31590"/>
                  </a:cubicBezTo>
                  <a:cubicBezTo>
                    <a:pt x="23798" y="31590"/>
                    <a:pt x="25009" y="31129"/>
                    <a:pt x="25932" y="30206"/>
                  </a:cubicBezTo>
                  <a:lnTo>
                    <a:pt x="26932" y="29206"/>
                  </a:lnTo>
                  <a:cubicBezTo>
                    <a:pt x="26980" y="29170"/>
                    <a:pt x="27003" y="29111"/>
                    <a:pt x="27051" y="29063"/>
                  </a:cubicBezTo>
                  <a:lnTo>
                    <a:pt x="37779" y="29063"/>
                  </a:lnTo>
                  <a:cubicBezTo>
                    <a:pt x="41874" y="29063"/>
                    <a:pt x="45184" y="25753"/>
                    <a:pt x="45184" y="21669"/>
                  </a:cubicBezTo>
                  <a:lnTo>
                    <a:pt x="45184" y="2846"/>
                  </a:lnTo>
                  <a:cubicBezTo>
                    <a:pt x="45184" y="1274"/>
                    <a:pt x="43898" y="0"/>
                    <a:pt x="4232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79" name="Google Shape;282;p18">
              <a:extLst>
                <a:ext uri="{FF2B5EF4-FFF2-40B4-BE49-F238E27FC236}">
                  <a16:creationId xmlns:a16="http://schemas.microsoft.com/office/drawing/2014/main" xmlns="" id="{B6C9A331-1BBD-4B40-8477-08EFF8DB7864}"/>
                </a:ext>
              </a:extLst>
            </p:cNvPr>
            <p:cNvSpPr/>
            <p:nvPr/>
          </p:nvSpPr>
          <p:spPr>
            <a:xfrm>
              <a:off x="1036274" y="1121000"/>
              <a:ext cx="1663670" cy="336536"/>
            </a:xfrm>
            <a:custGeom>
              <a:avLst/>
              <a:gdLst/>
              <a:ahLst/>
              <a:cxnLst/>
              <a:rect l="l" t="t" r="r" b="b"/>
              <a:pathLst>
                <a:path w="45185" h="10764" extrusionOk="0">
                  <a:moveTo>
                    <a:pt x="2846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10763"/>
                  </a:lnTo>
                  <a:lnTo>
                    <a:pt x="45184" y="10763"/>
                  </a:lnTo>
                  <a:lnTo>
                    <a:pt x="45184" y="2846"/>
                  </a:lnTo>
                  <a:cubicBezTo>
                    <a:pt x="45184" y="1274"/>
                    <a:pt x="43910" y="0"/>
                    <a:pt x="42339" y="0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Fira Sans Extra Condensed Medium"/>
                  <a:cs typeface="Fira Sans Extra Condensed Medium"/>
                  <a:sym typeface="Fira Sans Extra Condensed Medium"/>
                </a:rPr>
                <a:t>F</a:t>
              </a:r>
              <a:r>
                <a: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Fira Sans Extra Condensed Medium"/>
                  <a:cs typeface="Fira Sans Extra Condensed Medium"/>
                  <a:sym typeface="Fira Sans Extra Condensed Medium"/>
                </a:rPr>
                <a:t>AKTA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81" name="Google Shape;286;p18">
              <a:extLst>
                <a:ext uri="{FF2B5EF4-FFF2-40B4-BE49-F238E27FC236}">
                  <a16:creationId xmlns:a16="http://schemas.microsoft.com/office/drawing/2014/main" xmlns="" id="{D4E41119-09AD-41A8-8E4A-EE241ADC3D6C}"/>
                </a:ext>
              </a:extLst>
            </p:cNvPr>
            <p:cNvSpPr txBox="1"/>
            <p:nvPr/>
          </p:nvSpPr>
          <p:spPr>
            <a:xfrm>
              <a:off x="1032558" y="1429007"/>
              <a:ext cx="1720729" cy="128611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Paham program pemerintah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Posisi strategis di bidang penyusunan program dan anggaran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Mengelola fasilitas negara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Jaringan sangat luas sampai kebawah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Berpengaruh, terpandang, dipercaya di wilayah desa, kelurahan, kampung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Bookman Old Style" panose="02050604050505020204" pitchFamily="18" charset="0"/>
                <a:ea typeface="Roboto"/>
                <a:cs typeface="Roboto"/>
                <a:sym typeface="Roboto"/>
              </a:endParaRPr>
            </a:p>
          </p:txBody>
        </p:sp>
      </p:grpSp>
      <p:grpSp>
        <p:nvGrpSpPr>
          <p:cNvPr id="82" name="Google Shape;278;p18">
            <a:extLst>
              <a:ext uri="{FF2B5EF4-FFF2-40B4-BE49-F238E27FC236}">
                <a16:creationId xmlns:a16="http://schemas.microsoft.com/office/drawing/2014/main" xmlns="" id="{A504E59A-17EC-4939-8373-BDEA09FDE25D}"/>
              </a:ext>
            </a:extLst>
          </p:cNvPr>
          <p:cNvGrpSpPr/>
          <p:nvPr/>
        </p:nvGrpSpPr>
        <p:grpSpPr>
          <a:xfrm>
            <a:off x="8840913" y="1129907"/>
            <a:ext cx="2708809" cy="2382468"/>
            <a:chOff x="1036275" y="1121000"/>
            <a:chExt cx="1447061" cy="1333143"/>
          </a:xfrm>
        </p:grpSpPr>
        <p:sp>
          <p:nvSpPr>
            <p:cNvPr id="84" name="Google Shape;281;p18">
              <a:extLst>
                <a:ext uri="{FF2B5EF4-FFF2-40B4-BE49-F238E27FC236}">
                  <a16:creationId xmlns:a16="http://schemas.microsoft.com/office/drawing/2014/main" xmlns="" id="{472140BB-8D37-4DB7-B188-49BE8BE22ECB}"/>
                </a:ext>
              </a:extLst>
            </p:cNvPr>
            <p:cNvSpPr/>
            <p:nvPr/>
          </p:nvSpPr>
          <p:spPr>
            <a:xfrm>
              <a:off x="1036275" y="1121000"/>
              <a:ext cx="1412709" cy="1333143"/>
            </a:xfrm>
            <a:custGeom>
              <a:avLst/>
              <a:gdLst/>
              <a:ahLst/>
              <a:cxnLst/>
              <a:rect l="l" t="t" r="r" b="b"/>
              <a:pathLst>
                <a:path w="45185" h="31591" extrusionOk="0">
                  <a:moveTo>
                    <a:pt x="2858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21669"/>
                  </a:lnTo>
                  <a:cubicBezTo>
                    <a:pt x="0" y="25753"/>
                    <a:pt x="3310" y="29063"/>
                    <a:pt x="7394" y="29063"/>
                  </a:cubicBezTo>
                  <a:lnTo>
                    <a:pt x="18121" y="29063"/>
                  </a:lnTo>
                  <a:cubicBezTo>
                    <a:pt x="18157" y="29111"/>
                    <a:pt x="18193" y="29170"/>
                    <a:pt x="18240" y="29206"/>
                  </a:cubicBezTo>
                  <a:lnTo>
                    <a:pt x="19241" y="30206"/>
                  </a:lnTo>
                  <a:cubicBezTo>
                    <a:pt x="20163" y="31129"/>
                    <a:pt x="21375" y="31590"/>
                    <a:pt x="22586" y="31590"/>
                  </a:cubicBezTo>
                  <a:cubicBezTo>
                    <a:pt x="23798" y="31590"/>
                    <a:pt x="25009" y="31129"/>
                    <a:pt x="25932" y="30206"/>
                  </a:cubicBezTo>
                  <a:lnTo>
                    <a:pt x="26932" y="29206"/>
                  </a:lnTo>
                  <a:cubicBezTo>
                    <a:pt x="26980" y="29170"/>
                    <a:pt x="27003" y="29111"/>
                    <a:pt x="27051" y="29063"/>
                  </a:cubicBezTo>
                  <a:lnTo>
                    <a:pt x="37779" y="29063"/>
                  </a:lnTo>
                  <a:cubicBezTo>
                    <a:pt x="41874" y="29063"/>
                    <a:pt x="45184" y="25753"/>
                    <a:pt x="45184" y="21669"/>
                  </a:cubicBezTo>
                  <a:lnTo>
                    <a:pt x="45184" y="2846"/>
                  </a:lnTo>
                  <a:cubicBezTo>
                    <a:pt x="45184" y="1274"/>
                    <a:pt x="43898" y="0"/>
                    <a:pt x="42327" y="0"/>
                  </a:cubicBez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Pts val="1100"/>
                <a:buFont typeface="Arial"/>
                <a:buNone/>
                <a:tabLst/>
                <a:defRPr/>
              </a:pPr>
              <a:endParaRPr kumimoji="0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ira Sans Extra Condensed"/>
                <a:ea typeface="Fira Sans Extra Condensed"/>
                <a:cs typeface="Fira Sans Extra Condensed"/>
                <a:sym typeface="Fira Sans Extra Condensed"/>
              </a:endParaRPr>
            </a:p>
          </p:txBody>
        </p:sp>
        <p:sp>
          <p:nvSpPr>
            <p:cNvPr id="85" name="Google Shape;282;p18">
              <a:extLst>
                <a:ext uri="{FF2B5EF4-FFF2-40B4-BE49-F238E27FC236}">
                  <a16:creationId xmlns:a16="http://schemas.microsoft.com/office/drawing/2014/main" xmlns="" id="{4CE147CC-A887-4F9A-A3B1-8114915B5371}"/>
                </a:ext>
              </a:extLst>
            </p:cNvPr>
            <p:cNvSpPr/>
            <p:nvPr/>
          </p:nvSpPr>
          <p:spPr>
            <a:xfrm>
              <a:off x="1036275" y="1121000"/>
              <a:ext cx="1412709" cy="336536"/>
            </a:xfrm>
            <a:custGeom>
              <a:avLst/>
              <a:gdLst/>
              <a:ahLst/>
              <a:cxnLst/>
              <a:rect l="l" t="t" r="r" b="b"/>
              <a:pathLst>
                <a:path w="45185" h="10764" extrusionOk="0">
                  <a:moveTo>
                    <a:pt x="2846" y="0"/>
                  </a:moveTo>
                  <a:cubicBezTo>
                    <a:pt x="1274" y="0"/>
                    <a:pt x="0" y="1274"/>
                    <a:pt x="0" y="2846"/>
                  </a:cubicBezTo>
                  <a:lnTo>
                    <a:pt x="0" y="10763"/>
                  </a:lnTo>
                  <a:lnTo>
                    <a:pt x="45184" y="10763"/>
                  </a:lnTo>
                  <a:lnTo>
                    <a:pt x="45184" y="2846"/>
                  </a:lnTo>
                  <a:cubicBezTo>
                    <a:pt x="45184" y="1274"/>
                    <a:pt x="43910" y="0"/>
                    <a:pt x="42339" y="0"/>
                  </a:cubicBezTo>
                  <a:close/>
                </a:path>
              </a:pathLst>
            </a:custGeom>
            <a:solidFill>
              <a:srgbClr val="00B050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D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Fira Sans Extra Condensed Medium"/>
                  <a:cs typeface="Fira Sans Extra Condensed Medium"/>
                  <a:sym typeface="Fira Sans Extra Condensed Medium"/>
                </a:rPr>
                <a:t>KEWENANGAN</a:t>
              </a:r>
              <a:endPara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  <a:ea typeface="Fira Sans Extra Condensed Medium"/>
                <a:cs typeface="Fira Sans Extra Condensed Medium"/>
                <a:sym typeface="Fira Sans Extra Condensed Medium"/>
              </a:endParaRPr>
            </a:p>
          </p:txBody>
        </p:sp>
        <p:sp>
          <p:nvSpPr>
            <p:cNvPr id="87" name="Google Shape;286;p18">
              <a:extLst>
                <a:ext uri="{FF2B5EF4-FFF2-40B4-BE49-F238E27FC236}">
                  <a16:creationId xmlns:a16="http://schemas.microsoft.com/office/drawing/2014/main" xmlns="" id="{B039195C-4BBC-41F9-8A68-97F519609695}"/>
                </a:ext>
              </a:extLst>
            </p:cNvPr>
            <p:cNvSpPr txBox="1"/>
            <p:nvPr/>
          </p:nvSpPr>
          <p:spPr>
            <a:xfrm>
              <a:off x="1070627" y="1440115"/>
              <a:ext cx="1412709" cy="855165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Mengelola keuangan dan aset negara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Menyusun kebijakan yang berdampak luas</a:t>
              </a:r>
            </a:p>
            <a:p>
              <a:pPr marL="342900" marR="0" lvl="0" indent="-34290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nl-NL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434343"/>
                  </a:solidFill>
                  <a:effectLst/>
                  <a:uLnTx/>
                  <a:uFillTx/>
                  <a:latin typeface="Bookman Old Style" panose="02050604050505020204" pitchFamily="18" charset="0"/>
                  <a:ea typeface="Roboto"/>
                  <a:cs typeface="Roboto"/>
                  <a:sym typeface="Roboto"/>
                </a:rPr>
                <a:t>Menggunakan fasilitas negara</a:t>
              </a:r>
              <a:endParaRPr kumimoji="0" sz="1400" b="0" i="0" u="none" strike="noStrike" kern="1200" cap="none" spc="0" normalizeH="0" baseline="0" noProof="0" dirty="0">
                <a:ln>
                  <a:noFill/>
                </a:ln>
                <a:solidFill>
                  <a:srgbClr val="434343"/>
                </a:solidFill>
                <a:effectLst/>
                <a:uLnTx/>
                <a:uFillTx/>
                <a:latin typeface="Bookman Old Style" panose="02050604050505020204" pitchFamily="18" charset="0"/>
                <a:ea typeface="Roboto"/>
                <a:cs typeface="Roboto"/>
                <a:sym typeface="Roboto"/>
              </a:endParaRPr>
            </a:p>
          </p:txBody>
        </p:sp>
      </p:grpSp>
      <p:sp>
        <p:nvSpPr>
          <p:cNvPr id="91" name="Rectangle: Rounded Corners 90">
            <a:extLst>
              <a:ext uri="{FF2B5EF4-FFF2-40B4-BE49-F238E27FC236}">
                <a16:creationId xmlns:a16="http://schemas.microsoft.com/office/drawing/2014/main" xmlns="" id="{FD617325-7185-4DD7-BD36-7D7A1A617A61}"/>
              </a:ext>
            </a:extLst>
          </p:cNvPr>
          <p:cNvSpPr/>
          <p:nvPr/>
        </p:nvSpPr>
        <p:spPr>
          <a:xfrm>
            <a:off x="8371699" y="3676454"/>
            <a:ext cx="3434222" cy="2479215"/>
          </a:xfrm>
          <a:prstGeom prst="roundRect">
            <a:avLst/>
          </a:prstGeom>
          <a:solidFill>
            <a:srgbClr val="C0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 sz="1400" dirty="0">
              <a:latin typeface="Bookman Old Style" panose="02050604050505020204" pitchFamily="18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74F2361C-6571-4512-B177-9A1E25AF6E2B}"/>
              </a:ext>
            </a:extLst>
          </p:cNvPr>
          <p:cNvSpPr/>
          <p:nvPr/>
        </p:nvSpPr>
        <p:spPr>
          <a:xfrm>
            <a:off x="8371699" y="3663816"/>
            <a:ext cx="3802277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ookman Old Style" panose="02050604050505020204" pitchFamily="18" charset="0"/>
              </a:rPr>
              <a:t>BERPOTENSI</a:t>
            </a:r>
          </a:p>
          <a:p>
            <a:endParaRPr lang="en-US" sz="1000" dirty="0">
              <a:solidFill>
                <a:schemeClr val="bg1"/>
              </a:solidFill>
              <a:latin typeface="Bookman Old Style" panose="02050604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Tim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ampanye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tim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yusu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program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rencanak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program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isalahgunakan</a:t>
            </a:r>
            <a:endParaRPr lang="en-US" sz="1400" dirty="0">
              <a:solidFill>
                <a:schemeClr val="bg1"/>
              </a:solidFill>
              <a:latin typeface="Bookman Old Style" panose="02050604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mbuat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bijak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elola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anajeme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ASN (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utasi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rotasi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engangkat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TH,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dll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)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untuk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kepenting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politik</a:t>
            </a:r>
            <a:endParaRPr lang="en-US" sz="1400" dirty="0">
              <a:solidFill>
                <a:schemeClr val="bg1"/>
              </a:solidFill>
              <a:latin typeface="Bookman Old Style" panose="02050604050505020204" pitchFamily="18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Menggunakan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fasilitas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latin typeface="Bookman Old Style" panose="02050604050505020204" pitchFamily="18" charset="0"/>
              </a:rPr>
              <a:t>negara</a:t>
            </a:r>
            <a:r>
              <a:rPr lang="en-US" sz="1400" dirty="0">
                <a:solidFill>
                  <a:schemeClr val="bg1"/>
                </a:solidFill>
                <a:latin typeface="Bookman Old Style" panose="02050604050505020204" pitchFamily="18" charset="0"/>
              </a:rPr>
              <a:t> </a:t>
            </a:r>
            <a:endParaRPr lang="en-ID" sz="14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xmlns="" id="{71881E3C-7F3F-41C0-9F4C-90E46B1E3C17}"/>
              </a:ext>
            </a:extLst>
          </p:cNvPr>
          <p:cNvSpPr/>
          <p:nvPr/>
        </p:nvSpPr>
        <p:spPr>
          <a:xfrm>
            <a:off x="7657987" y="2847773"/>
            <a:ext cx="720832" cy="720832"/>
          </a:xfrm>
          <a:prstGeom prst="ellipse">
            <a:avLst/>
          </a:prstGeom>
          <a:solidFill>
            <a:srgbClr val="42526B"/>
          </a:solidFill>
          <a:ln w="38100">
            <a:solidFill>
              <a:schemeClr val="bg1"/>
            </a:solidFill>
          </a:ln>
          <a:effectLst>
            <a:outerShdw blurRad="254000" dist="38100" dir="8100000" algn="tr" rotWithShape="0">
              <a:prstClr val="black">
                <a:alpha val="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xmlns="" id="{2A1A74E1-9322-4222-8BF4-F1B53F8C4624}"/>
              </a:ext>
            </a:extLst>
          </p:cNvPr>
          <p:cNvGrpSpPr/>
          <p:nvPr/>
        </p:nvGrpSpPr>
        <p:grpSpPr>
          <a:xfrm>
            <a:off x="7855832" y="3039041"/>
            <a:ext cx="325142" cy="338296"/>
            <a:chOff x="307975" y="1916113"/>
            <a:chExt cx="274638" cy="285750"/>
          </a:xfrm>
          <a:solidFill>
            <a:schemeClr val="bg1"/>
          </a:solidFill>
        </p:grpSpPr>
        <p:sp>
          <p:nvSpPr>
            <p:cNvPr id="95" name="Freeform 61">
              <a:extLst>
                <a:ext uri="{FF2B5EF4-FFF2-40B4-BE49-F238E27FC236}">
                  <a16:creationId xmlns:a16="http://schemas.microsoft.com/office/drawing/2014/main" xmlns="" id="{EDCAE483-B5ED-4F74-9FCC-DA54BDE6667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1650" y="2119313"/>
              <a:ext cx="46038" cy="46038"/>
            </a:xfrm>
            <a:custGeom>
              <a:avLst/>
              <a:gdLst>
                <a:gd name="T0" fmla="*/ 63 w 143"/>
                <a:gd name="T1" fmla="*/ 112 h 143"/>
                <a:gd name="T2" fmla="*/ 48 w 143"/>
                <a:gd name="T3" fmla="*/ 106 h 143"/>
                <a:gd name="T4" fmla="*/ 36 w 143"/>
                <a:gd name="T5" fmla="*/ 95 h 143"/>
                <a:gd name="T6" fmla="*/ 30 w 143"/>
                <a:gd name="T7" fmla="*/ 80 h 143"/>
                <a:gd name="T8" fmla="*/ 30 w 143"/>
                <a:gd name="T9" fmla="*/ 63 h 143"/>
                <a:gd name="T10" fmla="*/ 36 w 143"/>
                <a:gd name="T11" fmla="*/ 48 h 143"/>
                <a:gd name="T12" fmla="*/ 48 w 143"/>
                <a:gd name="T13" fmla="*/ 37 h 143"/>
                <a:gd name="T14" fmla="*/ 63 w 143"/>
                <a:gd name="T15" fmla="*/ 31 h 143"/>
                <a:gd name="T16" fmla="*/ 79 w 143"/>
                <a:gd name="T17" fmla="*/ 31 h 143"/>
                <a:gd name="T18" fmla="*/ 94 w 143"/>
                <a:gd name="T19" fmla="*/ 37 h 143"/>
                <a:gd name="T20" fmla="*/ 106 w 143"/>
                <a:gd name="T21" fmla="*/ 48 h 143"/>
                <a:gd name="T22" fmla="*/ 112 w 143"/>
                <a:gd name="T23" fmla="*/ 63 h 143"/>
                <a:gd name="T24" fmla="*/ 112 w 143"/>
                <a:gd name="T25" fmla="*/ 80 h 143"/>
                <a:gd name="T26" fmla="*/ 106 w 143"/>
                <a:gd name="T27" fmla="*/ 95 h 143"/>
                <a:gd name="T28" fmla="*/ 94 w 143"/>
                <a:gd name="T29" fmla="*/ 106 h 143"/>
                <a:gd name="T30" fmla="*/ 79 w 143"/>
                <a:gd name="T31" fmla="*/ 112 h 143"/>
                <a:gd name="T32" fmla="*/ 72 w 143"/>
                <a:gd name="T33" fmla="*/ 0 h 143"/>
                <a:gd name="T34" fmla="*/ 57 w 143"/>
                <a:gd name="T35" fmla="*/ 1 h 143"/>
                <a:gd name="T36" fmla="*/ 44 w 143"/>
                <a:gd name="T37" fmla="*/ 5 h 143"/>
                <a:gd name="T38" fmla="*/ 31 w 143"/>
                <a:gd name="T39" fmla="*/ 11 h 143"/>
                <a:gd name="T40" fmla="*/ 20 w 143"/>
                <a:gd name="T41" fmla="*/ 21 h 143"/>
                <a:gd name="T42" fmla="*/ 12 w 143"/>
                <a:gd name="T43" fmla="*/ 31 h 143"/>
                <a:gd name="T44" fmla="*/ 5 w 143"/>
                <a:gd name="T45" fmla="*/ 44 h 143"/>
                <a:gd name="T46" fmla="*/ 1 w 143"/>
                <a:gd name="T47" fmla="*/ 57 h 143"/>
                <a:gd name="T48" fmla="*/ 0 w 143"/>
                <a:gd name="T49" fmla="*/ 72 h 143"/>
                <a:gd name="T50" fmla="*/ 1 w 143"/>
                <a:gd name="T51" fmla="*/ 85 h 143"/>
                <a:gd name="T52" fmla="*/ 5 w 143"/>
                <a:gd name="T53" fmla="*/ 99 h 143"/>
                <a:gd name="T54" fmla="*/ 12 w 143"/>
                <a:gd name="T55" fmla="*/ 111 h 143"/>
                <a:gd name="T56" fmla="*/ 20 w 143"/>
                <a:gd name="T57" fmla="*/ 122 h 143"/>
                <a:gd name="T58" fmla="*/ 31 w 143"/>
                <a:gd name="T59" fmla="*/ 132 h 143"/>
                <a:gd name="T60" fmla="*/ 44 w 143"/>
                <a:gd name="T61" fmla="*/ 138 h 143"/>
                <a:gd name="T62" fmla="*/ 57 w 143"/>
                <a:gd name="T63" fmla="*/ 142 h 143"/>
                <a:gd name="T64" fmla="*/ 72 w 143"/>
                <a:gd name="T65" fmla="*/ 143 h 143"/>
                <a:gd name="T66" fmla="*/ 86 w 143"/>
                <a:gd name="T67" fmla="*/ 142 h 143"/>
                <a:gd name="T68" fmla="*/ 100 w 143"/>
                <a:gd name="T69" fmla="*/ 138 h 143"/>
                <a:gd name="T70" fmla="*/ 111 w 143"/>
                <a:gd name="T71" fmla="*/ 132 h 143"/>
                <a:gd name="T72" fmla="*/ 122 w 143"/>
                <a:gd name="T73" fmla="*/ 122 h 143"/>
                <a:gd name="T74" fmla="*/ 131 w 143"/>
                <a:gd name="T75" fmla="*/ 111 h 143"/>
                <a:gd name="T76" fmla="*/ 137 w 143"/>
                <a:gd name="T77" fmla="*/ 99 h 143"/>
                <a:gd name="T78" fmla="*/ 141 w 143"/>
                <a:gd name="T79" fmla="*/ 85 h 143"/>
                <a:gd name="T80" fmla="*/ 143 w 143"/>
                <a:gd name="T81" fmla="*/ 72 h 143"/>
                <a:gd name="T82" fmla="*/ 141 w 143"/>
                <a:gd name="T83" fmla="*/ 57 h 143"/>
                <a:gd name="T84" fmla="*/ 137 w 143"/>
                <a:gd name="T85" fmla="*/ 44 h 143"/>
                <a:gd name="T86" fmla="*/ 131 w 143"/>
                <a:gd name="T87" fmla="*/ 31 h 143"/>
                <a:gd name="T88" fmla="*/ 122 w 143"/>
                <a:gd name="T89" fmla="*/ 21 h 143"/>
                <a:gd name="T90" fmla="*/ 111 w 143"/>
                <a:gd name="T91" fmla="*/ 11 h 143"/>
                <a:gd name="T92" fmla="*/ 100 w 143"/>
                <a:gd name="T93" fmla="*/ 5 h 143"/>
                <a:gd name="T94" fmla="*/ 86 w 143"/>
                <a:gd name="T95" fmla="*/ 1 h 143"/>
                <a:gd name="T96" fmla="*/ 72 w 143"/>
                <a:gd name="T97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43" h="143">
                  <a:moveTo>
                    <a:pt x="72" y="113"/>
                  </a:moveTo>
                  <a:lnTo>
                    <a:pt x="63" y="112"/>
                  </a:lnTo>
                  <a:lnTo>
                    <a:pt x="54" y="110"/>
                  </a:lnTo>
                  <a:lnTo>
                    <a:pt x="48" y="106"/>
                  </a:lnTo>
                  <a:lnTo>
                    <a:pt x="42" y="100"/>
                  </a:lnTo>
                  <a:lnTo>
                    <a:pt x="36" y="95"/>
                  </a:lnTo>
                  <a:lnTo>
                    <a:pt x="33" y="88"/>
                  </a:lnTo>
                  <a:lnTo>
                    <a:pt x="30" y="80"/>
                  </a:lnTo>
                  <a:lnTo>
                    <a:pt x="30" y="72"/>
                  </a:lnTo>
                  <a:lnTo>
                    <a:pt x="30" y="63"/>
                  </a:lnTo>
                  <a:lnTo>
                    <a:pt x="33" y="55"/>
                  </a:lnTo>
                  <a:lnTo>
                    <a:pt x="36" y="48"/>
                  </a:lnTo>
                  <a:lnTo>
                    <a:pt x="42" y="42"/>
                  </a:lnTo>
                  <a:lnTo>
                    <a:pt x="48" y="37"/>
                  </a:lnTo>
                  <a:lnTo>
                    <a:pt x="54" y="33"/>
                  </a:lnTo>
                  <a:lnTo>
                    <a:pt x="63" y="31"/>
                  </a:lnTo>
                  <a:lnTo>
                    <a:pt x="72" y="30"/>
                  </a:lnTo>
                  <a:lnTo>
                    <a:pt x="79" y="31"/>
                  </a:lnTo>
                  <a:lnTo>
                    <a:pt x="88" y="33"/>
                  </a:lnTo>
                  <a:lnTo>
                    <a:pt x="94" y="37"/>
                  </a:lnTo>
                  <a:lnTo>
                    <a:pt x="101" y="42"/>
                  </a:lnTo>
                  <a:lnTo>
                    <a:pt x="106" y="48"/>
                  </a:lnTo>
                  <a:lnTo>
                    <a:pt x="110" y="55"/>
                  </a:lnTo>
                  <a:lnTo>
                    <a:pt x="112" y="63"/>
                  </a:lnTo>
                  <a:lnTo>
                    <a:pt x="113" y="72"/>
                  </a:lnTo>
                  <a:lnTo>
                    <a:pt x="112" y="80"/>
                  </a:lnTo>
                  <a:lnTo>
                    <a:pt x="110" y="88"/>
                  </a:lnTo>
                  <a:lnTo>
                    <a:pt x="106" y="95"/>
                  </a:lnTo>
                  <a:lnTo>
                    <a:pt x="101" y="100"/>
                  </a:lnTo>
                  <a:lnTo>
                    <a:pt x="94" y="106"/>
                  </a:lnTo>
                  <a:lnTo>
                    <a:pt x="88" y="110"/>
                  </a:lnTo>
                  <a:lnTo>
                    <a:pt x="79" y="112"/>
                  </a:lnTo>
                  <a:lnTo>
                    <a:pt x="72" y="113"/>
                  </a:lnTo>
                  <a:close/>
                  <a:moveTo>
                    <a:pt x="72" y="0"/>
                  </a:moveTo>
                  <a:lnTo>
                    <a:pt x="64" y="0"/>
                  </a:lnTo>
                  <a:lnTo>
                    <a:pt x="57" y="1"/>
                  </a:lnTo>
                  <a:lnTo>
                    <a:pt x="50" y="3"/>
                  </a:lnTo>
                  <a:lnTo>
                    <a:pt x="44" y="5"/>
                  </a:lnTo>
                  <a:lnTo>
                    <a:pt x="37" y="8"/>
                  </a:lnTo>
                  <a:lnTo>
                    <a:pt x="31" y="11"/>
                  </a:lnTo>
                  <a:lnTo>
                    <a:pt x="26" y="16"/>
                  </a:lnTo>
                  <a:lnTo>
                    <a:pt x="20" y="21"/>
                  </a:lnTo>
                  <a:lnTo>
                    <a:pt x="16" y="25"/>
                  </a:lnTo>
                  <a:lnTo>
                    <a:pt x="12" y="31"/>
                  </a:lnTo>
                  <a:lnTo>
                    <a:pt x="8" y="37"/>
                  </a:lnTo>
                  <a:lnTo>
                    <a:pt x="5" y="44"/>
                  </a:lnTo>
                  <a:lnTo>
                    <a:pt x="3" y="50"/>
                  </a:lnTo>
                  <a:lnTo>
                    <a:pt x="1" y="57"/>
                  </a:lnTo>
                  <a:lnTo>
                    <a:pt x="0" y="64"/>
                  </a:lnTo>
                  <a:lnTo>
                    <a:pt x="0" y="72"/>
                  </a:lnTo>
                  <a:lnTo>
                    <a:pt x="0" y="79"/>
                  </a:lnTo>
                  <a:lnTo>
                    <a:pt x="1" y="85"/>
                  </a:lnTo>
                  <a:lnTo>
                    <a:pt x="3" y="93"/>
                  </a:lnTo>
                  <a:lnTo>
                    <a:pt x="5" y="99"/>
                  </a:lnTo>
                  <a:lnTo>
                    <a:pt x="8" y="106"/>
                  </a:lnTo>
                  <a:lnTo>
                    <a:pt x="12" y="111"/>
                  </a:lnTo>
                  <a:lnTo>
                    <a:pt x="16" y="118"/>
                  </a:lnTo>
                  <a:lnTo>
                    <a:pt x="20" y="122"/>
                  </a:lnTo>
                  <a:lnTo>
                    <a:pt x="26" y="127"/>
                  </a:lnTo>
                  <a:lnTo>
                    <a:pt x="31" y="132"/>
                  </a:lnTo>
                  <a:lnTo>
                    <a:pt x="37" y="135"/>
                  </a:lnTo>
                  <a:lnTo>
                    <a:pt x="44" y="138"/>
                  </a:lnTo>
                  <a:lnTo>
                    <a:pt x="50" y="140"/>
                  </a:lnTo>
                  <a:lnTo>
                    <a:pt x="57" y="142"/>
                  </a:lnTo>
                  <a:lnTo>
                    <a:pt x="64" y="143"/>
                  </a:lnTo>
                  <a:lnTo>
                    <a:pt x="72" y="143"/>
                  </a:lnTo>
                  <a:lnTo>
                    <a:pt x="78" y="143"/>
                  </a:lnTo>
                  <a:lnTo>
                    <a:pt x="86" y="142"/>
                  </a:lnTo>
                  <a:lnTo>
                    <a:pt x="93" y="140"/>
                  </a:lnTo>
                  <a:lnTo>
                    <a:pt x="100" y="138"/>
                  </a:lnTo>
                  <a:lnTo>
                    <a:pt x="106" y="135"/>
                  </a:lnTo>
                  <a:lnTo>
                    <a:pt x="111" y="132"/>
                  </a:lnTo>
                  <a:lnTo>
                    <a:pt x="117" y="127"/>
                  </a:lnTo>
                  <a:lnTo>
                    <a:pt x="122" y="122"/>
                  </a:lnTo>
                  <a:lnTo>
                    <a:pt x="126" y="118"/>
                  </a:lnTo>
                  <a:lnTo>
                    <a:pt x="131" y="111"/>
                  </a:lnTo>
                  <a:lnTo>
                    <a:pt x="135" y="106"/>
                  </a:lnTo>
                  <a:lnTo>
                    <a:pt x="137" y="99"/>
                  </a:lnTo>
                  <a:lnTo>
                    <a:pt x="140" y="93"/>
                  </a:lnTo>
                  <a:lnTo>
                    <a:pt x="141" y="85"/>
                  </a:lnTo>
                  <a:lnTo>
                    <a:pt x="142" y="79"/>
                  </a:lnTo>
                  <a:lnTo>
                    <a:pt x="143" y="72"/>
                  </a:lnTo>
                  <a:lnTo>
                    <a:pt x="142" y="64"/>
                  </a:lnTo>
                  <a:lnTo>
                    <a:pt x="141" y="57"/>
                  </a:lnTo>
                  <a:lnTo>
                    <a:pt x="140" y="50"/>
                  </a:lnTo>
                  <a:lnTo>
                    <a:pt x="137" y="44"/>
                  </a:lnTo>
                  <a:lnTo>
                    <a:pt x="135" y="37"/>
                  </a:lnTo>
                  <a:lnTo>
                    <a:pt x="131" y="31"/>
                  </a:lnTo>
                  <a:lnTo>
                    <a:pt x="126" y="25"/>
                  </a:lnTo>
                  <a:lnTo>
                    <a:pt x="122" y="21"/>
                  </a:lnTo>
                  <a:lnTo>
                    <a:pt x="117" y="16"/>
                  </a:lnTo>
                  <a:lnTo>
                    <a:pt x="111" y="11"/>
                  </a:lnTo>
                  <a:lnTo>
                    <a:pt x="106" y="8"/>
                  </a:lnTo>
                  <a:lnTo>
                    <a:pt x="100" y="5"/>
                  </a:lnTo>
                  <a:lnTo>
                    <a:pt x="93" y="3"/>
                  </a:lnTo>
                  <a:lnTo>
                    <a:pt x="86" y="1"/>
                  </a:lnTo>
                  <a:lnTo>
                    <a:pt x="78" y="0"/>
                  </a:lnTo>
                  <a:lnTo>
                    <a:pt x="7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62">
              <a:extLst>
                <a:ext uri="{FF2B5EF4-FFF2-40B4-BE49-F238E27FC236}">
                  <a16:creationId xmlns:a16="http://schemas.microsoft.com/office/drawing/2014/main" xmlns="" id="{6F464133-757A-44D9-B1B1-D2D010271B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725" y="2084388"/>
              <a:ext cx="115888" cy="117475"/>
            </a:xfrm>
            <a:custGeom>
              <a:avLst/>
              <a:gdLst>
                <a:gd name="T0" fmla="*/ 296 w 364"/>
                <a:gd name="T1" fmla="*/ 151 h 372"/>
                <a:gd name="T2" fmla="*/ 300 w 364"/>
                <a:gd name="T3" fmla="*/ 196 h 372"/>
                <a:gd name="T4" fmla="*/ 300 w 364"/>
                <a:gd name="T5" fmla="*/ 224 h 372"/>
                <a:gd name="T6" fmla="*/ 279 w 364"/>
                <a:gd name="T7" fmla="*/ 267 h 372"/>
                <a:gd name="T8" fmla="*/ 261 w 364"/>
                <a:gd name="T9" fmla="*/ 269 h 372"/>
                <a:gd name="T10" fmla="*/ 212 w 364"/>
                <a:gd name="T11" fmla="*/ 296 h 372"/>
                <a:gd name="T12" fmla="*/ 201 w 364"/>
                <a:gd name="T13" fmla="*/ 311 h 372"/>
                <a:gd name="T14" fmla="*/ 155 w 364"/>
                <a:gd name="T15" fmla="*/ 306 h 372"/>
                <a:gd name="T16" fmla="*/ 133 w 364"/>
                <a:gd name="T17" fmla="*/ 292 h 372"/>
                <a:gd name="T18" fmla="*/ 96 w 364"/>
                <a:gd name="T19" fmla="*/ 266 h 372"/>
                <a:gd name="T20" fmla="*/ 58 w 364"/>
                <a:gd name="T21" fmla="*/ 281 h 372"/>
                <a:gd name="T22" fmla="*/ 67 w 364"/>
                <a:gd name="T23" fmla="*/ 220 h 372"/>
                <a:gd name="T24" fmla="*/ 65 w 364"/>
                <a:gd name="T25" fmla="*/ 184 h 372"/>
                <a:gd name="T26" fmla="*/ 67 w 364"/>
                <a:gd name="T27" fmla="*/ 147 h 372"/>
                <a:gd name="T28" fmla="*/ 58 w 364"/>
                <a:gd name="T29" fmla="*/ 86 h 372"/>
                <a:gd name="T30" fmla="*/ 96 w 364"/>
                <a:gd name="T31" fmla="*/ 101 h 372"/>
                <a:gd name="T32" fmla="*/ 133 w 364"/>
                <a:gd name="T33" fmla="*/ 75 h 372"/>
                <a:gd name="T34" fmla="*/ 155 w 364"/>
                <a:gd name="T35" fmla="*/ 61 h 372"/>
                <a:gd name="T36" fmla="*/ 201 w 364"/>
                <a:gd name="T37" fmla="*/ 56 h 372"/>
                <a:gd name="T38" fmla="*/ 212 w 364"/>
                <a:gd name="T39" fmla="*/ 71 h 372"/>
                <a:gd name="T40" fmla="*/ 261 w 364"/>
                <a:gd name="T41" fmla="*/ 98 h 372"/>
                <a:gd name="T42" fmla="*/ 279 w 364"/>
                <a:gd name="T43" fmla="*/ 100 h 372"/>
                <a:gd name="T44" fmla="*/ 364 w 364"/>
                <a:gd name="T45" fmla="*/ 135 h 372"/>
                <a:gd name="T46" fmla="*/ 362 w 364"/>
                <a:gd name="T47" fmla="*/ 123 h 372"/>
                <a:gd name="T48" fmla="*/ 318 w 364"/>
                <a:gd name="T49" fmla="*/ 52 h 372"/>
                <a:gd name="T50" fmla="*/ 307 w 364"/>
                <a:gd name="T51" fmla="*/ 51 h 372"/>
                <a:gd name="T52" fmla="*/ 253 w 364"/>
                <a:gd name="T53" fmla="*/ 56 h 372"/>
                <a:gd name="T54" fmla="*/ 231 w 364"/>
                <a:gd name="T55" fmla="*/ 12 h 372"/>
                <a:gd name="T56" fmla="*/ 224 w 364"/>
                <a:gd name="T57" fmla="*/ 3 h 372"/>
                <a:gd name="T58" fmla="*/ 141 w 364"/>
                <a:gd name="T59" fmla="*/ 0 h 372"/>
                <a:gd name="T60" fmla="*/ 130 w 364"/>
                <a:gd name="T61" fmla="*/ 4 h 372"/>
                <a:gd name="T62" fmla="*/ 126 w 364"/>
                <a:gd name="T63" fmla="*/ 15 h 372"/>
                <a:gd name="T64" fmla="*/ 97 w 364"/>
                <a:gd name="T65" fmla="*/ 61 h 372"/>
                <a:gd name="T66" fmla="*/ 54 w 364"/>
                <a:gd name="T67" fmla="*/ 51 h 372"/>
                <a:gd name="T68" fmla="*/ 43 w 364"/>
                <a:gd name="T69" fmla="*/ 54 h 372"/>
                <a:gd name="T70" fmla="*/ 0 w 364"/>
                <a:gd name="T71" fmla="*/ 127 h 372"/>
                <a:gd name="T72" fmla="*/ 1 w 364"/>
                <a:gd name="T73" fmla="*/ 137 h 372"/>
                <a:gd name="T74" fmla="*/ 36 w 364"/>
                <a:gd name="T75" fmla="*/ 160 h 372"/>
                <a:gd name="T76" fmla="*/ 36 w 364"/>
                <a:gd name="T77" fmla="*/ 206 h 372"/>
                <a:gd name="T78" fmla="*/ 1 w 364"/>
                <a:gd name="T79" fmla="*/ 230 h 372"/>
                <a:gd name="T80" fmla="*/ 1 w 364"/>
                <a:gd name="T81" fmla="*/ 240 h 372"/>
                <a:gd name="T82" fmla="*/ 44 w 364"/>
                <a:gd name="T83" fmla="*/ 313 h 372"/>
                <a:gd name="T84" fmla="*/ 55 w 364"/>
                <a:gd name="T85" fmla="*/ 316 h 372"/>
                <a:gd name="T86" fmla="*/ 97 w 364"/>
                <a:gd name="T87" fmla="*/ 306 h 372"/>
                <a:gd name="T88" fmla="*/ 126 w 364"/>
                <a:gd name="T89" fmla="*/ 357 h 372"/>
                <a:gd name="T90" fmla="*/ 130 w 364"/>
                <a:gd name="T91" fmla="*/ 368 h 372"/>
                <a:gd name="T92" fmla="*/ 141 w 364"/>
                <a:gd name="T93" fmla="*/ 372 h 372"/>
                <a:gd name="T94" fmla="*/ 224 w 364"/>
                <a:gd name="T95" fmla="*/ 369 h 372"/>
                <a:gd name="T96" fmla="*/ 231 w 364"/>
                <a:gd name="T97" fmla="*/ 360 h 372"/>
                <a:gd name="T98" fmla="*/ 253 w 364"/>
                <a:gd name="T99" fmla="*/ 311 h 372"/>
                <a:gd name="T100" fmla="*/ 306 w 364"/>
                <a:gd name="T101" fmla="*/ 316 h 372"/>
                <a:gd name="T102" fmla="*/ 317 w 364"/>
                <a:gd name="T103" fmla="*/ 315 h 372"/>
                <a:gd name="T104" fmla="*/ 362 w 364"/>
                <a:gd name="T105" fmla="*/ 244 h 372"/>
                <a:gd name="T106" fmla="*/ 363 w 364"/>
                <a:gd name="T107" fmla="*/ 232 h 372"/>
                <a:gd name="T108" fmla="*/ 356 w 364"/>
                <a:gd name="T109" fmla="*/ 223 h 372"/>
                <a:gd name="T110" fmla="*/ 330 w 364"/>
                <a:gd name="T111" fmla="*/ 172 h 372"/>
                <a:gd name="T112" fmla="*/ 361 w 364"/>
                <a:gd name="T113" fmla="*/ 141 h 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4" h="372">
                  <a:moveTo>
                    <a:pt x="304" y="140"/>
                  </a:moveTo>
                  <a:lnTo>
                    <a:pt x="300" y="143"/>
                  </a:lnTo>
                  <a:lnTo>
                    <a:pt x="297" y="147"/>
                  </a:lnTo>
                  <a:lnTo>
                    <a:pt x="296" y="151"/>
                  </a:lnTo>
                  <a:lnTo>
                    <a:pt x="296" y="157"/>
                  </a:lnTo>
                  <a:lnTo>
                    <a:pt x="300" y="170"/>
                  </a:lnTo>
                  <a:lnTo>
                    <a:pt x="300" y="184"/>
                  </a:lnTo>
                  <a:lnTo>
                    <a:pt x="300" y="196"/>
                  </a:lnTo>
                  <a:lnTo>
                    <a:pt x="296" y="210"/>
                  </a:lnTo>
                  <a:lnTo>
                    <a:pt x="296" y="216"/>
                  </a:lnTo>
                  <a:lnTo>
                    <a:pt x="297" y="220"/>
                  </a:lnTo>
                  <a:lnTo>
                    <a:pt x="300" y="224"/>
                  </a:lnTo>
                  <a:lnTo>
                    <a:pt x="304" y="227"/>
                  </a:lnTo>
                  <a:lnTo>
                    <a:pt x="327" y="241"/>
                  </a:lnTo>
                  <a:lnTo>
                    <a:pt x="305" y="281"/>
                  </a:lnTo>
                  <a:lnTo>
                    <a:pt x="279" y="267"/>
                  </a:lnTo>
                  <a:lnTo>
                    <a:pt x="274" y="265"/>
                  </a:lnTo>
                  <a:lnTo>
                    <a:pt x="269" y="265"/>
                  </a:lnTo>
                  <a:lnTo>
                    <a:pt x="265" y="266"/>
                  </a:lnTo>
                  <a:lnTo>
                    <a:pt x="261" y="269"/>
                  </a:lnTo>
                  <a:lnTo>
                    <a:pt x="251" y="277"/>
                  </a:lnTo>
                  <a:lnTo>
                    <a:pt x="239" y="284"/>
                  </a:lnTo>
                  <a:lnTo>
                    <a:pt x="226" y="291"/>
                  </a:lnTo>
                  <a:lnTo>
                    <a:pt x="212" y="296"/>
                  </a:lnTo>
                  <a:lnTo>
                    <a:pt x="207" y="298"/>
                  </a:lnTo>
                  <a:lnTo>
                    <a:pt x="204" y="301"/>
                  </a:lnTo>
                  <a:lnTo>
                    <a:pt x="202" y="306"/>
                  </a:lnTo>
                  <a:lnTo>
                    <a:pt x="201" y="311"/>
                  </a:lnTo>
                  <a:lnTo>
                    <a:pt x="201" y="342"/>
                  </a:lnTo>
                  <a:lnTo>
                    <a:pt x="156" y="342"/>
                  </a:lnTo>
                  <a:lnTo>
                    <a:pt x="156" y="311"/>
                  </a:lnTo>
                  <a:lnTo>
                    <a:pt x="155" y="306"/>
                  </a:lnTo>
                  <a:lnTo>
                    <a:pt x="153" y="301"/>
                  </a:lnTo>
                  <a:lnTo>
                    <a:pt x="149" y="298"/>
                  </a:lnTo>
                  <a:lnTo>
                    <a:pt x="145" y="296"/>
                  </a:lnTo>
                  <a:lnTo>
                    <a:pt x="133" y="292"/>
                  </a:lnTo>
                  <a:lnTo>
                    <a:pt x="122" y="285"/>
                  </a:lnTo>
                  <a:lnTo>
                    <a:pt x="110" y="278"/>
                  </a:lnTo>
                  <a:lnTo>
                    <a:pt x="99" y="269"/>
                  </a:lnTo>
                  <a:lnTo>
                    <a:pt x="96" y="266"/>
                  </a:lnTo>
                  <a:lnTo>
                    <a:pt x="90" y="265"/>
                  </a:lnTo>
                  <a:lnTo>
                    <a:pt x="86" y="265"/>
                  </a:lnTo>
                  <a:lnTo>
                    <a:pt x="81" y="267"/>
                  </a:lnTo>
                  <a:lnTo>
                    <a:pt x="58" y="281"/>
                  </a:lnTo>
                  <a:lnTo>
                    <a:pt x="36" y="241"/>
                  </a:lnTo>
                  <a:lnTo>
                    <a:pt x="60" y="227"/>
                  </a:lnTo>
                  <a:lnTo>
                    <a:pt x="65" y="224"/>
                  </a:lnTo>
                  <a:lnTo>
                    <a:pt x="67" y="220"/>
                  </a:lnTo>
                  <a:lnTo>
                    <a:pt x="68" y="216"/>
                  </a:lnTo>
                  <a:lnTo>
                    <a:pt x="68" y="210"/>
                  </a:lnTo>
                  <a:lnTo>
                    <a:pt x="65" y="196"/>
                  </a:lnTo>
                  <a:lnTo>
                    <a:pt x="65" y="184"/>
                  </a:lnTo>
                  <a:lnTo>
                    <a:pt x="65" y="170"/>
                  </a:lnTo>
                  <a:lnTo>
                    <a:pt x="68" y="157"/>
                  </a:lnTo>
                  <a:lnTo>
                    <a:pt x="68" y="151"/>
                  </a:lnTo>
                  <a:lnTo>
                    <a:pt x="67" y="147"/>
                  </a:lnTo>
                  <a:lnTo>
                    <a:pt x="65" y="143"/>
                  </a:lnTo>
                  <a:lnTo>
                    <a:pt x="60" y="140"/>
                  </a:lnTo>
                  <a:lnTo>
                    <a:pt x="36" y="126"/>
                  </a:lnTo>
                  <a:lnTo>
                    <a:pt x="58" y="86"/>
                  </a:lnTo>
                  <a:lnTo>
                    <a:pt x="82" y="100"/>
                  </a:lnTo>
                  <a:lnTo>
                    <a:pt x="86" y="102"/>
                  </a:lnTo>
                  <a:lnTo>
                    <a:pt x="90" y="102"/>
                  </a:lnTo>
                  <a:lnTo>
                    <a:pt x="96" y="101"/>
                  </a:lnTo>
                  <a:lnTo>
                    <a:pt x="99" y="98"/>
                  </a:lnTo>
                  <a:lnTo>
                    <a:pt x="110" y="89"/>
                  </a:lnTo>
                  <a:lnTo>
                    <a:pt x="122" y="82"/>
                  </a:lnTo>
                  <a:lnTo>
                    <a:pt x="133" y="75"/>
                  </a:lnTo>
                  <a:lnTo>
                    <a:pt x="145" y="71"/>
                  </a:lnTo>
                  <a:lnTo>
                    <a:pt x="149" y="69"/>
                  </a:lnTo>
                  <a:lnTo>
                    <a:pt x="153" y="66"/>
                  </a:lnTo>
                  <a:lnTo>
                    <a:pt x="155" y="61"/>
                  </a:lnTo>
                  <a:lnTo>
                    <a:pt x="156" y="56"/>
                  </a:lnTo>
                  <a:lnTo>
                    <a:pt x="156" y="30"/>
                  </a:lnTo>
                  <a:lnTo>
                    <a:pt x="201" y="30"/>
                  </a:lnTo>
                  <a:lnTo>
                    <a:pt x="201" y="56"/>
                  </a:lnTo>
                  <a:lnTo>
                    <a:pt x="202" y="61"/>
                  </a:lnTo>
                  <a:lnTo>
                    <a:pt x="204" y="66"/>
                  </a:lnTo>
                  <a:lnTo>
                    <a:pt x="207" y="69"/>
                  </a:lnTo>
                  <a:lnTo>
                    <a:pt x="212" y="71"/>
                  </a:lnTo>
                  <a:lnTo>
                    <a:pt x="226" y="76"/>
                  </a:lnTo>
                  <a:lnTo>
                    <a:pt x="239" y="83"/>
                  </a:lnTo>
                  <a:lnTo>
                    <a:pt x="251" y="90"/>
                  </a:lnTo>
                  <a:lnTo>
                    <a:pt x="261" y="98"/>
                  </a:lnTo>
                  <a:lnTo>
                    <a:pt x="265" y="101"/>
                  </a:lnTo>
                  <a:lnTo>
                    <a:pt x="269" y="102"/>
                  </a:lnTo>
                  <a:lnTo>
                    <a:pt x="274" y="102"/>
                  </a:lnTo>
                  <a:lnTo>
                    <a:pt x="279" y="100"/>
                  </a:lnTo>
                  <a:lnTo>
                    <a:pt x="305" y="86"/>
                  </a:lnTo>
                  <a:lnTo>
                    <a:pt x="328" y="126"/>
                  </a:lnTo>
                  <a:lnTo>
                    <a:pt x="304" y="140"/>
                  </a:lnTo>
                  <a:close/>
                  <a:moveTo>
                    <a:pt x="364" y="135"/>
                  </a:moveTo>
                  <a:lnTo>
                    <a:pt x="364" y="132"/>
                  </a:lnTo>
                  <a:lnTo>
                    <a:pt x="364" y="129"/>
                  </a:lnTo>
                  <a:lnTo>
                    <a:pt x="363" y="127"/>
                  </a:lnTo>
                  <a:lnTo>
                    <a:pt x="362" y="123"/>
                  </a:lnTo>
                  <a:lnTo>
                    <a:pt x="324" y="58"/>
                  </a:lnTo>
                  <a:lnTo>
                    <a:pt x="322" y="55"/>
                  </a:lnTo>
                  <a:lnTo>
                    <a:pt x="320" y="54"/>
                  </a:lnTo>
                  <a:lnTo>
                    <a:pt x="318" y="52"/>
                  </a:lnTo>
                  <a:lnTo>
                    <a:pt x="316" y="51"/>
                  </a:lnTo>
                  <a:lnTo>
                    <a:pt x="312" y="51"/>
                  </a:lnTo>
                  <a:lnTo>
                    <a:pt x="309" y="51"/>
                  </a:lnTo>
                  <a:lnTo>
                    <a:pt x="307" y="51"/>
                  </a:lnTo>
                  <a:lnTo>
                    <a:pt x="304" y="52"/>
                  </a:lnTo>
                  <a:lnTo>
                    <a:pt x="273" y="69"/>
                  </a:lnTo>
                  <a:lnTo>
                    <a:pt x="264" y="62"/>
                  </a:lnTo>
                  <a:lnTo>
                    <a:pt x="253" y="56"/>
                  </a:lnTo>
                  <a:lnTo>
                    <a:pt x="243" y="51"/>
                  </a:lnTo>
                  <a:lnTo>
                    <a:pt x="231" y="45"/>
                  </a:lnTo>
                  <a:lnTo>
                    <a:pt x="231" y="15"/>
                  </a:lnTo>
                  <a:lnTo>
                    <a:pt x="231" y="12"/>
                  </a:lnTo>
                  <a:lnTo>
                    <a:pt x="230" y="10"/>
                  </a:lnTo>
                  <a:lnTo>
                    <a:pt x="229" y="7"/>
                  </a:lnTo>
                  <a:lnTo>
                    <a:pt x="227" y="4"/>
                  </a:lnTo>
                  <a:lnTo>
                    <a:pt x="224" y="3"/>
                  </a:lnTo>
                  <a:lnTo>
                    <a:pt x="222" y="1"/>
                  </a:lnTo>
                  <a:lnTo>
                    <a:pt x="219" y="1"/>
                  </a:lnTo>
                  <a:lnTo>
                    <a:pt x="216" y="0"/>
                  </a:lnTo>
                  <a:lnTo>
                    <a:pt x="141" y="0"/>
                  </a:lnTo>
                  <a:lnTo>
                    <a:pt x="138" y="0"/>
                  </a:lnTo>
                  <a:lnTo>
                    <a:pt x="134" y="1"/>
                  </a:lnTo>
                  <a:lnTo>
                    <a:pt x="132" y="3"/>
                  </a:lnTo>
                  <a:lnTo>
                    <a:pt x="130" y="4"/>
                  </a:lnTo>
                  <a:lnTo>
                    <a:pt x="128" y="7"/>
                  </a:lnTo>
                  <a:lnTo>
                    <a:pt x="127" y="10"/>
                  </a:lnTo>
                  <a:lnTo>
                    <a:pt x="126" y="12"/>
                  </a:lnTo>
                  <a:lnTo>
                    <a:pt x="126" y="15"/>
                  </a:lnTo>
                  <a:lnTo>
                    <a:pt x="126" y="45"/>
                  </a:lnTo>
                  <a:lnTo>
                    <a:pt x="115" y="51"/>
                  </a:lnTo>
                  <a:lnTo>
                    <a:pt x="105" y="56"/>
                  </a:lnTo>
                  <a:lnTo>
                    <a:pt x="97" y="61"/>
                  </a:lnTo>
                  <a:lnTo>
                    <a:pt x="87" y="69"/>
                  </a:lnTo>
                  <a:lnTo>
                    <a:pt x="60" y="53"/>
                  </a:lnTo>
                  <a:lnTo>
                    <a:pt x="57" y="51"/>
                  </a:lnTo>
                  <a:lnTo>
                    <a:pt x="54" y="51"/>
                  </a:lnTo>
                  <a:lnTo>
                    <a:pt x="52" y="51"/>
                  </a:lnTo>
                  <a:lnTo>
                    <a:pt x="49" y="51"/>
                  </a:lnTo>
                  <a:lnTo>
                    <a:pt x="45" y="52"/>
                  </a:lnTo>
                  <a:lnTo>
                    <a:pt x="43" y="54"/>
                  </a:lnTo>
                  <a:lnTo>
                    <a:pt x="41" y="55"/>
                  </a:lnTo>
                  <a:lnTo>
                    <a:pt x="39" y="58"/>
                  </a:lnTo>
                  <a:lnTo>
                    <a:pt x="1" y="123"/>
                  </a:lnTo>
                  <a:lnTo>
                    <a:pt x="0" y="127"/>
                  </a:lnTo>
                  <a:lnTo>
                    <a:pt x="0" y="129"/>
                  </a:lnTo>
                  <a:lnTo>
                    <a:pt x="0" y="132"/>
                  </a:lnTo>
                  <a:lnTo>
                    <a:pt x="0" y="135"/>
                  </a:lnTo>
                  <a:lnTo>
                    <a:pt x="1" y="137"/>
                  </a:lnTo>
                  <a:lnTo>
                    <a:pt x="3" y="140"/>
                  </a:lnTo>
                  <a:lnTo>
                    <a:pt x="5" y="143"/>
                  </a:lnTo>
                  <a:lnTo>
                    <a:pt x="8" y="144"/>
                  </a:lnTo>
                  <a:lnTo>
                    <a:pt x="36" y="160"/>
                  </a:lnTo>
                  <a:lnTo>
                    <a:pt x="35" y="172"/>
                  </a:lnTo>
                  <a:lnTo>
                    <a:pt x="35" y="184"/>
                  </a:lnTo>
                  <a:lnTo>
                    <a:pt x="35" y="195"/>
                  </a:lnTo>
                  <a:lnTo>
                    <a:pt x="36" y="206"/>
                  </a:lnTo>
                  <a:lnTo>
                    <a:pt x="8" y="223"/>
                  </a:lnTo>
                  <a:lnTo>
                    <a:pt x="6" y="224"/>
                  </a:lnTo>
                  <a:lnTo>
                    <a:pt x="4" y="226"/>
                  </a:lnTo>
                  <a:lnTo>
                    <a:pt x="1" y="230"/>
                  </a:lnTo>
                  <a:lnTo>
                    <a:pt x="1" y="232"/>
                  </a:lnTo>
                  <a:lnTo>
                    <a:pt x="0" y="235"/>
                  </a:lnTo>
                  <a:lnTo>
                    <a:pt x="0" y="238"/>
                  </a:lnTo>
                  <a:lnTo>
                    <a:pt x="1" y="240"/>
                  </a:lnTo>
                  <a:lnTo>
                    <a:pt x="3" y="244"/>
                  </a:lnTo>
                  <a:lnTo>
                    <a:pt x="40" y="309"/>
                  </a:lnTo>
                  <a:lnTo>
                    <a:pt x="42" y="311"/>
                  </a:lnTo>
                  <a:lnTo>
                    <a:pt x="44" y="313"/>
                  </a:lnTo>
                  <a:lnTo>
                    <a:pt x="46" y="315"/>
                  </a:lnTo>
                  <a:lnTo>
                    <a:pt x="50" y="316"/>
                  </a:lnTo>
                  <a:lnTo>
                    <a:pt x="53" y="316"/>
                  </a:lnTo>
                  <a:lnTo>
                    <a:pt x="55" y="316"/>
                  </a:lnTo>
                  <a:lnTo>
                    <a:pt x="58" y="315"/>
                  </a:lnTo>
                  <a:lnTo>
                    <a:pt x="61" y="314"/>
                  </a:lnTo>
                  <a:lnTo>
                    <a:pt x="87" y="298"/>
                  </a:lnTo>
                  <a:lnTo>
                    <a:pt x="97" y="306"/>
                  </a:lnTo>
                  <a:lnTo>
                    <a:pt x="105" y="311"/>
                  </a:lnTo>
                  <a:lnTo>
                    <a:pt x="115" y="316"/>
                  </a:lnTo>
                  <a:lnTo>
                    <a:pt x="126" y="321"/>
                  </a:lnTo>
                  <a:lnTo>
                    <a:pt x="126" y="357"/>
                  </a:lnTo>
                  <a:lnTo>
                    <a:pt x="126" y="359"/>
                  </a:lnTo>
                  <a:lnTo>
                    <a:pt x="127" y="363"/>
                  </a:lnTo>
                  <a:lnTo>
                    <a:pt x="128" y="366"/>
                  </a:lnTo>
                  <a:lnTo>
                    <a:pt x="130" y="368"/>
                  </a:lnTo>
                  <a:lnTo>
                    <a:pt x="132" y="369"/>
                  </a:lnTo>
                  <a:lnTo>
                    <a:pt x="134" y="371"/>
                  </a:lnTo>
                  <a:lnTo>
                    <a:pt x="138" y="371"/>
                  </a:lnTo>
                  <a:lnTo>
                    <a:pt x="141" y="372"/>
                  </a:lnTo>
                  <a:lnTo>
                    <a:pt x="216" y="372"/>
                  </a:lnTo>
                  <a:lnTo>
                    <a:pt x="219" y="371"/>
                  </a:lnTo>
                  <a:lnTo>
                    <a:pt x="222" y="371"/>
                  </a:lnTo>
                  <a:lnTo>
                    <a:pt x="224" y="369"/>
                  </a:lnTo>
                  <a:lnTo>
                    <a:pt x="227" y="368"/>
                  </a:lnTo>
                  <a:lnTo>
                    <a:pt x="229" y="366"/>
                  </a:lnTo>
                  <a:lnTo>
                    <a:pt x="230" y="363"/>
                  </a:lnTo>
                  <a:lnTo>
                    <a:pt x="231" y="360"/>
                  </a:lnTo>
                  <a:lnTo>
                    <a:pt x="231" y="357"/>
                  </a:lnTo>
                  <a:lnTo>
                    <a:pt x="231" y="322"/>
                  </a:lnTo>
                  <a:lnTo>
                    <a:pt x="243" y="316"/>
                  </a:lnTo>
                  <a:lnTo>
                    <a:pt x="253" y="311"/>
                  </a:lnTo>
                  <a:lnTo>
                    <a:pt x="264" y="305"/>
                  </a:lnTo>
                  <a:lnTo>
                    <a:pt x="273" y="298"/>
                  </a:lnTo>
                  <a:lnTo>
                    <a:pt x="303" y="314"/>
                  </a:lnTo>
                  <a:lnTo>
                    <a:pt x="306" y="316"/>
                  </a:lnTo>
                  <a:lnTo>
                    <a:pt x="308" y="316"/>
                  </a:lnTo>
                  <a:lnTo>
                    <a:pt x="311" y="316"/>
                  </a:lnTo>
                  <a:lnTo>
                    <a:pt x="315" y="316"/>
                  </a:lnTo>
                  <a:lnTo>
                    <a:pt x="317" y="315"/>
                  </a:lnTo>
                  <a:lnTo>
                    <a:pt x="319" y="313"/>
                  </a:lnTo>
                  <a:lnTo>
                    <a:pt x="321" y="311"/>
                  </a:lnTo>
                  <a:lnTo>
                    <a:pt x="323" y="309"/>
                  </a:lnTo>
                  <a:lnTo>
                    <a:pt x="362" y="244"/>
                  </a:lnTo>
                  <a:lnTo>
                    <a:pt x="363" y="240"/>
                  </a:lnTo>
                  <a:lnTo>
                    <a:pt x="364" y="238"/>
                  </a:lnTo>
                  <a:lnTo>
                    <a:pt x="364" y="235"/>
                  </a:lnTo>
                  <a:lnTo>
                    <a:pt x="363" y="232"/>
                  </a:lnTo>
                  <a:lnTo>
                    <a:pt x="362" y="230"/>
                  </a:lnTo>
                  <a:lnTo>
                    <a:pt x="361" y="226"/>
                  </a:lnTo>
                  <a:lnTo>
                    <a:pt x="358" y="224"/>
                  </a:lnTo>
                  <a:lnTo>
                    <a:pt x="356" y="223"/>
                  </a:lnTo>
                  <a:lnTo>
                    <a:pt x="327" y="207"/>
                  </a:lnTo>
                  <a:lnTo>
                    <a:pt x="330" y="194"/>
                  </a:lnTo>
                  <a:lnTo>
                    <a:pt x="330" y="184"/>
                  </a:lnTo>
                  <a:lnTo>
                    <a:pt x="330" y="172"/>
                  </a:lnTo>
                  <a:lnTo>
                    <a:pt x="328" y="160"/>
                  </a:lnTo>
                  <a:lnTo>
                    <a:pt x="356" y="144"/>
                  </a:lnTo>
                  <a:lnTo>
                    <a:pt x="358" y="143"/>
                  </a:lnTo>
                  <a:lnTo>
                    <a:pt x="361" y="141"/>
                  </a:lnTo>
                  <a:lnTo>
                    <a:pt x="363" y="137"/>
                  </a:lnTo>
                  <a:lnTo>
                    <a:pt x="364" y="1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63">
              <a:extLst>
                <a:ext uri="{FF2B5EF4-FFF2-40B4-BE49-F238E27FC236}">
                  <a16:creationId xmlns:a16="http://schemas.microsoft.com/office/drawing/2014/main" xmlns="" id="{5378A614-F7D0-48BD-B8F6-076FE5AE74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975" y="1916113"/>
              <a:ext cx="168275" cy="238125"/>
            </a:xfrm>
            <a:custGeom>
              <a:avLst/>
              <a:gdLst>
                <a:gd name="T0" fmla="*/ 461 w 529"/>
                <a:gd name="T1" fmla="*/ 459 h 751"/>
                <a:gd name="T2" fmla="*/ 481 w 529"/>
                <a:gd name="T3" fmla="*/ 348 h 751"/>
                <a:gd name="T4" fmla="*/ 500 w 529"/>
                <a:gd name="T5" fmla="*/ 294 h 751"/>
                <a:gd name="T6" fmla="*/ 519 w 529"/>
                <a:gd name="T7" fmla="*/ 253 h 751"/>
                <a:gd name="T8" fmla="*/ 524 w 529"/>
                <a:gd name="T9" fmla="*/ 203 h 751"/>
                <a:gd name="T10" fmla="*/ 507 w 529"/>
                <a:gd name="T11" fmla="*/ 171 h 751"/>
                <a:gd name="T12" fmla="*/ 522 w 529"/>
                <a:gd name="T13" fmla="*/ 65 h 751"/>
                <a:gd name="T14" fmla="*/ 488 w 529"/>
                <a:gd name="T15" fmla="*/ 23 h 751"/>
                <a:gd name="T16" fmla="*/ 428 w 529"/>
                <a:gd name="T17" fmla="*/ 3 h 751"/>
                <a:gd name="T18" fmla="*/ 345 w 529"/>
                <a:gd name="T19" fmla="*/ 3 h 751"/>
                <a:gd name="T20" fmla="*/ 273 w 529"/>
                <a:gd name="T21" fmla="*/ 27 h 751"/>
                <a:gd name="T22" fmla="*/ 238 w 529"/>
                <a:gd name="T23" fmla="*/ 52 h 751"/>
                <a:gd name="T24" fmla="*/ 207 w 529"/>
                <a:gd name="T25" fmla="*/ 67 h 751"/>
                <a:gd name="T26" fmla="*/ 194 w 529"/>
                <a:gd name="T27" fmla="*/ 120 h 751"/>
                <a:gd name="T28" fmla="*/ 206 w 529"/>
                <a:gd name="T29" fmla="*/ 173 h 751"/>
                <a:gd name="T30" fmla="*/ 187 w 529"/>
                <a:gd name="T31" fmla="*/ 203 h 751"/>
                <a:gd name="T32" fmla="*/ 192 w 529"/>
                <a:gd name="T33" fmla="*/ 251 h 751"/>
                <a:gd name="T34" fmla="*/ 211 w 529"/>
                <a:gd name="T35" fmla="*/ 295 h 751"/>
                <a:gd name="T36" fmla="*/ 235 w 529"/>
                <a:gd name="T37" fmla="*/ 357 h 751"/>
                <a:gd name="T38" fmla="*/ 252 w 529"/>
                <a:gd name="T39" fmla="*/ 462 h 751"/>
                <a:gd name="T40" fmla="*/ 104 w 529"/>
                <a:gd name="T41" fmla="*/ 513 h 751"/>
                <a:gd name="T42" fmla="*/ 33 w 529"/>
                <a:gd name="T43" fmla="*/ 554 h 751"/>
                <a:gd name="T44" fmla="*/ 5 w 529"/>
                <a:gd name="T45" fmla="*/ 650 h 751"/>
                <a:gd name="T46" fmla="*/ 2 w 529"/>
                <a:gd name="T47" fmla="*/ 745 h 751"/>
                <a:gd name="T48" fmla="*/ 405 w 529"/>
                <a:gd name="T49" fmla="*/ 751 h 751"/>
                <a:gd name="T50" fmla="*/ 39 w 529"/>
                <a:gd name="T51" fmla="*/ 619 h 751"/>
                <a:gd name="T52" fmla="*/ 66 w 529"/>
                <a:gd name="T53" fmla="*/ 566 h 751"/>
                <a:gd name="T54" fmla="*/ 203 w 529"/>
                <a:gd name="T55" fmla="*/ 510 h 751"/>
                <a:gd name="T56" fmla="*/ 298 w 529"/>
                <a:gd name="T57" fmla="*/ 474 h 751"/>
                <a:gd name="T58" fmla="*/ 296 w 529"/>
                <a:gd name="T59" fmla="*/ 380 h 751"/>
                <a:gd name="T60" fmla="*/ 260 w 529"/>
                <a:gd name="T61" fmla="*/ 340 h 751"/>
                <a:gd name="T62" fmla="*/ 239 w 529"/>
                <a:gd name="T63" fmla="*/ 273 h 751"/>
                <a:gd name="T64" fmla="*/ 231 w 529"/>
                <a:gd name="T65" fmla="*/ 246 h 751"/>
                <a:gd name="T66" fmla="*/ 216 w 529"/>
                <a:gd name="T67" fmla="*/ 230 h 751"/>
                <a:gd name="T68" fmla="*/ 226 w 529"/>
                <a:gd name="T69" fmla="*/ 198 h 751"/>
                <a:gd name="T70" fmla="*/ 238 w 529"/>
                <a:gd name="T71" fmla="*/ 186 h 751"/>
                <a:gd name="T72" fmla="*/ 223 w 529"/>
                <a:gd name="T73" fmla="*/ 113 h 751"/>
                <a:gd name="T74" fmla="*/ 231 w 529"/>
                <a:gd name="T75" fmla="*/ 85 h 751"/>
                <a:gd name="T76" fmla="*/ 263 w 529"/>
                <a:gd name="T77" fmla="*/ 83 h 751"/>
                <a:gd name="T78" fmla="*/ 277 w 529"/>
                <a:gd name="T79" fmla="*/ 68 h 751"/>
                <a:gd name="T80" fmla="*/ 304 w 529"/>
                <a:gd name="T81" fmla="*/ 45 h 751"/>
                <a:gd name="T82" fmla="*/ 384 w 529"/>
                <a:gd name="T83" fmla="*/ 30 h 751"/>
                <a:gd name="T84" fmla="*/ 464 w 529"/>
                <a:gd name="T85" fmla="*/ 45 h 751"/>
                <a:gd name="T86" fmla="*/ 491 w 529"/>
                <a:gd name="T87" fmla="*/ 68 h 751"/>
                <a:gd name="T88" fmla="*/ 485 w 529"/>
                <a:gd name="T89" fmla="*/ 143 h 751"/>
                <a:gd name="T90" fmla="*/ 476 w 529"/>
                <a:gd name="T91" fmla="*/ 188 h 751"/>
                <a:gd name="T92" fmla="*/ 490 w 529"/>
                <a:gd name="T93" fmla="*/ 197 h 751"/>
                <a:gd name="T94" fmla="*/ 490 w 529"/>
                <a:gd name="T95" fmla="*/ 242 h 751"/>
                <a:gd name="T96" fmla="*/ 476 w 529"/>
                <a:gd name="T97" fmla="*/ 250 h 751"/>
                <a:gd name="T98" fmla="*/ 469 w 529"/>
                <a:gd name="T99" fmla="*/ 298 h 751"/>
                <a:gd name="T100" fmla="*/ 444 w 529"/>
                <a:gd name="T101" fmla="*/ 350 h 751"/>
                <a:gd name="T102" fmla="*/ 421 w 529"/>
                <a:gd name="T103" fmla="*/ 372 h 751"/>
                <a:gd name="T104" fmla="*/ 430 w 529"/>
                <a:gd name="T105" fmla="*/ 480 h 751"/>
                <a:gd name="T106" fmla="*/ 520 w 529"/>
                <a:gd name="T107" fmla="*/ 514 h 7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9" h="751">
                  <a:moveTo>
                    <a:pt x="529" y="485"/>
                  </a:moveTo>
                  <a:lnTo>
                    <a:pt x="515" y="480"/>
                  </a:lnTo>
                  <a:lnTo>
                    <a:pt x="500" y="474"/>
                  </a:lnTo>
                  <a:lnTo>
                    <a:pt x="485" y="469"/>
                  </a:lnTo>
                  <a:lnTo>
                    <a:pt x="470" y="464"/>
                  </a:lnTo>
                  <a:lnTo>
                    <a:pt x="461" y="459"/>
                  </a:lnTo>
                  <a:lnTo>
                    <a:pt x="450" y="455"/>
                  </a:lnTo>
                  <a:lnTo>
                    <a:pt x="450" y="383"/>
                  </a:lnTo>
                  <a:lnTo>
                    <a:pt x="458" y="378"/>
                  </a:lnTo>
                  <a:lnTo>
                    <a:pt x="465" y="370"/>
                  </a:lnTo>
                  <a:lnTo>
                    <a:pt x="474" y="361"/>
                  </a:lnTo>
                  <a:lnTo>
                    <a:pt x="481" y="348"/>
                  </a:lnTo>
                  <a:lnTo>
                    <a:pt x="485" y="342"/>
                  </a:lnTo>
                  <a:lnTo>
                    <a:pt x="490" y="333"/>
                  </a:lnTo>
                  <a:lnTo>
                    <a:pt x="493" y="324"/>
                  </a:lnTo>
                  <a:lnTo>
                    <a:pt x="496" y="315"/>
                  </a:lnTo>
                  <a:lnTo>
                    <a:pt x="498" y="305"/>
                  </a:lnTo>
                  <a:lnTo>
                    <a:pt x="500" y="294"/>
                  </a:lnTo>
                  <a:lnTo>
                    <a:pt x="503" y="283"/>
                  </a:lnTo>
                  <a:lnTo>
                    <a:pt x="503" y="270"/>
                  </a:lnTo>
                  <a:lnTo>
                    <a:pt x="508" y="266"/>
                  </a:lnTo>
                  <a:lnTo>
                    <a:pt x="511" y="263"/>
                  </a:lnTo>
                  <a:lnTo>
                    <a:pt x="515" y="258"/>
                  </a:lnTo>
                  <a:lnTo>
                    <a:pt x="519" y="253"/>
                  </a:lnTo>
                  <a:lnTo>
                    <a:pt x="522" y="245"/>
                  </a:lnTo>
                  <a:lnTo>
                    <a:pt x="524" y="238"/>
                  </a:lnTo>
                  <a:lnTo>
                    <a:pt x="525" y="229"/>
                  </a:lnTo>
                  <a:lnTo>
                    <a:pt x="525" y="219"/>
                  </a:lnTo>
                  <a:lnTo>
                    <a:pt x="525" y="211"/>
                  </a:lnTo>
                  <a:lnTo>
                    <a:pt x="524" y="203"/>
                  </a:lnTo>
                  <a:lnTo>
                    <a:pt x="523" y="197"/>
                  </a:lnTo>
                  <a:lnTo>
                    <a:pt x="521" y="190"/>
                  </a:lnTo>
                  <a:lnTo>
                    <a:pt x="518" y="185"/>
                  </a:lnTo>
                  <a:lnTo>
                    <a:pt x="514" y="180"/>
                  </a:lnTo>
                  <a:lnTo>
                    <a:pt x="511" y="175"/>
                  </a:lnTo>
                  <a:lnTo>
                    <a:pt x="507" y="171"/>
                  </a:lnTo>
                  <a:lnTo>
                    <a:pt x="514" y="151"/>
                  </a:lnTo>
                  <a:lnTo>
                    <a:pt x="522" y="126"/>
                  </a:lnTo>
                  <a:lnTo>
                    <a:pt x="524" y="111"/>
                  </a:lnTo>
                  <a:lnTo>
                    <a:pt x="525" y="96"/>
                  </a:lnTo>
                  <a:lnTo>
                    <a:pt x="525" y="81"/>
                  </a:lnTo>
                  <a:lnTo>
                    <a:pt x="522" y="65"/>
                  </a:lnTo>
                  <a:lnTo>
                    <a:pt x="519" y="56"/>
                  </a:lnTo>
                  <a:lnTo>
                    <a:pt x="514" y="49"/>
                  </a:lnTo>
                  <a:lnTo>
                    <a:pt x="509" y="41"/>
                  </a:lnTo>
                  <a:lnTo>
                    <a:pt x="504" y="35"/>
                  </a:lnTo>
                  <a:lnTo>
                    <a:pt x="496" y="28"/>
                  </a:lnTo>
                  <a:lnTo>
                    <a:pt x="488" y="23"/>
                  </a:lnTo>
                  <a:lnTo>
                    <a:pt x="479" y="19"/>
                  </a:lnTo>
                  <a:lnTo>
                    <a:pt x="469" y="15"/>
                  </a:lnTo>
                  <a:lnTo>
                    <a:pt x="460" y="10"/>
                  </a:lnTo>
                  <a:lnTo>
                    <a:pt x="449" y="8"/>
                  </a:lnTo>
                  <a:lnTo>
                    <a:pt x="438" y="5"/>
                  </a:lnTo>
                  <a:lnTo>
                    <a:pt x="428" y="3"/>
                  </a:lnTo>
                  <a:lnTo>
                    <a:pt x="406" y="1"/>
                  </a:lnTo>
                  <a:lnTo>
                    <a:pt x="384" y="0"/>
                  </a:lnTo>
                  <a:lnTo>
                    <a:pt x="384" y="0"/>
                  </a:lnTo>
                  <a:lnTo>
                    <a:pt x="384" y="0"/>
                  </a:lnTo>
                  <a:lnTo>
                    <a:pt x="364" y="1"/>
                  </a:lnTo>
                  <a:lnTo>
                    <a:pt x="345" y="3"/>
                  </a:lnTo>
                  <a:lnTo>
                    <a:pt x="325" y="6"/>
                  </a:lnTo>
                  <a:lnTo>
                    <a:pt x="306" y="11"/>
                  </a:lnTo>
                  <a:lnTo>
                    <a:pt x="297" y="15"/>
                  </a:lnTo>
                  <a:lnTo>
                    <a:pt x="288" y="19"/>
                  </a:lnTo>
                  <a:lnTo>
                    <a:pt x="281" y="23"/>
                  </a:lnTo>
                  <a:lnTo>
                    <a:pt x="273" y="27"/>
                  </a:lnTo>
                  <a:lnTo>
                    <a:pt x="267" y="33"/>
                  </a:lnTo>
                  <a:lnTo>
                    <a:pt x="260" y="39"/>
                  </a:lnTo>
                  <a:lnTo>
                    <a:pt x="255" y="46"/>
                  </a:lnTo>
                  <a:lnTo>
                    <a:pt x="251" y="52"/>
                  </a:lnTo>
                  <a:lnTo>
                    <a:pt x="244" y="52"/>
                  </a:lnTo>
                  <a:lnTo>
                    <a:pt x="238" y="52"/>
                  </a:lnTo>
                  <a:lnTo>
                    <a:pt x="231" y="53"/>
                  </a:lnTo>
                  <a:lnTo>
                    <a:pt x="225" y="54"/>
                  </a:lnTo>
                  <a:lnTo>
                    <a:pt x="220" y="56"/>
                  </a:lnTo>
                  <a:lnTo>
                    <a:pt x="215" y="60"/>
                  </a:lnTo>
                  <a:lnTo>
                    <a:pt x="211" y="63"/>
                  </a:lnTo>
                  <a:lnTo>
                    <a:pt x="207" y="67"/>
                  </a:lnTo>
                  <a:lnTo>
                    <a:pt x="202" y="71"/>
                  </a:lnTo>
                  <a:lnTo>
                    <a:pt x="199" y="78"/>
                  </a:lnTo>
                  <a:lnTo>
                    <a:pt x="196" y="84"/>
                  </a:lnTo>
                  <a:lnTo>
                    <a:pt x="195" y="91"/>
                  </a:lnTo>
                  <a:lnTo>
                    <a:pt x="193" y="105"/>
                  </a:lnTo>
                  <a:lnTo>
                    <a:pt x="194" y="120"/>
                  </a:lnTo>
                  <a:lnTo>
                    <a:pt x="195" y="134"/>
                  </a:lnTo>
                  <a:lnTo>
                    <a:pt x="198" y="149"/>
                  </a:lnTo>
                  <a:lnTo>
                    <a:pt x="201" y="161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1" y="176"/>
                  </a:lnTo>
                  <a:lnTo>
                    <a:pt x="198" y="180"/>
                  </a:lnTo>
                  <a:lnTo>
                    <a:pt x="195" y="183"/>
                  </a:lnTo>
                  <a:lnTo>
                    <a:pt x="193" y="187"/>
                  </a:lnTo>
                  <a:lnTo>
                    <a:pt x="189" y="195"/>
                  </a:lnTo>
                  <a:lnTo>
                    <a:pt x="187" y="203"/>
                  </a:lnTo>
                  <a:lnTo>
                    <a:pt x="186" y="212"/>
                  </a:lnTo>
                  <a:lnTo>
                    <a:pt x="185" y="220"/>
                  </a:lnTo>
                  <a:lnTo>
                    <a:pt x="186" y="229"/>
                  </a:lnTo>
                  <a:lnTo>
                    <a:pt x="187" y="238"/>
                  </a:lnTo>
                  <a:lnTo>
                    <a:pt x="189" y="245"/>
                  </a:lnTo>
                  <a:lnTo>
                    <a:pt x="192" y="251"/>
                  </a:lnTo>
                  <a:lnTo>
                    <a:pt x="195" y="257"/>
                  </a:lnTo>
                  <a:lnTo>
                    <a:pt x="199" y="262"/>
                  </a:lnTo>
                  <a:lnTo>
                    <a:pt x="203" y="266"/>
                  </a:lnTo>
                  <a:lnTo>
                    <a:pt x="208" y="270"/>
                  </a:lnTo>
                  <a:lnTo>
                    <a:pt x="209" y="283"/>
                  </a:lnTo>
                  <a:lnTo>
                    <a:pt x="211" y="295"/>
                  </a:lnTo>
                  <a:lnTo>
                    <a:pt x="214" y="307"/>
                  </a:lnTo>
                  <a:lnTo>
                    <a:pt x="217" y="319"/>
                  </a:lnTo>
                  <a:lnTo>
                    <a:pt x="221" y="329"/>
                  </a:lnTo>
                  <a:lnTo>
                    <a:pt x="225" y="338"/>
                  </a:lnTo>
                  <a:lnTo>
                    <a:pt x="229" y="348"/>
                  </a:lnTo>
                  <a:lnTo>
                    <a:pt x="235" y="357"/>
                  </a:lnTo>
                  <a:lnTo>
                    <a:pt x="244" y="370"/>
                  </a:lnTo>
                  <a:lnTo>
                    <a:pt x="254" y="382"/>
                  </a:lnTo>
                  <a:lnTo>
                    <a:pt x="262" y="392"/>
                  </a:lnTo>
                  <a:lnTo>
                    <a:pt x="270" y="398"/>
                  </a:lnTo>
                  <a:lnTo>
                    <a:pt x="270" y="455"/>
                  </a:lnTo>
                  <a:lnTo>
                    <a:pt x="252" y="462"/>
                  </a:lnTo>
                  <a:lnTo>
                    <a:pt x="232" y="469"/>
                  </a:lnTo>
                  <a:lnTo>
                    <a:pt x="213" y="476"/>
                  </a:lnTo>
                  <a:lnTo>
                    <a:pt x="194" y="481"/>
                  </a:lnTo>
                  <a:lnTo>
                    <a:pt x="162" y="492"/>
                  </a:lnTo>
                  <a:lnTo>
                    <a:pt x="132" y="502"/>
                  </a:lnTo>
                  <a:lnTo>
                    <a:pt x="104" y="513"/>
                  </a:lnTo>
                  <a:lnTo>
                    <a:pt x="79" y="524"/>
                  </a:lnTo>
                  <a:lnTo>
                    <a:pt x="68" y="529"/>
                  </a:lnTo>
                  <a:lnTo>
                    <a:pt x="58" y="536"/>
                  </a:lnTo>
                  <a:lnTo>
                    <a:pt x="48" y="541"/>
                  </a:lnTo>
                  <a:lnTo>
                    <a:pt x="40" y="547"/>
                  </a:lnTo>
                  <a:lnTo>
                    <a:pt x="33" y="554"/>
                  </a:lnTo>
                  <a:lnTo>
                    <a:pt x="27" y="561"/>
                  </a:lnTo>
                  <a:lnTo>
                    <a:pt x="22" y="569"/>
                  </a:lnTo>
                  <a:lnTo>
                    <a:pt x="19" y="576"/>
                  </a:lnTo>
                  <a:lnTo>
                    <a:pt x="13" y="599"/>
                  </a:lnTo>
                  <a:lnTo>
                    <a:pt x="8" y="625"/>
                  </a:lnTo>
                  <a:lnTo>
                    <a:pt x="5" y="650"/>
                  </a:lnTo>
                  <a:lnTo>
                    <a:pt x="2" y="676"/>
                  </a:lnTo>
                  <a:lnTo>
                    <a:pt x="0" y="718"/>
                  </a:lnTo>
                  <a:lnTo>
                    <a:pt x="0" y="736"/>
                  </a:lnTo>
                  <a:lnTo>
                    <a:pt x="0" y="739"/>
                  </a:lnTo>
                  <a:lnTo>
                    <a:pt x="1" y="742"/>
                  </a:lnTo>
                  <a:lnTo>
                    <a:pt x="2" y="745"/>
                  </a:lnTo>
                  <a:lnTo>
                    <a:pt x="4" y="747"/>
                  </a:lnTo>
                  <a:lnTo>
                    <a:pt x="6" y="749"/>
                  </a:lnTo>
                  <a:lnTo>
                    <a:pt x="8" y="750"/>
                  </a:lnTo>
                  <a:lnTo>
                    <a:pt x="12" y="751"/>
                  </a:lnTo>
                  <a:lnTo>
                    <a:pt x="15" y="751"/>
                  </a:lnTo>
                  <a:lnTo>
                    <a:pt x="405" y="751"/>
                  </a:lnTo>
                  <a:lnTo>
                    <a:pt x="405" y="721"/>
                  </a:lnTo>
                  <a:lnTo>
                    <a:pt x="30" y="721"/>
                  </a:lnTo>
                  <a:lnTo>
                    <a:pt x="31" y="693"/>
                  </a:lnTo>
                  <a:lnTo>
                    <a:pt x="34" y="657"/>
                  </a:lnTo>
                  <a:lnTo>
                    <a:pt x="36" y="637"/>
                  </a:lnTo>
                  <a:lnTo>
                    <a:pt x="39" y="619"/>
                  </a:lnTo>
                  <a:lnTo>
                    <a:pt x="43" y="601"/>
                  </a:lnTo>
                  <a:lnTo>
                    <a:pt x="48" y="586"/>
                  </a:lnTo>
                  <a:lnTo>
                    <a:pt x="50" y="581"/>
                  </a:lnTo>
                  <a:lnTo>
                    <a:pt x="54" y="575"/>
                  </a:lnTo>
                  <a:lnTo>
                    <a:pt x="60" y="570"/>
                  </a:lnTo>
                  <a:lnTo>
                    <a:pt x="66" y="566"/>
                  </a:lnTo>
                  <a:lnTo>
                    <a:pt x="82" y="556"/>
                  </a:lnTo>
                  <a:lnTo>
                    <a:pt x="103" y="546"/>
                  </a:lnTo>
                  <a:lnTo>
                    <a:pt x="126" y="537"/>
                  </a:lnTo>
                  <a:lnTo>
                    <a:pt x="151" y="527"/>
                  </a:lnTo>
                  <a:lnTo>
                    <a:pt x="177" y="518"/>
                  </a:lnTo>
                  <a:lnTo>
                    <a:pt x="203" y="510"/>
                  </a:lnTo>
                  <a:lnTo>
                    <a:pt x="225" y="502"/>
                  </a:lnTo>
                  <a:lnTo>
                    <a:pt x="247" y="495"/>
                  </a:lnTo>
                  <a:lnTo>
                    <a:pt x="269" y="487"/>
                  </a:lnTo>
                  <a:lnTo>
                    <a:pt x="290" y="480"/>
                  </a:lnTo>
                  <a:lnTo>
                    <a:pt x="295" y="478"/>
                  </a:lnTo>
                  <a:lnTo>
                    <a:pt x="298" y="474"/>
                  </a:lnTo>
                  <a:lnTo>
                    <a:pt x="299" y="470"/>
                  </a:lnTo>
                  <a:lnTo>
                    <a:pt x="300" y="466"/>
                  </a:lnTo>
                  <a:lnTo>
                    <a:pt x="300" y="391"/>
                  </a:lnTo>
                  <a:lnTo>
                    <a:pt x="300" y="387"/>
                  </a:lnTo>
                  <a:lnTo>
                    <a:pt x="298" y="383"/>
                  </a:lnTo>
                  <a:lnTo>
                    <a:pt x="296" y="380"/>
                  </a:lnTo>
                  <a:lnTo>
                    <a:pt x="294" y="378"/>
                  </a:lnTo>
                  <a:lnTo>
                    <a:pt x="291" y="376"/>
                  </a:lnTo>
                  <a:lnTo>
                    <a:pt x="285" y="370"/>
                  </a:lnTo>
                  <a:lnTo>
                    <a:pt x="275" y="362"/>
                  </a:lnTo>
                  <a:lnTo>
                    <a:pt x="266" y="349"/>
                  </a:lnTo>
                  <a:lnTo>
                    <a:pt x="260" y="340"/>
                  </a:lnTo>
                  <a:lnTo>
                    <a:pt x="255" y="332"/>
                  </a:lnTo>
                  <a:lnTo>
                    <a:pt x="251" y="322"/>
                  </a:lnTo>
                  <a:lnTo>
                    <a:pt x="246" y="311"/>
                  </a:lnTo>
                  <a:lnTo>
                    <a:pt x="243" y="300"/>
                  </a:lnTo>
                  <a:lnTo>
                    <a:pt x="240" y="287"/>
                  </a:lnTo>
                  <a:lnTo>
                    <a:pt x="239" y="273"/>
                  </a:lnTo>
                  <a:lnTo>
                    <a:pt x="238" y="258"/>
                  </a:lnTo>
                  <a:lnTo>
                    <a:pt x="238" y="256"/>
                  </a:lnTo>
                  <a:lnTo>
                    <a:pt x="237" y="253"/>
                  </a:lnTo>
                  <a:lnTo>
                    <a:pt x="236" y="250"/>
                  </a:lnTo>
                  <a:lnTo>
                    <a:pt x="233" y="248"/>
                  </a:lnTo>
                  <a:lnTo>
                    <a:pt x="231" y="246"/>
                  </a:lnTo>
                  <a:lnTo>
                    <a:pt x="229" y="245"/>
                  </a:lnTo>
                  <a:lnTo>
                    <a:pt x="226" y="244"/>
                  </a:lnTo>
                  <a:lnTo>
                    <a:pt x="223" y="243"/>
                  </a:lnTo>
                  <a:lnTo>
                    <a:pt x="221" y="242"/>
                  </a:lnTo>
                  <a:lnTo>
                    <a:pt x="218" y="238"/>
                  </a:lnTo>
                  <a:lnTo>
                    <a:pt x="216" y="230"/>
                  </a:lnTo>
                  <a:lnTo>
                    <a:pt x="215" y="220"/>
                  </a:lnTo>
                  <a:lnTo>
                    <a:pt x="216" y="211"/>
                  </a:lnTo>
                  <a:lnTo>
                    <a:pt x="218" y="203"/>
                  </a:lnTo>
                  <a:lnTo>
                    <a:pt x="221" y="199"/>
                  </a:lnTo>
                  <a:lnTo>
                    <a:pt x="223" y="198"/>
                  </a:lnTo>
                  <a:lnTo>
                    <a:pt x="226" y="198"/>
                  </a:lnTo>
                  <a:lnTo>
                    <a:pt x="229" y="197"/>
                  </a:lnTo>
                  <a:lnTo>
                    <a:pt x="231" y="195"/>
                  </a:lnTo>
                  <a:lnTo>
                    <a:pt x="233" y="194"/>
                  </a:lnTo>
                  <a:lnTo>
                    <a:pt x="236" y="191"/>
                  </a:lnTo>
                  <a:lnTo>
                    <a:pt x="237" y="188"/>
                  </a:lnTo>
                  <a:lnTo>
                    <a:pt x="238" y="186"/>
                  </a:lnTo>
                  <a:lnTo>
                    <a:pt x="238" y="183"/>
                  </a:lnTo>
                  <a:lnTo>
                    <a:pt x="237" y="175"/>
                  </a:lnTo>
                  <a:lnTo>
                    <a:pt x="233" y="165"/>
                  </a:lnTo>
                  <a:lnTo>
                    <a:pt x="229" y="146"/>
                  </a:lnTo>
                  <a:lnTo>
                    <a:pt x="225" y="124"/>
                  </a:lnTo>
                  <a:lnTo>
                    <a:pt x="223" y="113"/>
                  </a:lnTo>
                  <a:lnTo>
                    <a:pt x="223" y="102"/>
                  </a:lnTo>
                  <a:lnTo>
                    <a:pt x="224" y="98"/>
                  </a:lnTo>
                  <a:lnTo>
                    <a:pt x="225" y="94"/>
                  </a:lnTo>
                  <a:lnTo>
                    <a:pt x="226" y="90"/>
                  </a:lnTo>
                  <a:lnTo>
                    <a:pt x="228" y="87"/>
                  </a:lnTo>
                  <a:lnTo>
                    <a:pt x="231" y="85"/>
                  </a:lnTo>
                  <a:lnTo>
                    <a:pt x="235" y="83"/>
                  </a:lnTo>
                  <a:lnTo>
                    <a:pt x="238" y="82"/>
                  </a:lnTo>
                  <a:lnTo>
                    <a:pt x="242" y="82"/>
                  </a:lnTo>
                  <a:lnTo>
                    <a:pt x="250" y="82"/>
                  </a:lnTo>
                  <a:lnTo>
                    <a:pt x="258" y="83"/>
                  </a:lnTo>
                  <a:lnTo>
                    <a:pt x="263" y="83"/>
                  </a:lnTo>
                  <a:lnTo>
                    <a:pt x="269" y="81"/>
                  </a:lnTo>
                  <a:lnTo>
                    <a:pt x="271" y="80"/>
                  </a:lnTo>
                  <a:lnTo>
                    <a:pt x="273" y="78"/>
                  </a:lnTo>
                  <a:lnTo>
                    <a:pt x="274" y="76"/>
                  </a:lnTo>
                  <a:lnTo>
                    <a:pt x="275" y="72"/>
                  </a:lnTo>
                  <a:lnTo>
                    <a:pt x="277" y="68"/>
                  </a:lnTo>
                  <a:lnTo>
                    <a:pt x="280" y="64"/>
                  </a:lnTo>
                  <a:lnTo>
                    <a:pt x="283" y="60"/>
                  </a:lnTo>
                  <a:lnTo>
                    <a:pt x="287" y="55"/>
                  </a:lnTo>
                  <a:lnTo>
                    <a:pt x="291" y="51"/>
                  </a:lnTo>
                  <a:lnTo>
                    <a:pt x="298" y="48"/>
                  </a:lnTo>
                  <a:lnTo>
                    <a:pt x="304" y="45"/>
                  </a:lnTo>
                  <a:lnTo>
                    <a:pt x="311" y="41"/>
                  </a:lnTo>
                  <a:lnTo>
                    <a:pt x="327" y="37"/>
                  </a:lnTo>
                  <a:lnTo>
                    <a:pt x="344" y="33"/>
                  </a:lnTo>
                  <a:lnTo>
                    <a:pt x="363" y="31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384" y="30"/>
                  </a:lnTo>
                  <a:lnTo>
                    <a:pt x="405" y="31"/>
                  </a:lnTo>
                  <a:lnTo>
                    <a:pt x="424" y="33"/>
                  </a:lnTo>
                  <a:lnTo>
                    <a:pt x="441" y="37"/>
                  </a:lnTo>
                  <a:lnTo>
                    <a:pt x="458" y="41"/>
                  </a:lnTo>
                  <a:lnTo>
                    <a:pt x="464" y="45"/>
                  </a:lnTo>
                  <a:lnTo>
                    <a:pt x="470" y="48"/>
                  </a:lnTo>
                  <a:lnTo>
                    <a:pt x="476" y="51"/>
                  </a:lnTo>
                  <a:lnTo>
                    <a:pt x="481" y="55"/>
                  </a:lnTo>
                  <a:lnTo>
                    <a:pt x="485" y="60"/>
                  </a:lnTo>
                  <a:lnTo>
                    <a:pt x="489" y="64"/>
                  </a:lnTo>
                  <a:lnTo>
                    <a:pt x="491" y="68"/>
                  </a:lnTo>
                  <a:lnTo>
                    <a:pt x="493" y="72"/>
                  </a:lnTo>
                  <a:lnTo>
                    <a:pt x="495" y="85"/>
                  </a:lnTo>
                  <a:lnTo>
                    <a:pt x="495" y="97"/>
                  </a:lnTo>
                  <a:lnTo>
                    <a:pt x="494" y="110"/>
                  </a:lnTo>
                  <a:lnTo>
                    <a:pt x="492" y="122"/>
                  </a:lnTo>
                  <a:lnTo>
                    <a:pt x="485" y="143"/>
                  </a:lnTo>
                  <a:lnTo>
                    <a:pt x="479" y="160"/>
                  </a:lnTo>
                  <a:lnTo>
                    <a:pt x="475" y="172"/>
                  </a:lnTo>
                  <a:lnTo>
                    <a:pt x="474" y="180"/>
                  </a:lnTo>
                  <a:lnTo>
                    <a:pt x="474" y="183"/>
                  </a:lnTo>
                  <a:lnTo>
                    <a:pt x="475" y="186"/>
                  </a:lnTo>
                  <a:lnTo>
                    <a:pt x="476" y="188"/>
                  </a:lnTo>
                  <a:lnTo>
                    <a:pt x="478" y="190"/>
                  </a:lnTo>
                  <a:lnTo>
                    <a:pt x="480" y="192"/>
                  </a:lnTo>
                  <a:lnTo>
                    <a:pt x="482" y="194"/>
                  </a:lnTo>
                  <a:lnTo>
                    <a:pt x="485" y="195"/>
                  </a:lnTo>
                  <a:lnTo>
                    <a:pt x="489" y="195"/>
                  </a:lnTo>
                  <a:lnTo>
                    <a:pt x="490" y="197"/>
                  </a:lnTo>
                  <a:lnTo>
                    <a:pt x="493" y="201"/>
                  </a:lnTo>
                  <a:lnTo>
                    <a:pt x="495" y="209"/>
                  </a:lnTo>
                  <a:lnTo>
                    <a:pt x="495" y="219"/>
                  </a:lnTo>
                  <a:lnTo>
                    <a:pt x="495" y="230"/>
                  </a:lnTo>
                  <a:lnTo>
                    <a:pt x="493" y="238"/>
                  </a:lnTo>
                  <a:lnTo>
                    <a:pt x="490" y="242"/>
                  </a:lnTo>
                  <a:lnTo>
                    <a:pt x="489" y="243"/>
                  </a:lnTo>
                  <a:lnTo>
                    <a:pt x="485" y="244"/>
                  </a:lnTo>
                  <a:lnTo>
                    <a:pt x="482" y="245"/>
                  </a:lnTo>
                  <a:lnTo>
                    <a:pt x="480" y="246"/>
                  </a:lnTo>
                  <a:lnTo>
                    <a:pt x="478" y="248"/>
                  </a:lnTo>
                  <a:lnTo>
                    <a:pt x="476" y="250"/>
                  </a:lnTo>
                  <a:lnTo>
                    <a:pt x="475" y="253"/>
                  </a:lnTo>
                  <a:lnTo>
                    <a:pt x="474" y="256"/>
                  </a:lnTo>
                  <a:lnTo>
                    <a:pt x="474" y="258"/>
                  </a:lnTo>
                  <a:lnTo>
                    <a:pt x="473" y="273"/>
                  </a:lnTo>
                  <a:lnTo>
                    <a:pt x="471" y="286"/>
                  </a:lnTo>
                  <a:lnTo>
                    <a:pt x="469" y="298"/>
                  </a:lnTo>
                  <a:lnTo>
                    <a:pt x="466" y="308"/>
                  </a:lnTo>
                  <a:lnTo>
                    <a:pt x="463" y="317"/>
                  </a:lnTo>
                  <a:lnTo>
                    <a:pt x="460" y="325"/>
                  </a:lnTo>
                  <a:lnTo>
                    <a:pt x="455" y="333"/>
                  </a:lnTo>
                  <a:lnTo>
                    <a:pt x="451" y="339"/>
                  </a:lnTo>
                  <a:lnTo>
                    <a:pt x="444" y="350"/>
                  </a:lnTo>
                  <a:lnTo>
                    <a:pt x="436" y="357"/>
                  </a:lnTo>
                  <a:lnTo>
                    <a:pt x="431" y="361"/>
                  </a:lnTo>
                  <a:lnTo>
                    <a:pt x="429" y="362"/>
                  </a:lnTo>
                  <a:lnTo>
                    <a:pt x="425" y="364"/>
                  </a:lnTo>
                  <a:lnTo>
                    <a:pt x="422" y="367"/>
                  </a:lnTo>
                  <a:lnTo>
                    <a:pt x="421" y="372"/>
                  </a:lnTo>
                  <a:lnTo>
                    <a:pt x="420" y="376"/>
                  </a:lnTo>
                  <a:lnTo>
                    <a:pt x="420" y="466"/>
                  </a:lnTo>
                  <a:lnTo>
                    <a:pt x="421" y="470"/>
                  </a:lnTo>
                  <a:lnTo>
                    <a:pt x="423" y="474"/>
                  </a:lnTo>
                  <a:lnTo>
                    <a:pt x="426" y="478"/>
                  </a:lnTo>
                  <a:lnTo>
                    <a:pt x="430" y="480"/>
                  </a:lnTo>
                  <a:lnTo>
                    <a:pt x="446" y="485"/>
                  </a:lnTo>
                  <a:lnTo>
                    <a:pt x="460" y="492"/>
                  </a:lnTo>
                  <a:lnTo>
                    <a:pt x="475" y="497"/>
                  </a:lnTo>
                  <a:lnTo>
                    <a:pt x="490" y="503"/>
                  </a:lnTo>
                  <a:lnTo>
                    <a:pt x="505" y="509"/>
                  </a:lnTo>
                  <a:lnTo>
                    <a:pt x="520" y="514"/>
                  </a:lnTo>
                  <a:lnTo>
                    <a:pt x="529" y="4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Arrow: Down 1">
            <a:extLst>
              <a:ext uri="{FF2B5EF4-FFF2-40B4-BE49-F238E27FC236}">
                <a16:creationId xmlns:a16="http://schemas.microsoft.com/office/drawing/2014/main" xmlns="" id="{5D2F3953-A08E-4889-9235-D7DE1AE035E1}"/>
              </a:ext>
            </a:extLst>
          </p:cNvPr>
          <p:cNvSpPr/>
          <p:nvPr/>
        </p:nvSpPr>
        <p:spPr>
          <a:xfrm>
            <a:off x="5214152" y="4694387"/>
            <a:ext cx="1705304" cy="480412"/>
          </a:xfrm>
          <a:prstGeom prst="downArrow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xmlns="" id="{5DCE17BC-7B19-44F9-B5DC-8770197E81DB}"/>
              </a:ext>
            </a:extLst>
          </p:cNvPr>
          <p:cNvSpPr/>
          <p:nvPr/>
        </p:nvSpPr>
        <p:spPr>
          <a:xfrm>
            <a:off x="4322164" y="5201093"/>
            <a:ext cx="3547671" cy="877163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>
            <a:spAutoFit/>
          </a:bodyPr>
          <a:lstStyle/>
          <a:p>
            <a:pPr algn="ctr"/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Setiap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Pegawai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ASN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tidak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berpihak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dari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segala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bentuk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pengaruh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manapun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dan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tidak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memihak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kepada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kepentingan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siapapun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.</a:t>
            </a:r>
          </a:p>
          <a:p>
            <a:pPr algn="ctr"/>
            <a:endParaRPr lang="en-US" sz="100" dirty="0">
              <a:solidFill>
                <a:schemeClr val="bg1"/>
              </a:solidFill>
              <a:latin typeface="Bookman Old Style" panose="02050604050505020204" pitchFamily="18" charset="0"/>
              <a:ea typeface="Cambria" panose="02040503050406030204" pitchFamily="18" charset="0"/>
            </a:endParaRPr>
          </a:p>
          <a:p>
            <a:pPr algn="ctr"/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(UU 5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Tahun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2014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Pasal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2 </a:t>
            </a:r>
            <a:r>
              <a:rPr lang="en-US" sz="1200" dirty="0" err="1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huruf</a:t>
            </a:r>
            <a:r>
              <a:rPr lang="en-US" sz="1200" dirty="0">
                <a:solidFill>
                  <a:schemeClr val="bg1"/>
                </a:solidFill>
                <a:latin typeface="Bookman Old Style" panose="02050604050505020204" pitchFamily="18" charset="0"/>
                <a:ea typeface="Cambria" panose="02040503050406030204" pitchFamily="18" charset="0"/>
              </a:rPr>
              <a:t> f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EF729DC4-BFE9-4E6C-67EC-7FE1A261E3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953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 rot="-367840">
            <a:off x="-531338" y="-4554155"/>
            <a:ext cx="14540347" cy="15404907"/>
            <a:chOff x="0" y="0"/>
            <a:chExt cx="29080694" cy="30809815"/>
          </a:xfrm>
          <a:solidFill>
            <a:schemeClr val="accent4">
              <a:lumMod val="40000"/>
              <a:lumOff val="60000"/>
            </a:schemeClr>
          </a:solidFill>
        </p:grpSpPr>
        <p:grpSp>
          <p:nvGrpSpPr>
            <p:cNvPr id="3" name="Group 3"/>
            <p:cNvGrpSpPr/>
            <p:nvPr/>
          </p:nvGrpSpPr>
          <p:grpSpPr>
            <a:xfrm>
              <a:off x="0" y="10651141"/>
              <a:ext cx="20158674" cy="20158674"/>
              <a:chOff x="0" y="0"/>
              <a:chExt cx="6350000" cy="6350000"/>
            </a:xfrm>
            <a:grpFill/>
          </p:grpSpPr>
          <p:sp>
            <p:nvSpPr>
              <p:cNvPr id="4" name="Freeform 4"/>
              <p:cNvSpPr/>
              <p:nvPr/>
            </p:nvSpPr>
            <p:spPr>
              <a:xfrm>
                <a:off x="14167" y="0"/>
                <a:ext cx="6321665" cy="6350000"/>
              </a:xfrm>
              <a:custGeom>
                <a:avLst/>
                <a:gdLst/>
                <a:ahLst/>
                <a:cxnLst/>
                <a:rect l="l" t="t" r="r" b="b"/>
                <a:pathLst>
                  <a:path w="6321665" h="6350000">
                    <a:moveTo>
                      <a:pt x="3160833" y="0"/>
                    </a:moveTo>
                    <a:lnTo>
                      <a:pt x="3160833" y="0"/>
                    </a:lnTo>
                    <a:cubicBezTo>
                      <a:pt x="4908795" y="7817"/>
                      <a:pt x="6321666" y="1427021"/>
                      <a:pt x="6321666" y="3175000"/>
                    </a:cubicBezTo>
                    <a:cubicBezTo>
                      <a:pt x="6321666" y="4922979"/>
                      <a:pt x="4908795" y="6342183"/>
                      <a:pt x="3160833" y="6350000"/>
                    </a:cubicBezTo>
                    <a:cubicBezTo>
                      <a:pt x="1412871" y="6342183"/>
                      <a:pt x="0" y="4922979"/>
                      <a:pt x="0" y="3175000"/>
                    </a:cubicBezTo>
                    <a:cubicBezTo>
                      <a:pt x="0" y="1427021"/>
                      <a:pt x="1412871" y="7817"/>
                      <a:pt x="3160833" y="0"/>
                    </a:cubicBezTo>
                    <a:close/>
                  </a:path>
                </a:pathLst>
              </a:custGeom>
              <a:grpFill/>
            </p:spPr>
          </p:sp>
        </p:grpSp>
        <p:grpSp>
          <p:nvGrpSpPr>
            <p:cNvPr id="5" name="Group 5"/>
            <p:cNvGrpSpPr/>
            <p:nvPr/>
          </p:nvGrpSpPr>
          <p:grpSpPr>
            <a:xfrm rot="2194720">
              <a:off x="5188137" y="4079216"/>
              <a:ext cx="20096439" cy="19382344"/>
              <a:chOff x="0" y="0"/>
              <a:chExt cx="2990471" cy="2884210"/>
            </a:xfrm>
            <a:grpFill/>
          </p:grpSpPr>
          <p:sp>
            <p:nvSpPr>
              <p:cNvPr id="6" name="Freeform 6"/>
              <p:cNvSpPr/>
              <p:nvPr/>
            </p:nvSpPr>
            <p:spPr>
              <a:xfrm>
                <a:off x="0" y="0"/>
                <a:ext cx="2990471" cy="2884210"/>
              </a:xfrm>
              <a:custGeom>
                <a:avLst/>
                <a:gdLst/>
                <a:ahLst/>
                <a:cxnLst/>
                <a:rect l="l" t="t" r="r" b="b"/>
                <a:pathLst>
                  <a:path w="2990471" h="2884210">
                    <a:moveTo>
                      <a:pt x="0" y="0"/>
                    </a:moveTo>
                    <a:lnTo>
                      <a:pt x="2990471" y="0"/>
                    </a:lnTo>
                    <a:lnTo>
                      <a:pt x="2990471" y="2884210"/>
                    </a:lnTo>
                    <a:lnTo>
                      <a:pt x="0" y="2884210"/>
                    </a:lnTo>
                    <a:close/>
                  </a:path>
                </a:pathLst>
              </a:custGeom>
              <a:grpFill/>
            </p:spPr>
          </p:sp>
        </p:grpSp>
      </p:grpSp>
      <p:pic>
        <p:nvPicPr>
          <p:cNvPr id="14" name="Picture 14"/>
          <p:cNvPicPr>
            <a:picLocks noChangeAspect="1"/>
          </p:cNvPicPr>
          <p:nvPr/>
        </p:nvPicPr>
        <p:blipFill>
          <a:blip r:embed="rId3"/>
          <a:srcRect l="9835" r="9835"/>
          <a:stretch>
            <a:fillRect/>
          </a:stretch>
        </p:blipFill>
        <p:spPr>
          <a:xfrm>
            <a:off x="10327721" y="6303196"/>
            <a:ext cx="1691245" cy="554804"/>
          </a:xfrm>
          <a:prstGeom prst="rect">
            <a:avLst/>
          </a:prstGeom>
        </p:spPr>
      </p:pic>
      <p:sp>
        <p:nvSpPr>
          <p:cNvPr id="17" name="TextBox 17"/>
          <p:cNvSpPr txBox="1"/>
          <p:nvPr/>
        </p:nvSpPr>
        <p:spPr>
          <a:xfrm>
            <a:off x="922116" y="154409"/>
            <a:ext cx="11092403" cy="95397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ts val="38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6A2"/>
                </a:solidFill>
                <a:effectLst/>
                <a:uLnTx/>
                <a:uFillTx/>
                <a:latin typeface="Bahnschrift" panose="020B0502040204020203" pitchFamily="34" charset="0"/>
                <a:cs typeface="+mn-cs"/>
              </a:rPr>
              <a:t>URGENSI PENEGAKAN NSPK </a:t>
            </a:r>
          </a:p>
          <a:p>
            <a:pPr marL="0" marR="0" lvl="0" indent="0" algn="r" defTabSz="914400" rtl="0" eaLnBrk="1" fontAlgn="auto" latinLnBrk="0" hangingPunct="1">
              <a:lnSpc>
                <a:spcPts val="387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0036A2"/>
                </a:solidFill>
                <a:effectLst/>
                <a:uLnTx/>
                <a:uFillTx/>
                <a:latin typeface="Bahnschrift" panose="020B0502040204020203" pitchFamily="34" charset="0"/>
                <a:cs typeface="+mn-cs"/>
              </a:rPr>
              <a:t>MANAJEMEN ASN SECARA KONSISTEN</a:t>
            </a:r>
          </a:p>
        </p:txBody>
      </p:sp>
      <p:pic>
        <p:nvPicPr>
          <p:cNvPr id="18" name="Picture 5">
            <a:extLst>
              <a:ext uri="{FF2B5EF4-FFF2-40B4-BE49-F238E27FC236}">
                <a16:creationId xmlns:a16="http://schemas.microsoft.com/office/drawing/2014/main" xmlns="" id="{AA4820E5-E500-4B43-9916-A0D66308EDC7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336635" y="238730"/>
            <a:ext cx="1828816" cy="5797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117E732-9F9E-4BD7-BA3E-E99B2D5B9B0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1250" t="15561" r="27670" b="28683"/>
          <a:stretch/>
        </p:blipFill>
        <p:spPr>
          <a:xfrm>
            <a:off x="768787" y="2965064"/>
            <a:ext cx="5411972" cy="2778933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6B5399DE-44C5-42A6-BF4B-2882CE34DF1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634" t="26725" r="35552" b="31628"/>
          <a:stretch/>
        </p:blipFill>
        <p:spPr>
          <a:xfrm>
            <a:off x="6530085" y="3574667"/>
            <a:ext cx="5288740" cy="2209661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99F1FE9B-DBFF-05D2-1FC2-4F812CD242F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1749" y="6236120"/>
            <a:ext cx="1587729" cy="5706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BA1B1B30-25E6-993B-60A8-A278D4D4AE3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5993" y="238730"/>
            <a:ext cx="1385573" cy="70452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10E06770-FF20-0228-C945-C853F9CCE29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2417" y="1167227"/>
            <a:ext cx="5505900" cy="1545929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xmlns="" id="{0AB47EFB-D49C-396A-7085-95198F6CE13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639301" y="1159992"/>
            <a:ext cx="5960699" cy="2123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861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C6F28A8E-E167-B938-CEBA-CAE42D4EA99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5000" t="24594" r="12474" b="21238"/>
          <a:stretch/>
        </p:blipFill>
        <p:spPr>
          <a:xfrm>
            <a:off x="1118647" y="1093509"/>
            <a:ext cx="9954705" cy="5764491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7D4D2E46-3BC2-80C3-8C9D-35E0AF80D6A8}"/>
              </a:ext>
            </a:extLst>
          </p:cNvPr>
          <p:cNvGrpSpPr/>
          <p:nvPr/>
        </p:nvGrpSpPr>
        <p:grpSpPr>
          <a:xfrm rot="16200000">
            <a:off x="7991278" y="2645410"/>
            <a:ext cx="6850905" cy="1574276"/>
            <a:chOff x="0" y="4948862"/>
            <a:chExt cx="12192000" cy="1909138"/>
          </a:xfrm>
        </p:grpSpPr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xmlns="" id="{B966E655-5694-E031-7782-B432E2E0B635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xmlns="" id="{9B56BD90-9E90-E5A7-24F7-79B2332A6F88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8E79C9A-44BD-BF60-315D-07639F0E9072}"/>
              </a:ext>
            </a:extLst>
          </p:cNvPr>
          <p:cNvGrpSpPr/>
          <p:nvPr/>
        </p:nvGrpSpPr>
        <p:grpSpPr>
          <a:xfrm rot="5400000">
            <a:off x="-2638315" y="2645409"/>
            <a:ext cx="6850905" cy="1574276"/>
            <a:chOff x="0" y="4948862"/>
            <a:chExt cx="12192000" cy="1909138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xmlns="" id="{C10CFDD2-C6EE-5C48-BA6F-DDCAAC9C03DC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xmlns="" id="{91C269EE-8773-7732-8B30-5D6DC4385999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8B21BD53-07B4-DAF4-1864-8B7B7C8113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5">
            <a:extLst>
              <a:ext uri="{FF2B5EF4-FFF2-40B4-BE49-F238E27FC236}">
                <a16:creationId xmlns:a16="http://schemas.microsoft.com/office/drawing/2014/main" xmlns="" id="{6324A135-E07D-1189-C010-4992AA545B6A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273893" y="292380"/>
            <a:ext cx="1828816" cy="57978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57F7299-499A-6936-EDAD-8A98685BCF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622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4AD2C2C-8CA1-67A4-F573-5D5980333F9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94" t="13028" r="11807" b="11314"/>
          <a:stretch/>
        </p:blipFill>
        <p:spPr>
          <a:xfrm>
            <a:off x="1131241" y="893489"/>
            <a:ext cx="9692407" cy="5188669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xmlns="" id="{7CF34645-10AF-4AB4-83EA-BF059F6BEB4D}"/>
              </a:ext>
            </a:extLst>
          </p:cNvPr>
          <p:cNvGrpSpPr/>
          <p:nvPr/>
        </p:nvGrpSpPr>
        <p:grpSpPr>
          <a:xfrm>
            <a:off x="10928712" y="6378850"/>
            <a:ext cx="947290" cy="270982"/>
            <a:chOff x="4103688" y="-2378075"/>
            <a:chExt cx="1309687" cy="374650"/>
          </a:xfrm>
          <a:solidFill>
            <a:srgbClr val="468DC3"/>
          </a:solidFill>
        </p:grpSpPr>
        <p:sp>
          <p:nvSpPr>
            <p:cNvPr id="35" name="Freeform 254">
              <a:extLst>
                <a:ext uri="{FF2B5EF4-FFF2-40B4-BE49-F238E27FC236}">
                  <a16:creationId xmlns:a16="http://schemas.microsoft.com/office/drawing/2014/main" xmlns="" id="{3BD74B41-BA0A-4A11-9DA4-8621503651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688" y="-2374900"/>
              <a:ext cx="182562" cy="288925"/>
            </a:xfrm>
            <a:custGeom>
              <a:avLst/>
              <a:gdLst>
                <a:gd name="T0" fmla="*/ 43 w 61"/>
                <a:gd name="T1" fmla="*/ 47 h 95"/>
                <a:gd name="T2" fmla="*/ 30 w 61"/>
                <a:gd name="T3" fmla="*/ 55 h 95"/>
                <a:gd name="T4" fmla="*/ 11 w 61"/>
                <a:gd name="T5" fmla="*/ 83 h 95"/>
                <a:gd name="T6" fmla="*/ 11 w 61"/>
                <a:gd name="T7" fmla="*/ 85 h 95"/>
                <a:gd name="T8" fmla="*/ 57 w 61"/>
                <a:gd name="T9" fmla="*/ 85 h 95"/>
                <a:gd name="T10" fmla="*/ 60 w 61"/>
                <a:gd name="T11" fmla="*/ 88 h 95"/>
                <a:gd name="T12" fmla="*/ 60 w 61"/>
                <a:gd name="T13" fmla="*/ 93 h 95"/>
                <a:gd name="T14" fmla="*/ 57 w 61"/>
                <a:gd name="T15" fmla="*/ 95 h 95"/>
                <a:gd name="T16" fmla="*/ 3 w 61"/>
                <a:gd name="T17" fmla="*/ 95 h 95"/>
                <a:gd name="T18" fmla="*/ 0 w 61"/>
                <a:gd name="T19" fmla="*/ 93 h 95"/>
                <a:gd name="T20" fmla="*/ 0 w 61"/>
                <a:gd name="T21" fmla="*/ 83 h 95"/>
                <a:gd name="T22" fmla="*/ 21 w 61"/>
                <a:gd name="T23" fmla="*/ 49 h 95"/>
                <a:gd name="T24" fmla="*/ 35 w 61"/>
                <a:gd name="T25" fmla="*/ 40 h 95"/>
                <a:gd name="T26" fmla="*/ 49 w 61"/>
                <a:gd name="T27" fmla="*/ 22 h 95"/>
                <a:gd name="T28" fmla="*/ 28 w 61"/>
                <a:gd name="T29" fmla="*/ 9 h 95"/>
                <a:gd name="T30" fmla="*/ 4 w 61"/>
                <a:gd name="T31" fmla="*/ 11 h 95"/>
                <a:gd name="T32" fmla="*/ 3 w 61"/>
                <a:gd name="T33" fmla="*/ 11 h 95"/>
                <a:gd name="T34" fmla="*/ 1 w 61"/>
                <a:gd name="T35" fmla="*/ 9 h 95"/>
                <a:gd name="T36" fmla="*/ 1 w 61"/>
                <a:gd name="T37" fmla="*/ 4 h 95"/>
                <a:gd name="T38" fmla="*/ 4 w 61"/>
                <a:gd name="T39" fmla="*/ 2 h 95"/>
                <a:gd name="T40" fmla="*/ 28 w 61"/>
                <a:gd name="T41" fmla="*/ 0 h 95"/>
                <a:gd name="T42" fmla="*/ 61 w 61"/>
                <a:gd name="T43" fmla="*/ 22 h 95"/>
                <a:gd name="T44" fmla="*/ 43 w 61"/>
                <a:gd name="T45" fmla="*/ 47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1" h="95">
                  <a:moveTo>
                    <a:pt x="43" y="47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15" y="65"/>
                    <a:pt x="11" y="72"/>
                    <a:pt x="11" y="83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9" y="85"/>
                    <a:pt x="60" y="86"/>
                    <a:pt x="60" y="88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5"/>
                    <a:pt x="59" y="95"/>
                    <a:pt x="57" y="95"/>
                  </a:cubicBezTo>
                  <a:cubicBezTo>
                    <a:pt x="3" y="95"/>
                    <a:pt x="3" y="95"/>
                    <a:pt x="3" y="95"/>
                  </a:cubicBezTo>
                  <a:cubicBezTo>
                    <a:pt x="1" y="95"/>
                    <a:pt x="0" y="94"/>
                    <a:pt x="0" y="9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69"/>
                    <a:pt x="6" y="58"/>
                    <a:pt x="21" y="49"/>
                  </a:cubicBezTo>
                  <a:cubicBezTo>
                    <a:pt x="35" y="40"/>
                    <a:pt x="35" y="40"/>
                    <a:pt x="35" y="40"/>
                  </a:cubicBezTo>
                  <a:cubicBezTo>
                    <a:pt x="46" y="33"/>
                    <a:pt x="49" y="30"/>
                    <a:pt x="49" y="22"/>
                  </a:cubicBezTo>
                  <a:cubicBezTo>
                    <a:pt x="49" y="13"/>
                    <a:pt x="43" y="9"/>
                    <a:pt x="28" y="9"/>
                  </a:cubicBezTo>
                  <a:cubicBezTo>
                    <a:pt x="21" y="9"/>
                    <a:pt x="12" y="10"/>
                    <a:pt x="4" y="11"/>
                  </a:cubicBezTo>
                  <a:cubicBezTo>
                    <a:pt x="4" y="11"/>
                    <a:pt x="4" y="11"/>
                    <a:pt x="3" y="11"/>
                  </a:cubicBezTo>
                  <a:cubicBezTo>
                    <a:pt x="2" y="11"/>
                    <a:pt x="1" y="10"/>
                    <a:pt x="1" y="9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3"/>
                    <a:pt x="3" y="2"/>
                    <a:pt x="4" y="2"/>
                  </a:cubicBezTo>
                  <a:cubicBezTo>
                    <a:pt x="11" y="0"/>
                    <a:pt x="20" y="0"/>
                    <a:pt x="28" y="0"/>
                  </a:cubicBezTo>
                  <a:cubicBezTo>
                    <a:pt x="51" y="0"/>
                    <a:pt x="61" y="7"/>
                    <a:pt x="61" y="22"/>
                  </a:cubicBezTo>
                  <a:cubicBezTo>
                    <a:pt x="61" y="33"/>
                    <a:pt x="56" y="39"/>
                    <a:pt x="4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255">
              <a:extLst>
                <a:ext uri="{FF2B5EF4-FFF2-40B4-BE49-F238E27FC236}">
                  <a16:creationId xmlns:a16="http://schemas.microsoft.com/office/drawing/2014/main" xmlns="" id="{70015F1F-F2D6-4D60-A53E-7C7EDFAFDF9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8463" y="-2308225"/>
              <a:ext cx="211137" cy="304800"/>
            </a:xfrm>
            <a:custGeom>
              <a:avLst/>
              <a:gdLst>
                <a:gd name="T0" fmla="*/ 68 w 70"/>
                <a:gd name="T1" fmla="*/ 74 h 100"/>
                <a:gd name="T2" fmla="*/ 56 w 70"/>
                <a:gd name="T3" fmla="*/ 74 h 100"/>
                <a:gd name="T4" fmla="*/ 56 w 70"/>
                <a:gd name="T5" fmla="*/ 98 h 100"/>
                <a:gd name="T6" fmla="*/ 54 w 70"/>
                <a:gd name="T7" fmla="*/ 100 h 100"/>
                <a:gd name="T8" fmla="*/ 46 w 70"/>
                <a:gd name="T9" fmla="*/ 100 h 100"/>
                <a:gd name="T10" fmla="*/ 44 w 70"/>
                <a:gd name="T11" fmla="*/ 98 h 100"/>
                <a:gd name="T12" fmla="*/ 44 w 70"/>
                <a:gd name="T13" fmla="*/ 74 h 100"/>
                <a:gd name="T14" fmla="*/ 5 w 70"/>
                <a:gd name="T15" fmla="*/ 74 h 100"/>
                <a:gd name="T16" fmla="*/ 0 w 70"/>
                <a:gd name="T17" fmla="*/ 68 h 100"/>
                <a:gd name="T18" fmla="*/ 0 w 70"/>
                <a:gd name="T19" fmla="*/ 63 h 100"/>
                <a:gd name="T20" fmla="*/ 1 w 70"/>
                <a:gd name="T21" fmla="*/ 58 h 100"/>
                <a:gd name="T22" fmla="*/ 41 w 70"/>
                <a:gd name="T23" fmla="*/ 2 h 100"/>
                <a:gd name="T24" fmla="*/ 45 w 70"/>
                <a:gd name="T25" fmla="*/ 0 h 100"/>
                <a:gd name="T26" fmla="*/ 52 w 70"/>
                <a:gd name="T27" fmla="*/ 0 h 100"/>
                <a:gd name="T28" fmla="*/ 56 w 70"/>
                <a:gd name="T29" fmla="*/ 3 h 100"/>
                <a:gd name="T30" fmla="*/ 56 w 70"/>
                <a:gd name="T31" fmla="*/ 63 h 100"/>
                <a:gd name="T32" fmla="*/ 68 w 70"/>
                <a:gd name="T33" fmla="*/ 63 h 100"/>
                <a:gd name="T34" fmla="*/ 70 w 70"/>
                <a:gd name="T35" fmla="*/ 66 h 100"/>
                <a:gd name="T36" fmla="*/ 70 w 70"/>
                <a:gd name="T37" fmla="*/ 71 h 100"/>
                <a:gd name="T38" fmla="*/ 68 w 70"/>
                <a:gd name="T39" fmla="*/ 74 h 100"/>
                <a:gd name="T40" fmla="*/ 44 w 70"/>
                <a:gd name="T41" fmla="*/ 17 h 100"/>
                <a:gd name="T42" fmla="*/ 43 w 70"/>
                <a:gd name="T43" fmla="*/ 17 h 100"/>
                <a:gd name="T44" fmla="*/ 43 w 70"/>
                <a:gd name="T45" fmla="*/ 17 h 100"/>
                <a:gd name="T46" fmla="*/ 42 w 70"/>
                <a:gd name="T47" fmla="*/ 17 h 100"/>
                <a:gd name="T48" fmla="*/ 11 w 70"/>
                <a:gd name="T49" fmla="*/ 61 h 100"/>
                <a:gd name="T50" fmla="*/ 11 w 70"/>
                <a:gd name="T51" fmla="*/ 63 h 100"/>
                <a:gd name="T52" fmla="*/ 12 w 70"/>
                <a:gd name="T53" fmla="*/ 63 h 100"/>
                <a:gd name="T54" fmla="*/ 44 w 70"/>
                <a:gd name="T55" fmla="*/ 63 h 100"/>
                <a:gd name="T56" fmla="*/ 44 w 70"/>
                <a:gd name="T57" fmla="*/ 1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0" h="100">
                  <a:moveTo>
                    <a:pt x="68" y="74"/>
                  </a:moveTo>
                  <a:cubicBezTo>
                    <a:pt x="56" y="74"/>
                    <a:pt x="56" y="74"/>
                    <a:pt x="56" y="74"/>
                  </a:cubicBezTo>
                  <a:cubicBezTo>
                    <a:pt x="56" y="98"/>
                    <a:pt x="56" y="98"/>
                    <a:pt x="56" y="98"/>
                  </a:cubicBezTo>
                  <a:cubicBezTo>
                    <a:pt x="56" y="99"/>
                    <a:pt x="55" y="100"/>
                    <a:pt x="54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4" y="100"/>
                    <a:pt x="44" y="99"/>
                    <a:pt x="44" y="98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1" y="74"/>
                    <a:pt x="0" y="72"/>
                    <a:pt x="0" y="68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1"/>
                    <a:pt x="0" y="60"/>
                    <a:pt x="1" y="58"/>
                  </a:cubicBezTo>
                  <a:cubicBezTo>
                    <a:pt x="41" y="2"/>
                    <a:pt x="41" y="2"/>
                    <a:pt x="41" y="2"/>
                  </a:cubicBezTo>
                  <a:cubicBezTo>
                    <a:pt x="41" y="1"/>
                    <a:pt x="42" y="0"/>
                    <a:pt x="45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55" y="0"/>
                    <a:pt x="56" y="1"/>
                    <a:pt x="56" y="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68" y="63"/>
                    <a:pt x="68" y="63"/>
                    <a:pt x="68" y="63"/>
                  </a:cubicBezTo>
                  <a:cubicBezTo>
                    <a:pt x="69" y="63"/>
                    <a:pt x="70" y="64"/>
                    <a:pt x="70" y="66"/>
                  </a:cubicBezTo>
                  <a:cubicBezTo>
                    <a:pt x="70" y="71"/>
                    <a:pt x="70" y="71"/>
                    <a:pt x="70" y="71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44" y="17"/>
                  </a:moveTo>
                  <a:cubicBezTo>
                    <a:pt x="44" y="17"/>
                    <a:pt x="44" y="17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2" y="17"/>
                    <a:pt x="42" y="17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1" y="62"/>
                    <a:pt x="11" y="62"/>
                    <a:pt x="11" y="63"/>
                  </a:cubicBezTo>
                  <a:cubicBezTo>
                    <a:pt x="11" y="63"/>
                    <a:pt x="11" y="63"/>
                    <a:pt x="12" y="63"/>
                  </a:cubicBezTo>
                  <a:cubicBezTo>
                    <a:pt x="44" y="63"/>
                    <a:pt x="44" y="63"/>
                    <a:pt x="44" y="63"/>
                  </a:cubicBezTo>
                  <a:lnTo>
                    <a:pt x="44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256">
              <a:extLst>
                <a:ext uri="{FF2B5EF4-FFF2-40B4-BE49-F238E27FC236}">
                  <a16:creationId xmlns:a16="http://schemas.microsoft.com/office/drawing/2014/main" xmlns="" id="{C4CE39B4-6254-4FFC-BA20-495537310D7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5025" y="-2374900"/>
              <a:ext cx="34925" cy="292100"/>
            </a:xfrm>
            <a:custGeom>
              <a:avLst/>
              <a:gdLst>
                <a:gd name="T0" fmla="*/ 11 w 12"/>
                <a:gd name="T1" fmla="*/ 95 h 96"/>
                <a:gd name="T2" fmla="*/ 10 w 12"/>
                <a:gd name="T3" fmla="*/ 96 h 96"/>
                <a:gd name="T4" fmla="*/ 3 w 12"/>
                <a:gd name="T5" fmla="*/ 96 h 96"/>
                <a:gd name="T6" fmla="*/ 1 w 12"/>
                <a:gd name="T7" fmla="*/ 95 h 96"/>
                <a:gd name="T8" fmla="*/ 0 w 12"/>
                <a:gd name="T9" fmla="*/ 93 h 96"/>
                <a:gd name="T10" fmla="*/ 0 w 12"/>
                <a:gd name="T11" fmla="*/ 2 h 96"/>
                <a:gd name="T12" fmla="*/ 1 w 12"/>
                <a:gd name="T13" fmla="*/ 1 h 96"/>
                <a:gd name="T14" fmla="*/ 3 w 12"/>
                <a:gd name="T15" fmla="*/ 0 h 96"/>
                <a:gd name="T16" fmla="*/ 10 w 12"/>
                <a:gd name="T17" fmla="*/ 0 h 96"/>
                <a:gd name="T18" fmla="*/ 11 w 12"/>
                <a:gd name="T19" fmla="*/ 1 h 96"/>
                <a:gd name="T20" fmla="*/ 12 w 12"/>
                <a:gd name="T21" fmla="*/ 2 h 96"/>
                <a:gd name="T22" fmla="*/ 12 w 12"/>
                <a:gd name="T23" fmla="*/ 93 h 96"/>
                <a:gd name="T24" fmla="*/ 11 w 12"/>
                <a:gd name="T25" fmla="*/ 9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" h="96">
                  <a:moveTo>
                    <a:pt x="11" y="95"/>
                  </a:moveTo>
                  <a:cubicBezTo>
                    <a:pt x="11" y="95"/>
                    <a:pt x="10" y="96"/>
                    <a:pt x="10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2" y="96"/>
                    <a:pt x="1" y="95"/>
                    <a:pt x="1" y="95"/>
                  </a:cubicBezTo>
                  <a:cubicBezTo>
                    <a:pt x="0" y="94"/>
                    <a:pt x="0" y="94"/>
                    <a:pt x="0" y="93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2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4"/>
                    <a:pt x="12" y="94"/>
                    <a:pt x="11" y="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257">
              <a:extLst>
                <a:ext uri="{FF2B5EF4-FFF2-40B4-BE49-F238E27FC236}">
                  <a16:creationId xmlns:a16="http://schemas.microsoft.com/office/drawing/2014/main" xmlns="" id="{39F9AD79-BD1F-4A45-B55C-3517BA91B7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3450" y="-2378075"/>
              <a:ext cx="36512" cy="295275"/>
            </a:xfrm>
            <a:custGeom>
              <a:avLst/>
              <a:gdLst>
                <a:gd name="T0" fmla="*/ 11 w 12"/>
                <a:gd name="T1" fmla="*/ 15 h 97"/>
                <a:gd name="T2" fmla="*/ 9 w 12"/>
                <a:gd name="T3" fmla="*/ 15 h 97"/>
                <a:gd name="T4" fmla="*/ 3 w 12"/>
                <a:gd name="T5" fmla="*/ 15 h 97"/>
                <a:gd name="T6" fmla="*/ 1 w 12"/>
                <a:gd name="T7" fmla="*/ 15 h 97"/>
                <a:gd name="T8" fmla="*/ 0 w 12"/>
                <a:gd name="T9" fmla="*/ 13 h 97"/>
                <a:gd name="T10" fmla="*/ 0 w 12"/>
                <a:gd name="T11" fmla="*/ 3 h 97"/>
                <a:gd name="T12" fmla="*/ 1 w 12"/>
                <a:gd name="T13" fmla="*/ 1 h 97"/>
                <a:gd name="T14" fmla="*/ 3 w 12"/>
                <a:gd name="T15" fmla="*/ 0 h 97"/>
                <a:gd name="T16" fmla="*/ 9 w 12"/>
                <a:gd name="T17" fmla="*/ 0 h 97"/>
                <a:gd name="T18" fmla="*/ 11 w 12"/>
                <a:gd name="T19" fmla="*/ 1 h 97"/>
                <a:gd name="T20" fmla="*/ 12 w 12"/>
                <a:gd name="T21" fmla="*/ 3 h 97"/>
                <a:gd name="T22" fmla="*/ 12 w 12"/>
                <a:gd name="T23" fmla="*/ 13 h 97"/>
                <a:gd name="T24" fmla="*/ 11 w 12"/>
                <a:gd name="T25" fmla="*/ 15 h 97"/>
                <a:gd name="T26" fmla="*/ 11 w 12"/>
                <a:gd name="T27" fmla="*/ 96 h 97"/>
                <a:gd name="T28" fmla="*/ 9 w 12"/>
                <a:gd name="T29" fmla="*/ 97 h 97"/>
                <a:gd name="T30" fmla="*/ 3 w 12"/>
                <a:gd name="T31" fmla="*/ 97 h 97"/>
                <a:gd name="T32" fmla="*/ 1 w 12"/>
                <a:gd name="T33" fmla="*/ 96 h 97"/>
                <a:gd name="T34" fmla="*/ 0 w 12"/>
                <a:gd name="T35" fmla="*/ 94 h 97"/>
                <a:gd name="T36" fmla="*/ 0 w 12"/>
                <a:gd name="T37" fmla="*/ 29 h 97"/>
                <a:gd name="T38" fmla="*/ 1 w 12"/>
                <a:gd name="T39" fmla="*/ 27 h 97"/>
                <a:gd name="T40" fmla="*/ 3 w 12"/>
                <a:gd name="T41" fmla="*/ 27 h 97"/>
                <a:gd name="T42" fmla="*/ 9 w 12"/>
                <a:gd name="T43" fmla="*/ 27 h 97"/>
                <a:gd name="T44" fmla="*/ 11 w 12"/>
                <a:gd name="T45" fmla="*/ 27 h 97"/>
                <a:gd name="T46" fmla="*/ 12 w 12"/>
                <a:gd name="T47" fmla="*/ 29 h 97"/>
                <a:gd name="T48" fmla="*/ 12 w 12"/>
                <a:gd name="T49" fmla="*/ 94 h 97"/>
                <a:gd name="T50" fmla="*/ 11 w 12"/>
                <a:gd name="T51" fmla="*/ 96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97">
                  <a:moveTo>
                    <a:pt x="11" y="15"/>
                  </a:moveTo>
                  <a:cubicBezTo>
                    <a:pt x="11" y="15"/>
                    <a:pt x="10" y="15"/>
                    <a:pt x="9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5"/>
                    <a:pt x="1" y="15"/>
                    <a:pt x="1" y="15"/>
                  </a:cubicBezTo>
                  <a:cubicBezTo>
                    <a:pt x="0" y="14"/>
                    <a:pt x="0" y="14"/>
                    <a:pt x="0" y="1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2"/>
                    <a:pt x="0" y="1"/>
                    <a:pt x="1" y="1"/>
                  </a:cubicBezTo>
                  <a:cubicBezTo>
                    <a:pt x="1" y="0"/>
                    <a:pt x="2" y="0"/>
                    <a:pt x="3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0" y="0"/>
                    <a:pt x="11" y="0"/>
                    <a:pt x="11" y="1"/>
                  </a:cubicBezTo>
                  <a:cubicBezTo>
                    <a:pt x="12" y="1"/>
                    <a:pt x="12" y="2"/>
                    <a:pt x="12" y="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4"/>
                    <a:pt x="12" y="14"/>
                    <a:pt x="11" y="15"/>
                  </a:cubicBezTo>
                  <a:close/>
                  <a:moveTo>
                    <a:pt x="11" y="96"/>
                  </a:moveTo>
                  <a:cubicBezTo>
                    <a:pt x="10" y="96"/>
                    <a:pt x="10" y="97"/>
                    <a:pt x="9" y="97"/>
                  </a:cubicBezTo>
                  <a:cubicBezTo>
                    <a:pt x="3" y="97"/>
                    <a:pt x="3" y="97"/>
                    <a:pt x="3" y="97"/>
                  </a:cubicBezTo>
                  <a:cubicBezTo>
                    <a:pt x="2" y="97"/>
                    <a:pt x="1" y="96"/>
                    <a:pt x="1" y="96"/>
                  </a:cubicBezTo>
                  <a:cubicBezTo>
                    <a:pt x="0" y="95"/>
                    <a:pt x="0" y="95"/>
                    <a:pt x="0" y="94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8"/>
                    <a:pt x="0" y="28"/>
                    <a:pt x="1" y="27"/>
                  </a:cubicBezTo>
                  <a:cubicBezTo>
                    <a:pt x="1" y="27"/>
                    <a:pt x="2" y="27"/>
                    <a:pt x="3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1" y="27"/>
                  </a:cubicBezTo>
                  <a:cubicBezTo>
                    <a:pt x="11" y="28"/>
                    <a:pt x="12" y="28"/>
                    <a:pt x="12" y="29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1" y="95"/>
                    <a:pt x="11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258">
              <a:extLst>
                <a:ext uri="{FF2B5EF4-FFF2-40B4-BE49-F238E27FC236}">
                  <a16:creationId xmlns:a16="http://schemas.microsoft.com/office/drawing/2014/main" xmlns="" id="{5796D783-CBD6-4483-9C65-B66A3B509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0763" y="-2374900"/>
              <a:ext cx="171450" cy="295275"/>
            </a:xfrm>
            <a:custGeom>
              <a:avLst/>
              <a:gdLst>
                <a:gd name="T0" fmla="*/ 56 w 57"/>
                <a:gd name="T1" fmla="*/ 93 h 97"/>
                <a:gd name="T2" fmla="*/ 54 w 57"/>
                <a:gd name="T3" fmla="*/ 94 h 97"/>
                <a:gd name="T4" fmla="*/ 41 w 57"/>
                <a:gd name="T5" fmla="*/ 96 h 97"/>
                <a:gd name="T6" fmla="*/ 29 w 57"/>
                <a:gd name="T7" fmla="*/ 97 h 97"/>
                <a:gd name="T8" fmla="*/ 16 w 57"/>
                <a:gd name="T9" fmla="*/ 94 h 97"/>
                <a:gd name="T10" fmla="*/ 7 w 57"/>
                <a:gd name="T11" fmla="*/ 88 h 97"/>
                <a:gd name="T12" fmla="*/ 2 w 57"/>
                <a:gd name="T13" fmla="*/ 78 h 97"/>
                <a:gd name="T14" fmla="*/ 0 w 57"/>
                <a:gd name="T15" fmla="*/ 65 h 97"/>
                <a:gd name="T16" fmla="*/ 0 w 57"/>
                <a:gd name="T17" fmla="*/ 56 h 97"/>
                <a:gd name="T18" fmla="*/ 7 w 57"/>
                <a:gd name="T19" fmla="*/ 33 h 97"/>
                <a:gd name="T20" fmla="*/ 29 w 57"/>
                <a:gd name="T21" fmla="*/ 25 h 97"/>
                <a:gd name="T22" fmla="*/ 37 w 57"/>
                <a:gd name="T23" fmla="*/ 25 h 97"/>
                <a:gd name="T24" fmla="*/ 45 w 57"/>
                <a:gd name="T25" fmla="*/ 26 h 97"/>
                <a:gd name="T26" fmla="*/ 45 w 57"/>
                <a:gd name="T27" fmla="*/ 2 h 97"/>
                <a:gd name="T28" fmla="*/ 46 w 57"/>
                <a:gd name="T29" fmla="*/ 1 h 97"/>
                <a:gd name="T30" fmla="*/ 47 w 57"/>
                <a:gd name="T31" fmla="*/ 0 h 97"/>
                <a:gd name="T32" fmla="*/ 54 w 57"/>
                <a:gd name="T33" fmla="*/ 0 h 97"/>
                <a:gd name="T34" fmla="*/ 56 w 57"/>
                <a:gd name="T35" fmla="*/ 1 h 97"/>
                <a:gd name="T36" fmla="*/ 57 w 57"/>
                <a:gd name="T37" fmla="*/ 2 h 97"/>
                <a:gd name="T38" fmla="*/ 57 w 57"/>
                <a:gd name="T39" fmla="*/ 91 h 97"/>
                <a:gd name="T40" fmla="*/ 56 w 57"/>
                <a:gd name="T41" fmla="*/ 93 h 97"/>
                <a:gd name="T42" fmla="*/ 45 w 57"/>
                <a:gd name="T43" fmla="*/ 35 h 97"/>
                <a:gd name="T44" fmla="*/ 37 w 57"/>
                <a:gd name="T45" fmla="*/ 35 h 97"/>
                <a:gd name="T46" fmla="*/ 29 w 57"/>
                <a:gd name="T47" fmla="*/ 35 h 97"/>
                <a:gd name="T48" fmla="*/ 16 w 57"/>
                <a:gd name="T49" fmla="*/ 40 h 97"/>
                <a:gd name="T50" fmla="*/ 12 w 57"/>
                <a:gd name="T51" fmla="*/ 56 h 97"/>
                <a:gd name="T52" fmla="*/ 12 w 57"/>
                <a:gd name="T53" fmla="*/ 65 h 97"/>
                <a:gd name="T54" fmla="*/ 16 w 57"/>
                <a:gd name="T55" fmla="*/ 81 h 97"/>
                <a:gd name="T56" fmla="*/ 29 w 57"/>
                <a:gd name="T57" fmla="*/ 87 h 97"/>
                <a:gd name="T58" fmla="*/ 37 w 57"/>
                <a:gd name="T59" fmla="*/ 86 h 97"/>
                <a:gd name="T60" fmla="*/ 45 w 57"/>
                <a:gd name="T61" fmla="*/ 86 h 97"/>
                <a:gd name="T62" fmla="*/ 45 w 57"/>
                <a:gd name="T63" fmla="*/ 35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7" h="97">
                  <a:moveTo>
                    <a:pt x="56" y="93"/>
                  </a:moveTo>
                  <a:cubicBezTo>
                    <a:pt x="56" y="94"/>
                    <a:pt x="55" y="94"/>
                    <a:pt x="54" y="94"/>
                  </a:cubicBezTo>
                  <a:cubicBezTo>
                    <a:pt x="50" y="95"/>
                    <a:pt x="46" y="96"/>
                    <a:pt x="41" y="96"/>
                  </a:cubicBezTo>
                  <a:cubicBezTo>
                    <a:pt x="37" y="96"/>
                    <a:pt x="33" y="97"/>
                    <a:pt x="29" y="97"/>
                  </a:cubicBezTo>
                  <a:cubicBezTo>
                    <a:pt x="24" y="97"/>
                    <a:pt x="20" y="96"/>
                    <a:pt x="16" y="94"/>
                  </a:cubicBezTo>
                  <a:cubicBezTo>
                    <a:pt x="13" y="93"/>
                    <a:pt x="10" y="91"/>
                    <a:pt x="7" y="88"/>
                  </a:cubicBezTo>
                  <a:cubicBezTo>
                    <a:pt x="5" y="85"/>
                    <a:pt x="3" y="82"/>
                    <a:pt x="2" y="78"/>
                  </a:cubicBezTo>
                  <a:cubicBezTo>
                    <a:pt x="1" y="74"/>
                    <a:pt x="0" y="70"/>
                    <a:pt x="0" y="65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46"/>
                    <a:pt x="3" y="38"/>
                    <a:pt x="7" y="33"/>
                  </a:cubicBezTo>
                  <a:cubicBezTo>
                    <a:pt x="12" y="27"/>
                    <a:pt x="19" y="25"/>
                    <a:pt x="29" y="25"/>
                  </a:cubicBezTo>
                  <a:cubicBezTo>
                    <a:pt x="31" y="25"/>
                    <a:pt x="34" y="25"/>
                    <a:pt x="37" y="25"/>
                  </a:cubicBezTo>
                  <a:cubicBezTo>
                    <a:pt x="40" y="25"/>
                    <a:pt x="42" y="26"/>
                    <a:pt x="45" y="26"/>
                  </a:cubicBezTo>
                  <a:cubicBezTo>
                    <a:pt x="45" y="2"/>
                    <a:pt x="45" y="2"/>
                    <a:pt x="45" y="2"/>
                  </a:cubicBezTo>
                  <a:cubicBezTo>
                    <a:pt x="45" y="2"/>
                    <a:pt x="45" y="1"/>
                    <a:pt x="46" y="1"/>
                  </a:cubicBezTo>
                  <a:cubicBezTo>
                    <a:pt x="46" y="0"/>
                    <a:pt x="47" y="0"/>
                    <a:pt x="4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5" y="0"/>
                    <a:pt x="56" y="0"/>
                    <a:pt x="56" y="1"/>
                  </a:cubicBezTo>
                  <a:cubicBezTo>
                    <a:pt x="56" y="1"/>
                    <a:pt x="57" y="2"/>
                    <a:pt x="57" y="2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2"/>
                    <a:pt x="57" y="93"/>
                    <a:pt x="56" y="93"/>
                  </a:cubicBezTo>
                  <a:close/>
                  <a:moveTo>
                    <a:pt x="45" y="35"/>
                  </a:moveTo>
                  <a:cubicBezTo>
                    <a:pt x="43" y="35"/>
                    <a:pt x="40" y="35"/>
                    <a:pt x="37" y="35"/>
                  </a:cubicBezTo>
                  <a:cubicBezTo>
                    <a:pt x="34" y="35"/>
                    <a:pt x="31" y="35"/>
                    <a:pt x="29" y="35"/>
                  </a:cubicBezTo>
                  <a:cubicBezTo>
                    <a:pt x="23" y="35"/>
                    <a:pt x="18" y="36"/>
                    <a:pt x="16" y="40"/>
                  </a:cubicBezTo>
                  <a:cubicBezTo>
                    <a:pt x="13" y="44"/>
                    <a:pt x="12" y="49"/>
                    <a:pt x="12" y="5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72"/>
                    <a:pt x="13" y="77"/>
                    <a:pt x="16" y="81"/>
                  </a:cubicBezTo>
                  <a:cubicBezTo>
                    <a:pt x="18" y="85"/>
                    <a:pt x="23" y="87"/>
                    <a:pt x="29" y="87"/>
                  </a:cubicBezTo>
                  <a:cubicBezTo>
                    <a:pt x="32" y="87"/>
                    <a:pt x="34" y="87"/>
                    <a:pt x="37" y="86"/>
                  </a:cubicBezTo>
                  <a:cubicBezTo>
                    <a:pt x="40" y="86"/>
                    <a:pt x="43" y="86"/>
                    <a:pt x="45" y="86"/>
                  </a:cubicBezTo>
                  <a:lnTo>
                    <a:pt x="4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259">
              <a:extLst>
                <a:ext uri="{FF2B5EF4-FFF2-40B4-BE49-F238E27FC236}">
                  <a16:creationId xmlns:a16="http://schemas.microsoft.com/office/drawing/2014/main" xmlns="" id="{342D576C-DA7D-44C2-935C-E04E0014EC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46663" y="-2298700"/>
              <a:ext cx="180975" cy="219075"/>
            </a:xfrm>
            <a:custGeom>
              <a:avLst/>
              <a:gdLst>
                <a:gd name="T0" fmla="*/ 57 w 60"/>
                <a:gd name="T1" fmla="*/ 39 h 72"/>
                <a:gd name="T2" fmla="*/ 12 w 60"/>
                <a:gd name="T3" fmla="*/ 39 h 72"/>
                <a:gd name="T4" fmla="*/ 12 w 60"/>
                <a:gd name="T5" fmla="*/ 41 h 72"/>
                <a:gd name="T6" fmla="*/ 17 w 60"/>
                <a:gd name="T7" fmla="*/ 57 h 72"/>
                <a:gd name="T8" fmla="*/ 31 w 60"/>
                <a:gd name="T9" fmla="*/ 62 h 72"/>
                <a:gd name="T10" fmla="*/ 43 w 60"/>
                <a:gd name="T11" fmla="*/ 61 h 72"/>
                <a:gd name="T12" fmla="*/ 55 w 60"/>
                <a:gd name="T13" fmla="*/ 60 h 72"/>
                <a:gd name="T14" fmla="*/ 55 w 60"/>
                <a:gd name="T15" fmla="*/ 60 h 72"/>
                <a:gd name="T16" fmla="*/ 57 w 60"/>
                <a:gd name="T17" fmla="*/ 61 h 72"/>
                <a:gd name="T18" fmla="*/ 57 w 60"/>
                <a:gd name="T19" fmla="*/ 62 h 72"/>
                <a:gd name="T20" fmla="*/ 57 w 60"/>
                <a:gd name="T21" fmla="*/ 66 h 72"/>
                <a:gd name="T22" fmla="*/ 57 w 60"/>
                <a:gd name="T23" fmla="*/ 68 h 72"/>
                <a:gd name="T24" fmla="*/ 55 w 60"/>
                <a:gd name="T25" fmla="*/ 69 h 72"/>
                <a:gd name="T26" fmla="*/ 43 w 60"/>
                <a:gd name="T27" fmla="*/ 71 h 72"/>
                <a:gd name="T28" fmla="*/ 31 w 60"/>
                <a:gd name="T29" fmla="*/ 72 h 72"/>
                <a:gd name="T30" fmla="*/ 20 w 60"/>
                <a:gd name="T31" fmla="*/ 70 h 72"/>
                <a:gd name="T32" fmla="*/ 10 w 60"/>
                <a:gd name="T33" fmla="*/ 65 h 72"/>
                <a:gd name="T34" fmla="*/ 3 w 60"/>
                <a:gd name="T35" fmla="*/ 56 h 72"/>
                <a:gd name="T36" fmla="*/ 0 w 60"/>
                <a:gd name="T37" fmla="*/ 41 h 72"/>
                <a:gd name="T38" fmla="*/ 0 w 60"/>
                <a:gd name="T39" fmla="*/ 29 h 72"/>
                <a:gd name="T40" fmla="*/ 8 w 60"/>
                <a:gd name="T41" fmla="*/ 8 h 72"/>
                <a:gd name="T42" fmla="*/ 30 w 60"/>
                <a:gd name="T43" fmla="*/ 0 h 72"/>
                <a:gd name="T44" fmla="*/ 43 w 60"/>
                <a:gd name="T45" fmla="*/ 2 h 72"/>
                <a:gd name="T46" fmla="*/ 52 w 60"/>
                <a:gd name="T47" fmla="*/ 8 h 72"/>
                <a:gd name="T48" fmla="*/ 58 w 60"/>
                <a:gd name="T49" fmla="*/ 17 h 72"/>
                <a:gd name="T50" fmla="*/ 60 w 60"/>
                <a:gd name="T51" fmla="*/ 29 h 72"/>
                <a:gd name="T52" fmla="*/ 60 w 60"/>
                <a:gd name="T53" fmla="*/ 36 h 72"/>
                <a:gd name="T54" fmla="*/ 57 w 60"/>
                <a:gd name="T55" fmla="*/ 39 h 72"/>
                <a:gd name="T56" fmla="*/ 48 w 60"/>
                <a:gd name="T57" fmla="*/ 29 h 72"/>
                <a:gd name="T58" fmla="*/ 43 w 60"/>
                <a:gd name="T59" fmla="*/ 14 h 72"/>
                <a:gd name="T60" fmla="*/ 30 w 60"/>
                <a:gd name="T61" fmla="*/ 10 h 72"/>
                <a:gd name="T62" fmla="*/ 17 w 60"/>
                <a:gd name="T63" fmla="*/ 14 h 72"/>
                <a:gd name="T64" fmla="*/ 12 w 60"/>
                <a:gd name="T65" fmla="*/ 29 h 72"/>
                <a:gd name="T66" fmla="*/ 12 w 60"/>
                <a:gd name="T67" fmla="*/ 31 h 72"/>
                <a:gd name="T68" fmla="*/ 48 w 60"/>
                <a:gd name="T69" fmla="*/ 31 h 72"/>
                <a:gd name="T70" fmla="*/ 48 w 60"/>
                <a:gd name="T71" fmla="*/ 29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60" h="72">
                  <a:moveTo>
                    <a:pt x="57" y="39"/>
                  </a:moveTo>
                  <a:cubicBezTo>
                    <a:pt x="12" y="39"/>
                    <a:pt x="12" y="39"/>
                    <a:pt x="12" y="39"/>
                  </a:cubicBezTo>
                  <a:cubicBezTo>
                    <a:pt x="12" y="41"/>
                    <a:pt x="12" y="41"/>
                    <a:pt x="12" y="41"/>
                  </a:cubicBezTo>
                  <a:cubicBezTo>
                    <a:pt x="12" y="49"/>
                    <a:pt x="14" y="54"/>
                    <a:pt x="17" y="57"/>
                  </a:cubicBezTo>
                  <a:cubicBezTo>
                    <a:pt x="20" y="60"/>
                    <a:pt x="25" y="62"/>
                    <a:pt x="31" y="62"/>
                  </a:cubicBezTo>
                  <a:cubicBezTo>
                    <a:pt x="35" y="62"/>
                    <a:pt x="39" y="62"/>
                    <a:pt x="43" y="61"/>
                  </a:cubicBezTo>
                  <a:cubicBezTo>
                    <a:pt x="48" y="61"/>
                    <a:pt x="51" y="61"/>
                    <a:pt x="55" y="60"/>
                  </a:cubicBezTo>
                  <a:cubicBezTo>
                    <a:pt x="55" y="60"/>
                    <a:pt x="55" y="60"/>
                    <a:pt x="55" y="60"/>
                  </a:cubicBezTo>
                  <a:cubicBezTo>
                    <a:pt x="56" y="60"/>
                    <a:pt x="56" y="60"/>
                    <a:pt x="57" y="61"/>
                  </a:cubicBezTo>
                  <a:cubicBezTo>
                    <a:pt x="57" y="61"/>
                    <a:pt x="57" y="61"/>
                    <a:pt x="57" y="62"/>
                  </a:cubicBezTo>
                  <a:cubicBezTo>
                    <a:pt x="57" y="66"/>
                    <a:pt x="57" y="66"/>
                    <a:pt x="57" y="66"/>
                  </a:cubicBezTo>
                  <a:cubicBezTo>
                    <a:pt x="57" y="67"/>
                    <a:pt x="57" y="68"/>
                    <a:pt x="57" y="68"/>
                  </a:cubicBezTo>
                  <a:cubicBezTo>
                    <a:pt x="56" y="69"/>
                    <a:pt x="56" y="69"/>
                    <a:pt x="55" y="69"/>
                  </a:cubicBezTo>
                  <a:cubicBezTo>
                    <a:pt x="51" y="70"/>
                    <a:pt x="47" y="71"/>
                    <a:pt x="43" y="71"/>
                  </a:cubicBezTo>
                  <a:cubicBezTo>
                    <a:pt x="39" y="71"/>
                    <a:pt x="35" y="72"/>
                    <a:pt x="31" y="72"/>
                  </a:cubicBezTo>
                  <a:cubicBezTo>
                    <a:pt x="27" y="72"/>
                    <a:pt x="23" y="71"/>
                    <a:pt x="20" y="70"/>
                  </a:cubicBezTo>
                  <a:cubicBezTo>
                    <a:pt x="16" y="69"/>
                    <a:pt x="13" y="67"/>
                    <a:pt x="10" y="65"/>
                  </a:cubicBezTo>
                  <a:cubicBezTo>
                    <a:pt x="7" y="63"/>
                    <a:pt x="5" y="60"/>
                    <a:pt x="3" y="56"/>
                  </a:cubicBezTo>
                  <a:cubicBezTo>
                    <a:pt x="1" y="52"/>
                    <a:pt x="0" y="47"/>
                    <a:pt x="0" y="41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3" y="13"/>
                    <a:pt x="8" y="8"/>
                  </a:cubicBezTo>
                  <a:cubicBezTo>
                    <a:pt x="13" y="2"/>
                    <a:pt x="20" y="0"/>
                    <a:pt x="30" y="0"/>
                  </a:cubicBezTo>
                  <a:cubicBezTo>
                    <a:pt x="35" y="0"/>
                    <a:pt x="39" y="0"/>
                    <a:pt x="43" y="2"/>
                  </a:cubicBezTo>
                  <a:cubicBezTo>
                    <a:pt x="47" y="3"/>
                    <a:pt x="50" y="5"/>
                    <a:pt x="52" y="8"/>
                  </a:cubicBezTo>
                  <a:cubicBezTo>
                    <a:pt x="55" y="10"/>
                    <a:pt x="56" y="14"/>
                    <a:pt x="58" y="17"/>
                  </a:cubicBezTo>
                  <a:cubicBezTo>
                    <a:pt x="59" y="21"/>
                    <a:pt x="60" y="25"/>
                    <a:pt x="60" y="29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8"/>
                    <a:pt x="59" y="39"/>
                    <a:pt x="57" y="39"/>
                  </a:cubicBezTo>
                  <a:close/>
                  <a:moveTo>
                    <a:pt x="48" y="29"/>
                  </a:moveTo>
                  <a:cubicBezTo>
                    <a:pt x="48" y="22"/>
                    <a:pt x="46" y="17"/>
                    <a:pt x="43" y="14"/>
                  </a:cubicBezTo>
                  <a:cubicBezTo>
                    <a:pt x="40" y="11"/>
                    <a:pt x="36" y="10"/>
                    <a:pt x="30" y="10"/>
                  </a:cubicBezTo>
                  <a:cubicBezTo>
                    <a:pt x="24" y="10"/>
                    <a:pt x="20" y="11"/>
                    <a:pt x="17" y="14"/>
                  </a:cubicBezTo>
                  <a:cubicBezTo>
                    <a:pt x="14" y="18"/>
                    <a:pt x="12" y="23"/>
                    <a:pt x="12" y="29"/>
                  </a:cubicBezTo>
                  <a:cubicBezTo>
                    <a:pt x="12" y="31"/>
                    <a:pt x="12" y="31"/>
                    <a:pt x="12" y="31"/>
                  </a:cubicBezTo>
                  <a:cubicBezTo>
                    <a:pt x="48" y="31"/>
                    <a:pt x="48" y="31"/>
                    <a:pt x="48" y="31"/>
                  </a:cubicBezTo>
                  <a:lnTo>
                    <a:pt x="48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260">
              <a:extLst>
                <a:ext uri="{FF2B5EF4-FFF2-40B4-BE49-F238E27FC236}">
                  <a16:creationId xmlns:a16="http://schemas.microsoft.com/office/drawing/2014/main" xmlns="" id="{99DF15AA-C9D1-4CA2-9AEA-7581D335B35E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5738" y="-2298700"/>
              <a:ext cx="147637" cy="219075"/>
            </a:xfrm>
            <a:custGeom>
              <a:avLst/>
              <a:gdLst>
                <a:gd name="T0" fmla="*/ 49 w 49"/>
                <a:gd name="T1" fmla="*/ 53 h 72"/>
                <a:gd name="T2" fmla="*/ 42 w 49"/>
                <a:gd name="T3" fmla="*/ 67 h 72"/>
                <a:gd name="T4" fmla="*/ 24 w 49"/>
                <a:gd name="T5" fmla="*/ 72 h 72"/>
                <a:gd name="T6" fmla="*/ 20 w 49"/>
                <a:gd name="T7" fmla="*/ 71 h 72"/>
                <a:gd name="T8" fmla="*/ 14 w 49"/>
                <a:gd name="T9" fmla="*/ 71 h 72"/>
                <a:gd name="T10" fmla="*/ 8 w 49"/>
                <a:gd name="T11" fmla="*/ 70 h 72"/>
                <a:gd name="T12" fmla="*/ 3 w 49"/>
                <a:gd name="T13" fmla="*/ 70 h 72"/>
                <a:gd name="T14" fmla="*/ 0 w 49"/>
                <a:gd name="T15" fmla="*/ 67 h 72"/>
                <a:gd name="T16" fmla="*/ 0 w 49"/>
                <a:gd name="T17" fmla="*/ 63 h 72"/>
                <a:gd name="T18" fmla="*/ 1 w 49"/>
                <a:gd name="T19" fmla="*/ 61 h 72"/>
                <a:gd name="T20" fmla="*/ 3 w 49"/>
                <a:gd name="T21" fmla="*/ 61 h 72"/>
                <a:gd name="T22" fmla="*/ 3 w 49"/>
                <a:gd name="T23" fmla="*/ 61 h 72"/>
                <a:gd name="T24" fmla="*/ 8 w 49"/>
                <a:gd name="T25" fmla="*/ 61 h 72"/>
                <a:gd name="T26" fmla="*/ 14 w 49"/>
                <a:gd name="T27" fmla="*/ 62 h 72"/>
                <a:gd name="T28" fmla="*/ 20 w 49"/>
                <a:gd name="T29" fmla="*/ 62 h 72"/>
                <a:gd name="T30" fmla="*/ 24 w 49"/>
                <a:gd name="T31" fmla="*/ 62 h 72"/>
                <a:gd name="T32" fmla="*/ 34 w 49"/>
                <a:gd name="T33" fmla="*/ 60 h 72"/>
                <a:gd name="T34" fmla="*/ 37 w 49"/>
                <a:gd name="T35" fmla="*/ 53 h 72"/>
                <a:gd name="T36" fmla="*/ 35 w 49"/>
                <a:gd name="T37" fmla="*/ 48 h 72"/>
                <a:gd name="T38" fmla="*/ 27 w 49"/>
                <a:gd name="T39" fmla="*/ 42 h 72"/>
                <a:gd name="T40" fmla="*/ 14 w 49"/>
                <a:gd name="T41" fmla="*/ 35 h 72"/>
                <a:gd name="T42" fmla="*/ 4 w 49"/>
                <a:gd name="T43" fmla="*/ 27 h 72"/>
                <a:gd name="T44" fmla="*/ 0 w 49"/>
                <a:gd name="T45" fmla="*/ 17 h 72"/>
                <a:gd name="T46" fmla="*/ 2 w 49"/>
                <a:gd name="T47" fmla="*/ 8 h 72"/>
                <a:gd name="T48" fmla="*/ 7 w 49"/>
                <a:gd name="T49" fmla="*/ 3 h 72"/>
                <a:gd name="T50" fmla="*/ 15 w 49"/>
                <a:gd name="T51" fmla="*/ 0 h 72"/>
                <a:gd name="T52" fmla="*/ 24 w 49"/>
                <a:gd name="T53" fmla="*/ 0 h 72"/>
                <a:gd name="T54" fmla="*/ 35 w 49"/>
                <a:gd name="T55" fmla="*/ 0 h 72"/>
                <a:gd name="T56" fmla="*/ 45 w 49"/>
                <a:gd name="T57" fmla="*/ 1 h 72"/>
                <a:gd name="T58" fmla="*/ 48 w 49"/>
                <a:gd name="T59" fmla="*/ 4 h 72"/>
                <a:gd name="T60" fmla="*/ 48 w 49"/>
                <a:gd name="T61" fmla="*/ 8 h 72"/>
                <a:gd name="T62" fmla="*/ 45 w 49"/>
                <a:gd name="T63" fmla="*/ 10 h 72"/>
                <a:gd name="T64" fmla="*/ 45 w 49"/>
                <a:gd name="T65" fmla="*/ 10 h 72"/>
                <a:gd name="T66" fmla="*/ 36 w 49"/>
                <a:gd name="T67" fmla="*/ 10 h 72"/>
                <a:gd name="T68" fmla="*/ 24 w 49"/>
                <a:gd name="T69" fmla="*/ 9 h 72"/>
                <a:gd name="T70" fmla="*/ 15 w 49"/>
                <a:gd name="T71" fmla="*/ 11 h 72"/>
                <a:gd name="T72" fmla="*/ 12 w 49"/>
                <a:gd name="T73" fmla="*/ 17 h 72"/>
                <a:gd name="T74" fmla="*/ 14 w 49"/>
                <a:gd name="T75" fmla="*/ 22 h 72"/>
                <a:gd name="T76" fmla="*/ 21 w 49"/>
                <a:gd name="T77" fmla="*/ 26 h 72"/>
                <a:gd name="T78" fmla="*/ 34 w 49"/>
                <a:gd name="T79" fmla="*/ 34 h 72"/>
                <a:gd name="T80" fmla="*/ 46 w 49"/>
                <a:gd name="T81" fmla="*/ 43 h 72"/>
                <a:gd name="T82" fmla="*/ 49 w 49"/>
                <a:gd name="T83" fmla="*/ 5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9" h="72">
                  <a:moveTo>
                    <a:pt x="49" y="53"/>
                  </a:moveTo>
                  <a:cubicBezTo>
                    <a:pt x="49" y="59"/>
                    <a:pt x="47" y="64"/>
                    <a:pt x="42" y="67"/>
                  </a:cubicBezTo>
                  <a:cubicBezTo>
                    <a:pt x="38" y="70"/>
                    <a:pt x="32" y="72"/>
                    <a:pt x="24" y="72"/>
                  </a:cubicBezTo>
                  <a:cubicBezTo>
                    <a:pt x="23" y="72"/>
                    <a:pt x="21" y="71"/>
                    <a:pt x="20" y="71"/>
                  </a:cubicBezTo>
                  <a:cubicBezTo>
                    <a:pt x="18" y="71"/>
                    <a:pt x="16" y="71"/>
                    <a:pt x="14" y="71"/>
                  </a:cubicBezTo>
                  <a:cubicBezTo>
                    <a:pt x="12" y="71"/>
                    <a:pt x="10" y="71"/>
                    <a:pt x="8" y="70"/>
                  </a:cubicBezTo>
                  <a:cubicBezTo>
                    <a:pt x="6" y="70"/>
                    <a:pt x="5" y="70"/>
                    <a:pt x="3" y="70"/>
                  </a:cubicBezTo>
                  <a:cubicBezTo>
                    <a:pt x="1" y="69"/>
                    <a:pt x="0" y="68"/>
                    <a:pt x="0" y="67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2"/>
                    <a:pt x="0" y="62"/>
                    <a:pt x="1" y="61"/>
                  </a:cubicBezTo>
                  <a:cubicBezTo>
                    <a:pt x="1" y="61"/>
                    <a:pt x="2" y="61"/>
                    <a:pt x="3" y="61"/>
                  </a:cubicBezTo>
                  <a:cubicBezTo>
                    <a:pt x="3" y="61"/>
                    <a:pt x="3" y="61"/>
                    <a:pt x="3" y="61"/>
                  </a:cubicBezTo>
                  <a:cubicBezTo>
                    <a:pt x="5" y="61"/>
                    <a:pt x="6" y="61"/>
                    <a:pt x="8" y="61"/>
                  </a:cubicBezTo>
                  <a:cubicBezTo>
                    <a:pt x="10" y="61"/>
                    <a:pt x="12" y="62"/>
                    <a:pt x="14" y="62"/>
                  </a:cubicBezTo>
                  <a:cubicBezTo>
                    <a:pt x="16" y="62"/>
                    <a:pt x="18" y="62"/>
                    <a:pt x="20" y="62"/>
                  </a:cubicBezTo>
                  <a:cubicBezTo>
                    <a:pt x="21" y="62"/>
                    <a:pt x="23" y="62"/>
                    <a:pt x="24" y="62"/>
                  </a:cubicBezTo>
                  <a:cubicBezTo>
                    <a:pt x="28" y="62"/>
                    <a:pt x="32" y="61"/>
                    <a:pt x="34" y="60"/>
                  </a:cubicBezTo>
                  <a:cubicBezTo>
                    <a:pt x="36" y="59"/>
                    <a:pt x="37" y="57"/>
                    <a:pt x="37" y="53"/>
                  </a:cubicBezTo>
                  <a:cubicBezTo>
                    <a:pt x="37" y="51"/>
                    <a:pt x="37" y="49"/>
                    <a:pt x="35" y="48"/>
                  </a:cubicBezTo>
                  <a:cubicBezTo>
                    <a:pt x="34" y="47"/>
                    <a:pt x="31" y="45"/>
                    <a:pt x="27" y="42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0" y="32"/>
                    <a:pt x="6" y="30"/>
                    <a:pt x="4" y="27"/>
                  </a:cubicBezTo>
                  <a:cubicBezTo>
                    <a:pt x="1" y="24"/>
                    <a:pt x="0" y="21"/>
                    <a:pt x="0" y="17"/>
                  </a:cubicBezTo>
                  <a:cubicBezTo>
                    <a:pt x="0" y="13"/>
                    <a:pt x="1" y="11"/>
                    <a:pt x="2" y="8"/>
                  </a:cubicBezTo>
                  <a:cubicBezTo>
                    <a:pt x="3" y="6"/>
                    <a:pt x="5" y="5"/>
                    <a:pt x="7" y="3"/>
                  </a:cubicBezTo>
                  <a:cubicBezTo>
                    <a:pt x="9" y="2"/>
                    <a:pt x="12" y="1"/>
                    <a:pt x="15" y="0"/>
                  </a:cubicBezTo>
                  <a:cubicBezTo>
                    <a:pt x="18" y="0"/>
                    <a:pt x="21" y="0"/>
                    <a:pt x="24" y="0"/>
                  </a:cubicBezTo>
                  <a:cubicBezTo>
                    <a:pt x="28" y="0"/>
                    <a:pt x="32" y="0"/>
                    <a:pt x="35" y="0"/>
                  </a:cubicBezTo>
                  <a:cubicBezTo>
                    <a:pt x="39" y="0"/>
                    <a:pt x="42" y="1"/>
                    <a:pt x="45" y="1"/>
                  </a:cubicBezTo>
                  <a:cubicBezTo>
                    <a:pt x="47" y="2"/>
                    <a:pt x="48" y="2"/>
                    <a:pt x="48" y="4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10"/>
                    <a:pt x="47" y="10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3" y="10"/>
                    <a:pt x="40" y="10"/>
                    <a:pt x="36" y="10"/>
                  </a:cubicBezTo>
                  <a:cubicBezTo>
                    <a:pt x="32" y="9"/>
                    <a:pt x="28" y="9"/>
                    <a:pt x="24" y="9"/>
                  </a:cubicBezTo>
                  <a:cubicBezTo>
                    <a:pt x="21" y="9"/>
                    <a:pt x="18" y="10"/>
                    <a:pt x="15" y="11"/>
                  </a:cubicBezTo>
                  <a:cubicBezTo>
                    <a:pt x="13" y="11"/>
                    <a:pt x="12" y="13"/>
                    <a:pt x="12" y="17"/>
                  </a:cubicBezTo>
                  <a:cubicBezTo>
                    <a:pt x="12" y="19"/>
                    <a:pt x="13" y="20"/>
                    <a:pt x="14" y="22"/>
                  </a:cubicBezTo>
                  <a:cubicBezTo>
                    <a:pt x="16" y="23"/>
                    <a:pt x="18" y="25"/>
                    <a:pt x="21" y="26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40" y="37"/>
                    <a:pt x="44" y="40"/>
                    <a:pt x="46" y="43"/>
                  </a:cubicBezTo>
                  <a:cubicBezTo>
                    <a:pt x="48" y="46"/>
                    <a:pt x="49" y="49"/>
                    <a:pt x="49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Rectangle 261">
              <a:extLst>
                <a:ext uri="{FF2B5EF4-FFF2-40B4-BE49-F238E27FC236}">
                  <a16:creationId xmlns:a16="http://schemas.microsoft.com/office/drawing/2014/main" xmlns="" id="{0302B77C-CA7F-4E16-8609-8C34431462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0075" y="-2116138"/>
              <a:ext cx="165100" cy="333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262">
              <a:extLst>
                <a:ext uri="{FF2B5EF4-FFF2-40B4-BE49-F238E27FC236}">
                  <a16:creationId xmlns:a16="http://schemas.microsoft.com/office/drawing/2014/main" xmlns="" id="{7962BEA8-8CE2-4E19-AC59-9F2811A576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19600" y="-2374900"/>
              <a:ext cx="168275" cy="292100"/>
            </a:xfrm>
            <a:custGeom>
              <a:avLst/>
              <a:gdLst>
                <a:gd name="T0" fmla="*/ 7 w 56"/>
                <a:gd name="T1" fmla="*/ 5 h 96"/>
                <a:gd name="T2" fmla="*/ 30 w 56"/>
                <a:gd name="T3" fmla="*/ 0 h 96"/>
                <a:gd name="T4" fmla="*/ 41 w 56"/>
                <a:gd name="T5" fmla="*/ 0 h 96"/>
                <a:gd name="T6" fmla="*/ 52 w 56"/>
                <a:gd name="T7" fmla="*/ 2 h 96"/>
                <a:gd name="T8" fmla="*/ 54 w 56"/>
                <a:gd name="T9" fmla="*/ 3 h 96"/>
                <a:gd name="T10" fmla="*/ 54 w 56"/>
                <a:gd name="T11" fmla="*/ 5 h 96"/>
                <a:gd name="T12" fmla="*/ 54 w 56"/>
                <a:gd name="T13" fmla="*/ 9 h 96"/>
                <a:gd name="T14" fmla="*/ 52 w 56"/>
                <a:gd name="T15" fmla="*/ 12 h 96"/>
                <a:gd name="T16" fmla="*/ 52 w 56"/>
                <a:gd name="T17" fmla="*/ 12 h 96"/>
                <a:gd name="T18" fmla="*/ 41 w 56"/>
                <a:gd name="T19" fmla="*/ 10 h 96"/>
                <a:gd name="T20" fmla="*/ 30 w 56"/>
                <a:gd name="T21" fmla="*/ 10 h 96"/>
                <a:gd name="T22" fmla="*/ 15 w 56"/>
                <a:gd name="T23" fmla="*/ 13 h 96"/>
                <a:gd name="T24" fmla="*/ 11 w 56"/>
                <a:gd name="T25" fmla="*/ 23 h 96"/>
                <a:gd name="T26" fmla="*/ 11 w 56"/>
                <a:gd name="T27" fmla="*/ 28 h 96"/>
                <a:gd name="T28" fmla="*/ 13 w 56"/>
                <a:gd name="T29" fmla="*/ 32 h 96"/>
                <a:gd name="T30" fmla="*/ 17 w 56"/>
                <a:gd name="T31" fmla="*/ 36 h 96"/>
                <a:gd name="T32" fmla="*/ 24 w 56"/>
                <a:gd name="T33" fmla="*/ 41 h 96"/>
                <a:gd name="T34" fmla="*/ 36 w 56"/>
                <a:gd name="T35" fmla="*/ 49 h 96"/>
                <a:gd name="T36" fmla="*/ 51 w 56"/>
                <a:gd name="T37" fmla="*/ 65 h 96"/>
                <a:gd name="T38" fmla="*/ 56 w 56"/>
                <a:gd name="T39" fmla="*/ 83 h 96"/>
                <a:gd name="T40" fmla="*/ 56 w 56"/>
                <a:gd name="T41" fmla="*/ 93 h 96"/>
                <a:gd name="T42" fmla="*/ 55 w 56"/>
                <a:gd name="T43" fmla="*/ 95 h 96"/>
                <a:gd name="T44" fmla="*/ 53 w 56"/>
                <a:gd name="T45" fmla="*/ 96 h 96"/>
                <a:gd name="T46" fmla="*/ 3 w 56"/>
                <a:gd name="T47" fmla="*/ 96 h 96"/>
                <a:gd name="T48" fmla="*/ 2 w 56"/>
                <a:gd name="T49" fmla="*/ 95 h 96"/>
                <a:gd name="T50" fmla="*/ 1 w 56"/>
                <a:gd name="T51" fmla="*/ 93 h 96"/>
                <a:gd name="T52" fmla="*/ 1 w 56"/>
                <a:gd name="T53" fmla="*/ 88 h 96"/>
                <a:gd name="T54" fmla="*/ 2 w 56"/>
                <a:gd name="T55" fmla="*/ 86 h 96"/>
                <a:gd name="T56" fmla="*/ 3 w 56"/>
                <a:gd name="T57" fmla="*/ 85 h 96"/>
                <a:gd name="T58" fmla="*/ 46 w 56"/>
                <a:gd name="T59" fmla="*/ 85 h 96"/>
                <a:gd name="T60" fmla="*/ 46 w 56"/>
                <a:gd name="T61" fmla="*/ 83 h 96"/>
                <a:gd name="T62" fmla="*/ 45 w 56"/>
                <a:gd name="T63" fmla="*/ 75 h 96"/>
                <a:gd name="T64" fmla="*/ 42 w 56"/>
                <a:gd name="T65" fmla="*/ 69 h 96"/>
                <a:gd name="T66" fmla="*/ 37 w 56"/>
                <a:gd name="T67" fmla="*/ 62 h 96"/>
                <a:gd name="T68" fmla="*/ 28 w 56"/>
                <a:gd name="T69" fmla="*/ 56 h 96"/>
                <a:gd name="T70" fmla="*/ 16 w 56"/>
                <a:gd name="T71" fmla="*/ 47 h 96"/>
                <a:gd name="T72" fmla="*/ 3 w 56"/>
                <a:gd name="T73" fmla="*/ 36 h 96"/>
                <a:gd name="T74" fmla="*/ 0 w 56"/>
                <a:gd name="T75" fmla="*/ 23 h 96"/>
                <a:gd name="T76" fmla="*/ 7 w 56"/>
                <a:gd name="T77" fmla="*/ 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6" h="96">
                  <a:moveTo>
                    <a:pt x="7" y="5"/>
                  </a:moveTo>
                  <a:cubicBezTo>
                    <a:pt x="12" y="2"/>
                    <a:pt x="19" y="0"/>
                    <a:pt x="30" y="0"/>
                  </a:cubicBezTo>
                  <a:cubicBezTo>
                    <a:pt x="33" y="0"/>
                    <a:pt x="37" y="0"/>
                    <a:pt x="41" y="0"/>
                  </a:cubicBezTo>
                  <a:cubicBezTo>
                    <a:pt x="45" y="1"/>
                    <a:pt x="49" y="1"/>
                    <a:pt x="52" y="2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3"/>
                    <a:pt x="54" y="4"/>
                    <a:pt x="54" y="5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54" y="11"/>
                    <a:pt x="54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48" y="11"/>
                    <a:pt x="45" y="11"/>
                    <a:pt x="41" y="10"/>
                  </a:cubicBezTo>
                  <a:cubicBezTo>
                    <a:pt x="37" y="10"/>
                    <a:pt x="33" y="10"/>
                    <a:pt x="30" y="10"/>
                  </a:cubicBezTo>
                  <a:cubicBezTo>
                    <a:pt x="23" y="10"/>
                    <a:pt x="18" y="11"/>
                    <a:pt x="15" y="13"/>
                  </a:cubicBezTo>
                  <a:cubicBezTo>
                    <a:pt x="12" y="15"/>
                    <a:pt x="11" y="18"/>
                    <a:pt x="11" y="23"/>
                  </a:cubicBezTo>
                  <a:cubicBezTo>
                    <a:pt x="11" y="25"/>
                    <a:pt x="11" y="26"/>
                    <a:pt x="11" y="28"/>
                  </a:cubicBezTo>
                  <a:cubicBezTo>
                    <a:pt x="12" y="29"/>
                    <a:pt x="12" y="31"/>
                    <a:pt x="13" y="32"/>
                  </a:cubicBezTo>
                  <a:cubicBezTo>
                    <a:pt x="14" y="33"/>
                    <a:pt x="16" y="35"/>
                    <a:pt x="17" y="36"/>
                  </a:cubicBezTo>
                  <a:cubicBezTo>
                    <a:pt x="19" y="37"/>
                    <a:pt x="21" y="39"/>
                    <a:pt x="24" y="41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43" y="54"/>
                    <a:pt x="48" y="59"/>
                    <a:pt x="51" y="65"/>
                  </a:cubicBezTo>
                  <a:cubicBezTo>
                    <a:pt x="54" y="70"/>
                    <a:pt x="56" y="76"/>
                    <a:pt x="56" y="8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6" y="94"/>
                    <a:pt x="55" y="95"/>
                  </a:cubicBezTo>
                  <a:cubicBezTo>
                    <a:pt x="55" y="95"/>
                    <a:pt x="54" y="96"/>
                    <a:pt x="53" y="96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3" y="96"/>
                    <a:pt x="2" y="95"/>
                    <a:pt x="2" y="95"/>
                  </a:cubicBezTo>
                  <a:cubicBezTo>
                    <a:pt x="1" y="94"/>
                    <a:pt x="1" y="94"/>
                    <a:pt x="1" y="93"/>
                  </a:cubicBezTo>
                  <a:cubicBezTo>
                    <a:pt x="1" y="88"/>
                    <a:pt x="1" y="88"/>
                    <a:pt x="1" y="88"/>
                  </a:cubicBezTo>
                  <a:cubicBezTo>
                    <a:pt x="1" y="87"/>
                    <a:pt x="1" y="86"/>
                    <a:pt x="2" y="86"/>
                  </a:cubicBezTo>
                  <a:cubicBezTo>
                    <a:pt x="2" y="86"/>
                    <a:pt x="3" y="85"/>
                    <a:pt x="3" y="85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0"/>
                    <a:pt x="46" y="77"/>
                    <a:pt x="45" y="75"/>
                  </a:cubicBezTo>
                  <a:cubicBezTo>
                    <a:pt x="44" y="73"/>
                    <a:pt x="44" y="71"/>
                    <a:pt x="42" y="69"/>
                  </a:cubicBezTo>
                  <a:cubicBezTo>
                    <a:pt x="41" y="66"/>
                    <a:pt x="39" y="64"/>
                    <a:pt x="37" y="62"/>
                  </a:cubicBezTo>
                  <a:cubicBezTo>
                    <a:pt x="35" y="60"/>
                    <a:pt x="32" y="58"/>
                    <a:pt x="28" y="56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0" y="43"/>
                    <a:pt x="6" y="39"/>
                    <a:pt x="3" y="36"/>
                  </a:cubicBezTo>
                  <a:cubicBezTo>
                    <a:pt x="1" y="32"/>
                    <a:pt x="0" y="28"/>
                    <a:pt x="0" y="23"/>
                  </a:cubicBezTo>
                  <a:cubicBezTo>
                    <a:pt x="0" y="15"/>
                    <a:pt x="2" y="9"/>
                    <a:pt x="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BDAC2139-1EF2-4E0C-8A61-875EBCD9E74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061870F8-A927-4DFC-97AE-1FBABFAAF83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11807CB2-833F-461D-93B3-1A961338743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9" name="object 4">
            <a:extLst>
              <a:ext uri="{FF2B5EF4-FFF2-40B4-BE49-F238E27FC236}">
                <a16:creationId xmlns:a16="http://schemas.microsoft.com/office/drawing/2014/main" xmlns="" id="{373F4522-6D94-48B5-AD25-FD1E045784D9}"/>
              </a:ext>
            </a:extLst>
          </p:cNvPr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230114" y="296353"/>
            <a:ext cx="1695449" cy="501650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xmlns="" id="{82C8FA71-4840-4A54-AF80-35BB6C4CD8C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2284" y="6084734"/>
            <a:ext cx="1830325" cy="65786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xmlns="" id="{F5EF7E8B-FF17-406C-B047-E583A8AE7F3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74032" y="6181727"/>
            <a:ext cx="2114419" cy="53977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1017610D-8418-141D-990A-BF233E4F03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933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xmlns="" id="{BDAC2139-1EF2-4E0C-8A61-875EBCD9E74B}"/>
              </a:ext>
            </a:extLst>
          </p:cNvPr>
          <p:cNvGrpSpPr/>
          <p:nvPr/>
        </p:nvGrpSpPr>
        <p:grpSpPr>
          <a:xfrm>
            <a:off x="0" y="4954136"/>
            <a:ext cx="12192000" cy="1909138"/>
            <a:chOff x="0" y="4948862"/>
            <a:chExt cx="12192000" cy="1909138"/>
          </a:xfrm>
        </p:grpSpPr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xmlns="" id="{061870F8-A927-4DFC-97AE-1FBABFAAF837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xmlns="" id="{11807CB2-833F-461D-93B3-1A961338743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66" name="Elbow Connector 19">
            <a:extLst>
              <a:ext uri="{FF2B5EF4-FFF2-40B4-BE49-F238E27FC236}">
                <a16:creationId xmlns:a16="http://schemas.microsoft.com/office/drawing/2014/main" xmlns="" id="{E509FBEC-A192-46D3-94DD-9CE3A80FA4C0}"/>
              </a:ext>
            </a:extLst>
          </p:cNvPr>
          <p:cNvCxnSpPr>
            <a:cxnSpLocks/>
          </p:cNvCxnSpPr>
          <p:nvPr/>
        </p:nvCxnSpPr>
        <p:spPr>
          <a:xfrm flipV="1">
            <a:off x="3697162" y="3401663"/>
            <a:ext cx="928236" cy="770708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47D3DC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67" name="Elbow Connector 22">
            <a:extLst>
              <a:ext uri="{FF2B5EF4-FFF2-40B4-BE49-F238E27FC236}">
                <a16:creationId xmlns:a16="http://schemas.microsoft.com/office/drawing/2014/main" xmlns="" id="{D9C7C935-BF88-418D-BF1D-9F2076B13873}"/>
              </a:ext>
            </a:extLst>
          </p:cNvPr>
          <p:cNvCxnSpPr>
            <a:cxnSpLocks/>
            <a:stCxn id="92" idx="1"/>
          </p:cNvCxnSpPr>
          <p:nvPr/>
        </p:nvCxnSpPr>
        <p:spPr>
          <a:xfrm rot="10800000">
            <a:off x="7669875" y="3401663"/>
            <a:ext cx="441414" cy="1836914"/>
          </a:xfrm>
          <a:prstGeom prst="bentConnector2">
            <a:avLst/>
          </a:prstGeom>
          <a:noFill/>
          <a:ln w="25400" cap="flat" cmpd="sng" algn="ctr">
            <a:solidFill>
              <a:srgbClr val="B982D5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68" name="Elbow Connector 31">
            <a:extLst>
              <a:ext uri="{FF2B5EF4-FFF2-40B4-BE49-F238E27FC236}">
                <a16:creationId xmlns:a16="http://schemas.microsoft.com/office/drawing/2014/main" xmlns="" id="{C6BA918F-5F6A-48C5-BC15-A298A1772D9F}"/>
              </a:ext>
            </a:extLst>
          </p:cNvPr>
          <p:cNvCxnSpPr>
            <a:cxnSpLocks/>
          </p:cNvCxnSpPr>
          <p:nvPr/>
        </p:nvCxnSpPr>
        <p:spPr>
          <a:xfrm>
            <a:off x="3654606" y="2171127"/>
            <a:ext cx="946512" cy="644359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EE6CC1"/>
            </a:solidFill>
            <a:prstDash val="solid"/>
            <a:miter lim="800000"/>
            <a:headEnd type="oval"/>
            <a:tailEnd type="oval"/>
          </a:ln>
          <a:effectLst/>
        </p:spPr>
      </p:cxnSp>
      <p:cxnSp>
        <p:nvCxnSpPr>
          <p:cNvPr id="69" name="Elbow Connector 34">
            <a:extLst>
              <a:ext uri="{FF2B5EF4-FFF2-40B4-BE49-F238E27FC236}">
                <a16:creationId xmlns:a16="http://schemas.microsoft.com/office/drawing/2014/main" xmlns="" id="{352591FD-86CC-4E8E-968D-F5670FF7F3F6}"/>
              </a:ext>
            </a:extLst>
          </p:cNvPr>
          <p:cNvCxnSpPr>
            <a:cxnSpLocks/>
          </p:cNvCxnSpPr>
          <p:nvPr/>
        </p:nvCxnSpPr>
        <p:spPr>
          <a:xfrm rot="10800000" flipV="1">
            <a:off x="7508775" y="1667738"/>
            <a:ext cx="926724" cy="781841"/>
          </a:xfrm>
          <a:prstGeom prst="bentConnector3">
            <a:avLst>
              <a:gd name="adj1" fmla="val 50000"/>
            </a:avLst>
          </a:prstGeom>
          <a:noFill/>
          <a:ln w="25400" cap="flat" cmpd="sng" algn="ctr">
            <a:solidFill>
              <a:srgbClr val="6DB0E4"/>
            </a:solidFill>
            <a:prstDash val="solid"/>
            <a:miter lim="800000"/>
            <a:headEnd type="oval"/>
            <a:tailEnd type="oval"/>
          </a:ln>
          <a:effectLst/>
        </p:spPr>
      </p:cxnSp>
      <p:grpSp>
        <p:nvGrpSpPr>
          <p:cNvPr id="70" name="Group 69">
            <a:extLst>
              <a:ext uri="{FF2B5EF4-FFF2-40B4-BE49-F238E27FC236}">
                <a16:creationId xmlns:a16="http://schemas.microsoft.com/office/drawing/2014/main" xmlns="" id="{6E859A19-C0FF-4F43-B18B-440CF7DF6D3D}"/>
              </a:ext>
            </a:extLst>
          </p:cNvPr>
          <p:cNvGrpSpPr/>
          <p:nvPr/>
        </p:nvGrpSpPr>
        <p:grpSpPr>
          <a:xfrm>
            <a:off x="5890273" y="6534958"/>
            <a:ext cx="6024526" cy="163739"/>
            <a:chOff x="582090" y="5070393"/>
            <a:chExt cx="11228564" cy="1527054"/>
          </a:xfrm>
        </p:grpSpPr>
        <p:sp>
          <p:nvSpPr>
            <p:cNvPr id="71" name="Pentagon 10">
              <a:extLst>
                <a:ext uri="{FF2B5EF4-FFF2-40B4-BE49-F238E27FC236}">
                  <a16:creationId xmlns:a16="http://schemas.microsoft.com/office/drawing/2014/main" xmlns="" id="{DC5D73CB-B03B-4F45-B76D-2C7910C2F68C}"/>
                </a:ext>
              </a:extLst>
            </p:cNvPr>
            <p:cNvSpPr/>
            <p:nvPr/>
          </p:nvSpPr>
          <p:spPr>
            <a:xfrm rot="10800000">
              <a:off x="582090" y="5070394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EE6CC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2" name="Pentagon 11">
              <a:extLst>
                <a:ext uri="{FF2B5EF4-FFF2-40B4-BE49-F238E27FC236}">
                  <a16:creationId xmlns:a16="http://schemas.microsoft.com/office/drawing/2014/main" xmlns="" id="{330333E3-B27F-47D7-9FA9-8188A709B1EE}"/>
                </a:ext>
              </a:extLst>
            </p:cNvPr>
            <p:cNvSpPr/>
            <p:nvPr/>
          </p:nvSpPr>
          <p:spPr>
            <a:xfrm rot="10800000">
              <a:off x="2279163" y="5070396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B982D5">
                <a:lumMod val="40000"/>
                <a:lumOff val="60000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3" name="Pentagon 12">
              <a:extLst>
                <a:ext uri="{FF2B5EF4-FFF2-40B4-BE49-F238E27FC236}">
                  <a16:creationId xmlns:a16="http://schemas.microsoft.com/office/drawing/2014/main" xmlns="" id="{97E9E5D1-FF13-46E0-A9E7-B6AE4F476F20}"/>
                </a:ext>
              </a:extLst>
            </p:cNvPr>
            <p:cNvSpPr/>
            <p:nvPr/>
          </p:nvSpPr>
          <p:spPr>
            <a:xfrm rot="10800000">
              <a:off x="3976236" y="5070394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6DB0E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4" name="Pentagon 13">
              <a:extLst>
                <a:ext uri="{FF2B5EF4-FFF2-40B4-BE49-F238E27FC236}">
                  <a16:creationId xmlns:a16="http://schemas.microsoft.com/office/drawing/2014/main" xmlns="" id="{17649123-E348-4786-87EB-4CA227704CC2}"/>
                </a:ext>
              </a:extLst>
            </p:cNvPr>
            <p:cNvSpPr/>
            <p:nvPr/>
          </p:nvSpPr>
          <p:spPr>
            <a:xfrm rot="10800000">
              <a:off x="5673309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FFC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5" name="Pentagon 13">
              <a:extLst>
                <a:ext uri="{FF2B5EF4-FFF2-40B4-BE49-F238E27FC236}">
                  <a16:creationId xmlns:a16="http://schemas.microsoft.com/office/drawing/2014/main" xmlns="" id="{56BB2D44-0247-47E1-B031-4CAEF8EFAF35}"/>
                </a:ext>
              </a:extLst>
            </p:cNvPr>
            <p:cNvSpPr/>
            <p:nvPr/>
          </p:nvSpPr>
          <p:spPr>
            <a:xfrm rot="10800000">
              <a:off x="7370382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476ADD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  <p:sp>
          <p:nvSpPr>
            <p:cNvPr id="76" name="Pentagon 13">
              <a:extLst>
                <a:ext uri="{FF2B5EF4-FFF2-40B4-BE49-F238E27FC236}">
                  <a16:creationId xmlns:a16="http://schemas.microsoft.com/office/drawing/2014/main" xmlns="" id="{5EC553C5-AC1D-4188-9766-415117FF314C}"/>
                </a:ext>
              </a:extLst>
            </p:cNvPr>
            <p:cNvSpPr/>
            <p:nvPr/>
          </p:nvSpPr>
          <p:spPr>
            <a:xfrm rot="10800000">
              <a:off x="9067454" y="5070393"/>
              <a:ext cx="2743200" cy="1527051"/>
            </a:xfrm>
            <a:prstGeom prst="homePlate">
              <a:avLst>
                <a:gd name="adj" fmla="val 28551"/>
              </a:avLst>
            </a:prstGeom>
            <a:solidFill>
              <a:srgbClr val="00B05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+mn-cs"/>
              </a:endParaRP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xmlns="" id="{0C2E085B-9884-49C7-8F7A-B17D641DF338}"/>
              </a:ext>
            </a:extLst>
          </p:cNvPr>
          <p:cNvSpPr/>
          <p:nvPr/>
        </p:nvSpPr>
        <p:spPr>
          <a:xfrm>
            <a:off x="6024526" y="2366762"/>
            <a:ext cx="50013" cy="1729952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D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pic>
        <p:nvPicPr>
          <p:cNvPr id="78" name="Picture 77">
            <a:extLst>
              <a:ext uri="{FF2B5EF4-FFF2-40B4-BE49-F238E27FC236}">
                <a16:creationId xmlns:a16="http://schemas.microsoft.com/office/drawing/2014/main" xmlns="" id="{61787ECA-A72C-40DB-8D14-EC5C8876DC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1846710" y="6082945"/>
            <a:ext cx="2548570" cy="650608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xmlns="" id="{BE6DDCEE-2A5B-441A-B96E-64F997B1C8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52" y="6046155"/>
            <a:ext cx="1587729" cy="570673"/>
          </a:xfrm>
          <a:prstGeom prst="rect">
            <a:avLst/>
          </a:prstGeom>
        </p:spPr>
      </p:pic>
      <p:grpSp>
        <p:nvGrpSpPr>
          <p:cNvPr id="80" name="Graphic 14">
            <a:extLst>
              <a:ext uri="{FF2B5EF4-FFF2-40B4-BE49-F238E27FC236}">
                <a16:creationId xmlns:a16="http://schemas.microsoft.com/office/drawing/2014/main" xmlns="" id="{AD23FD64-91B0-40D4-835F-B5F4723ADCC1}"/>
              </a:ext>
            </a:extLst>
          </p:cNvPr>
          <p:cNvGrpSpPr/>
          <p:nvPr/>
        </p:nvGrpSpPr>
        <p:grpSpPr>
          <a:xfrm>
            <a:off x="4660879" y="2263546"/>
            <a:ext cx="2878386" cy="2263900"/>
            <a:chOff x="2444748" y="555045"/>
            <a:chExt cx="7282048" cy="5727454"/>
          </a:xfrm>
        </p:grpSpPr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686615FB-B066-4F06-828A-1DBB1DB2EDE2}"/>
                </a:ext>
              </a:extLst>
            </p:cNvPr>
            <p:cNvSpPr/>
            <p:nvPr/>
          </p:nvSpPr>
          <p:spPr>
            <a:xfrm>
              <a:off x="4964693" y="5443837"/>
              <a:ext cx="2168250" cy="818208"/>
            </a:xfrm>
            <a:custGeom>
              <a:avLst/>
              <a:gdLst>
                <a:gd name="connsiteX0" fmla="*/ 1941333 w 2168250"/>
                <a:gd name="connsiteY0" fmla="*/ 525699 h 818207"/>
                <a:gd name="connsiteX1" fmla="*/ 1785874 w 2168250"/>
                <a:gd name="connsiteY1" fmla="*/ 30683 h 818207"/>
                <a:gd name="connsiteX2" fmla="*/ 1114943 w 2168250"/>
                <a:gd name="connsiteY2" fmla="*/ 30683 h 818207"/>
                <a:gd name="connsiteX3" fmla="*/ 1065851 w 2168250"/>
                <a:gd name="connsiteY3" fmla="*/ 30683 h 818207"/>
                <a:gd name="connsiteX4" fmla="*/ 390830 w 2168250"/>
                <a:gd name="connsiteY4" fmla="*/ 30683 h 818207"/>
                <a:gd name="connsiteX5" fmla="*/ 235370 w 2168250"/>
                <a:gd name="connsiteY5" fmla="*/ 525699 h 818207"/>
                <a:gd name="connsiteX6" fmla="*/ 259916 w 2168250"/>
                <a:gd name="connsiteY6" fmla="*/ 816162 h 818207"/>
                <a:gd name="connsiteX7" fmla="*/ 1065851 w 2168250"/>
                <a:gd name="connsiteY7" fmla="*/ 816162 h 818207"/>
                <a:gd name="connsiteX8" fmla="*/ 1114943 w 2168250"/>
                <a:gd name="connsiteY8" fmla="*/ 816162 h 818207"/>
                <a:gd name="connsiteX9" fmla="*/ 1920878 w 2168250"/>
                <a:gd name="connsiteY9" fmla="*/ 816162 h 818207"/>
                <a:gd name="connsiteX10" fmla="*/ 1941333 w 2168250"/>
                <a:gd name="connsiteY10" fmla="*/ 525699 h 818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168250" h="818207">
                  <a:moveTo>
                    <a:pt x="1941333" y="525699"/>
                  </a:moveTo>
                  <a:cubicBezTo>
                    <a:pt x="1789965" y="370239"/>
                    <a:pt x="1785874" y="30683"/>
                    <a:pt x="1785874" y="30683"/>
                  </a:cubicBezTo>
                  <a:lnTo>
                    <a:pt x="1114943" y="30683"/>
                  </a:lnTo>
                  <a:lnTo>
                    <a:pt x="1065851" y="30683"/>
                  </a:lnTo>
                  <a:lnTo>
                    <a:pt x="390830" y="30683"/>
                  </a:lnTo>
                  <a:cubicBezTo>
                    <a:pt x="390830" y="30683"/>
                    <a:pt x="386739" y="366148"/>
                    <a:pt x="235370" y="525699"/>
                  </a:cubicBezTo>
                  <a:cubicBezTo>
                    <a:pt x="84002" y="681158"/>
                    <a:pt x="-149188" y="816162"/>
                    <a:pt x="259916" y="816162"/>
                  </a:cubicBezTo>
                  <a:cubicBezTo>
                    <a:pt x="587199" y="816162"/>
                    <a:pt x="939029" y="816162"/>
                    <a:pt x="1065851" y="816162"/>
                  </a:cubicBezTo>
                  <a:cubicBezTo>
                    <a:pt x="1098579" y="816162"/>
                    <a:pt x="1114943" y="816162"/>
                    <a:pt x="1114943" y="816162"/>
                  </a:cubicBezTo>
                  <a:cubicBezTo>
                    <a:pt x="1245857" y="816162"/>
                    <a:pt x="1597686" y="816162"/>
                    <a:pt x="1920878" y="816162"/>
                  </a:cubicBezTo>
                  <a:cubicBezTo>
                    <a:pt x="2329982" y="816162"/>
                    <a:pt x="2092702" y="681158"/>
                    <a:pt x="1941333" y="525699"/>
                  </a:cubicBezTo>
                  <a:close/>
                </a:path>
              </a:pathLst>
            </a:custGeom>
            <a:gradFill>
              <a:gsLst>
                <a:gs pos="0">
                  <a:sysClr val="window" lastClr="FFFFFF">
                    <a:lumMod val="75000"/>
                  </a:sysClr>
                </a:gs>
                <a:gs pos="53000">
                  <a:sysClr val="window" lastClr="FFFFFF">
                    <a:lumMod val="85000"/>
                  </a:sysClr>
                </a:gs>
                <a:gs pos="83000">
                  <a:sysClr val="window" lastClr="FFFFFF">
                    <a:lumMod val="75000"/>
                  </a:sysClr>
                </a:gs>
                <a:gs pos="100000">
                  <a:sysClr val="window" lastClr="FFFFFF">
                    <a:lumMod val="75000"/>
                  </a:sysClr>
                </a:gs>
              </a:gsLst>
              <a:lin ang="16200000" scaled="0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C69CE7-DC0B-4182-9B73-FE96DC318A1E}"/>
                </a:ext>
              </a:extLst>
            </p:cNvPr>
            <p:cNvSpPr/>
            <p:nvPr/>
          </p:nvSpPr>
          <p:spPr>
            <a:xfrm>
              <a:off x="2444748" y="555045"/>
              <a:ext cx="7282048" cy="4950157"/>
            </a:xfrm>
            <a:custGeom>
              <a:avLst/>
              <a:gdLst>
                <a:gd name="connsiteX0" fmla="*/ 7038632 w 7282048"/>
                <a:gd name="connsiteY0" fmla="*/ 30683 h 4950157"/>
                <a:gd name="connsiteX1" fmla="*/ 3704436 w 7282048"/>
                <a:gd name="connsiteY1" fmla="*/ 30683 h 4950157"/>
                <a:gd name="connsiteX2" fmla="*/ 3589886 w 7282048"/>
                <a:gd name="connsiteY2" fmla="*/ 30683 h 4950157"/>
                <a:gd name="connsiteX3" fmla="*/ 259781 w 7282048"/>
                <a:gd name="connsiteY3" fmla="*/ 30683 h 4950157"/>
                <a:gd name="connsiteX4" fmla="*/ 30683 w 7282048"/>
                <a:gd name="connsiteY4" fmla="*/ 259781 h 4950157"/>
                <a:gd name="connsiteX5" fmla="*/ 30683 w 7282048"/>
                <a:gd name="connsiteY5" fmla="*/ 4698558 h 4950157"/>
                <a:gd name="connsiteX6" fmla="*/ 239326 w 7282048"/>
                <a:gd name="connsiteY6" fmla="*/ 4931748 h 4950157"/>
                <a:gd name="connsiteX7" fmla="*/ 7042723 w 7282048"/>
                <a:gd name="connsiteY7" fmla="*/ 4931748 h 4950157"/>
                <a:gd name="connsiteX8" fmla="*/ 7251366 w 7282048"/>
                <a:gd name="connsiteY8" fmla="*/ 4698558 h 4950157"/>
                <a:gd name="connsiteX9" fmla="*/ 7251366 w 7282048"/>
                <a:gd name="connsiteY9" fmla="*/ 259781 h 4950157"/>
                <a:gd name="connsiteX10" fmla="*/ 7038632 w 7282048"/>
                <a:gd name="connsiteY10" fmla="*/ 30683 h 49501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2048" h="4950157">
                  <a:moveTo>
                    <a:pt x="7038632" y="30683"/>
                  </a:moveTo>
                  <a:lnTo>
                    <a:pt x="3704436" y="30683"/>
                  </a:lnTo>
                  <a:lnTo>
                    <a:pt x="3589886" y="30683"/>
                  </a:lnTo>
                  <a:lnTo>
                    <a:pt x="259781" y="30683"/>
                  </a:lnTo>
                  <a:cubicBezTo>
                    <a:pt x="141141" y="30683"/>
                    <a:pt x="30683" y="128868"/>
                    <a:pt x="30683" y="259781"/>
                  </a:cubicBezTo>
                  <a:lnTo>
                    <a:pt x="30683" y="4698558"/>
                  </a:lnTo>
                  <a:cubicBezTo>
                    <a:pt x="30683" y="4829472"/>
                    <a:pt x="124777" y="4931748"/>
                    <a:pt x="239326" y="4931748"/>
                  </a:cubicBezTo>
                  <a:lnTo>
                    <a:pt x="7042723" y="4931748"/>
                  </a:lnTo>
                  <a:cubicBezTo>
                    <a:pt x="7157272" y="4931748"/>
                    <a:pt x="7251366" y="4825380"/>
                    <a:pt x="7251366" y="4698558"/>
                  </a:cubicBezTo>
                  <a:lnTo>
                    <a:pt x="7251366" y="259781"/>
                  </a:lnTo>
                  <a:cubicBezTo>
                    <a:pt x="7251366" y="128868"/>
                    <a:pt x="7157272" y="30683"/>
                    <a:pt x="7038632" y="30683"/>
                  </a:cubicBez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D690DD0-987B-4475-8C19-8417AEB87F7E}"/>
                </a:ext>
              </a:extLst>
            </p:cNvPr>
            <p:cNvSpPr/>
            <p:nvPr/>
          </p:nvSpPr>
          <p:spPr>
            <a:xfrm>
              <a:off x="8706599" y="5435655"/>
              <a:ext cx="490925" cy="81821"/>
            </a:xfrm>
            <a:custGeom>
              <a:avLst/>
              <a:gdLst>
                <a:gd name="connsiteX0" fmla="*/ 32212 w 490924"/>
                <a:gd name="connsiteY0" fmla="*/ 30683 h 81820"/>
                <a:gd name="connsiteX1" fmla="*/ 64939 w 490924"/>
                <a:gd name="connsiteY1" fmla="*/ 71593 h 81820"/>
                <a:gd name="connsiteX2" fmla="*/ 461771 w 490924"/>
                <a:gd name="connsiteY2" fmla="*/ 71593 h 81820"/>
                <a:gd name="connsiteX3" fmla="*/ 498590 w 490924"/>
                <a:gd name="connsiteY3" fmla="*/ 30683 h 81820"/>
                <a:gd name="connsiteX4" fmla="*/ 32212 w 490924"/>
                <a:gd name="connsiteY4" fmla="*/ 30683 h 81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924" h="81820">
                  <a:moveTo>
                    <a:pt x="32212" y="30683"/>
                  </a:moveTo>
                  <a:cubicBezTo>
                    <a:pt x="32212" y="30683"/>
                    <a:pt x="19938" y="67502"/>
                    <a:pt x="64939" y="71593"/>
                  </a:cubicBezTo>
                  <a:lnTo>
                    <a:pt x="461771" y="71593"/>
                  </a:lnTo>
                  <a:cubicBezTo>
                    <a:pt x="461771" y="71593"/>
                    <a:pt x="502681" y="75684"/>
                    <a:pt x="498590" y="30683"/>
                  </a:cubicBezTo>
                  <a:lnTo>
                    <a:pt x="32212" y="30683"/>
                  </a:lnTo>
                  <a:close/>
                </a:path>
              </a:pathLst>
            </a:custGeom>
            <a:solidFill>
              <a:srgbClr val="99999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25858951-3786-4F19-A433-80F5FAA2D376}"/>
                </a:ext>
              </a:extLst>
            </p:cNvPr>
            <p:cNvSpPr/>
            <p:nvPr/>
          </p:nvSpPr>
          <p:spPr>
            <a:xfrm>
              <a:off x="2481568" y="595956"/>
              <a:ext cx="7200228" cy="4336501"/>
            </a:xfrm>
            <a:custGeom>
              <a:avLst/>
              <a:gdLst>
                <a:gd name="connsiteX0" fmla="*/ 6973175 w 7200227"/>
                <a:gd name="connsiteY0" fmla="*/ 30683 h 4336501"/>
                <a:gd name="connsiteX1" fmla="*/ 3671707 w 7200227"/>
                <a:gd name="connsiteY1" fmla="*/ 30683 h 4336501"/>
                <a:gd name="connsiteX2" fmla="*/ 3561249 w 7200227"/>
                <a:gd name="connsiteY2" fmla="*/ 30683 h 4336501"/>
                <a:gd name="connsiteX3" fmla="*/ 259781 w 7200227"/>
                <a:gd name="connsiteY3" fmla="*/ 30683 h 4336501"/>
                <a:gd name="connsiteX4" fmla="*/ 30683 w 7200227"/>
                <a:gd name="connsiteY4" fmla="*/ 231144 h 4336501"/>
                <a:gd name="connsiteX5" fmla="*/ 30683 w 7200227"/>
                <a:gd name="connsiteY5" fmla="*/ 4330365 h 4336501"/>
                <a:gd name="connsiteX6" fmla="*/ 7185909 w 7200227"/>
                <a:gd name="connsiteY6" fmla="*/ 4330365 h 4336501"/>
                <a:gd name="connsiteX7" fmla="*/ 7185909 w 7200227"/>
                <a:gd name="connsiteY7" fmla="*/ 231144 h 4336501"/>
                <a:gd name="connsiteX8" fmla="*/ 6973175 w 7200227"/>
                <a:gd name="connsiteY8" fmla="*/ 30683 h 43365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4336501">
                  <a:moveTo>
                    <a:pt x="6973175" y="30683"/>
                  </a:moveTo>
                  <a:lnTo>
                    <a:pt x="3671707" y="30683"/>
                  </a:lnTo>
                  <a:lnTo>
                    <a:pt x="3561249" y="30683"/>
                  </a:lnTo>
                  <a:lnTo>
                    <a:pt x="259781" y="30683"/>
                  </a:lnTo>
                  <a:cubicBezTo>
                    <a:pt x="141141" y="30683"/>
                    <a:pt x="30683" y="112504"/>
                    <a:pt x="30683" y="231144"/>
                  </a:cubicBezTo>
                  <a:lnTo>
                    <a:pt x="30683" y="4330365"/>
                  </a:lnTo>
                  <a:lnTo>
                    <a:pt x="7185909" y="4330365"/>
                  </a:lnTo>
                  <a:lnTo>
                    <a:pt x="7185909" y="231144"/>
                  </a:lnTo>
                  <a:cubicBezTo>
                    <a:pt x="7185909" y="112504"/>
                    <a:pt x="7091815" y="30683"/>
                    <a:pt x="6973175" y="30683"/>
                  </a:cubicBezTo>
                  <a:close/>
                </a:path>
              </a:pathLst>
            </a:custGeom>
            <a:solidFill>
              <a:srgbClr val="231F2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3604ECD-B569-49D9-8814-ADBD38DAC91D}"/>
                </a:ext>
              </a:extLst>
            </p:cNvPr>
            <p:cNvSpPr/>
            <p:nvPr/>
          </p:nvSpPr>
          <p:spPr>
            <a:xfrm>
              <a:off x="4968919" y="6159768"/>
              <a:ext cx="2168250" cy="122731"/>
            </a:xfrm>
            <a:custGeom>
              <a:avLst/>
              <a:gdLst>
                <a:gd name="connsiteX0" fmla="*/ 30683 w 2168250"/>
                <a:gd name="connsiteY0" fmla="*/ 34774 h 122731"/>
                <a:gd name="connsiteX1" fmla="*/ 30683 w 2168250"/>
                <a:gd name="connsiteY1" fmla="*/ 34774 h 122731"/>
                <a:gd name="connsiteX2" fmla="*/ 30683 w 2168250"/>
                <a:gd name="connsiteY2" fmla="*/ 38865 h 122731"/>
                <a:gd name="connsiteX3" fmla="*/ 30683 w 2168250"/>
                <a:gd name="connsiteY3" fmla="*/ 38865 h 122731"/>
                <a:gd name="connsiteX4" fmla="*/ 263872 w 2168250"/>
                <a:gd name="connsiteY4" fmla="*/ 96140 h 122731"/>
                <a:gd name="connsiteX5" fmla="*/ 1069807 w 2168250"/>
                <a:gd name="connsiteY5" fmla="*/ 96140 h 122731"/>
                <a:gd name="connsiteX6" fmla="*/ 1118899 w 2168250"/>
                <a:gd name="connsiteY6" fmla="*/ 96140 h 122731"/>
                <a:gd name="connsiteX7" fmla="*/ 1924834 w 2168250"/>
                <a:gd name="connsiteY7" fmla="*/ 96140 h 122731"/>
                <a:gd name="connsiteX8" fmla="*/ 2153932 w 2168250"/>
                <a:gd name="connsiteY8" fmla="*/ 30683 h 122731"/>
                <a:gd name="connsiteX9" fmla="*/ 2137568 w 2168250"/>
                <a:gd name="connsiteY9" fmla="*/ 30683 h 122731"/>
                <a:gd name="connsiteX10" fmla="*/ 2137568 w 2168250"/>
                <a:gd name="connsiteY10" fmla="*/ 30683 h 122731"/>
                <a:gd name="connsiteX11" fmla="*/ 30683 w 2168250"/>
                <a:gd name="connsiteY11" fmla="*/ 30683 h 1227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168250" h="122731">
                  <a:moveTo>
                    <a:pt x="30683" y="34774"/>
                  </a:moveTo>
                  <a:lnTo>
                    <a:pt x="30683" y="34774"/>
                  </a:lnTo>
                  <a:cubicBezTo>
                    <a:pt x="30683" y="38865"/>
                    <a:pt x="30683" y="38865"/>
                    <a:pt x="30683" y="38865"/>
                  </a:cubicBezTo>
                  <a:lnTo>
                    <a:pt x="30683" y="38865"/>
                  </a:lnTo>
                  <a:cubicBezTo>
                    <a:pt x="30683" y="79775"/>
                    <a:pt x="96139" y="96140"/>
                    <a:pt x="263872" y="96140"/>
                  </a:cubicBezTo>
                  <a:cubicBezTo>
                    <a:pt x="591155" y="96140"/>
                    <a:pt x="942984" y="96140"/>
                    <a:pt x="1069807" y="96140"/>
                  </a:cubicBezTo>
                  <a:cubicBezTo>
                    <a:pt x="1102535" y="96140"/>
                    <a:pt x="1118899" y="96140"/>
                    <a:pt x="1118899" y="96140"/>
                  </a:cubicBezTo>
                  <a:cubicBezTo>
                    <a:pt x="1249812" y="96140"/>
                    <a:pt x="1601642" y="96140"/>
                    <a:pt x="1924834" y="96140"/>
                  </a:cubicBezTo>
                  <a:cubicBezTo>
                    <a:pt x="2092566" y="96140"/>
                    <a:pt x="2149841" y="75684"/>
                    <a:pt x="2153932" y="30683"/>
                  </a:cubicBezTo>
                  <a:lnTo>
                    <a:pt x="2137568" y="30683"/>
                  </a:lnTo>
                  <a:lnTo>
                    <a:pt x="2137568" y="30683"/>
                  </a:lnTo>
                  <a:lnTo>
                    <a:pt x="30683" y="30683"/>
                  </a:lnTo>
                  <a:close/>
                </a:path>
              </a:pathLst>
            </a:custGeom>
            <a:solidFill>
              <a:sysClr val="windowText" lastClr="000000">
                <a:lumMod val="50000"/>
                <a:lumOff val="50000"/>
              </a:sys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1A2BC851-B3BF-4588-84E3-8655DE9B6CAD}"/>
                </a:ext>
              </a:extLst>
            </p:cNvPr>
            <p:cNvSpPr/>
            <p:nvPr/>
          </p:nvSpPr>
          <p:spPr>
            <a:xfrm>
              <a:off x="2481568" y="4903820"/>
              <a:ext cx="7200228" cy="572745"/>
            </a:xfrm>
            <a:custGeom>
              <a:avLst/>
              <a:gdLst>
                <a:gd name="connsiteX0" fmla="*/ 30683 w 7200227"/>
                <a:gd name="connsiteY0" fmla="*/ 362057 h 572745"/>
                <a:gd name="connsiteX1" fmla="*/ 259781 w 7200227"/>
                <a:gd name="connsiteY1" fmla="*/ 562518 h 572745"/>
                <a:gd name="connsiteX2" fmla="*/ 3561249 w 7200227"/>
                <a:gd name="connsiteY2" fmla="*/ 562518 h 572745"/>
                <a:gd name="connsiteX3" fmla="*/ 3671707 w 7200227"/>
                <a:gd name="connsiteY3" fmla="*/ 562518 h 572745"/>
                <a:gd name="connsiteX4" fmla="*/ 6973175 w 7200227"/>
                <a:gd name="connsiteY4" fmla="*/ 562518 h 572745"/>
                <a:gd name="connsiteX5" fmla="*/ 7185909 w 7200227"/>
                <a:gd name="connsiteY5" fmla="*/ 362057 h 572745"/>
                <a:gd name="connsiteX6" fmla="*/ 7185909 w 7200227"/>
                <a:gd name="connsiteY6" fmla="*/ 30683 h 572745"/>
                <a:gd name="connsiteX7" fmla="*/ 30683 w 7200227"/>
                <a:gd name="connsiteY7" fmla="*/ 30683 h 572745"/>
                <a:gd name="connsiteX8" fmla="*/ 30683 w 7200227"/>
                <a:gd name="connsiteY8" fmla="*/ 362057 h 5727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200227" h="572745">
                  <a:moveTo>
                    <a:pt x="30683" y="362057"/>
                  </a:moveTo>
                  <a:cubicBezTo>
                    <a:pt x="30683" y="464333"/>
                    <a:pt x="141141" y="562518"/>
                    <a:pt x="259781" y="562518"/>
                  </a:cubicBezTo>
                  <a:lnTo>
                    <a:pt x="3561249" y="562518"/>
                  </a:lnTo>
                  <a:lnTo>
                    <a:pt x="3671707" y="562518"/>
                  </a:lnTo>
                  <a:lnTo>
                    <a:pt x="6973175" y="562518"/>
                  </a:lnTo>
                  <a:cubicBezTo>
                    <a:pt x="7091815" y="562518"/>
                    <a:pt x="7185909" y="464333"/>
                    <a:pt x="7185909" y="362057"/>
                  </a:cubicBezTo>
                  <a:lnTo>
                    <a:pt x="7185909" y="30683"/>
                  </a:lnTo>
                  <a:lnTo>
                    <a:pt x="30683" y="30683"/>
                  </a:lnTo>
                  <a:lnTo>
                    <a:pt x="30683" y="362057"/>
                  </a:lnTo>
                  <a:close/>
                </a:path>
              </a:pathLst>
            </a:custGeom>
            <a:solidFill>
              <a:sysClr val="window" lastClr="FFFFFF">
                <a:lumMod val="75000"/>
              </a:sys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6D9771BC-049E-41D1-8DFD-706CABC66DCA}"/>
                </a:ext>
              </a:extLst>
            </p:cNvPr>
            <p:cNvSpPr/>
            <p:nvPr/>
          </p:nvSpPr>
          <p:spPr>
            <a:xfrm>
              <a:off x="2747714" y="910966"/>
              <a:ext cx="6676116" cy="3763756"/>
            </a:xfrm>
            <a:custGeom>
              <a:avLst/>
              <a:gdLst>
                <a:gd name="connsiteX0" fmla="*/ 30683 w 6586571"/>
                <a:gd name="connsiteY0" fmla="*/ 30683 h 3763755"/>
                <a:gd name="connsiteX1" fmla="*/ 6564071 w 6586571"/>
                <a:gd name="connsiteY1" fmla="*/ 30683 h 3763755"/>
                <a:gd name="connsiteX2" fmla="*/ 6564071 w 6586571"/>
                <a:gd name="connsiteY2" fmla="*/ 3753528 h 3763755"/>
                <a:gd name="connsiteX3" fmla="*/ 30683 w 6586571"/>
                <a:gd name="connsiteY3" fmla="*/ 3753528 h 37637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586571" h="3763755">
                  <a:moveTo>
                    <a:pt x="30683" y="30683"/>
                  </a:moveTo>
                  <a:lnTo>
                    <a:pt x="6564071" y="30683"/>
                  </a:lnTo>
                  <a:lnTo>
                    <a:pt x="6564071" y="3753528"/>
                  </a:lnTo>
                  <a:lnTo>
                    <a:pt x="30683" y="3753528"/>
                  </a:lnTo>
                  <a:close/>
                </a:path>
              </a:pathLst>
            </a:custGeom>
            <a:solidFill>
              <a:srgbClr val="F2F2F2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8B08304C-4A20-4AC0-8B8B-03E4FB423E71}"/>
                </a:ext>
              </a:extLst>
            </p:cNvPr>
            <p:cNvSpPr/>
            <p:nvPr/>
          </p:nvSpPr>
          <p:spPr>
            <a:xfrm>
              <a:off x="5654591" y="939518"/>
              <a:ext cx="3769239" cy="3736342"/>
            </a:xfrm>
            <a:custGeom>
              <a:avLst/>
              <a:gdLst>
                <a:gd name="connsiteX0" fmla="*/ 2567127 w 4009217"/>
                <a:gd name="connsiteY0" fmla="*/ 30683 h 4295590"/>
                <a:gd name="connsiteX1" fmla="*/ 3798529 w 4009217"/>
                <a:gd name="connsiteY1" fmla="*/ 30683 h 4295590"/>
                <a:gd name="connsiteX2" fmla="*/ 4007172 w 4009217"/>
                <a:gd name="connsiteY2" fmla="*/ 272054 h 4295590"/>
                <a:gd name="connsiteX3" fmla="*/ 3998990 w 4009217"/>
                <a:gd name="connsiteY3" fmla="*/ 4268999 h 4295590"/>
                <a:gd name="connsiteX4" fmla="*/ 30683 w 4009217"/>
                <a:gd name="connsiteY4" fmla="*/ 4268999 h 4295590"/>
                <a:gd name="connsiteX0" fmla="*/ 2536444 w 3976489"/>
                <a:gd name="connsiteY0" fmla="*/ 0 h 4238316"/>
                <a:gd name="connsiteX1" fmla="*/ 3976489 w 3976489"/>
                <a:gd name="connsiteY1" fmla="*/ 241371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536444 w 3976489"/>
                <a:gd name="connsiteY0" fmla="*/ 0 h 4238316"/>
                <a:gd name="connsiteX1" fmla="*/ 3976489 w 3976489"/>
                <a:gd name="connsiteY1" fmla="*/ 213683 h 4238316"/>
                <a:gd name="connsiteX2" fmla="*/ 3968307 w 3976489"/>
                <a:gd name="connsiteY2" fmla="*/ 4238316 h 4238316"/>
                <a:gd name="connsiteX3" fmla="*/ 0 w 3976489"/>
                <a:gd name="connsiteY3" fmla="*/ 4238316 h 4238316"/>
                <a:gd name="connsiteX0" fmla="*/ 2473335 w 3976489"/>
                <a:gd name="connsiteY0" fmla="*/ 0 h 4035268"/>
                <a:gd name="connsiteX1" fmla="*/ 3976489 w 3976489"/>
                <a:gd name="connsiteY1" fmla="*/ 10635 h 4035268"/>
                <a:gd name="connsiteX2" fmla="*/ 3968307 w 3976489"/>
                <a:gd name="connsiteY2" fmla="*/ 4035268 h 4035268"/>
                <a:gd name="connsiteX3" fmla="*/ 0 w 3976489"/>
                <a:gd name="connsiteY3" fmla="*/ 4035268 h 4035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976489" h="4035268">
                  <a:moveTo>
                    <a:pt x="2473335" y="0"/>
                  </a:moveTo>
                  <a:lnTo>
                    <a:pt x="3976489" y="10635"/>
                  </a:lnTo>
                  <a:cubicBezTo>
                    <a:pt x="3973762" y="1342950"/>
                    <a:pt x="3971034" y="2702953"/>
                    <a:pt x="3968307" y="4035268"/>
                  </a:cubicBezTo>
                  <a:lnTo>
                    <a:pt x="0" y="4035268"/>
                  </a:lnTo>
                </a:path>
              </a:pathLst>
            </a:custGeom>
            <a:solidFill>
              <a:srgbClr val="999999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</a:endParaRPr>
            </a:p>
          </p:txBody>
        </p:sp>
      </p:grpSp>
      <p:pic>
        <p:nvPicPr>
          <p:cNvPr id="89" name="Google Shape;856;p79">
            <a:extLst>
              <a:ext uri="{FF2B5EF4-FFF2-40B4-BE49-F238E27FC236}">
                <a16:creationId xmlns:a16="http://schemas.microsoft.com/office/drawing/2014/main" xmlns="" id="{A4BD0423-F92D-4C13-BB45-1D97703FBB8A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6146922" y="1257018"/>
            <a:ext cx="1945075" cy="2271786"/>
          </a:xfrm>
          <a:prstGeom prst="rect">
            <a:avLst/>
          </a:prstGeom>
          <a:noFill/>
          <a:ln>
            <a:noFill/>
          </a:ln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919E30B7-1C08-4C0F-AD1E-94216DDEDE3E}"/>
              </a:ext>
            </a:extLst>
          </p:cNvPr>
          <p:cNvSpPr/>
          <p:nvPr/>
        </p:nvSpPr>
        <p:spPr>
          <a:xfrm>
            <a:off x="815992" y="3857641"/>
            <a:ext cx="2818225" cy="1323439"/>
          </a:xfrm>
          <a:prstGeom prst="rect">
            <a:avLst/>
          </a:prstGeom>
          <a:solidFill>
            <a:srgbClr val="47D3DC">
              <a:lumMod val="60000"/>
              <a:lumOff val="40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rkolaboras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K/L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ndorong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laksanakanny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nega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langgar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ras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SN</a:t>
            </a:r>
            <a:endParaRPr kumimoji="0" lang="en-ID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xmlns="" id="{553151AE-8654-4026-B1D1-3F88448284B5}"/>
              </a:ext>
            </a:extLst>
          </p:cNvPr>
          <p:cNvSpPr/>
          <p:nvPr/>
        </p:nvSpPr>
        <p:spPr>
          <a:xfrm>
            <a:off x="731520" y="1831586"/>
            <a:ext cx="2863326" cy="1323439"/>
          </a:xfrm>
          <a:prstGeom prst="rect">
            <a:avLst/>
          </a:prstGeom>
          <a:solidFill>
            <a:srgbClr val="002060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algn="ctr"/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mastik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as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SN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laksana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bagai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ntuk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onkrit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implementasikannya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NSPK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najeme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SN 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681D7F39-480B-48F7-ADB0-6E6A2A276455}"/>
              </a:ext>
            </a:extLst>
          </p:cNvPr>
          <p:cNvSpPr/>
          <p:nvPr/>
        </p:nvSpPr>
        <p:spPr>
          <a:xfrm>
            <a:off x="8111289" y="4330636"/>
            <a:ext cx="3371781" cy="1815882"/>
          </a:xfrm>
          <a:prstGeom prst="rect">
            <a:avLst/>
          </a:prstGeom>
          <a:solidFill>
            <a:srgbClr val="37894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algn="ctr"/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laksanak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ndak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ngendali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rupa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ringat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gur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ingga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mblokir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ata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epegawaian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ada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APK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al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PK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elum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nindaklanjuti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ekomendasi</a:t>
            </a:r>
            <a:r>
              <a:rPr lang="en-ID" sz="1600" dirty="0">
                <a:solidFill>
                  <a:prstClr val="white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KASN</a:t>
            </a:r>
            <a:endParaRPr lang="en-ID" sz="1600" dirty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41058960-05E3-4F5C-810C-EE8E1A3D274C}"/>
              </a:ext>
            </a:extLst>
          </p:cNvPr>
          <p:cNvSpPr/>
          <p:nvPr/>
        </p:nvSpPr>
        <p:spPr>
          <a:xfrm>
            <a:off x="8544161" y="1363856"/>
            <a:ext cx="3235513" cy="2308324"/>
          </a:xfrm>
          <a:prstGeom prst="rect">
            <a:avLst/>
          </a:prstGeom>
          <a:solidFill>
            <a:srgbClr val="476ADD">
              <a:lumMod val="75000"/>
            </a:srgb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masti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pelanggar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netralitas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yang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wajib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itindaklanjut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eng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mekanisme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penjatuh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isipli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sebagaimana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yang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iatur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alam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PP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Nomor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94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Tahu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2021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laku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nggunaka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plikasi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ntegrated </a:t>
            </a:r>
            <a:r>
              <a:rPr kumimoji="0" lang="en-ID" sz="16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siplin</a:t>
            </a:r>
            <a:r>
              <a:rPr kumimoji="0" lang="en-ID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(I’DIS)</a:t>
            </a:r>
            <a:endParaRPr kumimoji="0" lang="en-ID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xmlns="" id="{33C72DE6-0B94-4EE2-9E42-99B316E63177}"/>
              </a:ext>
            </a:extLst>
          </p:cNvPr>
          <p:cNvSpPr/>
          <p:nvPr/>
        </p:nvSpPr>
        <p:spPr>
          <a:xfrm>
            <a:off x="1533139" y="817483"/>
            <a:ext cx="9032786" cy="4369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D" sz="2200" b="1" dirty="0">
                <a:solidFill>
                  <a:prstClr val="black"/>
                </a:solidFill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RAN BKN DALAM UPAYA MEMASTIKAN NETRALITAS ASN</a:t>
            </a:r>
            <a:endParaRPr lang="en-ID" sz="2200" dirty="0">
              <a:solidFill>
                <a:prstClr val="black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5" name="Picture 5">
            <a:extLst>
              <a:ext uri="{FF2B5EF4-FFF2-40B4-BE49-F238E27FC236}">
                <a16:creationId xmlns:a16="http://schemas.microsoft.com/office/drawing/2014/main" xmlns="" id="{E00A509A-A8B6-438A-813A-FD5523963612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4903816" y="2779519"/>
            <a:ext cx="2341445" cy="742297"/>
          </a:xfrm>
          <a:prstGeom prst="rect">
            <a:avLst/>
          </a:prstGeom>
        </p:spPr>
      </p:pic>
      <p:pic>
        <p:nvPicPr>
          <p:cNvPr id="3" name="object 4">
            <a:extLst>
              <a:ext uri="{FF2B5EF4-FFF2-40B4-BE49-F238E27FC236}">
                <a16:creationId xmlns:a16="http://schemas.microsoft.com/office/drawing/2014/main" xmlns="" id="{E98F1ADE-A851-99F4-01B1-BC19914B7B4B}"/>
              </a:ext>
            </a:extLst>
          </p:cNvPr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230114" y="296353"/>
            <a:ext cx="1695449" cy="5016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E9D1CB8-AFA5-79A8-CA87-44A65F9D3CC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7103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4">
            <a:extLst>
              <a:ext uri="{FF2B5EF4-FFF2-40B4-BE49-F238E27FC236}">
                <a16:creationId xmlns:a16="http://schemas.microsoft.com/office/drawing/2014/main" xmlns="" id="{86FF76B9-219D-4469-AF87-0236D29032F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C05EB894-9410-4B20-95E4-7A25101AB895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8900000" flipH="1">
            <a:off x="11198218" y="-231223"/>
            <a:ext cx="1409491" cy="1876653"/>
          </a:xfrm>
          <a:custGeom>
            <a:avLst/>
            <a:gdLst>
              <a:gd name="connsiteX0" fmla="*/ 0 w 1409491"/>
              <a:gd name="connsiteY0" fmla="*/ 643075 h 1876653"/>
              <a:gd name="connsiteX1" fmla="*/ 643075 w 1409491"/>
              <a:gd name="connsiteY1" fmla="*/ 0 h 1876653"/>
              <a:gd name="connsiteX2" fmla="*/ 1409491 w 1409491"/>
              <a:gd name="connsiteY2" fmla="*/ 0 h 1876653"/>
              <a:gd name="connsiteX3" fmla="*/ 1409491 w 1409491"/>
              <a:gd name="connsiteY3" fmla="*/ 1876653 h 1876653"/>
              <a:gd name="connsiteX4" fmla="*/ 1233578 w 1409491"/>
              <a:gd name="connsiteY4" fmla="*/ 1876653 h 1876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9491" h="1876653">
                <a:moveTo>
                  <a:pt x="0" y="643075"/>
                </a:moveTo>
                <a:lnTo>
                  <a:pt x="643075" y="0"/>
                </a:lnTo>
                <a:lnTo>
                  <a:pt x="1409491" y="0"/>
                </a:lnTo>
                <a:lnTo>
                  <a:pt x="1409491" y="1876653"/>
                </a:lnTo>
                <a:lnTo>
                  <a:pt x="1233578" y="1876653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166E38B6-B050-4340-8E8F-3A971DADC031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/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18900000" flipH="1">
            <a:off x="11405658" y="1282788"/>
            <a:ext cx="485578" cy="48557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2E80C965-DB6D-4F81-9E9E-B027384D0BD6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 rot="2700000">
            <a:off x="2737196" y="6033666"/>
            <a:ext cx="645368" cy="645368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Isosceles Triangle 22">
            <a:extLst>
              <a:ext uri="{FF2B5EF4-FFF2-40B4-BE49-F238E27FC236}">
                <a16:creationId xmlns:a16="http://schemas.microsoft.com/office/drawing/2014/main" xmlns="" id="{633C5E46-DAC5-4661-9C87-22B08E2A512F}"/>
              </a:ext>
              <a:ext uri="{C183D7F6-B498-43B3-948B-1728B52AA6E4}">
                <adec:decorative xmlns:adec="http://schemas.microsoft.com/office/drawing/2017/decorative" xmlns="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xmlns="" val="1"/>
              </p:ext>
            </p:extLst>
          </p:nvPr>
        </p:nvSpPr>
        <p:spPr>
          <a:xfrm>
            <a:off x="1343436" y="5721108"/>
            <a:ext cx="2261965" cy="1136891"/>
          </a:xfrm>
          <a:prstGeom prst="triangle">
            <a:avLst>
              <a:gd name="adj" fmla="val 50000"/>
            </a:avLst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6C82EAF9-A181-4F91-8552-1A566BBF224C}"/>
              </a:ext>
            </a:extLst>
          </p:cNvPr>
          <p:cNvSpPr txBox="1"/>
          <p:nvPr/>
        </p:nvSpPr>
        <p:spPr>
          <a:xfrm>
            <a:off x="1680865" y="5156223"/>
            <a:ext cx="2140961" cy="675057"/>
          </a:xfrm>
          <a:prstGeom prst="rect">
            <a:avLst/>
          </a:prstGeom>
          <a:noFill/>
        </p:spPr>
        <p:txBody>
          <a:bodyPr wrap="square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맑은 고딕"/>
                <a:cs typeface="+mn-cs"/>
              </a:rPr>
              <a:t>Modern Portfolio Designed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xmlns="" id="{0C1F6EC7-C56B-449B-A954-A51B1E1FC07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009" r="23009"/>
          <a:stretch>
            <a:fillRect/>
          </a:stretch>
        </p:blipFill>
        <p:spPr>
          <a:xfrm>
            <a:off x="21369" y="1058762"/>
            <a:ext cx="5068123" cy="5571065"/>
          </a:xfrm>
        </p:spPr>
      </p:pic>
      <p:pic>
        <p:nvPicPr>
          <p:cNvPr id="20" name="Picture 5">
            <a:extLst>
              <a:ext uri="{FF2B5EF4-FFF2-40B4-BE49-F238E27FC236}">
                <a16:creationId xmlns:a16="http://schemas.microsoft.com/office/drawing/2014/main" xmlns="" id="{554D54F7-D8C9-462C-A9D8-51974594C16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189184" y="190624"/>
            <a:ext cx="1828816" cy="579781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35E31051-9185-4900-8F83-F8FB23593F13}"/>
              </a:ext>
            </a:extLst>
          </p:cNvPr>
          <p:cNvSpPr/>
          <p:nvPr/>
        </p:nvSpPr>
        <p:spPr>
          <a:xfrm>
            <a:off x="0" y="6551811"/>
            <a:ext cx="12192000" cy="306189"/>
          </a:xfrm>
          <a:prstGeom prst="rect">
            <a:avLst/>
          </a:prstGeom>
          <a:solidFill>
            <a:srgbClr val="CB3D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82BBCBB9-9BFC-47EB-B253-6A1C43C4D6AE}"/>
              </a:ext>
            </a:extLst>
          </p:cNvPr>
          <p:cNvSpPr/>
          <p:nvPr/>
        </p:nvSpPr>
        <p:spPr>
          <a:xfrm>
            <a:off x="5202622" y="940448"/>
            <a:ext cx="6535511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ID" sz="2200" b="1" dirty="0">
                <a:latin typeface="Bookman Old Style" panose="02050604050505020204" pitchFamily="18" charset="0"/>
              </a:rPr>
              <a:t>KOMITMEN BKN UNTUK MEWUJUDKAN NETRALITAS ASN PADA PILKADA SERENTAK TAHUN 2024</a:t>
            </a:r>
            <a:endParaRPr lang="en-ID" sz="2200" dirty="0">
              <a:latin typeface="Bookman Old Style" panose="02050604050505020204" pitchFamily="18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421D1826-C79D-48B8-A9E8-73F1A3EC21BA}"/>
              </a:ext>
            </a:extLst>
          </p:cNvPr>
          <p:cNvSpPr/>
          <p:nvPr/>
        </p:nvSpPr>
        <p:spPr>
          <a:xfrm>
            <a:off x="5386239" y="1947913"/>
            <a:ext cx="63518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pay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olaboratif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K/L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kait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masti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hw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al-hal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yang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la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atur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UU ASN, PP 94/2021,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tegas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embal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lalu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SKB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as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ilaksana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eluru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ans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merintah</a:t>
            </a:r>
            <a:endParaRPr lang="en-ID" sz="1600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5AE7BED6-E414-49BD-A46F-4FDB4C1CCA40}"/>
              </a:ext>
            </a:extLst>
          </p:cNvPr>
          <p:cNvSpPr/>
          <p:nvPr/>
        </p:nvSpPr>
        <p:spPr>
          <a:xfrm>
            <a:off x="5256777" y="3260943"/>
            <a:ext cx="648135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paya-upay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ndorong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ans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merinta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hususny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ans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era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masti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dak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jad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langgar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as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SN dan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laku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inda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ngendali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hal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la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jad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langgar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as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ASN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aik</a:t>
            </a:r>
            <a:endParaRPr lang="en-ID" sz="16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4175D2F9-8225-4DF5-9685-DB520A858E54}"/>
              </a:ext>
            </a:extLst>
          </p:cNvPr>
          <p:cNvSpPr/>
          <p:nvPr/>
        </p:nvSpPr>
        <p:spPr>
          <a:xfrm>
            <a:off x="4656448" y="4669663"/>
            <a:ext cx="708168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oordinasi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K/L yang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ergabung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atgas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etralitas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upu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PPK/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yB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/Unit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erj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ngelola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epegawai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di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asing-masing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nstansi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merintah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mengedepankan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rinsip</a:t>
            </a:r>
            <a:r>
              <a:rPr lang="en-ID" sz="1600" dirty="0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latin typeface="Bookman Old Style" panose="020506040505050202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pencegahan</a:t>
            </a:r>
            <a:endParaRPr lang="en-ID" sz="1600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FACFE877-AF54-430B-A3F3-26B8D1D5D0A6}"/>
              </a:ext>
            </a:extLst>
          </p:cNvPr>
          <p:cNvSpPr txBox="1"/>
          <p:nvPr/>
        </p:nvSpPr>
        <p:spPr>
          <a:xfrm flipH="1">
            <a:off x="4902760" y="2070155"/>
            <a:ext cx="491769" cy="491769"/>
          </a:xfrm>
          <a:prstGeom prst="teardrop">
            <a:avLst/>
          </a:prstGeom>
          <a:solidFill>
            <a:srgbClr val="8430D1"/>
          </a:solidFill>
        </p:spPr>
        <p:txBody>
          <a:bodyPr wrap="non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ahnschrift" panose="020B0502040204020203" pitchFamily="34" charset="0"/>
              </a:rPr>
              <a:t>01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AA2941EB-7813-493F-A4EE-56BE8BFE053A}"/>
              </a:ext>
            </a:extLst>
          </p:cNvPr>
          <p:cNvSpPr txBox="1"/>
          <p:nvPr/>
        </p:nvSpPr>
        <p:spPr>
          <a:xfrm flipH="1">
            <a:off x="4728065" y="3350724"/>
            <a:ext cx="491769" cy="491769"/>
          </a:xfrm>
          <a:prstGeom prst="teardrop">
            <a:avLst/>
          </a:prstGeom>
          <a:solidFill>
            <a:srgbClr val="8430D1"/>
          </a:solidFill>
        </p:spPr>
        <p:txBody>
          <a:bodyPr wrap="non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ahnschrift" panose="020B0502040204020203" pitchFamily="34" charset="0"/>
              </a:rPr>
              <a:t>02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B54A3D39-A54A-4FF7-9294-7E86DBBC49CC}"/>
              </a:ext>
            </a:extLst>
          </p:cNvPr>
          <p:cNvSpPr txBox="1"/>
          <p:nvPr/>
        </p:nvSpPr>
        <p:spPr>
          <a:xfrm flipH="1">
            <a:off x="4130541" y="4716503"/>
            <a:ext cx="491769" cy="491769"/>
          </a:xfrm>
          <a:prstGeom prst="teardrop">
            <a:avLst/>
          </a:prstGeom>
          <a:solidFill>
            <a:srgbClr val="8430D1"/>
          </a:solidFill>
        </p:spPr>
        <p:txBody>
          <a:bodyPr wrap="none" lIns="0" r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Bahnschrift" panose="020B0502040204020203" pitchFamily="34" charset="0"/>
              </a:rPr>
              <a:t>03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CC13C510-EF6A-E60E-F2F2-BE381A3C5A2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69" b="35537"/>
          <a:stretch/>
        </p:blipFill>
        <p:spPr>
          <a:xfrm>
            <a:off x="9690227" y="5917552"/>
            <a:ext cx="2548570" cy="6506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13CB86E1-A3E4-F9D5-8E7C-BDDCAC4B2F0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239" y="5957120"/>
            <a:ext cx="1587729" cy="57067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6C7F38AB-FDC1-C6F2-62D9-B185035C66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32534" y="188960"/>
            <a:ext cx="1385573" cy="70452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FE4EB944-0FB7-6552-10D1-3F586A1C5977}"/>
              </a:ext>
            </a:extLst>
          </p:cNvPr>
          <p:cNvSpPr/>
          <p:nvPr/>
        </p:nvSpPr>
        <p:spPr>
          <a:xfrm>
            <a:off x="27170" y="6551811"/>
            <a:ext cx="12192000" cy="306189"/>
          </a:xfrm>
          <a:prstGeom prst="rect">
            <a:avLst/>
          </a:prstGeom>
          <a:solidFill>
            <a:srgbClr val="CB3D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CEAD7465-9DAE-239F-1DC5-E0102AA6AA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239" y="5946751"/>
            <a:ext cx="1587729" cy="5706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682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60D02E98-7E01-4504-813D-641144C2048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14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3ivVpiBLSVXrh_cxXSmeQ"/>
</p:tagLst>
</file>

<file path=ppt/theme/theme1.xml><?xml version="1.0" encoding="utf-8"?>
<a:theme xmlns:a="http://schemas.openxmlformats.org/drawingml/2006/main" name="Contents Slide Master">
  <a:themeElements>
    <a:clrScheme name="ALLPPT-COLOR-14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E6CC1"/>
      </a:accent1>
      <a:accent2>
        <a:srgbClr val="B982D5"/>
      </a:accent2>
      <a:accent3>
        <a:srgbClr val="6DB0E4"/>
      </a:accent3>
      <a:accent4>
        <a:srgbClr val="47D3DC"/>
      </a:accent4>
      <a:accent5>
        <a:srgbClr val="476ADD"/>
      </a:accent5>
      <a:accent6>
        <a:srgbClr val="5A28C8"/>
      </a:accent6>
      <a:hlink>
        <a:srgbClr val="FFFF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7_Contents Slide Master">
  <a:themeElements>
    <a:clrScheme name="ALLPPT-209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62949"/>
      </a:accent1>
      <a:accent2>
        <a:srgbClr val="F07624"/>
      </a:accent2>
      <a:accent3>
        <a:srgbClr val="F4BD2D"/>
      </a:accent3>
      <a:accent4>
        <a:srgbClr val="1ED4DE"/>
      </a:accent4>
      <a:accent5>
        <a:srgbClr val="1C7DE1"/>
      </a:accent5>
      <a:accent6>
        <a:srgbClr val="CBCBCB"/>
      </a:accent6>
      <a:hlink>
        <a:srgbClr val="000000"/>
      </a:hlink>
      <a:folHlink>
        <a:srgbClr val="00000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8_Contents Slide Master">
  <a:themeElements>
    <a:clrScheme name="ALLPPT-139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FF3F02"/>
      </a:accent1>
      <a:accent2>
        <a:srgbClr val="FF8853"/>
      </a:accent2>
      <a:accent3>
        <a:srgbClr val="F0D152"/>
      </a:accent3>
      <a:accent4>
        <a:srgbClr val="CADA4C"/>
      </a:accent4>
      <a:accent5>
        <a:srgbClr val="19BD9E"/>
      </a:accent5>
      <a:accent6>
        <a:srgbClr val="019ED7"/>
      </a:accent6>
      <a:hlink>
        <a:srgbClr val="FFFF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Office Theme">
  <a:themeElements>
    <a:clrScheme name="Poster Researc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983C4"/>
      </a:accent1>
      <a:accent2>
        <a:srgbClr val="90DEF0"/>
      </a:accent2>
      <a:accent3>
        <a:srgbClr val="F6FCFC"/>
      </a:accent3>
      <a:accent4>
        <a:srgbClr val="FE3C32"/>
      </a:accent4>
      <a:accent5>
        <a:srgbClr val="161619"/>
      </a:accent5>
      <a:accent6>
        <a:srgbClr val="161619"/>
      </a:accent6>
      <a:hlink>
        <a:srgbClr val="2F5CD6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ection Break Slide Master">
  <a:themeElements>
    <a:clrScheme name="ALLPPT-COLOR-14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E6CC1"/>
      </a:accent1>
      <a:accent2>
        <a:srgbClr val="B982D5"/>
      </a:accent2>
      <a:accent3>
        <a:srgbClr val="6DB0E4"/>
      </a:accent3>
      <a:accent4>
        <a:srgbClr val="47D3DC"/>
      </a:accent4>
      <a:accent5>
        <a:srgbClr val="476ADD"/>
      </a:accent5>
      <a:accent6>
        <a:srgbClr val="5A28C8"/>
      </a:accent6>
      <a:hlink>
        <a:srgbClr val="FFFF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ontents Slide Master">
  <a:themeElements>
    <a:clrScheme name="ALLPPT-COLOR-14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EE6CC1"/>
      </a:accent1>
      <a:accent2>
        <a:srgbClr val="B982D5"/>
      </a:accent2>
      <a:accent3>
        <a:srgbClr val="6DB0E4"/>
      </a:accent3>
      <a:accent4>
        <a:srgbClr val="47D3DC"/>
      </a:accent4>
      <a:accent5>
        <a:srgbClr val="476ADD"/>
      </a:accent5>
      <a:accent6>
        <a:srgbClr val="5A28C8"/>
      </a:accent6>
      <a:hlink>
        <a:srgbClr val="FFFF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Public Consulting by Slidesgo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Contents Slide Master">
  <a:themeElements>
    <a:clrScheme name="ALLPPT-225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E034"/>
      </a:accent1>
      <a:accent2>
        <a:srgbClr val="B0D66C"/>
      </a:accent2>
      <a:accent3>
        <a:srgbClr val="FF870F"/>
      </a:accent3>
      <a:accent4>
        <a:srgbClr val="96C8E9"/>
      </a:accent4>
      <a:accent5>
        <a:srgbClr val="FC79B2"/>
      </a:accent5>
      <a:accent6>
        <a:srgbClr val="B37EB3"/>
      </a:accent6>
      <a:hlink>
        <a:srgbClr val="FFFFFF"/>
      </a:hlink>
      <a:folHlink>
        <a:srgbClr val="262626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3_Contents Slide Master">
  <a:themeElements>
    <a:clrScheme name="ALLPPT-212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07A398"/>
      </a:accent1>
      <a:accent2>
        <a:srgbClr val="0680C3"/>
      </a:accent2>
      <a:accent3>
        <a:srgbClr val="FBA200"/>
      </a:accent3>
      <a:accent4>
        <a:srgbClr val="E62601"/>
      </a:accent4>
      <a:accent5>
        <a:srgbClr val="2C2F45"/>
      </a:accent5>
      <a:accent6>
        <a:srgbClr val="2C2F45"/>
      </a:accent6>
      <a:hlink>
        <a:srgbClr val="0000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Contents Slide Master">
  <a:themeElements>
    <a:clrScheme name="ALLPPT-221">
      <a:dk1>
        <a:srgbClr val="000000"/>
      </a:dk1>
      <a:lt1>
        <a:sysClr val="window" lastClr="FFFFFF"/>
      </a:lt1>
      <a:dk2>
        <a:srgbClr val="1F497D"/>
      </a:dk2>
      <a:lt2>
        <a:srgbClr val="EEECE1"/>
      </a:lt2>
      <a:accent1>
        <a:srgbClr val="4FC1CF"/>
      </a:accent1>
      <a:accent2>
        <a:srgbClr val="EBC149"/>
      </a:accent2>
      <a:accent3>
        <a:srgbClr val="F26122"/>
      </a:accent3>
      <a:accent4>
        <a:srgbClr val="6F1F51"/>
      </a:accent4>
      <a:accent5>
        <a:srgbClr val="2C2F45"/>
      </a:accent5>
      <a:accent6>
        <a:srgbClr val="2C2F45"/>
      </a:accent6>
      <a:hlink>
        <a:srgbClr val="0000FF"/>
      </a:hlink>
      <a:folHlink>
        <a:srgbClr val="800080"/>
      </a:folHlink>
    </a:clrScheme>
    <a:fontScheme name="ALLPPT PONTS">
      <a:majorFont>
        <a:latin typeface="Arial"/>
        <a:ea typeface="Malgun Gothic"/>
        <a:cs typeface=""/>
      </a:majorFont>
      <a:minorFont>
        <a:latin typeface="Arial"/>
        <a:ea typeface="맑은 고딕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Contents Slide Master">
  <a:themeElements>
    <a:clrScheme name="ALLPPT-123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1BCB9"/>
      </a:accent1>
      <a:accent2>
        <a:srgbClr val="BED381"/>
      </a:accent2>
      <a:accent3>
        <a:srgbClr val="63C7EE"/>
      </a:accent3>
      <a:accent4>
        <a:srgbClr val="E86162"/>
      </a:accent4>
      <a:accent5>
        <a:srgbClr val="7F7F7F"/>
      </a:accent5>
      <a:accent6>
        <a:srgbClr val="134055"/>
      </a:accent6>
      <a:hlink>
        <a:srgbClr val="FFFFFF"/>
      </a:hlink>
      <a:folHlink>
        <a:srgbClr val="262626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Contents Slide Master">
  <a:themeElements>
    <a:clrScheme name="ALLPPT-41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2B7E8"/>
      </a:accent1>
      <a:accent2>
        <a:srgbClr val="4185B5"/>
      </a:accent2>
      <a:accent3>
        <a:srgbClr val="285D8D"/>
      </a:accent3>
      <a:accent4>
        <a:srgbClr val="134070"/>
      </a:accent4>
      <a:accent5>
        <a:srgbClr val="091424"/>
      </a:accent5>
      <a:accent6>
        <a:srgbClr val="929EE3"/>
      </a:accent6>
      <a:hlink>
        <a:srgbClr val="FFFFFF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93</TotalTime>
  <Words>934</Words>
  <Application>Microsoft Office PowerPoint</Application>
  <PresentationFormat>Widescreen</PresentationFormat>
  <Paragraphs>130</Paragraphs>
  <Slides>2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27</vt:i4>
      </vt:variant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70" baseType="lpstr">
      <vt:lpstr>Arial Unicode MS</vt:lpstr>
      <vt:lpstr>Malgun Gothic</vt:lpstr>
      <vt:lpstr>Malgun Gothic</vt:lpstr>
      <vt:lpstr>Arial</vt:lpstr>
      <vt:lpstr>Arial Narrow</vt:lpstr>
      <vt:lpstr>Arimo</vt:lpstr>
      <vt:lpstr>Bahnschrift</vt:lpstr>
      <vt:lpstr>Bahnschrift SemiLight Condensed</vt:lpstr>
      <vt:lpstr>Berlin Sans FB</vt:lpstr>
      <vt:lpstr>Berlin Sans FB Demi</vt:lpstr>
      <vt:lpstr>Book Antiqua</vt:lpstr>
      <vt:lpstr>Bookman Old Style</vt:lpstr>
      <vt:lpstr>Calibri</vt:lpstr>
      <vt:lpstr>Calibri Light</vt:lpstr>
      <vt:lpstr>Cambria</vt:lpstr>
      <vt:lpstr>Fira Sans Extra Condensed</vt:lpstr>
      <vt:lpstr>Fira Sans Extra Condensed Medium</vt:lpstr>
      <vt:lpstr>Lato Black</vt:lpstr>
      <vt:lpstr>Muli Bold</vt:lpstr>
      <vt:lpstr>Overpass Black</vt:lpstr>
      <vt:lpstr>Perpetua Titling MT</vt:lpstr>
      <vt:lpstr>Poppins Bold</vt:lpstr>
      <vt:lpstr>Roboto</vt:lpstr>
      <vt:lpstr>Segoe UI</vt:lpstr>
      <vt:lpstr>Segoe UI Light</vt:lpstr>
      <vt:lpstr>Source Sans Pro</vt:lpstr>
      <vt:lpstr>Times New Roman</vt:lpstr>
      <vt:lpstr>Contents Slide Master</vt:lpstr>
      <vt:lpstr>Section Break Slide Master</vt:lpstr>
      <vt:lpstr>1_Contents Slide Master</vt:lpstr>
      <vt:lpstr>Public Consulting by Slidesgo</vt:lpstr>
      <vt:lpstr>2_Contents Slide Master</vt:lpstr>
      <vt:lpstr>3_Contents Slide Master</vt:lpstr>
      <vt:lpstr>4_Contents Slide Master</vt:lpstr>
      <vt:lpstr>5_Contents Slide Master</vt:lpstr>
      <vt:lpstr>6_Contents Slide Master</vt:lpstr>
      <vt:lpstr>7_Contents Slide Master</vt:lpstr>
      <vt:lpstr>8_Contents Slide Master</vt:lpstr>
      <vt:lpstr>1_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 E RO B O S A 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ppt.com</dc:creator>
  <cp:lastModifiedBy>KANREG 2 SBY</cp:lastModifiedBy>
  <cp:revision>222</cp:revision>
  <cp:lastPrinted>2020-11-04T01:33:33Z</cp:lastPrinted>
  <dcterms:created xsi:type="dcterms:W3CDTF">2020-01-20T05:08:25Z</dcterms:created>
  <dcterms:modified xsi:type="dcterms:W3CDTF">2024-10-15T01:49:18Z</dcterms:modified>
</cp:coreProperties>
</file>